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notesSlides/notesSlide4.xml" ContentType="application/vnd.openxmlformats-officedocument.presentationml.notesSlide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0.xml" ContentType="application/vnd.openxmlformats-officedocument.presentationml.notesSlide+xml"/>
  <Override PartName="/ppt/tags/tag80.xml" ContentType="application/vnd.openxmlformats-officedocument.presentationml.tags+xml"/>
  <Override PartName="/ppt/notesSlides/notesSlide11.xml" ContentType="application/vnd.openxmlformats-officedocument.presentationml.notesSlide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6.xml" ContentType="application/vnd.openxmlformats-officedocument.presentationml.notesSlide+xml"/>
  <Override PartName="/ppt/tags/tag10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22.xml" ContentType="application/vnd.openxmlformats-officedocument.presentationml.notesSlide+xml"/>
  <Override PartName="/ppt/tags/tag11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0.xml" ContentType="application/vnd.openxmlformats-officedocument.drawingml.chart+xml"/>
  <Override PartName="/ppt/tags/tag11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1.xml" ContentType="application/vnd.openxmlformats-officedocument.drawingml.chart+xml"/>
  <Override PartName="/ppt/tags/tag11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2.xml" ContentType="application/vnd.openxmlformats-officedocument.drawingml.chart+xml"/>
  <Override PartName="/ppt/tags/tag118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3.xml" ContentType="application/vnd.openxmlformats-officedocument.drawingml.chart+xml"/>
  <Override PartName="/ppt/drawings/drawing1.xml" ContentType="application/vnd.openxmlformats-officedocument.drawingml.chartshapes+xml"/>
  <Override PartName="/ppt/charts/chart14.xml" ContentType="application/vnd.openxmlformats-officedocument.drawingml.chart+xml"/>
  <Override PartName="/ppt/drawings/drawing2.xml" ContentType="application/vnd.openxmlformats-officedocument.drawingml.chartshapes+xml"/>
  <Override PartName="/ppt/charts/chart15.xml" ContentType="application/vnd.openxmlformats-officedocument.drawingml.chart+xml"/>
  <Override PartName="/ppt/drawings/drawing3.xml" ContentType="application/vnd.openxmlformats-officedocument.drawingml.chartshapes+xml"/>
  <Override PartName="/ppt/charts/chart16.xml" ContentType="application/vnd.openxmlformats-officedocument.drawingml.chart+xml"/>
  <Override PartName="/ppt/drawings/drawing4.xml" ContentType="application/vnd.openxmlformats-officedocument.drawingml.chartshapes+xml"/>
  <Override PartName="/ppt/tags/tag11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Ex1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tags/tag120.xml" ContentType="application/vnd.openxmlformats-officedocument.presentationml.tags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21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18.xml" ContentType="application/vnd.openxmlformats-officedocument.drawingml.chart+xml"/>
  <Override PartName="/ppt/tags/tag122.xml" ContentType="application/vnd.openxmlformats-officedocument.presentationml.tags+xml"/>
  <Override PartName="/ppt/charts/chart19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20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25.xml" ContentType="application/vnd.openxmlformats-officedocument.presentationml.tags+xml"/>
  <Override PartName="/ppt/charts/chartEx2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tags/tag126.xml" ContentType="application/vnd.openxmlformats-officedocument.presentationml.tags+xml"/>
  <Override PartName="/ppt/charts/chartEx3.xml" ContentType="application/vnd.ms-office.chartex+xml"/>
  <Override PartName="/ppt/charts/style15.xml" ContentType="application/vnd.ms-office.chartstyle+xml"/>
  <Override PartName="/ppt/charts/colors15.xml" ContentType="application/vnd.ms-office.chartcolorstyle+xml"/>
  <Override PartName="/ppt/tags/tag127.xml" ContentType="application/vnd.openxmlformats-officedocument.presentationml.tags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2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28.xml" ContentType="application/vnd.openxmlformats-officedocument.presentationml.tags+xml"/>
  <Override PartName="/ppt/charts/chart2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9.xml" ContentType="application/vnd.openxmlformats-officedocument.presentationml.notesSlide+xml"/>
  <Override PartName="/ppt/tags/tag133.xml" ContentType="application/vnd.openxmlformats-officedocument.presentationml.tags+xml"/>
  <Override PartName="/ppt/charts/chart25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drawings/drawing5.xml" ContentType="application/vnd.openxmlformats-officedocument.drawingml.chartshapes+xml"/>
  <Override PartName="/ppt/tags/tag134.xml" ContentType="application/vnd.openxmlformats-officedocument.presentationml.tags+xml"/>
  <Override PartName="/ppt/charts/chart26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35.xml" ContentType="application/vnd.openxmlformats-officedocument.presentationml.tags+xml"/>
  <Override PartName="/ppt/charts/chart2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8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9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36.xml" ContentType="application/vnd.openxmlformats-officedocument.presentationml.tags+xml"/>
  <Override PartName="/ppt/charts/chart30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37.xml" ContentType="application/vnd.openxmlformats-officedocument.presentationml.tags+xml"/>
  <Override PartName="/ppt/charts/chart31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32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charts/chart33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6.xml" ContentType="application/vnd.openxmlformats-officedocument.drawingml.chartshapes+xml"/>
  <Override PartName="/ppt/tags/tag142.xml" ContentType="application/vnd.openxmlformats-officedocument.presentationml.tags+xml"/>
  <Override PartName="/ppt/charts/chart34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143.xml" ContentType="application/vnd.openxmlformats-officedocument.presentationml.tags+xml"/>
  <Override PartName="/ppt/notesSlides/notesSlide30.xml" ContentType="application/vnd.openxmlformats-officedocument.presentationml.notesSlide+xml"/>
  <Override PartName="/ppt/tags/tag144.xml" ContentType="application/vnd.openxmlformats-officedocument.presentationml.tags+xml"/>
  <Override PartName="/ppt/charts/chart35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145.xml" ContentType="application/vnd.openxmlformats-officedocument.presentationml.tags+xml"/>
  <Override PartName="/ppt/charts/chart36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146.xml" ContentType="application/vnd.openxmlformats-officedocument.presentationml.tags+xml"/>
  <Override PartName="/ppt/charts/chart37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8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9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147.xml" ContentType="application/vnd.openxmlformats-officedocument.presentationml.tags+xml"/>
  <Override PartName="/ppt/charts/chart40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1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2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3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31.xml" ContentType="application/vnd.openxmlformats-officedocument.presentationml.notesSlide+xml"/>
  <Override PartName="/ppt/tags/tag153.xml" ContentType="application/vnd.openxmlformats-officedocument.presentationml.tags+xml"/>
  <Override PartName="/ppt/notesSlides/notesSlide32.xml" ContentType="application/vnd.openxmlformats-officedocument.presentationml.notesSlide+xml"/>
  <Override PartName="/ppt/tags/tag154.xml" ContentType="application/vnd.openxmlformats-officedocument.presentationml.tags+xml"/>
  <Override PartName="/ppt/charts/chart44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Ex4.xml" ContentType="application/vnd.ms-office.chartex+xml"/>
  <Override PartName="/ppt/charts/style40.xml" ContentType="application/vnd.ms-office.chartstyle+xml"/>
  <Override PartName="/ppt/charts/colors40.xml" ContentType="application/vnd.ms-office.chartcolorstyle+xml"/>
  <Override PartName="/ppt/tags/tag157.xml" ContentType="application/vnd.openxmlformats-officedocument.presentationml.tags+xml"/>
  <Override PartName="/ppt/notesSlides/notesSlide33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45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160.xml" ContentType="application/vnd.openxmlformats-officedocument.presentationml.tags+xml"/>
  <Override PartName="/ppt/charts/chart4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161.xml" ContentType="application/vnd.openxmlformats-officedocument.presentationml.tags+xml"/>
  <Override PartName="/ppt/charts/chart4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162.xml" ContentType="application/vnd.openxmlformats-officedocument.presentationml.tags+xml"/>
  <Override PartName="/ppt/charts/chart4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163.xml" ContentType="application/vnd.openxmlformats-officedocument.presentationml.tags+xml"/>
  <Override PartName="/ppt/charts/chart49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ags/tag164.xml" ContentType="application/vnd.openxmlformats-officedocument.presentationml.tags+xml"/>
  <Override PartName="/ppt/notesSlides/notesSlide34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35.xml" ContentType="application/vnd.openxmlformats-officedocument.presentationml.notesSlide+xml"/>
  <Override PartName="/ppt/tags/tag174.xml" ContentType="application/vnd.openxmlformats-officedocument.presentationml.tags+xml"/>
  <Override PartName="/ppt/notesSlides/notesSlide36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37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38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39.xml" ContentType="application/vnd.openxmlformats-officedocument.presentationml.notesSlide+xml"/>
  <Override PartName="/ppt/tags/tag217.xml" ContentType="application/vnd.openxmlformats-officedocument.presentationml.tags+xml"/>
  <Override PartName="/ppt/notesSlides/notesSlide40.xml" ContentType="application/vnd.openxmlformats-officedocument.presentationml.notesSlid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41.xml" ContentType="application/vnd.openxmlformats-officedocument.presentationml.notesSlid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42.xml" ContentType="application/vnd.openxmlformats-officedocument.presentationml.notesSl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43.xml" ContentType="application/vnd.openxmlformats-officedocument.presentationml.notesSlide+xml"/>
  <Override PartName="/ppt/tags/tag256.xml" ContentType="application/vnd.openxmlformats-officedocument.presentationml.tags+xml"/>
  <Override PartName="/ppt/ink/ink1.xml" ContentType="application/inkml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notesSlides/notesSlide44.xml" ContentType="application/vnd.openxmlformats-officedocument.presentationml.notesSlide+xml"/>
  <Override PartName="/ppt/tags/tag271.xml" ContentType="application/vnd.openxmlformats-officedocument.presentationml.tags+xml"/>
  <Override PartName="/ppt/charts/chart50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50" r:id="rId4"/>
    <p:sldMasterId id="2147483997" r:id="rId5"/>
    <p:sldMasterId id="2147484003" r:id="rId6"/>
    <p:sldMasterId id="2147484009" r:id="rId7"/>
    <p:sldMasterId id="2147484016" r:id="rId8"/>
    <p:sldMasterId id="2147484023" r:id="rId9"/>
    <p:sldMasterId id="2147484031" r:id="rId10"/>
  </p:sldMasterIdLst>
  <p:notesMasterIdLst>
    <p:notesMasterId r:id="rId241"/>
  </p:notesMasterIdLst>
  <p:handoutMasterIdLst>
    <p:handoutMasterId r:id="rId242"/>
  </p:handoutMasterIdLst>
  <p:sldIdLst>
    <p:sldId id="2147472762" r:id="rId11"/>
    <p:sldId id="2147472913" r:id="rId12"/>
    <p:sldId id="2147472914" r:id="rId13"/>
    <p:sldId id="2147472876" r:id="rId14"/>
    <p:sldId id="2147472915" r:id="rId15"/>
    <p:sldId id="2147472916" r:id="rId16"/>
    <p:sldId id="2147472917" r:id="rId17"/>
    <p:sldId id="2147472918" r:id="rId18"/>
    <p:sldId id="2147472919" r:id="rId19"/>
    <p:sldId id="2147472920" r:id="rId20"/>
    <p:sldId id="2147472921" r:id="rId21"/>
    <p:sldId id="2147472922" r:id="rId22"/>
    <p:sldId id="2147472923" r:id="rId23"/>
    <p:sldId id="2147472924" r:id="rId24"/>
    <p:sldId id="2147472808" r:id="rId25"/>
    <p:sldId id="2147473201" r:id="rId26"/>
    <p:sldId id="2147472684" r:id="rId27"/>
    <p:sldId id="433" r:id="rId28"/>
    <p:sldId id="2147472940" r:id="rId29"/>
    <p:sldId id="2147472941" r:id="rId30"/>
    <p:sldId id="2147472686" r:id="rId31"/>
    <p:sldId id="2147473200" r:id="rId32"/>
    <p:sldId id="2147472753" r:id="rId33"/>
    <p:sldId id="2147472725" r:id="rId34"/>
    <p:sldId id="2147472849" r:id="rId35"/>
    <p:sldId id="2147472850" r:id="rId36"/>
    <p:sldId id="2147472851" r:id="rId37"/>
    <p:sldId id="2147472867" r:id="rId38"/>
    <p:sldId id="2147473184" r:id="rId39"/>
    <p:sldId id="2147472677" r:id="rId40"/>
    <p:sldId id="2147472868" r:id="rId41"/>
    <p:sldId id="2147472683" r:id="rId42"/>
    <p:sldId id="2147472869" r:id="rId43"/>
    <p:sldId id="2147472692" r:id="rId44"/>
    <p:sldId id="2147472673" r:id="rId45"/>
    <p:sldId id="2147473186" r:id="rId46"/>
    <p:sldId id="2147472936" r:id="rId47"/>
    <p:sldId id="2147472904" r:id="rId48"/>
    <p:sldId id="2147472938" r:id="rId49"/>
    <p:sldId id="2147472908" r:id="rId50"/>
    <p:sldId id="2147472870" r:id="rId51"/>
    <p:sldId id="2147472871" r:id="rId52"/>
    <p:sldId id="2147472872" r:id="rId53"/>
    <p:sldId id="2147472873" r:id="rId54"/>
    <p:sldId id="2147472874" r:id="rId55"/>
    <p:sldId id="2147472864" r:id="rId56"/>
    <p:sldId id="2147472708" r:id="rId57"/>
    <p:sldId id="2147472709" r:id="rId58"/>
    <p:sldId id="2147472956" r:id="rId59"/>
    <p:sldId id="2147473162" r:id="rId60"/>
    <p:sldId id="2147473181" r:id="rId61"/>
    <p:sldId id="2147473117" r:id="rId62"/>
    <p:sldId id="2147473163" r:id="rId63"/>
    <p:sldId id="2147473165" r:id="rId64"/>
    <p:sldId id="2147473114" r:id="rId65"/>
    <p:sldId id="2147473125" r:id="rId66"/>
    <p:sldId id="2147473188" r:id="rId67"/>
    <p:sldId id="2147473202" r:id="rId68"/>
    <p:sldId id="2147472726" r:id="rId69"/>
    <p:sldId id="2147472727" r:id="rId70"/>
    <p:sldId id="2147472728" r:id="rId71"/>
    <p:sldId id="2147472675" r:id="rId72"/>
    <p:sldId id="2147472729" r:id="rId73"/>
    <p:sldId id="2147473105" r:id="rId74"/>
    <p:sldId id="2147473203" r:id="rId75"/>
    <p:sldId id="2147472731" r:id="rId76"/>
    <p:sldId id="2147472730" r:id="rId77"/>
    <p:sldId id="2147472732" r:id="rId78"/>
    <p:sldId id="2147472733" r:id="rId79"/>
    <p:sldId id="2147472734" r:id="rId80"/>
    <p:sldId id="2147472735" r:id="rId81"/>
    <p:sldId id="2147472678" r:id="rId82"/>
    <p:sldId id="2147472699" r:id="rId83"/>
    <p:sldId id="2147472695" r:id="rId84"/>
    <p:sldId id="2147472877" r:id="rId85"/>
    <p:sldId id="2147472807" r:id="rId86"/>
    <p:sldId id="2147473106" r:id="rId87"/>
    <p:sldId id="2147472911" r:id="rId88"/>
    <p:sldId id="2147472912" r:id="rId89"/>
    <p:sldId id="2147472844" r:id="rId90"/>
    <p:sldId id="2147472888" r:id="rId91"/>
    <p:sldId id="2147472889" r:id="rId92"/>
    <p:sldId id="2147473204" r:id="rId93"/>
    <p:sldId id="2147472701" r:id="rId94"/>
    <p:sldId id="2147472759" r:id="rId95"/>
    <p:sldId id="2147472700" r:id="rId96"/>
    <p:sldId id="2147472737" r:id="rId97"/>
    <p:sldId id="2147472739" r:id="rId98"/>
    <p:sldId id="2147473100" r:id="rId99"/>
    <p:sldId id="2147472740" r:id="rId100"/>
    <p:sldId id="2147472741" r:id="rId101"/>
    <p:sldId id="2147472703" r:id="rId102"/>
    <p:sldId id="2147472747" r:id="rId103"/>
    <p:sldId id="2147473205" r:id="rId104"/>
    <p:sldId id="2147472745" r:id="rId105"/>
    <p:sldId id="2147472746" r:id="rId106"/>
    <p:sldId id="2147472702" r:id="rId107"/>
    <p:sldId id="2147472704" r:id="rId108"/>
    <p:sldId id="2147472719" r:id="rId109"/>
    <p:sldId id="2147472720" r:id="rId110"/>
    <p:sldId id="2147472722" r:id="rId111"/>
    <p:sldId id="2147472721" r:id="rId112"/>
    <p:sldId id="2147472679" r:id="rId113"/>
    <p:sldId id="2147473206" r:id="rId114"/>
    <p:sldId id="2147472742" r:id="rId115"/>
    <p:sldId id="2147472743" r:id="rId116"/>
    <p:sldId id="2147472744" r:id="rId117"/>
    <p:sldId id="2147473207" r:id="rId118"/>
    <p:sldId id="2147473107" r:id="rId119"/>
    <p:sldId id="2147473119" r:id="rId120"/>
    <p:sldId id="2147472748" r:id="rId121"/>
    <p:sldId id="2147472749" r:id="rId122"/>
    <p:sldId id="2147472750" r:id="rId123"/>
    <p:sldId id="2147472751" r:id="rId124"/>
    <p:sldId id="2147473208" r:id="rId125"/>
    <p:sldId id="2147472757" r:id="rId126"/>
    <p:sldId id="2147472756" r:id="rId127"/>
    <p:sldId id="2147472755" r:id="rId128"/>
    <p:sldId id="2147472752" r:id="rId129"/>
    <p:sldId id="2147472948" r:id="rId130"/>
    <p:sldId id="2147472949" r:id="rId131"/>
    <p:sldId id="2147472950" r:id="rId132"/>
    <p:sldId id="2147472761" r:id="rId133"/>
    <p:sldId id="2147472676" r:id="rId134"/>
    <p:sldId id="2147472681" r:id="rId135"/>
    <p:sldId id="2147472687" r:id="rId136"/>
    <p:sldId id="2147472688" r:id="rId137"/>
    <p:sldId id="2147472689" r:id="rId138"/>
    <p:sldId id="2147472690" r:id="rId139"/>
    <p:sldId id="2147472691" r:id="rId140"/>
    <p:sldId id="2147472693" r:id="rId141"/>
    <p:sldId id="2147472712" r:id="rId142"/>
    <p:sldId id="2147472713" r:id="rId143"/>
    <p:sldId id="2147473113" r:id="rId144"/>
    <p:sldId id="2147472694" r:id="rId145"/>
    <p:sldId id="2147472710" r:id="rId146"/>
    <p:sldId id="2147472711" r:id="rId147"/>
    <p:sldId id="2147472879" r:id="rId148"/>
    <p:sldId id="2147472880" r:id="rId149"/>
    <p:sldId id="2147472837" r:id="rId150"/>
    <p:sldId id="2147472838" r:id="rId151"/>
    <p:sldId id="2147472891" r:id="rId152"/>
    <p:sldId id="2147472906" r:id="rId153"/>
    <p:sldId id="2147472718" r:id="rId154"/>
    <p:sldId id="2147472716" r:id="rId155"/>
    <p:sldId id="2147473122" r:id="rId156"/>
    <p:sldId id="2147473123" r:id="rId157"/>
    <p:sldId id="2147472910" r:id="rId158"/>
    <p:sldId id="2147473173" r:id="rId159"/>
    <p:sldId id="2147473176" r:id="rId160"/>
    <p:sldId id="2147473182" r:id="rId161"/>
    <p:sldId id="2147473183" r:id="rId162"/>
    <p:sldId id="2147473177" r:id="rId163"/>
    <p:sldId id="2147473187" r:id="rId164"/>
    <p:sldId id="2147473118" r:id="rId165"/>
    <p:sldId id="2147473209" r:id="rId166"/>
    <p:sldId id="2147472760" r:id="rId167"/>
    <p:sldId id="2147472724" r:id="rId168"/>
    <p:sldId id="2147472805" r:id="rId169"/>
    <p:sldId id="2147472839" r:id="rId170"/>
    <p:sldId id="2147472840" r:id="rId171"/>
    <p:sldId id="2147472903" r:id="rId172"/>
    <p:sldId id="2147472907" r:id="rId173"/>
    <p:sldId id="2147472953" r:id="rId174"/>
    <p:sldId id="2147472954" r:id="rId175"/>
    <p:sldId id="2147472955" r:id="rId176"/>
    <p:sldId id="2147473210" r:id="rId177"/>
    <p:sldId id="2147472680" r:id="rId178"/>
    <p:sldId id="2147473108" r:id="rId179"/>
    <p:sldId id="2147473109" r:id="rId180"/>
    <p:sldId id="2147473110" r:id="rId181"/>
    <p:sldId id="2147473111" r:id="rId182"/>
    <p:sldId id="2147473112" r:id="rId183"/>
    <p:sldId id="2147473124" r:id="rId184"/>
    <p:sldId id="2147472697" r:id="rId185"/>
    <p:sldId id="2147472698" r:id="rId186"/>
    <p:sldId id="2147472714" r:id="rId187"/>
    <p:sldId id="2147472715" r:id="rId188"/>
    <p:sldId id="2147472896" r:id="rId189"/>
    <p:sldId id="2147472806" r:id="rId190"/>
    <p:sldId id="2147472822" r:id="rId191"/>
    <p:sldId id="2147472696" r:id="rId192"/>
    <p:sldId id="2147472892" r:id="rId193"/>
    <p:sldId id="2147472894" r:id="rId194"/>
    <p:sldId id="2147472841" r:id="rId195"/>
    <p:sldId id="2147472842" r:id="rId196"/>
    <p:sldId id="2147472881" r:id="rId197"/>
    <p:sldId id="2147472884" r:id="rId198"/>
    <p:sldId id="2147472885" r:id="rId199"/>
    <p:sldId id="2147472886" r:id="rId200"/>
    <p:sldId id="2147472836" r:id="rId201"/>
    <p:sldId id="2147472843" r:id="rId202"/>
    <p:sldId id="2147472893" r:id="rId203"/>
    <p:sldId id="2147472897" r:id="rId204"/>
    <p:sldId id="2147472898" r:id="rId205"/>
    <p:sldId id="2147472899" r:id="rId206"/>
    <p:sldId id="2147472900" r:id="rId207"/>
    <p:sldId id="2147472902" r:id="rId208"/>
    <p:sldId id="2147473120" r:id="rId209"/>
    <p:sldId id="2147473121" r:id="rId210"/>
    <p:sldId id="2147473211" r:id="rId211"/>
    <p:sldId id="2147472846" r:id="rId212"/>
    <p:sldId id="2147472847" r:id="rId213"/>
    <p:sldId id="2147472848" r:id="rId214"/>
    <p:sldId id="2147472890" r:id="rId215"/>
    <p:sldId id="2147473212" r:id="rId216"/>
    <p:sldId id="2147472959" r:id="rId217"/>
    <p:sldId id="2147473063" r:id="rId218"/>
    <p:sldId id="2147473099" r:id="rId219"/>
    <p:sldId id="2147472974" r:id="rId220"/>
    <p:sldId id="2147473029" r:id="rId221"/>
    <p:sldId id="2147472983" r:id="rId222"/>
    <p:sldId id="2147473064" r:id="rId223"/>
    <p:sldId id="2147472993" r:id="rId224"/>
    <p:sldId id="2147473065" r:id="rId225"/>
    <p:sldId id="2147472990" r:id="rId226"/>
    <p:sldId id="2147473002" r:id="rId227"/>
    <p:sldId id="2147473066" r:id="rId228"/>
    <p:sldId id="2147473067" r:id="rId229"/>
    <p:sldId id="2147473039" r:id="rId230"/>
    <p:sldId id="2147473072" r:id="rId231"/>
    <p:sldId id="2147473043" r:id="rId232"/>
    <p:sldId id="2147473073" r:id="rId233"/>
    <p:sldId id="2147473053" r:id="rId234"/>
    <p:sldId id="2147473056" r:id="rId235"/>
    <p:sldId id="2147473062" r:id="rId236"/>
    <p:sldId id="2147473213" r:id="rId237"/>
    <p:sldId id="2147472707" r:id="rId238"/>
    <p:sldId id="2147472845" r:id="rId239"/>
    <p:sldId id="2147472878" r:id="rId240"/>
  </p:sldIdLst>
  <p:sldSz cx="12192000" cy="6858000"/>
  <p:notesSz cx="6858000" cy="9144000"/>
  <p:custDataLst>
    <p:tags r:id="rId2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160" userDrawn="1">
          <p15:clr>
            <a:srgbClr val="A4A3A4"/>
          </p15:clr>
        </p15:guide>
        <p15:guide id="5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pasin, Alyssa P." initials="PAP" lastIdx="1" clrIdx="0">
    <p:extLst>
      <p:ext uri="{19B8F6BF-5375-455C-9EA6-DF929625EA0E}">
        <p15:presenceInfo xmlns:p15="http://schemas.microsoft.com/office/powerpoint/2012/main" userId="S::alyssa.p.papasin@accenture.com::6ae9f9dd-506d-4cbb-b0dc-8714429a2a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9F9F9"/>
    <a:srgbClr val="3A5C87"/>
    <a:srgbClr val="EFFFFE"/>
    <a:srgbClr val="004CFF"/>
    <a:srgbClr val="0F0F0F"/>
    <a:srgbClr val="F2F2F2"/>
    <a:srgbClr val="FAFAFA"/>
    <a:srgbClr val="F5F5F5"/>
    <a:srgbClr val="EFEFE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howOutlineIcons="0">
    <p:restoredLeft sz="34587" autoAdjust="0"/>
    <p:restoredTop sz="86441" autoAdjust="0"/>
  </p:normalViewPr>
  <p:slideViewPr>
    <p:cSldViewPr snapToGrid="0">
      <p:cViewPr varScale="1">
        <p:scale>
          <a:sx n="94" d="100"/>
          <a:sy n="94" d="100"/>
        </p:scale>
        <p:origin x="108" y="12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025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7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63" Type="http://schemas.openxmlformats.org/officeDocument/2006/relationships/slide" Target="slides/slide53.xml"/><Relationship Id="rId84" Type="http://schemas.openxmlformats.org/officeDocument/2006/relationships/slide" Target="slides/slide74.xml"/><Relationship Id="rId138" Type="http://schemas.openxmlformats.org/officeDocument/2006/relationships/slide" Target="slides/slide128.xml"/><Relationship Id="rId159" Type="http://schemas.openxmlformats.org/officeDocument/2006/relationships/slide" Target="slides/slide149.xml"/><Relationship Id="rId170" Type="http://schemas.openxmlformats.org/officeDocument/2006/relationships/slide" Target="slides/slide160.xml"/><Relationship Id="rId191" Type="http://schemas.openxmlformats.org/officeDocument/2006/relationships/slide" Target="slides/slide181.xml"/><Relationship Id="rId205" Type="http://schemas.openxmlformats.org/officeDocument/2006/relationships/slide" Target="slides/slide195.xml"/><Relationship Id="rId226" Type="http://schemas.openxmlformats.org/officeDocument/2006/relationships/slide" Target="slides/slide216.xml"/><Relationship Id="rId247" Type="http://schemas.openxmlformats.org/officeDocument/2006/relationships/theme" Target="theme/theme1.xml"/><Relationship Id="rId107" Type="http://schemas.openxmlformats.org/officeDocument/2006/relationships/slide" Target="slides/slide97.xml"/><Relationship Id="rId11" Type="http://schemas.openxmlformats.org/officeDocument/2006/relationships/slide" Target="slides/slide1.xml"/><Relationship Id="rId32" Type="http://schemas.openxmlformats.org/officeDocument/2006/relationships/slide" Target="slides/slide22.xml"/><Relationship Id="rId53" Type="http://schemas.openxmlformats.org/officeDocument/2006/relationships/slide" Target="slides/slide43.xml"/><Relationship Id="rId74" Type="http://schemas.openxmlformats.org/officeDocument/2006/relationships/slide" Target="slides/slide64.xml"/><Relationship Id="rId128" Type="http://schemas.openxmlformats.org/officeDocument/2006/relationships/slide" Target="slides/slide118.xml"/><Relationship Id="rId149" Type="http://schemas.openxmlformats.org/officeDocument/2006/relationships/slide" Target="slides/slide139.xml"/><Relationship Id="rId5" Type="http://schemas.openxmlformats.org/officeDocument/2006/relationships/slideMaster" Target="slideMasters/slideMaster2.xml"/><Relationship Id="rId95" Type="http://schemas.openxmlformats.org/officeDocument/2006/relationships/slide" Target="slides/slide85.xml"/><Relationship Id="rId160" Type="http://schemas.openxmlformats.org/officeDocument/2006/relationships/slide" Target="slides/slide150.xml"/><Relationship Id="rId181" Type="http://schemas.openxmlformats.org/officeDocument/2006/relationships/slide" Target="slides/slide171.xml"/><Relationship Id="rId216" Type="http://schemas.openxmlformats.org/officeDocument/2006/relationships/slide" Target="slides/slide206.xml"/><Relationship Id="rId237" Type="http://schemas.openxmlformats.org/officeDocument/2006/relationships/slide" Target="slides/slide227.xml"/><Relationship Id="rId22" Type="http://schemas.openxmlformats.org/officeDocument/2006/relationships/slide" Target="slides/slide12.xml"/><Relationship Id="rId43" Type="http://schemas.openxmlformats.org/officeDocument/2006/relationships/slide" Target="slides/slide33.xml"/><Relationship Id="rId64" Type="http://schemas.openxmlformats.org/officeDocument/2006/relationships/slide" Target="slides/slide54.xml"/><Relationship Id="rId118" Type="http://schemas.openxmlformats.org/officeDocument/2006/relationships/slide" Target="slides/slide108.xml"/><Relationship Id="rId139" Type="http://schemas.openxmlformats.org/officeDocument/2006/relationships/slide" Target="slides/slide129.xml"/><Relationship Id="rId85" Type="http://schemas.openxmlformats.org/officeDocument/2006/relationships/slide" Target="slides/slide75.xml"/><Relationship Id="rId150" Type="http://schemas.openxmlformats.org/officeDocument/2006/relationships/slide" Target="slides/slide140.xml"/><Relationship Id="rId171" Type="http://schemas.openxmlformats.org/officeDocument/2006/relationships/slide" Target="slides/slide161.xml"/><Relationship Id="rId192" Type="http://schemas.openxmlformats.org/officeDocument/2006/relationships/slide" Target="slides/slide182.xml"/><Relationship Id="rId206" Type="http://schemas.openxmlformats.org/officeDocument/2006/relationships/slide" Target="slides/slide196.xml"/><Relationship Id="rId227" Type="http://schemas.openxmlformats.org/officeDocument/2006/relationships/slide" Target="slides/slide217.xml"/><Relationship Id="rId248" Type="http://schemas.openxmlformats.org/officeDocument/2006/relationships/tableStyles" Target="tableStyles.xml"/><Relationship Id="rId12" Type="http://schemas.openxmlformats.org/officeDocument/2006/relationships/slide" Target="slides/slide2.xml"/><Relationship Id="rId33" Type="http://schemas.openxmlformats.org/officeDocument/2006/relationships/slide" Target="slides/slide23.xml"/><Relationship Id="rId108" Type="http://schemas.openxmlformats.org/officeDocument/2006/relationships/slide" Target="slides/slide98.xml"/><Relationship Id="rId129" Type="http://schemas.openxmlformats.org/officeDocument/2006/relationships/slide" Target="slides/slide119.xml"/><Relationship Id="rId54" Type="http://schemas.openxmlformats.org/officeDocument/2006/relationships/slide" Target="slides/slide44.xml"/><Relationship Id="rId75" Type="http://schemas.openxmlformats.org/officeDocument/2006/relationships/slide" Target="slides/slide65.xml"/><Relationship Id="rId96" Type="http://schemas.openxmlformats.org/officeDocument/2006/relationships/slide" Target="slides/slide86.xml"/><Relationship Id="rId140" Type="http://schemas.openxmlformats.org/officeDocument/2006/relationships/slide" Target="slides/slide130.xml"/><Relationship Id="rId161" Type="http://schemas.openxmlformats.org/officeDocument/2006/relationships/slide" Target="slides/slide151.xml"/><Relationship Id="rId182" Type="http://schemas.openxmlformats.org/officeDocument/2006/relationships/slide" Target="slides/slide172.xml"/><Relationship Id="rId217" Type="http://schemas.openxmlformats.org/officeDocument/2006/relationships/slide" Target="slides/slide207.xml"/><Relationship Id="rId6" Type="http://schemas.openxmlformats.org/officeDocument/2006/relationships/slideMaster" Target="slideMasters/slideMaster3.xml"/><Relationship Id="rId238" Type="http://schemas.openxmlformats.org/officeDocument/2006/relationships/slide" Target="slides/slide228.xml"/><Relationship Id="rId23" Type="http://schemas.openxmlformats.org/officeDocument/2006/relationships/slide" Target="slides/slide13.xml"/><Relationship Id="rId119" Type="http://schemas.openxmlformats.org/officeDocument/2006/relationships/slide" Target="slides/slide109.xml"/><Relationship Id="rId44" Type="http://schemas.openxmlformats.org/officeDocument/2006/relationships/slide" Target="slides/slide34.xml"/><Relationship Id="rId65" Type="http://schemas.openxmlformats.org/officeDocument/2006/relationships/slide" Target="slides/slide55.xml"/><Relationship Id="rId86" Type="http://schemas.openxmlformats.org/officeDocument/2006/relationships/slide" Target="slides/slide76.xml"/><Relationship Id="rId130" Type="http://schemas.openxmlformats.org/officeDocument/2006/relationships/slide" Target="slides/slide120.xml"/><Relationship Id="rId151" Type="http://schemas.openxmlformats.org/officeDocument/2006/relationships/slide" Target="slides/slide141.xml"/><Relationship Id="rId172" Type="http://schemas.openxmlformats.org/officeDocument/2006/relationships/slide" Target="slides/slide162.xml"/><Relationship Id="rId193" Type="http://schemas.openxmlformats.org/officeDocument/2006/relationships/slide" Target="slides/slide183.xml"/><Relationship Id="rId207" Type="http://schemas.openxmlformats.org/officeDocument/2006/relationships/slide" Target="slides/slide197.xml"/><Relationship Id="rId228" Type="http://schemas.openxmlformats.org/officeDocument/2006/relationships/slide" Target="slides/slide218.xml"/><Relationship Id="rId13" Type="http://schemas.openxmlformats.org/officeDocument/2006/relationships/slide" Target="slides/slide3.xml"/><Relationship Id="rId109" Type="http://schemas.openxmlformats.org/officeDocument/2006/relationships/slide" Target="slides/slide99.xml"/><Relationship Id="rId34" Type="http://schemas.openxmlformats.org/officeDocument/2006/relationships/slide" Target="slides/slide24.xml"/><Relationship Id="rId55" Type="http://schemas.openxmlformats.org/officeDocument/2006/relationships/slide" Target="slides/slide45.xml"/><Relationship Id="rId76" Type="http://schemas.openxmlformats.org/officeDocument/2006/relationships/slide" Target="slides/slide66.xml"/><Relationship Id="rId97" Type="http://schemas.openxmlformats.org/officeDocument/2006/relationships/slide" Target="slides/slide87.xml"/><Relationship Id="rId120" Type="http://schemas.openxmlformats.org/officeDocument/2006/relationships/slide" Target="slides/slide110.xml"/><Relationship Id="rId141" Type="http://schemas.openxmlformats.org/officeDocument/2006/relationships/slide" Target="slides/slide131.xml"/><Relationship Id="rId7" Type="http://schemas.openxmlformats.org/officeDocument/2006/relationships/slideMaster" Target="slideMasters/slideMaster4.xml"/><Relationship Id="rId162" Type="http://schemas.openxmlformats.org/officeDocument/2006/relationships/slide" Target="slides/slide152.xml"/><Relationship Id="rId183" Type="http://schemas.openxmlformats.org/officeDocument/2006/relationships/slide" Target="slides/slide173.xml"/><Relationship Id="rId218" Type="http://schemas.openxmlformats.org/officeDocument/2006/relationships/slide" Target="slides/slide208.xml"/><Relationship Id="rId239" Type="http://schemas.openxmlformats.org/officeDocument/2006/relationships/slide" Target="slides/slide229.xml"/><Relationship Id="rId24" Type="http://schemas.openxmlformats.org/officeDocument/2006/relationships/slide" Target="slides/slide14.xml"/><Relationship Id="rId45" Type="http://schemas.openxmlformats.org/officeDocument/2006/relationships/slide" Target="slides/slide35.xml"/><Relationship Id="rId66" Type="http://schemas.openxmlformats.org/officeDocument/2006/relationships/slide" Target="slides/slide56.xml"/><Relationship Id="rId87" Type="http://schemas.openxmlformats.org/officeDocument/2006/relationships/slide" Target="slides/slide77.xml"/><Relationship Id="rId110" Type="http://schemas.openxmlformats.org/officeDocument/2006/relationships/slide" Target="slides/slide100.xml"/><Relationship Id="rId131" Type="http://schemas.openxmlformats.org/officeDocument/2006/relationships/slide" Target="slides/slide121.xml"/><Relationship Id="rId152" Type="http://schemas.openxmlformats.org/officeDocument/2006/relationships/slide" Target="slides/slide142.xml"/><Relationship Id="rId173" Type="http://schemas.openxmlformats.org/officeDocument/2006/relationships/slide" Target="slides/slide163.xml"/><Relationship Id="rId194" Type="http://schemas.openxmlformats.org/officeDocument/2006/relationships/slide" Target="slides/slide184.xml"/><Relationship Id="rId208" Type="http://schemas.openxmlformats.org/officeDocument/2006/relationships/slide" Target="slides/slide198.xml"/><Relationship Id="rId229" Type="http://schemas.openxmlformats.org/officeDocument/2006/relationships/slide" Target="slides/slide219.xml"/><Relationship Id="rId240" Type="http://schemas.openxmlformats.org/officeDocument/2006/relationships/slide" Target="slides/slide230.xml"/><Relationship Id="rId14" Type="http://schemas.openxmlformats.org/officeDocument/2006/relationships/slide" Target="slides/slide4.xml"/><Relationship Id="rId35" Type="http://schemas.openxmlformats.org/officeDocument/2006/relationships/slide" Target="slides/slide25.xml"/><Relationship Id="rId56" Type="http://schemas.openxmlformats.org/officeDocument/2006/relationships/slide" Target="slides/slide46.xml"/><Relationship Id="rId77" Type="http://schemas.openxmlformats.org/officeDocument/2006/relationships/slide" Target="slides/slide67.xml"/><Relationship Id="rId100" Type="http://schemas.openxmlformats.org/officeDocument/2006/relationships/slide" Target="slides/slide90.xml"/><Relationship Id="rId8" Type="http://schemas.openxmlformats.org/officeDocument/2006/relationships/slideMaster" Target="slideMasters/slideMaster5.xml"/><Relationship Id="rId98" Type="http://schemas.openxmlformats.org/officeDocument/2006/relationships/slide" Target="slides/slide88.xml"/><Relationship Id="rId121" Type="http://schemas.openxmlformats.org/officeDocument/2006/relationships/slide" Target="slides/slide111.xml"/><Relationship Id="rId142" Type="http://schemas.openxmlformats.org/officeDocument/2006/relationships/slide" Target="slides/slide132.xml"/><Relationship Id="rId163" Type="http://schemas.openxmlformats.org/officeDocument/2006/relationships/slide" Target="slides/slide153.xml"/><Relationship Id="rId184" Type="http://schemas.openxmlformats.org/officeDocument/2006/relationships/slide" Target="slides/slide174.xml"/><Relationship Id="rId219" Type="http://schemas.openxmlformats.org/officeDocument/2006/relationships/slide" Target="slides/slide209.xml"/><Relationship Id="rId230" Type="http://schemas.openxmlformats.org/officeDocument/2006/relationships/slide" Target="slides/slide220.xml"/><Relationship Id="rId25" Type="http://schemas.openxmlformats.org/officeDocument/2006/relationships/slide" Target="slides/slide15.xml"/><Relationship Id="rId46" Type="http://schemas.openxmlformats.org/officeDocument/2006/relationships/slide" Target="slides/slide36.xml"/><Relationship Id="rId67" Type="http://schemas.openxmlformats.org/officeDocument/2006/relationships/slide" Target="slides/slide57.xml"/><Relationship Id="rId88" Type="http://schemas.openxmlformats.org/officeDocument/2006/relationships/slide" Target="slides/slide78.xml"/><Relationship Id="rId111" Type="http://schemas.openxmlformats.org/officeDocument/2006/relationships/slide" Target="slides/slide101.xml"/><Relationship Id="rId132" Type="http://schemas.openxmlformats.org/officeDocument/2006/relationships/slide" Target="slides/slide122.xml"/><Relationship Id="rId153" Type="http://schemas.openxmlformats.org/officeDocument/2006/relationships/slide" Target="slides/slide143.xml"/><Relationship Id="rId174" Type="http://schemas.openxmlformats.org/officeDocument/2006/relationships/slide" Target="slides/slide164.xml"/><Relationship Id="rId195" Type="http://schemas.openxmlformats.org/officeDocument/2006/relationships/slide" Target="slides/slide185.xml"/><Relationship Id="rId209" Type="http://schemas.openxmlformats.org/officeDocument/2006/relationships/slide" Target="slides/slide199.xml"/><Relationship Id="rId220" Type="http://schemas.openxmlformats.org/officeDocument/2006/relationships/slide" Target="slides/slide210.xml"/><Relationship Id="rId241" Type="http://schemas.openxmlformats.org/officeDocument/2006/relationships/notesMaster" Target="notesMasters/notesMaster1.xml"/><Relationship Id="rId15" Type="http://schemas.openxmlformats.org/officeDocument/2006/relationships/slide" Target="slides/slide5.xml"/><Relationship Id="rId36" Type="http://schemas.openxmlformats.org/officeDocument/2006/relationships/slide" Target="slides/slide26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1.xml"/><Relationship Id="rId52" Type="http://schemas.openxmlformats.org/officeDocument/2006/relationships/slide" Target="slides/slide42.xml"/><Relationship Id="rId73" Type="http://schemas.openxmlformats.org/officeDocument/2006/relationships/slide" Target="slides/slide63.xml"/><Relationship Id="rId78" Type="http://schemas.openxmlformats.org/officeDocument/2006/relationships/slide" Target="slides/slide68.xml"/><Relationship Id="rId94" Type="http://schemas.openxmlformats.org/officeDocument/2006/relationships/slide" Target="slides/slide84.xml"/><Relationship Id="rId99" Type="http://schemas.openxmlformats.org/officeDocument/2006/relationships/slide" Target="slides/slide89.xml"/><Relationship Id="rId101" Type="http://schemas.openxmlformats.org/officeDocument/2006/relationships/slide" Target="slides/slide91.xml"/><Relationship Id="rId122" Type="http://schemas.openxmlformats.org/officeDocument/2006/relationships/slide" Target="slides/slide112.xml"/><Relationship Id="rId143" Type="http://schemas.openxmlformats.org/officeDocument/2006/relationships/slide" Target="slides/slide133.xml"/><Relationship Id="rId148" Type="http://schemas.openxmlformats.org/officeDocument/2006/relationships/slide" Target="slides/slide138.xml"/><Relationship Id="rId164" Type="http://schemas.openxmlformats.org/officeDocument/2006/relationships/slide" Target="slides/slide154.xml"/><Relationship Id="rId169" Type="http://schemas.openxmlformats.org/officeDocument/2006/relationships/slide" Target="slides/slide159.xml"/><Relationship Id="rId185" Type="http://schemas.openxmlformats.org/officeDocument/2006/relationships/slide" Target="slides/slide17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" Target="slides/slide170.xml"/><Relationship Id="rId210" Type="http://schemas.openxmlformats.org/officeDocument/2006/relationships/slide" Target="slides/slide200.xml"/><Relationship Id="rId215" Type="http://schemas.openxmlformats.org/officeDocument/2006/relationships/slide" Target="slides/slide205.xml"/><Relationship Id="rId236" Type="http://schemas.openxmlformats.org/officeDocument/2006/relationships/slide" Target="slides/slide226.xml"/><Relationship Id="rId26" Type="http://schemas.openxmlformats.org/officeDocument/2006/relationships/slide" Target="slides/slide16.xml"/><Relationship Id="rId231" Type="http://schemas.openxmlformats.org/officeDocument/2006/relationships/slide" Target="slides/slide221.xml"/><Relationship Id="rId47" Type="http://schemas.openxmlformats.org/officeDocument/2006/relationships/slide" Target="slides/slide37.xml"/><Relationship Id="rId68" Type="http://schemas.openxmlformats.org/officeDocument/2006/relationships/slide" Target="slides/slide58.xml"/><Relationship Id="rId89" Type="http://schemas.openxmlformats.org/officeDocument/2006/relationships/slide" Target="slides/slide79.xml"/><Relationship Id="rId112" Type="http://schemas.openxmlformats.org/officeDocument/2006/relationships/slide" Target="slides/slide102.xml"/><Relationship Id="rId133" Type="http://schemas.openxmlformats.org/officeDocument/2006/relationships/slide" Target="slides/slide123.xml"/><Relationship Id="rId154" Type="http://schemas.openxmlformats.org/officeDocument/2006/relationships/slide" Target="slides/slide144.xml"/><Relationship Id="rId175" Type="http://schemas.openxmlformats.org/officeDocument/2006/relationships/slide" Target="slides/slide165.xml"/><Relationship Id="rId196" Type="http://schemas.openxmlformats.org/officeDocument/2006/relationships/slide" Target="slides/slide186.xml"/><Relationship Id="rId200" Type="http://schemas.openxmlformats.org/officeDocument/2006/relationships/slide" Target="slides/slide190.xml"/><Relationship Id="rId16" Type="http://schemas.openxmlformats.org/officeDocument/2006/relationships/slide" Target="slides/slide6.xml"/><Relationship Id="rId221" Type="http://schemas.openxmlformats.org/officeDocument/2006/relationships/slide" Target="slides/slide211.xml"/><Relationship Id="rId242" Type="http://schemas.openxmlformats.org/officeDocument/2006/relationships/handoutMaster" Target="handoutMasters/handoutMaster1.xml"/><Relationship Id="rId37" Type="http://schemas.openxmlformats.org/officeDocument/2006/relationships/slide" Target="slides/slide27.xml"/><Relationship Id="rId58" Type="http://schemas.openxmlformats.org/officeDocument/2006/relationships/slide" Target="slides/slide48.xml"/><Relationship Id="rId79" Type="http://schemas.openxmlformats.org/officeDocument/2006/relationships/slide" Target="slides/slide69.xml"/><Relationship Id="rId102" Type="http://schemas.openxmlformats.org/officeDocument/2006/relationships/slide" Target="slides/slide92.xml"/><Relationship Id="rId123" Type="http://schemas.openxmlformats.org/officeDocument/2006/relationships/slide" Target="slides/slide113.xml"/><Relationship Id="rId144" Type="http://schemas.openxmlformats.org/officeDocument/2006/relationships/slide" Target="slides/slide134.xml"/><Relationship Id="rId90" Type="http://schemas.openxmlformats.org/officeDocument/2006/relationships/slide" Target="slides/slide80.xml"/><Relationship Id="rId165" Type="http://schemas.openxmlformats.org/officeDocument/2006/relationships/slide" Target="slides/slide155.xml"/><Relationship Id="rId186" Type="http://schemas.openxmlformats.org/officeDocument/2006/relationships/slide" Target="slides/slide176.xml"/><Relationship Id="rId211" Type="http://schemas.openxmlformats.org/officeDocument/2006/relationships/slide" Target="slides/slide201.xml"/><Relationship Id="rId232" Type="http://schemas.openxmlformats.org/officeDocument/2006/relationships/slide" Target="slides/slide222.xml"/><Relationship Id="rId27" Type="http://schemas.openxmlformats.org/officeDocument/2006/relationships/slide" Target="slides/slide17.xml"/><Relationship Id="rId48" Type="http://schemas.openxmlformats.org/officeDocument/2006/relationships/slide" Target="slides/slide38.xml"/><Relationship Id="rId69" Type="http://schemas.openxmlformats.org/officeDocument/2006/relationships/slide" Target="slides/slide59.xml"/><Relationship Id="rId113" Type="http://schemas.openxmlformats.org/officeDocument/2006/relationships/slide" Target="slides/slide103.xml"/><Relationship Id="rId134" Type="http://schemas.openxmlformats.org/officeDocument/2006/relationships/slide" Target="slides/slide124.xml"/><Relationship Id="rId80" Type="http://schemas.openxmlformats.org/officeDocument/2006/relationships/slide" Target="slides/slide70.xml"/><Relationship Id="rId155" Type="http://schemas.openxmlformats.org/officeDocument/2006/relationships/slide" Target="slides/slide145.xml"/><Relationship Id="rId176" Type="http://schemas.openxmlformats.org/officeDocument/2006/relationships/slide" Target="slides/slide166.xml"/><Relationship Id="rId197" Type="http://schemas.openxmlformats.org/officeDocument/2006/relationships/slide" Target="slides/slide187.xml"/><Relationship Id="rId201" Type="http://schemas.openxmlformats.org/officeDocument/2006/relationships/slide" Target="slides/slide191.xml"/><Relationship Id="rId222" Type="http://schemas.openxmlformats.org/officeDocument/2006/relationships/slide" Target="slides/slide212.xml"/><Relationship Id="rId243" Type="http://schemas.openxmlformats.org/officeDocument/2006/relationships/tags" Target="tags/tag1.xml"/><Relationship Id="rId17" Type="http://schemas.openxmlformats.org/officeDocument/2006/relationships/slide" Target="slides/slide7.xml"/><Relationship Id="rId38" Type="http://schemas.openxmlformats.org/officeDocument/2006/relationships/slide" Target="slides/slide28.xml"/><Relationship Id="rId59" Type="http://schemas.openxmlformats.org/officeDocument/2006/relationships/slide" Target="slides/slide49.xml"/><Relationship Id="rId103" Type="http://schemas.openxmlformats.org/officeDocument/2006/relationships/slide" Target="slides/slide93.xml"/><Relationship Id="rId124" Type="http://schemas.openxmlformats.org/officeDocument/2006/relationships/slide" Target="slides/slide114.xml"/><Relationship Id="rId70" Type="http://schemas.openxmlformats.org/officeDocument/2006/relationships/slide" Target="slides/slide60.xml"/><Relationship Id="rId91" Type="http://schemas.openxmlformats.org/officeDocument/2006/relationships/slide" Target="slides/slide81.xml"/><Relationship Id="rId145" Type="http://schemas.openxmlformats.org/officeDocument/2006/relationships/slide" Target="slides/slide135.xml"/><Relationship Id="rId166" Type="http://schemas.openxmlformats.org/officeDocument/2006/relationships/slide" Target="slides/slide156.xml"/><Relationship Id="rId187" Type="http://schemas.openxmlformats.org/officeDocument/2006/relationships/slide" Target="slides/slide177.xml"/><Relationship Id="rId1" Type="http://schemas.openxmlformats.org/officeDocument/2006/relationships/customXml" Target="../customXml/item1.xml"/><Relationship Id="rId212" Type="http://schemas.openxmlformats.org/officeDocument/2006/relationships/slide" Target="slides/slide202.xml"/><Relationship Id="rId233" Type="http://schemas.openxmlformats.org/officeDocument/2006/relationships/slide" Target="slides/slide223.xml"/><Relationship Id="rId28" Type="http://schemas.openxmlformats.org/officeDocument/2006/relationships/slide" Target="slides/slide18.xml"/><Relationship Id="rId49" Type="http://schemas.openxmlformats.org/officeDocument/2006/relationships/slide" Target="slides/slide39.xml"/><Relationship Id="rId114" Type="http://schemas.openxmlformats.org/officeDocument/2006/relationships/slide" Target="slides/slide104.xml"/><Relationship Id="rId60" Type="http://schemas.openxmlformats.org/officeDocument/2006/relationships/slide" Target="slides/slide50.xml"/><Relationship Id="rId81" Type="http://schemas.openxmlformats.org/officeDocument/2006/relationships/slide" Target="slides/slide71.xml"/><Relationship Id="rId135" Type="http://schemas.openxmlformats.org/officeDocument/2006/relationships/slide" Target="slides/slide125.xml"/><Relationship Id="rId156" Type="http://schemas.openxmlformats.org/officeDocument/2006/relationships/slide" Target="slides/slide146.xml"/><Relationship Id="rId177" Type="http://schemas.openxmlformats.org/officeDocument/2006/relationships/slide" Target="slides/slide167.xml"/><Relationship Id="rId198" Type="http://schemas.openxmlformats.org/officeDocument/2006/relationships/slide" Target="slides/slide188.xml"/><Relationship Id="rId202" Type="http://schemas.openxmlformats.org/officeDocument/2006/relationships/slide" Target="slides/slide192.xml"/><Relationship Id="rId223" Type="http://schemas.openxmlformats.org/officeDocument/2006/relationships/slide" Target="slides/slide213.xml"/><Relationship Id="rId244" Type="http://schemas.openxmlformats.org/officeDocument/2006/relationships/commentAuthors" Target="commentAuthors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50" Type="http://schemas.openxmlformats.org/officeDocument/2006/relationships/slide" Target="slides/slide40.xml"/><Relationship Id="rId104" Type="http://schemas.openxmlformats.org/officeDocument/2006/relationships/slide" Target="slides/slide94.xml"/><Relationship Id="rId125" Type="http://schemas.openxmlformats.org/officeDocument/2006/relationships/slide" Target="slides/slide115.xml"/><Relationship Id="rId146" Type="http://schemas.openxmlformats.org/officeDocument/2006/relationships/slide" Target="slides/slide136.xml"/><Relationship Id="rId167" Type="http://schemas.openxmlformats.org/officeDocument/2006/relationships/slide" Target="slides/slide157.xml"/><Relationship Id="rId188" Type="http://schemas.openxmlformats.org/officeDocument/2006/relationships/slide" Target="slides/slide178.xml"/><Relationship Id="rId71" Type="http://schemas.openxmlformats.org/officeDocument/2006/relationships/slide" Target="slides/slide61.xml"/><Relationship Id="rId92" Type="http://schemas.openxmlformats.org/officeDocument/2006/relationships/slide" Target="slides/slide82.xml"/><Relationship Id="rId213" Type="http://schemas.openxmlformats.org/officeDocument/2006/relationships/slide" Target="slides/slide203.xml"/><Relationship Id="rId234" Type="http://schemas.openxmlformats.org/officeDocument/2006/relationships/slide" Target="slides/slide224.xml"/><Relationship Id="rId2" Type="http://schemas.openxmlformats.org/officeDocument/2006/relationships/customXml" Target="../customXml/item2.xml"/><Relationship Id="rId29" Type="http://schemas.openxmlformats.org/officeDocument/2006/relationships/slide" Target="slides/slide19.xml"/><Relationship Id="rId40" Type="http://schemas.openxmlformats.org/officeDocument/2006/relationships/slide" Target="slides/slide30.xml"/><Relationship Id="rId115" Type="http://schemas.openxmlformats.org/officeDocument/2006/relationships/slide" Target="slides/slide105.xml"/><Relationship Id="rId136" Type="http://schemas.openxmlformats.org/officeDocument/2006/relationships/slide" Target="slides/slide126.xml"/><Relationship Id="rId157" Type="http://schemas.openxmlformats.org/officeDocument/2006/relationships/slide" Target="slides/slide147.xml"/><Relationship Id="rId178" Type="http://schemas.openxmlformats.org/officeDocument/2006/relationships/slide" Target="slides/slide168.xml"/><Relationship Id="rId61" Type="http://schemas.openxmlformats.org/officeDocument/2006/relationships/slide" Target="slides/slide51.xml"/><Relationship Id="rId82" Type="http://schemas.openxmlformats.org/officeDocument/2006/relationships/slide" Target="slides/slide72.xml"/><Relationship Id="rId199" Type="http://schemas.openxmlformats.org/officeDocument/2006/relationships/slide" Target="slides/slide189.xml"/><Relationship Id="rId203" Type="http://schemas.openxmlformats.org/officeDocument/2006/relationships/slide" Target="slides/slide193.xml"/><Relationship Id="rId19" Type="http://schemas.openxmlformats.org/officeDocument/2006/relationships/slide" Target="slides/slide9.xml"/><Relationship Id="rId224" Type="http://schemas.openxmlformats.org/officeDocument/2006/relationships/slide" Target="slides/slide214.xml"/><Relationship Id="rId245" Type="http://schemas.openxmlformats.org/officeDocument/2006/relationships/presProps" Target="presProps.xml"/><Relationship Id="rId30" Type="http://schemas.openxmlformats.org/officeDocument/2006/relationships/slide" Target="slides/slide20.xml"/><Relationship Id="rId105" Type="http://schemas.openxmlformats.org/officeDocument/2006/relationships/slide" Target="slides/slide95.xml"/><Relationship Id="rId126" Type="http://schemas.openxmlformats.org/officeDocument/2006/relationships/slide" Target="slides/slide116.xml"/><Relationship Id="rId147" Type="http://schemas.openxmlformats.org/officeDocument/2006/relationships/slide" Target="slides/slide137.xml"/><Relationship Id="rId168" Type="http://schemas.openxmlformats.org/officeDocument/2006/relationships/slide" Target="slides/slide158.xml"/><Relationship Id="rId51" Type="http://schemas.openxmlformats.org/officeDocument/2006/relationships/slide" Target="slides/slide41.xml"/><Relationship Id="rId72" Type="http://schemas.openxmlformats.org/officeDocument/2006/relationships/slide" Target="slides/slide62.xml"/><Relationship Id="rId93" Type="http://schemas.openxmlformats.org/officeDocument/2006/relationships/slide" Target="slides/slide83.xml"/><Relationship Id="rId189" Type="http://schemas.openxmlformats.org/officeDocument/2006/relationships/slide" Target="slides/slide179.xml"/><Relationship Id="rId3" Type="http://schemas.openxmlformats.org/officeDocument/2006/relationships/customXml" Target="../customXml/item3.xml"/><Relationship Id="rId214" Type="http://schemas.openxmlformats.org/officeDocument/2006/relationships/slide" Target="slides/slide204.xml"/><Relationship Id="rId235" Type="http://schemas.openxmlformats.org/officeDocument/2006/relationships/slide" Target="slides/slide225.xml"/><Relationship Id="rId116" Type="http://schemas.openxmlformats.org/officeDocument/2006/relationships/slide" Target="slides/slide106.xml"/><Relationship Id="rId137" Type="http://schemas.openxmlformats.org/officeDocument/2006/relationships/slide" Target="slides/slide127.xml"/><Relationship Id="rId158" Type="http://schemas.openxmlformats.org/officeDocument/2006/relationships/slide" Target="slides/slide148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62" Type="http://schemas.openxmlformats.org/officeDocument/2006/relationships/slide" Target="slides/slide52.xml"/><Relationship Id="rId83" Type="http://schemas.openxmlformats.org/officeDocument/2006/relationships/slide" Target="slides/slide73.xml"/><Relationship Id="rId179" Type="http://schemas.openxmlformats.org/officeDocument/2006/relationships/slide" Target="slides/slide169.xml"/><Relationship Id="rId190" Type="http://schemas.openxmlformats.org/officeDocument/2006/relationships/slide" Target="slides/slide180.xml"/><Relationship Id="rId204" Type="http://schemas.openxmlformats.org/officeDocument/2006/relationships/slide" Target="slides/slide194.xml"/><Relationship Id="rId225" Type="http://schemas.openxmlformats.org/officeDocument/2006/relationships/slide" Target="slides/slide215.xml"/><Relationship Id="rId246" Type="http://schemas.openxmlformats.org/officeDocument/2006/relationships/viewProps" Target="viewProps.xml"/><Relationship Id="rId106" Type="http://schemas.openxmlformats.org/officeDocument/2006/relationships/slide" Target="slides/slide96.xml"/><Relationship Id="rId127" Type="http://schemas.openxmlformats.org/officeDocument/2006/relationships/slide" Target="slides/slide11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chartUserShapes" Target="../drawings/drawing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6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16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Microsoft_Excel_Worksheet21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Microsoft_Excel_Worksheet22.xlsx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40.xml"/><Relationship Id="rId2" Type="http://schemas.microsoft.com/office/2011/relationships/chartStyle" Target="style40.xml"/><Relationship Id="rId1" Type="http://schemas.openxmlformats.org/officeDocument/2006/relationships/package" Target="../embeddings/Microsoft_Excel_Worksheet4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baseline="0" dirty="0">
                <a:solidFill>
                  <a:srgbClr val="002060"/>
                </a:solidFill>
              </a:rPr>
              <a:t>20-80%</a:t>
            </a:r>
          </a:p>
        </c:rich>
      </c:tx>
      <c:layout>
        <c:manualLayout>
          <c:xMode val="edge"/>
          <c:yMode val="edge"/>
          <c:x val="0.35921060686588513"/>
          <c:y val="0.522974508594701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dPt>
            <c:idx val="0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581-46C6-8770-95FEC814A4AD}"/>
              </c:ext>
            </c:extLst>
          </c:dPt>
          <c:dPt>
            <c:idx val="1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581-46C6-8770-95FEC814A4AD}"/>
              </c:ext>
            </c:extLst>
          </c:dPt>
          <c:dPt>
            <c:idx val="2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54-4FF0-BB57-7A98CD026CB5}"/>
              </c:ext>
            </c:extLst>
          </c:dPt>
          <c:dPt>
            <c:idx val="3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954-4FF0-BB57-7A98CD026CB5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1-46C6-8770-95FEC814A4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32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15-4710-BD18-5585B49113A0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819-4EBF-A949-3C7BC294CEE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05B1-4ADD-AE1E-CBA3C4BD2C78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74-4445-BFA5-40B518CD0432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2</c:v>
                </c:pt>
                <c:pt idx="1">
                  <c:v>0.19</c:v>
                </c:pt>
                <c:pt idx="2">
                  <c:v>0.27</c:v>
                </c:pt>
                <c:pt idx="3">
                  <c:v>0.28000000000000003</c:v>
                </c:pt>
                <c:pt idx="4">
                  <c:v>0.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998-4E3B-8D8B-0A5B1CD85B1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C$2:$C$6</c:f>
              <c:numCache>
                <c:formatCode>0%</c:formatCode>
                <c:ptCount val="5"/>
                <c:pt idx="0">
                  <c:v>0.38</c:v>
                </c:pt>
                <c:pt idx="1">
                  <c:v>0.37</c:v>
                </c:pt>
                <c:pt idx="2">
                  <c:v>0.4</c:v>
                </c:pt>
                <c:pt idx="3">
                  <c:v>0.4</c:v>
                </c:pt>
                <c:pt idx="4">
                  <c:v>0.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98-4E3B-8D8B-0A5B1CD85B1C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umna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D$2:$D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98-4E3B-8D8B-0A5B1CD85B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1269647"/>
        <c:axId val="191264071"/>
      </c:lineChart>
      <c:catAx>
        <c:axId val="191269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264071"/>
        <c:crosses val="autoZero"/>
        <c:auto val="1"/>
        <c:lblAlgn val="ctr"/>
        <c:lblOffset val="100"/>
        <c:noMultiLvlLbl val="0"/>
      </c:catAx>
      <c:valAx>
        <c:axId val="19126407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12696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tertainment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4E59AC5-BAEE-4F95-AEFB-4F34B7A3A15B}" type="SERIESNAME">
                      <a:rPr lang="en-US" sz="1000"/>
                      <a:pPr/>
                      <a:t>[SERIES NAME]</a:t>
                    </a:fld>
                    <a:r>
                      <a:rPr lang="en-US" sz="1000" baseline="0"/>
                      <a:t>; </a:t>
                    </a:r>
                    <a:br>
                      <a:rPr lang="en-US" sz="1000" baseline="0"/>
                    </a:br>
                    <a:fld id="{20D71BCA-8FD8-4D8E-A46B-61B2EA7A96D4}" type="VALUE">
                      <a:rPr lang="en-US" sz="1000" baseline="0" smtClean="0"/>
                      <a:pPr/>
                      <a:t>[VALUE]</a:t>
                    </a:fld>
                    <a:endParaRPr lang="en-US" sz="1000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B1D6288-0908-4A20-A520-0BBB91457C0A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BF3A284F-1B79-4561-B036-CB6C7955D1D1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115C746-F0E6-475B-969C-852E9747C12C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15E650AB-281C-4C6C-BE2E-132EE04200A3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25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7F-6949-997C-0E8854CB49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AA87F91-DCC5-426B-81D6-DCF0BB3A1987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C00D6620-5CD6-4E34-92E5-E73D3CFE3008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154AE51-69D1-4907-9AE3-0EF0586DF364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7E7C79E4-B8F6-4F20-948B-1F12545D89A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2E9BE2A-5B0D-4A36-8219-B27DA020F73D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3F4C54BA-E353-4CBD-9CB3-071413AD3F3D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4</c:v>
                </c:pt>
                <c:pt idx="1">
                  <c:v>44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7F-6949-997C-0E8854CB49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A98E04-1204-4BE7-9D70-9B8E777D28C2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9EDFD2E5-D3B5-48DD-84E9-734056CD95C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B6D3BF3-3709-41B8-9985-5916031B01A1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29B8195D-0796-4F86-A775-AE8A8E0326EB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392EC95-0809-4C1F-A49B-3423F27755E2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3ACF3DD0-3D8B-4342-AC29-006B99A5AE21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2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7F-6949-997C-0E8854CB49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25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05485139400455E-2"/>
          <c:y val="5.3383949408555474E-2"/>
          <c:w val="0.94529451486059957"/>
          <c:h val="0.820123413458347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00</c:v>
                </c:pt>
                <c:pt idx="1">
                  <c:v>700</c:v>
                </c:pt>
                <c:pt idx="2">
                  <c:v>380</c:v>
                </c:pt>
                <c:pt idx="3">
                  <c:v>203</c:v>
                </c:pt>
                <c:pt idx="4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B3-0B4A-8DCD-ABD30CE9D6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330</c:v>
                </c:pt>
                <c:pt idx="1">
                  <c:v>725</c:v>
                </c:pt>
                <c:pt idx="2">
                  <c:v>390</c:v>
                </c:pt>
                <c:pt idx="3">
                  <c:v>205</c:v>
                </c:pt>
                <c:pt idx="4">
                  <c:v>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B3-0B4A-8DCD-ABD30CE9D6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600</c:v>
                </c:pt>
                <c:pt idx="1">
                  <c:v>1400</c:v>
                </c:pt>
                <c:pt idx="2">
                  <c:v>750</c:v>
                </c:pt>
                <c:pt idx="3">
                  <c:v>405</c:v>
                </c:pt>
                <c:pt idx="4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B3-0B4A-8DCD-ABD30CE9D6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615</c:v>
                </c:pt>
                <c:pt idx="1">
                  <c:v>1467</c:v>
                </c:pt>
                <c:pt idx="2">
                  <c:v>745</c:v>
                </c:pt>
                <c:pt idx="3">
                  <c:v>444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B3-0B4A-8DCD-ABD30CE9D6C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F$2:$F$6</c:f>
              <c:numCache>
                <c:formatCode>General</c:formatCode>
                <c:ptCount val="5"/>
                <c:pt idx="0">
                  <c:v>610</c:v>
                </c:pt>
                <c:pt idx="1">
                  <c:v>1467</c:v>
                </c:pt>
                <c:pt idx="2">
                  <c:v>750</c:v>
                </c:pt>
                <c:pt idx="3">
                  <c:v>439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B3-0B4A-8DCD-ABD30CE9D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0"/>
        <c:axId val="384810592"/>
        <c:axId val="384622272"/>
      </c:barChart>
      <c:catAx>
        <c:axId val="384810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384622272"/>
        <c:crosses val="autoZero"/>
        <c:auto val="1"/>
        <c:lblAlgn val="ctr"/>
        <c:lblOffset val="100"/>
        <c:noMultiLvlLbl val="0"/>
      </c:catAx>
      <c:valAx>
        <c:axId val="384622272"/>
        <c:scaling>
          <c:orientation val="minMax"/>
          <c:max val="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384810592"/>
        <c:crosses val="autoZero"/>
        <c:crossBetween val="between"/>
        <c:majorUnit val="400"/>
        <c:min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pPr>
            <a:r>
              <a:rPr lang="en-US" sz="1400" b="1" baseline="0" dirty="0">
                <a:solidFill>
                  <a:srgbClr val="002060"/>
                </a:solidFill>
              </a:rPr>
              <a:t>100%</a:t>
            </a:r>
          </a:p>
        </c:rich>
      </c:tx>
      <c:layout>
        <c:manualLayout>
          <c:xMode val="edge"/>
          <c:yMode val="edge"/>
          <c:x val="0.37688036875540876"/>
          <c:y val="0.536226825402291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accent3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dPt>
            <c:idx val="0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AB8-4A76-983E-1EA4E4B9DC19}"/>
              </c:ext>
            </c:extLst>
          </c:dPt>
          <c:dPt>
            <c:idx val="1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AB8-4A76-983E-1EA4E4B9DC19}"/>
              </c:ext>
            </c:extLst>
          </c:dPt>
          <c:dPt>
            <c:idx val="2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AB8-4A76-983E-1EA4E4B9DC19}"/>
              </c:ext>
            </c:extLst>
          </c:dPt>
          <c:dPt>
            <c:idx val="3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AB8-4A76-983E-1EA4E4B9DC19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AB8-4A76-983E-1EA4E4B9DC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3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0BDE-493A-96C1-2D432278A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5642584"/>
        <c:axId val="835642912"/>
      </c:barChar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DE-493A-96C1-2D432278A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5655376"/>
        <c:axId val="83565111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BDE-493A-96C1-2D432278A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5642584"/>
        <c:axId val="835642912"/>
      </c:lineChart>
      <c:catAx>
        <c:axId val="835642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5642912"/>
        <c:crosses val="autoZero"/>
        <c:auto val="1"/>
        <c:lblAlgn val="ctr"/>
        <c:lblOffset val="100"/>
        <c:noMultiLvlLbl val="0"/>
      </c:catAx>
      <c:valAx>
        <c:axId val="83564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5642584"/>
        <c:crosses val="autoZero"/>
        <c:crossBetween val="between"/>
      </c:valAx>
      <c:valAx>
        <c:axId val="83565111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5655376"/>
        <c:crosses val="max"/>
        <c:crossBetween val="between"/>
      </c:valAx>
      <c:catAx>
        <c:axId val="83565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35651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15-43A9-A8DE-9F78F6D933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0"/>
      </c:catAx>
      <c:valAx>
        <c:axId val="751199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3615-43A9-A8DE-9F78F6D93340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6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6A-4322-ACDE-C770B050C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1"/>
      </c:catAx>
      <c:valAx>
        <c:axId val="751199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12</c:v>
                </c:pt>
                <c:pt idx="1">
                  <c:v>26</c:v>
                </c:pt>
                <c:pt idx="2">
                  <c:v>20</c:v>
                </c:pt>
                <c:pt idx="3">
                  <c:v>15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05-441D-92D6-96BD797760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0"/>
      </c:catAx>
      <c:valAx>
        <c:axId val="7511998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0671-4700-ADF4-89E3BB0D717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6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71-4700-ADF4-89E3BB0D71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1"/>
      </c:catAx>
      <c:valAx>
        <c:axId val="751199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  <c:pt idx="5">
                  <c:v>50</c:v>
                </c:pt>
                <c:pt idx="6">
                  <c:v>67</c:v>
                </c:pt>
                <c:pt idx="7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9A-1949-876D-197407AA5D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  <c:pt idx="5">
                  <c:v>101</c:v>
                </c:pt>
                <c:pt idx="6">
                  <c:v>133</c:v>
                </c:pt>
                <c:pt idx="7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9A-1949-876D-197407AA5D5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  <c:pt idx="5">
                  <c:v>74</c:v>
                </c:pt>
                <c:pt idx="6">
                  <c:v>88</c:v>
                </c:pt>
                <c:pt idx="7">
                  <c:v>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9A-1949-876D-197407AA5D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395389577248543E-2"/>
          <c:y val="2.9301807357291598E-2"/>
          <c:w val="0.89256902475363009"/>
          <c:h val="0.8931415312952532"/>
        </c:manualLayout>
      </c:layout>
      <c:scatterChart>
        <c:scatterStyle val="lineMarker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857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E$2</c:f>
              <c:numCache>
                <c:formatCode>General</c:formatCode>
                <c:ptCount val="5"/>
                <c:pt idx="0">
                  <c:v>50</c:v>
                </c:pt>
                <c:pt idx="1">
                  <c:v>80</c:v>
                </c:pt>
                <c:pt idx="2">
                  <c:v>100</c:v>
                </c:pt>
                <c:pt idx="3">
                  <c:v>45</c:v>
                </c:pt>
                <c:pt idx="4">
                  <c:v>87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15E-4039-9A95-185D82E60254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28575">
                <a:solidFill>
                  <a:schemeClr val="accent2"/>
                </a:solidFill>
              </a:ln>
              <a:effectLst/>
            </c:spPr>
          </c:marker>
          <c:xVal>
            <c:numRef>
              <c:f>Sheet1!$A$3:$E$3</c:f>
              <c:numCache>
                <c:formatCode>General</c:formatCode>
                <c:ptCount val="5"/>
                <c:pt idx="0">
                  <c:v>90</c:v>
                </c:pt>
                <c:pt idx="1">
                  <c:v>120</c:v>
                </c:pt>
                <c:pt idx="2">
                  <c:v>120</c:v>
                </c:pt>
                <c:pt idx="3">
                  <c:v>152</c:v>
                </c:pt>
                <c:pt idx="4">
                  <c:v>200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15E-4039-9A95-185D82E60254}"/>
            </c:ext>
          </c:extLst>
        </c:ser>
        <c:ser>
          <c:idx val="2"/>
          <c:order val="2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  <a:effectLst/>
            </c:spPr>
          </c:marker>
          <c:xVal>
            <c:numRef>
              <c:f>Sheet1!$A$4:$E$4</c:f>
              <c:numCache>
                <c:formatCode>General</c:formatCode>
                <c:ptCount val="5"/>
                <c:pt idx="0">
                  <c:v>120</c:v>
                </c:pt>
                <c:pt idx="1">
                  <c:v>158</c:v>
                </c:pt>
                <c:pt idx="2">
                  <c:v>200</c:v>
                </c:pt>
                <c:pt idx="3">
                  <c:v>220</c:v>
                </c:pt>
                <c:pt idx="4">
                  <c:v>300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15E-4039-9A95-185D82E60254}"/>
            </c:ext>
          </c:extLst>
        </c:ser>
        <c:ser>
          <c:idx val="3"/>
          <c:order val="3"/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28575">
                <a:solidFill>
                  <a:schemeClr val="accent4"/>
                </a:solidFill>
              </a:ln>
              <a:effectLst/>
            </c:spPr>
          </c:marker>
          <c:xVal>
            <c:numRef>
              <c:f>Sheet1!$A$5:$E$5</c:f>
              <c:numCache>
                <c:formatCode>General</c:formatCode>
                <c:ptCount val="5"/>
                <c:pt idx="0">
                  <c:v>200</c:v>
                </c:pt>
                <c:pt idx="1">
                  <c:v>250</c:v>
                </c:pt>
                <c:pt idx="2">
                  <c:v>220</c:v>
                </c:pt>
                <c:pt idx="3">
                  <c:v>250</c:v>
                </c:pt>
                <c:pt idx="4">
                  <c:v>287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D15E-4039-9A95-185D82E60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7680192"/>
        <c:axId val="2007495568"/>
      </c:scatterChart>
      <c:valAx>
        <c:axId val="200768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95568"/>
        <c:crosses val="autoZero"/>
        <c:crossBetween val="midCat"/>
      </c:valAx>
      <c:valAx>
        <c:axId val="20074955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076801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421848331661469"/>
          <c:y val="0.24465226284623115"/>
          <c:w val="9.7926461218137667E-2"/>
          <c:h val="0.364186437521079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CB-DD48-AA85-6E3F3ABA15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CB-DD48-AA85-6E3F3ABA15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CB-DD48-AA85-6E3F3ABA15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54-1541-A7CC-063D57EEC4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54-1541-A7CC-063D57EEC4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54-1541-A7CC-063D57EEC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30-D548-83F2-7F0BE8BA40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30-D548-83F2-7F0BE8BA409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30-D548-83F2-7F0BE8BA40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baseline="0" dirty="0">
                <a:solidFill>
                  <a:srgbClr val="002060"/>
                </a:solidFill>
              </a:rPr>
              <a:t>Hourly</a:t>
            </a:r>
          </a:p>
        </c:rich>
      </c:tx>
      <c:layout>
        <c:manualLayout>
          <c:xMode val="edge"/>
          <c:yMode val="edge"/>
          <c:x val="0.37688036875540876"/>
          <c:y val="0.536226825402291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dPt>
            <c:idx val="0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6B-4A8A-A5F5-B32E1779932F}"/>
              </c:ext>
            </c:extLst>
          </c:dPt>
          <c:dPt>
            <c:idx val="1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6B-4A8A-A5F5-B32E1779932F}"/>
              </c:ext>
            </c:extLst>
          </c:dPt>
          <c:dPt>
            <c:idx val="2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6B-4A8A-A5F5-B32E1779932F}"/>
              </c:ext>
            </c:extLst>
          </c:dPt>
          <c:dPt>
            <c:idx val="3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6B-4A8A-A5F5-B32E1779932F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D6B-4A8A-A5F5-B32E177993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3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ex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38-420B-B981-C7B3037A087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ext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38-420B-B981-C7B3037A087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ext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38-420B-B981-C7B3037A0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9095808"/>
        <c:axId val="719096136"/>
      </c:lineChart>
      <c:catAx>
        <c:axId val="71909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9096136"/>
        <c:crosses val="autoZero"/>
        <c:auto val="1"/>
        <c:lblAlgn val="ctr"/>
        <c:lblOffset val="100"/>
        <c:noMultiLvlLbl val="0"/>
      </c:catAx>
      <c:valAx>
        <c:axId val="719096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909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05</c:v>
                </c:pt>
                <c:pt idx="1">
                  <c:v>0.1</c:v>
                </c:pt>
                <c:pt idx="2">
                  <c:v>0.27</c:v>
                </c:pt>
                <c:pt idx="3">
                  <c:v>0.36</c:v>
                </c:pt>
                <c:pt idx="4">
                  <c:v>0.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900-44EB-B5E4-5D1BBB43E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778615"/>
        <c:axId val="197778943"/>
      </c:lineChart>
      <c:catAx>
        <c:axId val="1977786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7778943"/>
        <c:crosses val="autoZero"/>
        <c:auto val="1"/>
        <c:lblAlgn val="ctr"/>
        <c:lblOffset val="100"/>
        <c:noMultiLvlLbl val="0"/>
      </c:catAx>
      <c:valAx>
        <c:axId val="19777894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7778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Hoja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1</c:v>
                </c:pt>
                <c:pt idx="1">
                  <c:v>10</c:v>
                </c:pt>
                <c:pt idx="2">
                  <c:v>1</c:v>
                </c:pt>
                <c:pt idx="3">
                  <c:v>10</c:v>
                </c:pt>
                <c:pt idx="4">
                  <c:v>1</c:v>
                </c:pt>
                <c:pt idx="5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8AC-4F6C-991E-2471981AFF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Hoja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Hoja1!$C$2:$C$7</c:f>
              <c:numCache>
                <c:formatCode>General</c:formatCode>
                <c:ptCount val="6"/>
                <c:pt idx="0">
                  <c:v>1</c:v>
                </c:pt>
                <c:pt idx="1">
                  <c:v>5</c:v>
                </c:pt>
                <c:pt idx="2">
                  <c:v>1</c:v>
                </c:pt>
                <c:pt idx="3">
                  <c:v>5</c:v>
                </c:pt>
                <c:pt idx="4">
                  <c:v>1</c:v>
                </c:pt>
                <c:pt idx="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8AC-4F6C-991E-2471981AF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775335"/>
        <c:axId val="197769431"/>
      </c:lineChart>
      <c:catAx>
        <c:axId val="197775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69431"/>
        <c:crosses val="autoZero"/>
        <c:auto val="1"/>
        <c:lblAlgn val="ctr"/>
        <c:lblOffset val="100"/>
        <c:noMultiLvlLbl val="0"/>
      </c:catAx>
      <c:valAx>
        <c:axId val="1977694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75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06869063656341E-2"/>
          <c:y val="0.11573512091998733"/>
          <c:w val="0.942574301764322"/>
          <c:h val="0.783036652425326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90000"/>
                </a:schemeClr>
              </a:solidFill>
              <a:ln w="12700">
                <a:solidFill>
                  <a:schemeClr val="tx2"/>
                </a:solidFill>
              </a:ln>
              <a:effectLst/>
            </c:spPr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5</c:v>
                </c:pt>
                <c:pt idx="1">
                  <c:v>98</c:v>
                </c:pt>
                <c:pt idx="2">
                  <c:v>34</c:v>
                </c:pt>
                <c:pt idx="3">
                  <c:v>57</c:v>
                </c:pt>
                <c:pt idx="4">
                  <c:v>11</c:v>
                </c:pt>
                <c:pt idx="5">
                  <c:v>22</c:v>
                </c:pt>
                <c:pt idx="6">
                  <c:v>99</c:v>
                </c:pt>
                <c:pt idx="7">
                  <c:v>36</c:v>
                </c:pt>
                <c:pt idx="8">
                  <c:v>69</c:v>
                </c:pt>
                <c:pt idx="9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241-AE4A-9291-43B144D52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7364735"/>
        <c:axId val="1787366367"/>
      </c:lineChart>
      <c:catAx>
        <c:axId val="1787364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1787366367"/>
        <c:crosses val="autoZero"/>
        <c:auto val="1"/>
        <c:lblAlgn val="ctr"/>
        <c:lblOffset val="100"/>
        <c:noMultiLvlLbl val="0"/>
      </c:catAx>
      <c:valAx>
        <c:axId val="1787366367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1787364735"/>
        <c:crosses val="autoZero"/>
        <c:crossBetween val="between"/>
        <c:majorUnit val="20"/>
        <c:min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4E-4345-A011-F6CEBB4AC42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4E-4345-A011-F6CEBB4AC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1507632"/>
        <c:axId val="1601508616"/>
      </c:radarChart>
      <c:catAx>
        <c:axId val="160150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508616"/>
        <c:crosses val="autoZero"/>
        <c:auto val="1"/>
        <c:lblAlgn val="ctr"/>
        <c:lblOffset val="100"/>
        <c:noMultiLvlLbl val="0"/>
      </c:catAx>
      <c:valAx>
        <c:axId val="1601508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507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63-40BB-AA39-C4AEF14B1B7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63-40BB-AA39-C4AEF14B1B7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12D-45E4-A96E-B3A62D97017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963-40BB-AA39-C4AEF14B1B7D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12D-45E4-A96E-B3A62D9701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2D-45E4-A96E-B3A62D970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D1-41CB-86BB-66B5AA5DAC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D1-41CB-86BB-66B5AA5DAC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D1-41CB-86BB-66B5AA5DAC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DD1-41CB-86BB-66B5AA5DAC7F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DD1-41CB-86BB-66B5AA5DA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D1-41CB-86BB-66B5AA5DAC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7E4-8447-ACE7-DE8CEA83623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7E4-8447-ACE7-DE8CEA83623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7E4-8447-ACE7-DE8CEA836238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E4-8447-ACE7-DE8CEA836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2E-5D44-97CF-44566A04F7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2E-5D44-97CF-44566A04F7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2E-5D44-97CF-44566A04F770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F2E-5D44-97CF-44566A04F7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52-BA48-AB56-33B606F2BC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52-BA48-AB56-33B606F2BC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52-BA48-AB56-33B606F2BCE1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52-BA48-AB56-33B606F2BC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2F-AC40-95CC-45C728D1C18F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2F-AC40-95CC-45C728D1C1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2F-AC40-95CC-45C728D1C18F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2F-AC40-95CC-45C728D1C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DFB-E647-8CCC-898FC26AB40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DFB-E647-8CCC-898FC26AB40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DFB-E647-8CCC-898FC26AB400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DFB-E647-8CCC-898FC26AB4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070-804F-B254-48358E1E33E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070-804F-B254-48358E1E33E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070-804F-B254-48358E1E33E2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070-804F-B254-48358E1E3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B4-5B48-9BAB-83E5D639ED7B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B4-5B48-9BAB-83E5D639ED7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DB4-5B48-9BAB-83E5D639ED7B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B4-5B48-9BAB-83E5D639ED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77-47C4-AAD6-AFD99422591D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77-47C4-AAD6-AFD9942259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1399784"/>
        <c:axId val="1021400112"/>
      </c:areaChart>
      <c:catAx>
        <c:axId val="1021399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1400112"/>
        <c:crosses val="autoZero"/>
        <c:auto val="1"/>
        <c:lblAlgn val="ctr"/>
        <c:lblOffset val="100"/>
        <c:noMultiLvlLbl val="0"/>
      </c:catAx>
      <c:valAx>
        <c:axId val="1021400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13997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numRef>
              <c:f>Hoja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B0-41AC-89CE-C2506CE5183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numRef>
              <c:f>Hoja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B0-41AC-89CE-C2506CE51831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19050">
                <a:solidFill>
                  <a:schemeClr val="accent3"/>
                </a:solidFill>
              </a:ln>
              <a:effectLst/>
            </c:spPr>
          </c:marker>
          <c:cat>
            <c:numRef>
              <c:f>Hoja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Hoja1!$D$2:$D$6</c:f>
              <c:numCache>
                <c:formatCode>General</c:formatCode>
                <c:ptCount val="5"/>
                <c:pt idx="0">
                  <c:v>20</c:v>
                </c:pt>
                <c:pt idx="1">
                  <c:v>10</c:v>
                </c:pt>
                <c:pt idx="2">
                  <c:v>15</c:v>
                </c:pt>
                <c:pt idx="3">
                  <c:v>4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B0-41AC-89CE-C2506CE51831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Serie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marker>
          <c:cat>
            <c:numRef>
              <c:f>Hoja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Hoja1!$E$2:$E$6</c:f>
              <c:numCache>
                <c:formatCode>General</c:formatCode>
                <c:ptCount val="5"/>
                <c:pt idx="0">
                  <c:v>40</c:v>
                </c:pt>
                <c:pt idx="1">
                  <c:v>13</c:v>
                </c:pt>
                <c:pt idx="2">
                  <c:v>25</c:v>
                </c:pt>
                <c:pt idx="3">
                  <c:v>30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B0-41AC-89CE-C2506CE51831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Serie 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5"/>
              </a:solidFill>
              <a:ln w="19050">
                <a:solidFill>
                  <a:schemeClr val="accent5"/>
                </a:solidFill>
              </a:ln>
              <a:effectLst/>
            </c:spPr>
          </c:marker>
          <c:cat>
            <c:numRef>
              <c:f>Hoja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Hoja1!$F$2:$F$6</c:f>
              <c:numCache>
                <c:formatCode>General</c:formatCode>
                <c:ptCount val="5"/>
                <c:pt idx="0">
                  <c:v>5</c:v>
                </c:pt>
                <c:pt idx="1">
                  <c:v>26</c:v>
                </c:pt>
                <c:pt idx="2">
                  <c:v>35</c:v>
                </c:pt>
                <c:pt idx="3">
                  <c:v>8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AB0-41AC-89CE-C2506CE518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02792648"/>
        <c:axId val="1302782928"/>
      </c:radarChart>
      <c:catAx>
        <c:axId val="1302792648"/>
        <c:scaling>
          <c:orientation val="minMax"/>
        </c:scaling>
        <c:delete val="1"/>
        <c:axPos val="b"/>
        <c:numFmt formatCode="m/d/yyyy" sourceLinked="1"/>
        <c:majorTickMark val="none"/>
        <c:minorTickMark val="none"/>
        <c:tickLblPos val="nextTo"/>
        <c:crossAx val="1302782928"/>
        <c:crosses val="autoZero"/>
        <c:auto val="1"/>
        <c:lblAlgn val="ctr"/>
        <c:lblOffset val="100"/>
        <c:noMultiLvlLbl val="0"/>
      </c:catAx>
      <c:valAx>
        <c:axId val="13027829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302792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EC3-49B4-8ABC-11B5267E9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ue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C5E-43A7-A718-DBCCE7EA2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69-40E8-8932-BBD9549912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bubbleSize>
            <c:numRef>
              <c:f>Hoja1!$C$2:$C$4</c:f>
              <c:numCache>
                <c:formatCode>General</c:formatCode>
                <c:ptCount val="3"/>
                <c:pt idx="0">
                  <c:v>10</c:v>
                </c:pt>
                <c:pt idx="1">
                  <c:v>4</c:v>
                </c:pt>
                <c:pt idx="2">
                  <c:v>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C0D-40B4-B8A6-BA32D33E1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5072984"/>
        <c:axId val="915070032"/>
      </c:bubbleChart>
      <c:valAx>
        <c:axId val="9150729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5070032"/>
        <c:crosses val="autoZero"/>
        <c:crossBetween val="midCat"/>
      </c:valAx>
      <c:valAx>
        <c:axId val="915070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50729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ISTICS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0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0</c:v>
                </c:pt>
                <c:pt idx="13">
                  <c:v>51</c:v>
                </c:pt>
                <c:pt idx="14">
                  <c:v>51</c:v>
                </c:pt>
                <c:pt idx="15">
                  <c:v>51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105-2A41-BF9C-0C583E0777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GRAMMING</c:v>
                </c:pt>
              </c:strCache>
            </c:strRef>
          </c:tx>
          <c:spPr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0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0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0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105-2A41-BF9C-0C583E07775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TH/OR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0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0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5105-2A41-BF9C-0C583E07775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L/BIG DATA</c:v>
                </c:pt>
              </c:strCache>
            </c:strRef>
          </c:tx>
          <c:spPr>
            <a:solidFill>
              <a:schemeClr val="accent4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0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0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0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0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7-5105-2A41-BF9C-0C583E07775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D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0</c:v>
                </c:pt>
                <c:pt idx="1">
                  <c:v>45</c:v>
                </c:pt>
                <c:pt idx="2">
                  <c:v>45</c:v>
                </c:pt>
                <c:pt idx="3">
                  <c:v>45</c:v>
                </c:pt>
                <c:pt idx="4">
                  <c:v>0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0</c:v>
                </c:pt>
                <c:pt idx="9">
                  <c:v>17</c:v>
                </c:pt>
                <c:pt idx="10">
                  <c:v>17</c:v>
                </c:pt>
                <c:pt idx="11">
                  <c:v>17</c:v>
                </c:pt>
                <c:pt idx="12">
                  <c:v>0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5-5105-2A41-BF9C-0C583E0777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791692080"/>
        <c:axId val="1791694048"/>
      </c:areaChart>
      <c:dateAx>
        <c:axId val="1791692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Poppins" pitchFamily="2" charset="77"/>
              </a:defRPr>
            </a:pPr>
            <a:endParaRPr lang="en-US"/>
          </a:p>
        </c:txPr>
        <c:crossAx val="1791694048"/>
        <c:crosses val="autoZero"/>
        <c:auto val="0"/>
        <c:lblOffset val="100"/>
        <c:baseTimeUnit val="days"/>
        <c:majorUnit val="10"/>
        <c:majorTimeUnit val="days"/>
        <c:minorUnit val="10"/>
        <c:minorTimeUnit val="days"/>
      </c:dateAx>
      <c:valAx>
        <c:axId val="1791694048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Poppins" pitchFamily="2" charset="77"/>
              </a:defRPr>
            </a:pPr>
            <a:endParaRPr lang="en-US"/>
          </a:p>
        </c:txPr>
        <c:crossAx val="17916920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 i="0">
          <a:solidFill>
            <a:schemeClr val="tx2"/>
          </a:solidFill>
          <a:latin typeface="+mn-lt"/>
          <a:cs typeface="Poppins" pitchFamily="2" charset="77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tertainm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25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4</c:v>
                </c:pt>
                <c:pt idx="1">
                  <c:v>44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7A-5347-85C8-05058F86A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2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14-4292-B9CD-6073CA618011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814-4292-B9CD-6073CA618011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14-4292-B9CD-6073CA6180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0</c:v>
                </c:pt>
                <c:pt idx="1">
                  <c:v>50</c:v>
                </c:pt>
                <c:pt idx="2">
                  <c:v>40</c:v>
                </c:pt>
                <c:pt idx="3">
                  <c:v>3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1">
                  <c:v>10</c:v>
                </c:pt>
                <c:pt idx="2">
                  <c:v>1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7</c:f>
              <c:numCache>
                <c:formatCode>General</c:formatCode>
                <c:ptCount val="6"/>
              </c:numCache>
            </c:numRef>
          </c:cat>
          <c:val>
            <c:numRef>
              <c:f>Hoja1!$B$2:$B$7</c:f>
              <c:numCache>
                <c:formatCode>General</c:formatCode>
                <c:ptCount val="6"/>
                <c:pt idx="0">
                  <c:v>60</c:v>
                </c:pt>
                <c:pt idx="1">
                  <c:v>50</c:v>
                </c:pt>
                <c:pt idx="2">
                  <c:v>40</c:v>
                </c:pt>
                <c:pt idx="3">
                  <c:v>3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8C-4149-AAFB-C1EE50A419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34048703"/>
        <c:axId val="234051943"/>
      </c:barChart>
      <c:catAx>
        <c:axId val="2340487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4051943"/>
        <c:crosses val="autoZero"/>
        <c:auto val="1"/>
        <c:lblAlgn val="ctr"/>
        <c:lblOffset val="100"/>
        <c:noMultiLvlLbl val="0"/>
      </c:catAx>
      <c:valAx>
        <c:axId val="2340519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40487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A$9</cx:f>
        <cx:lvl ptCount="8">
          <cx:pt idx="0">Text</cx:pt>
          <cx:pt idx="1">Text</cx:pt>
          <cx:pt idx="2">Text</cx:pt>
          <cx:pt idx="3">Text</cx:pt>
          <cx:pt idx="4">Text</cx:pt>
          <cx:pt idx="5">Text</cx:pt>
          <cx:pt idx="6">Text</cx:pt>
          <cx:pt idx="7">Text</cx:pt>
        </cx:lvl>
      </cx:strDim>
      <cx:numDim type="val">
        <cx:f>Hoja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3AA2F6E4-BFE2-42EE-9182-6C84FC642DDC}">
          <cx:tx>
            <cx:txData>
              <cx:f>Hoja1!$B$1</cx:f>
              <cx:v>Serie1</cx:v>
            </cx:txData>
          </cx:tx>
          <cx:spPr>
            <a:solidFill>
              <a:schemeClr val="tx2"/>
            </a:solidFill>
          </cx:spPr>
          <cx:dataLabels pos="outEnd">
            <cx:visibility seriesName="1" categoryName="0" value="1"/>
            <cx:separator>, </cx:separator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</cx:axis>
      <cx:axis id="1">
        <cx:valScaling/>
        <cx:majorGridlines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C$17</cx:f>
        <cx:lvl ptCount="16">
          <cx:pt idx="0">Hoja 1</cx:pt>
          <cx:pt idx="1">Hoja 2</cx:pt>
          <cx:pt idx="2">Hoja 3</cx:pt>
          <cx:pt idx="3">Hoja 4</cx:pt>
          <cx:pt idx="4">Hoja 5</cx:pt>
          <cx:pt idx="5">Hoja 6</cx:pt>
          <cx:pt idx="6">Hoja 7</cx:pt>
          <cx:pt idx="7">Hoja 8</cx:pt>
          <cx:pt idx="8">Hoja 9</cx:pt>
          <cx:pt idx="9">Hoja 10</cx:pt>
          <cx:pt idx="10">Hoja 11</cx:pt>
          <cx:pt idx="11">Hoja 12</cx:pt>
          <cx:pt idx="12">Hoja 13</cx:pt>
          <cx:pt idx="13">Hoja 14</cx:pt>
          <cx:pt idx="14">Hoja 15</cx:pt>
          <cx:pt idx="15">Hoja 16</cx:pt>
        </cx:lvl>
        <cx:lvl ptCount="16">
          <cx:pt idx="0">Tallo 1</cx:pt>
          <cx:pt idx="1">Tallo 1</cx:pt>
          <cx:pt idx="2">Tallo 1</cx:pt>
          <cx:pt idx="3">Tallo 2</cx:pt>
          <cx:pt idx="4">Tallo 2</cx:pt>
          <cx:pt idx="5">Tallo 2</cx:pt>
          <cx:pt idx="6">Tallo 2</cx:pt>
          <cx:pt idx="7">Tallo 3</cx:pt>
          <cx:pt idx="8">Tallo 3</cx:pt>
          <cx:pt idx="9">Tallo 4</cx:pt>
          <cx:pt idx="10">Tallo 4</cx:pt>
          <cx:pt idx="11">Tallo 5</cx:pt>
          <cx:pt idx="12">Tallo 5</cx:pt>
          <cx:pt idx="13">Tallo 6</cx:pt>
          <cx:pt idx="14">Tallo 6</cx:pt>
          <cx:pt idx="15">Tallo 6</cx:pt>
        </cx:lvl>
        <cx:lvl ptCount="16">
          <cx:pt idx="0">Rama 1</cx:pt>
          <cx:pt idx="1">Rama 1</cx:pt>
          <cx:pt idx="2">Rama 1</cx:pt>
          <cx:pt idx="3">Rama 1</cx:pt>
          <cx:pt idx="4">Rama 1</cx:pt>
          <cx:pt idx="5">Rama 1</cx:pt>
          <cx:pt idx="6">Rama 1</cx:pt>
          <cx:pt idx="7">Rama 2</cx:pt>
          <cx:pt idx="8">Rama 2</cx:pt>
          <cx:pt idx="9">Rama 2</cx:pt>
          <cx:pt idx="10">Rama 2</cx:pt>
          <cx:pt idx="11">Rama 3</cx:pt>
          <cx:pt idx="12">Rama 3</cx:pt>
          <cx:pt idx="13">Rama 3</cx:pt>
          <cx:pt idx="14">Rama 3</cx:pt>
          <cx:pt idx="15">Rama 3</cx:pt>
        </cx:lvl>
      </cx:strDim>
      <cx:numDim type="size">
        <cx:f>Hoja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0C0228DC-8757-45A6-9A42-07396AD89535}">
          <cx:tx>
            <cx:txData>
              <cx:f>Hoja1!$D$1</cx:f>
              <cx:v>Serie1</cx:v>
            </cx:txData>
          </cx:tx>
          <cx:dataLabels pos="inEnd"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Hoja1!$A$2:$A$77</cx:f>
        <cx:lvl ptCount="76" formatCode="General">
          <cx:pt idx="0">1</cx:pt>
          <cx:pt idx="1">3</cx:pt>
          <cx:pt idx="2">3</cx:pt>
          <cx:pt idx="3">3</cx:pt>
          <cx:pt idx="4">5</cx:pt>
          <cx:pt idx="5">6</cx:pt>
          <cx:pt idx="6">6</cx:pt>
          <cx:pt idx="7">6</cx:pt>
          <cx:pt idx="8">7</cx:pt>
          <cx:pt idx="9">8</cx:pt>
          <cx:pt idx="10">8</cx:pt>
          <cx:pt idx="11">9</cx:pt>
          <cx:pt idx="12">9</cx:pt>
          <cx:pt idx="13">9</cx:pt>
          <cx:pt idx="14">9</cx:pt>
          <cx:pt idx="15">9</cx:pt>
          <cx:pt idx="16">10</cx:pt>
          <cx:pt idx="17">10</cx:pt>
          <cx:pt idx="18">10</cx:pt>
          <cx:pt idx="19">10</cx:pt>
          <cx:pt idx="20">10</cx:pt>
          <cx:pt idx="21">10</cx:pt>
          <cx:pt idx="22">11</cx:pt>
          <cx:pt idx="23">11</cx:pt>
          <cx:pt idx="24">11</cx:pt>
          <cx:pt idx="25">11</cx:pt>
          <cx:pt idx="26">11</cx:pt>
          <cx:pt idx="27">11</cx:pt>
          <cx:pt idx="28">12</cx:pt>
          <cx:pt idx="29">12</cx:pt>
          <cx:pt idx="30">12</cx:pt>
          <cx:pt idx="31">12</cx:pt>
          <cx:pt idx="32">12</cx:pt>
          <cx:pt idx="33">12</cx:pt>
          <cx:pt idx="34">13</cx:pt>
          <cx:pt idx="35">13</cx:pt>
          <cx:pt idx="36">13</cx:pt>
          <cx:pt idx="37">13</cx:pt>
          <cx:pt idx="38">13</cx:pt>
          <cx:pt idx="39">14</cx:pt>
          <cx:pt idx="40">14</cx:pt>
          <cx:pt idx="41">14</cx:pt>
          <cx:pt idx="42">14</cx:pt>
          <cx:pt idx="43">14</cx:pt>
          <cx:pt idx="44">14</cx:pt>
          <cx:pt idx="45">15</cx:pt>
          <cx:pt idx="46">15</cx:pt>
          <cx:pt idx="47">15</cx:pt>
          <cx:pt idx="48">15</cx:pt>
          <cx:pt idx="49">15</cx:pt>
          <cx:pt idx="50">15</cx:pt>
          <cx:pt idx="51">15</cx:pt>
          <cx:pt idx="52">15</cx:pt>
          <cx:pt idx="53">16</cx:pt>
          <cx:pt idx="54">16</cx:pt>
          <cx:pt idx="55">16</cx:pt>
          <cx:pt idx="56">16</cx:pt>
          <cx:pt idx="57">17</cx:pt>
          <cx:pt idx="58">17</cx:pt>
          <cx:pt idx="59">17</cx:pt>
          <cx:pt idx="60">17</cx:pt>
          <cx:pt idx="61">17</cx:pt>
          <cx:pt idx="62">17</cx:pt>
          <cx:pt idx="63">18</cx:pt>
          <cx:pt idx="64">18</cx:pt>
          <cx:pt idx="65">18</cx:pt>
          <cx:pt idx="66">18</cx:pt>
          <cx:pt idx="67">19</cx:pt>
          <cx:pt idx="68">19</cx:pt>
          <cx:pt idx="69">19</cx:pt>
          <cx:pt idx="70">20</cx:pt>
          <cx:pt idx="71">21</cx:pt>
          <cx:pt idx="72">22</cx:pt>
          <cx:pt idx="73">22</cx:pt>
          <cx:pt idx="74">24</cx:pt>
          <cx:pt idx="75">24</cx:pt>
        </cx:lvl>
      </cx:numDim>
    </cx:data>
  </cx:chartData>
  <cx:chart>
    <cx:plotArea>
      <cx:plotAreaRegion>
        <cx:series layoutId="clusteredColumn" uniqueId="{75B79EAC-E768-4663-B91F-27EB28E9E510}">
          <cx:tx>
            <cx:txData>
              <cx:f>Hoja1!$A$1</cx:f>
              <cx:v>Serie1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ckLabels/>
      </cx:axis>
      <cx:axis id="1">
        <cx:valScaling/>
        <cx:tickLabels/>
      </cx:axis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C$17</cx:f>
        <cx:lvl ptCount="16">
          <cx:pt idx="0">Hoja 1</cx:pt>
          <cx:pt idx="1">Hoja 2</cx:pt>
          <cx:pt idx="2">Hoja 3</cx:pt>
          <cx:pt idx="3">Hoja 4</cx:pt>
          <cx:pt idx="4">Hoja 5</cx:pt>
          <cx:pt idx="5">Hoja 6</cx:pt>
          <cx:pt idx="6">Hoja 7</cx:pt>
          <cx:pt idx="7">Hoja 8</cx:pt>
          <cx:pt idx="8">Hoja 9</cx:pt>
          <cx:pt idx="9">Hoja 10</cx:pt>
          <cx:pt idx="10">Hoja 11</cx:pt>
          <cx:pt idx="11">Hoja 12</cx:pt>
          <cx:pt idx="12">Hoja 13</cx:pt>
          <cx:pt idx="13">Hoja 14</cx:pt>
          <cx:pt idx="14">Hoja 15</cx:pt>
          <cx:pt idx="15">Hoja 16</cx:pt>
        </cx:lvl>
        <cx:lvl ptCount="16">
          <cx:pt idx="0">Tallo 1</cx:pt>
          <cx:pt idx="1">Tallo 1</cx:pt>
          <cx:pt idx="2">Tallo 1</cx:pt>
          <cx:pt idx="3">Tallo 2</cx:pt>
          <cx:pt idx="4">Tallo 2</cx:pt>
          <cx:pt idx="5">Tallo 2</cx:pt>
          <cx:pt idx="6">Tallo 2</cx:pt>
          <cx:pt idx="7">Tallo 3</cx:pt>
          <cx:pt idx="8">Tallo 3</cx:pt>
          <cx:pt idx="9">Tallo 4</cx:pt>
          <cx:pt idx="10">Tallo 4</cx:pt>
          <cx:pt idx="11">Tallo 5</cx:pt>
          <cx:pt idx="12">Tallo 5</cx:pt>
          <cx:pt idx="13">Tallo 6</cx:pt>
          <cx:pt idx="14">Tallo 6</cx:pt>
          <cx:pt idx="15">Tallo 6</cx:pt>
        </cx:lvl>
        <cx:lvl ptCount="16">
          <cx:pt idx="0">Rama 1</cx:pt>
          <cx:pt idx="1">Rama 1</cx:pt>
          <cx:pt idx="2">Rama 1</cx:pt>
          <cx:pt idx="3">Rama 1</cx:pt>
          <cx:pt idx="4">Rama 1</cx:pt>
          <cx:pt idx="5">Rama 1</cx:pt>
          <cx:pt idx="6">Rama 1</cx:pt>
          <cx:pt idx="7">Rama 2</cx:pt>
          <cx:pt idx="8">Rama 2</cx:pt>
          <cx:pt idx="9">Rama 2</cx:pt>
          <cx:pt idx="10">Rama 2</cx:pt>
          <cx:pt idx="11">Rama 3</cx:pt>
          <cx:pt idx="12">Rama 3</cx:pt>
          <cx:pt idx="13">Rama 3</cx:pt>
          <cx:pt idx="14">Rama 3</cx:pt>
          <cx:pt idx="15">Rama 3</cx:pt>
        </cx:lvl>
      </cx:strDim>
      <cx:numDim type="size">
        <cx:f>Hoja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F443DECD-DC80-4047-A59C-F453A5C67841}">
          <cx:tx>
            <cx:txData>
              <cx:f>Hoja1!$D$1</cx:f>
              <cx:v>Serie1</cx:v>
            </cx:txData>
          </cx:tx>
          <cx:dataLabels pos="inEnd"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8764</cdr:x>
      <cdr:y>0.03159</cdr:y>
    </cdr:from>
    <cdr:to>
      <cdr:x>0.25996</cdr:x>
      <cdr:y>0.22547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71BA7667-CDC2-6044-813A-153DD53EDEF2}"/>
            </a:ext>
          </a:extLst>
        </cdr:cNvPr>
        <cdr:cNvSpPr/>
      </cdr:nvSpPr>
      <cdr:spPr>
        <a:xfrm xmlns:a="http://schemas.openxmlformats.org/drawingml/2006/main">
          <a:off x="2148300" y="134896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65971</cdr:x>
      <cdr:y>0.53209</cdr:y>
    </cdr:from>
    <cdr:to>
      <cdr:x>0.73203</cdr:x>
      <cdr:y>0.72597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ED05C4FC-D038-D14C-A641-3B71AF1A5615}"/>
            </a:ext>
          </a:extLst>
        </cdr:cNvPr>
        <cdr:cNvSpPr/>
      </cdr:nvSpPr>
      <cdr:spPr>
        <a:xfrm xmlns:a="http://schemas.openxmlformats.org/drawingml/2006/main">
          <a:off x="7553053" y="2272403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41309</cdr:x>
      <cdr:y>0.33425</cdr:y>
    </cdr:from>
    <cdr:to>
      <cdr:x>0.48541</cdr:x>
      <cdr:y>0.52813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3D6AE29F-9F0C-2E4F-83B7-A7803870CEEF}"/>
            </a:ext>
          </a:extLst>
        </cdr:cNvPr>
        <cdr:cNvSpPr/>
      </cdr:nvSpPr>
      <cdr:spPr>
        <a:xfrm xmlns:a="http://schemas.openxmlformats.org/drawingml/2006/main">
          <a:off x="4729488" y="1427492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6035</cdr:x>
      <cdr:y>0.02911</cdr:y>
    </cdr:from>
    <cdr:to>
      <cdr:x>0.21698</cdr:x>
      <cdr:y>0.2118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B354B848-32C6-294B-A56D-4AA04BDB8CD3}"/>
            </a:ext>
          </a:extLst>
        </cdr:cNvPr>
        <cdr:cNvSpPr/>
      </cdr:nvSpPr>
      <cdr:spPr>
        <a:xfrm xmlns:a="http://schemas.openxmlformats.org/drawingml/2006/main">
          <a:off x="1833327" y="106325"/>
          <a:ext cx="647460" cy="66733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34331</cdr:x>
      <cdr:y>0.34025</cdr:y>
    </cdr:from>
    <cdr:to>
      <cdr:x>0.39994</cdr:x>
      <cdr:y>0.51616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576157C9-C2DC-1D44-9A45-B3F075A36E80}"/>
            </a:ext>
          </a:extLst>
        </cdr:cNvPr>
        <cdr:cNvSpPr/>
      </cdr:nvSpPr>
      <cdr:spPr>
        <a:xfrm xmlns:a="http://schemas.openxmlformats.org/drawingml/2006/main">
          <a:off x="3925123" y="1242865"/>
          <a:ext cx="647461" cy="64253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53442</cdr:x>
      <cdr:y>0.62854</cdr:y>
    </cdr:from>
    <cdr:to>
      <cdr:x>0.59106</cdr:x>
      <cdr:y>0.80445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F778B878-376D-5546-81AB-1CA815501A6F}"/>
            </a:ext>
          </a:extLst>
        </cdr:cNvPr>
        <cdr:cNvSpPr/>
      </cdr:nvSpPr>
      <cdr:spPr>
        <a:xfrm xmlns:a="http://schemas.openxmlformats.org/drawingml/2006/main">
          <a:off x="6110117" y="2295880"/>
          <a:ext cx="647575" cy="642571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72554</cdr:x>
      <cdr:y>0.4577</cdr:y>
    </cdr:from>
    <cdr:to>
      <cdr:x>0.78217</cdr:x>
      <cdr:y>0.6336</cdr:y>
    </cdr:to>
    <cdr:sp macro="" textlink="">
      <cdr:nvSpPr>
        <cdr:cNvPr id="5" name="Oval 4">
          <a:extLst xmlns:a="http://schemas.openxmlformats.org/drawingml/2006/main">
            <a:ext uri="{FF2B5EF4-FFF2-40B4-BE49-F238E27FC236}">
              <a16:creationId xmlns:a16="http://schemas.microsoft.com/office/drawing/2014/main" id="{B80D6CB9-039A-244E-B397-BB22C5DC49C2}"/>
            </a:ext>
          </a:extLst>
        </cdr:cNvPr>
        <cdr:cNvSpPr/>
      </cdr:nvSpPr>
      <cdr:spPr>
        <a:xfrm xmlns:a="http://schemas.openxmlformats.org/drawingml/2006/main">
          <a:off x="8295225" y="1671850"/>
          <a:ext cx="647461" cy="64253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91666</cdr:x>
      <cdr:y>0.61438</cdr:y>
    </cdr:from>
    <cdr:to>
      <cdr:x>0.97329</cdr:x>
      <cdr:y>0.79029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id="{54D2BFB0-7234-734C-9A8D-1FA75C8309D2}"/>
            </a:ext>
          </a:extLst>
        </cdr:cNvPr>
        <cdr:cNvSpPr/>
      </cdr:nvSpPr>
      <cdr:spPr>
        <a:xfrm xmlns:a="http://schemas.openxmlformats.org/drawingml/2006/main">
          <a:off x="10480333" y="2244158"/>
          <a:ext cx="647461" cy="64257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Franklin Gothic Medium" panose="020B0603020102020204" pitchFamily="34" charset="0"/>
              </a:rPr>
              <a:t>7/17/2023</a:t>
            </a:fld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Franklin Gothic Medium" panose="020B0603020102020204" pitchFamily="34" charset="0"/>
              </a:rPr>
              <a:t>‹#›</a:t>
            </a:fld>
            <a:endParaRPr lang="en-US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14T23:16:08.617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7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564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4596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1139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608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830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6155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6225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308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279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199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55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566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046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4258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7015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1471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266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158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20536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15822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75201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904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087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88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0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991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011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4668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7683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29489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8425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1139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20698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347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68713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23545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835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51772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2104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723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5798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930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613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846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90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 userDrawn="1"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955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  <p15:guide id="2" pos="3568" userDrawn="1">
          <p15:clr>
            <a:srgbClr val="FBAE40"/>
          </p15:clr>
        </p15:guide>
        <p15:guide id="3" pos="31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4243718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 userDrawn="1"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120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582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423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81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3729529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673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0AE24EED-ECF9-F8B6-E75D-D641EDC0DA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2978988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K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26900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19" name="Marcador de texto 6">
            <a:extLst>
              <a:ext uri="{FF2B5EF4-FFF2-40B4-BE49-F238E27FC236}">
                <a16:creationId xmlns:a16="http://schemas.microsoft.com/office/drawing/2014/main" id="{62B3CFBF-B477-C879-85F6-43142EC507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6668" y="1155517"/>
            <a:ext cx="9613857" cy="57626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0" name="Marcador de texto 6">
            <a:extLst>
              <a:ext uri="{FF2B5EF4-FFF2-40B4-BE49-F238E27FC236}">
                <a16:creationId xmlns:a16="http://schemas.microsoft.com/office/drawing/2014/main" id="{345760BB-AE6A-F937-F9DE-DC9B2817D3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6668" y="1828800"/>
            <a:ext cx="9613857" cy="230327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1" name="Marcador de texto 6">
            <a:extLst>
              <a:ext uri="{FF2B5EF4-FFF2-40B4-BE49-F238E27FC236}">
                <a16:creationId xmlns:a16="http://schemas.microsoft.com/office/drawing/2014/main" id="{AEC3F4F3-98C1-FF87-F1A5-C0B0D17FA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6668" y="4229093"/>
            <a:ext cx="9613857" cy="2079633"/>
          </a:xfrm>
          <a:noFill/>
        </p:spPr>
        <p:txBody>
          <a:bodyPr anchor="t">
            <a:noAutofit/>
          </a:bodyPr>
          <a:lstStyle>
            <a:lvl1pPr marL="228600" indent="-2286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+mj-lt"/>
              <a:buAutoNum type="arabicPeriod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9B569BB-D93E-8F15-6289-B701708214ED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828801"/>
            <a:ext cx="0" cy="230327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0725077-4B52-A681-D149-28C5E4F94642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155517"/>
            <a:ext cx="0" cy="57626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399A42A-92BD-B986-0200-8F47A675AA53}"/>
              </a:ext>
            </a:extLst>
          </p:cNvPr>
          <p:cNvCxnSpPr>
            <a:cxnSpLocks/>
          </p:cNvCxnSpPr>
          <p:nvPr userDrawn="1"/>
        </p:nvCxnSpPr>
        <p:spPr>
          <a:xfrm>
            <a:off x="2076866" y="4229093"/>
            <a:ext cx="0" cy="207963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4">
            <a:extLst>
              <a:ext uri="{FF2B5EF4-FFF2-40B4-BE49-F238E27FC236}">
                <a16:creationId xmlns:a16="http://schemas.microsoft.com/office/drawing/2014/main" id="{07CD13FB-D375-1568-F3D3-03A729ADB40F}"/>
              </a:ext>
            </a:extLst>
          </p:cNvPr>
          <p:cNvCxnSpPr>
            <a:cxnSpLocks/>
          </p:cNvCxnSpPr>
          <p:nvPr userDrawn="1"/>
        </p:nvCxnSpPr>
        <p:spPr>
          <a:xfrm>
            <a:off x="2190792" y="1780291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4">
            <a:extLst>
              <a:ext uri="{FF2B5EF4-FFF2-40B4-BE49-F238E27FC236}">
                <a16:creationId xmlns:a16="http://schemas.microsoft.com/office/drawing/2014/main" id="{E4D939DB-C39C-EA41-B6B7-B1AC3902997A}"/>
              </a:ext>
            </a:extLst>
          </p:cNvPr>
          <p:cNvCxnSpPr>
            <a:cxnSpLocks/>
          </p:cNvCxnSpPr>
          <p:nvPr userDrawn="1"/>
        </p:nvCxnSpPr>
        <p:spPr>
          <a:xfrm>
            <a:off x="2190792" y="4180583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B2D9DE78-F741-787A-49F3-BF22745466FA}"/>
              </a:ext>
            </a:extLst>
          </p:cNvPr>
          <p:cNvSpPr txBox="1">
            <a:spLocks/>
          </p:cNvSpPr>
          <p:nvPr userDrawn="1"/>
        </p:nvSpPr>
        <p:spPr>
          <a:xfrm>
            <a:off x="384174" y="1155517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Sourc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B6BE5206-1BCC-6773-0F2E-38F809D3E89F}"/>
              </a:ext>
            </a:extLst>
          </p:cNvPr>
          <p:cNvSpPr txBox="1">
            <a:spLocks/>
          </p:cNvSpPr>
          <p:nvPr userDrawn="1"/>
        </p:nvSpPr>
        <p:spPr>
          <a:xfrm>
            <a:off x="384174" y="1828801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4A133DFF-FE4F-E1F0-64DA-9D495A8D0937}"/>
              </a:ext>
            </a:extLst>
          </p:cNvPr>
          <p:cNvSpPr txBox="1">
            <a:spLocks/>
          </p:cNvSpPr>
          <p:nvPr userDrawn="1"/>
        </p:nvSpPr>
        <p:spPr>
          <a:xfrm>
            <a:off x="384174" y="4229093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pplication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4765EEC-B451-0A1E-0D1B-F8C701B60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844118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B07795-2FF5-56AA-0106-E7591702D28C}"/>
              </a:ext>
            </a:extLst>
          </p:cNvPr>
          <p:cNvSpPr txBox="1"/>
          <p:nvPr userDrawn="1"/>
        </p:nvSpPr>
        <p:spPr>
          <a:xfrm>
            <a:off x="1058779" y="664143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EDCA57-2639-3EF3-4B72-5A995CB0489C}"/>
              </a:ext>
            </a:extLst>
          </p:cNvPr>
          <p:cNvSpPr txBox="1"/>
          <p:nvPr userDrawn="1"/>
        </p:nvSpPr>
        <p:spPr>
          <a:xfrm>
            <a:off x="1379621" y="6609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792876C3-6BF8-879A-73D9-3D7064466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4014094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" name="Rectángulo 3">
            <a:extLst>
              <a:ext uri="{FF2B5EF4-FFF2-40B4-BE49-F238E27FC236}">
                <a16:creationId xmlns:a16="http://schemas.microsoft.com/office/drawing/2014/main" id="{5D3F3007-73A3-58EA-9AF5-F4733620EF8F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393134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95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822DFBA-5DF6-4A6B-CFEA-E177E759768F}"/>
              </a:ext>
            </a:extLst>
          </p:cNvPr>
          <p:cNvSpPr/>
          <p:nvPr userDrawn="1"/>
        </p:nvSpPr>
        <p:spPr>
          <a:xfrm>
            <a:off x="381001" y="6448425"/>
            <a:ext cx="1016793" cy="303439"/>
          </a:xfrm>
          <a:prstGeom prst="rect">
            <a:avLst/>
          </a:prstGeom>
          <a:solidFill>
            <a:srgbClr val="121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06664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597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0AE24EED-ECF9-F8B6-E75D-D641EDC0DA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4062138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K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26900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19" name="Marcador de texto 6">
            <a:extLst>
              <a:ext uri="{FF2B5EF4-FFF2-40B4-BE49-F238E27FC236}">
                <a16:creationId xmlns:a16="http://schemas.microsoft.com/office/drawing/2014/main" id="{62B3CFBF-B477-C879-85F6-43142EC507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6668" y="1155517"/>
            <a:ext cx="9613857" cy="57626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0" name="Marcador de texto 6">
            <a:extLst>
              <a:ext uri="{FF2B5EF4-FFF2-40B4-BE49-F238E27FC236}">
                <a16:creationId xmlns:a16="http://schemas.microsoft.com/office/drawing/2014/main" id="{345760BB-AE6A-F937-F9DE-DC9B2817D3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6668" y="1828800"/>
            <a:ext cx="9613857" cy="230327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1" name="Marcador de texto 6">
            <a:extLst>
              <a:ext uri="{FF2B5EF4-FFF2-40B4-BE49-F238E27FC236}">
                <a16:creationId xmlns:a16="http://schemas.microsoft.com/office/drawing/2014/main" id="{AEC3F4F3-98C1-FF87-F1A5-C0B0D17FA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6668" y="4229093"/>
            <a:ext cx="9613857" cy="2079633"/>
          </a:xfrm>
          <a:noFill/>
        </p:spPr>
        <p:txBody>
          <a:bodyPr anchor="t">
            <a:noAutofit/>
          </a:bodyPr>
          <a:lstStyle>
            <a:lvl1pPr marL="228600" indent="-2286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+mj-lt"/>
              <a:buAutoNum type="arabicPeriod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9B569BB-D93E-8F15-6289-B701708214ED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828801"/>
            <a:ext cx="0" cy="230327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0725077-4B52-A681-D149-28C5E4F94642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155517"/>
            <a:ext cx="0" cy="57626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399A42A-92BD-B986-0200-8F47A675AA53}"/>
              </a:ext>
            </a:extLst>
          </p:cNvPr>
          <p:cNvCxnSpPr>
            <a:cxnSpLocks/>
          </p:cNvCxnSpPr>
          <p:nvPr userDrawn="1"/>
        </p:nvCxnSpPr>
        <p:spPr>
          <a:xfrm>
            <a:off x="2076866" y="4229093"/>
            <a:ext cx="0" cy="207963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4">
            <a:extLst>
              <a:ext uri="{FF2B5EF4-FFF2-40B4-BE49-F238E27FC236}">
                <a16:creationId xmlns:a16="http://schemas.microsoft.com/office/drawing/2014/main" id="{07CD13FB-D375-1568-F3D3-03A729ADB40F}"/>
              </a:ext>
            </a:extLst>
          </p:cNvPr>
          <p:cNvCxnSpPr>
            <a:cxnSpLocks/>
          </p:cNvCxnSpPr>
          <p:nvPr userDrawn="1"/>
        </p:nvCxnSpPr>
        <p:spPr>
          <a:xfrm>
            <a:off x="2190792" y="1780291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4">
            <a:extLst>
              <a:ext uri="{FF2B5EF4-FFF2-40B4-BE49-F238E27FC236}">
                <a16:creationId xmlns:a16="http://schemas.microsoft.com/office/drawing/2014/main" id="{E4D939DB-C39C-EA41-B6B7-B1AC3902997A}"/>
              </a:ext>
            </a:extLst>
          </p:cNvPr>
          <p:cNvCxnSpPr>
            <a:cxnSpLocks/>
          </p:cNvCxnSpPr>
          <p:nvPr userDrawn="1"/>
        </p:nvCxnSpPr>
        <p:spPr>
          <a:xfrm>
            <a:off x="2190792" y="4180583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B2D9DE78-F741-787A-49F3-BF22745466FA}"/>
              </a:ext>
            </a:extLst>
          </p:cNvPr>
          <p:cNvSpPr txBox="1">
            <a:spLocks/>
          </p:cNvSpPr>
          <p:nvPr userDrawn="1"/>
        </p:nvSpPr>
        <p:spPr>
          <a:xfrm>
            <a:off x="384174" y="1155517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Sourc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B6BE5206-1BCC-6773-0F2E-38F809D3E89F}"/>
              </a:ext>
            </a:extLst>
          </p:cNvPr>
          <p:cNvSpPr txBox="1">
            <a:spLocks/>
          </p:cNvSpPr>
          <p:nvPr userDrawn="1"/>
        </p:nvSpPr>
        <p:spPr>
          <a:xfrm>
            <a:off x="384174" y="1828801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4A133DFF-FE4F-E1F0-64DA-9D495A8D0937}"/>
              </a:ext>
            </a:extLst>
          </p:cNvPr>
          <p:cNvSpPr txBox="1">
            <a:spLocks/>
          </p:cNvSpPr>
          <p:nvPr userDrawn="1"/>
        </p:nvSpPr>
        <p:spPr>
          <a:xfrm>
            <a:off x="384174" y="4229093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pplication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4765EEC-B451-0A1E-0D1B-F8C701B60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539195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B07795-2FF5-56AA-0106-E7591702D28C}"/>
              </a:ext>
            </a:extLst>
          </p:cNvPr>
          <p:cNvSpPr txBox="1"/>
          <p:nvPr userDrawn="1"/>
        </p:nvSpPr>
        <p:spPr>
          <a:xfrm>
            <a:off x="1058779" y="664143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EDCA57-2639-3EF3-4B72-5A995CB0489C}"/>
              </a:ext>
            </a:extLst>
          </p:cNvPr>
          <p:cNvSpPr txBox="1"/>
          <p:nvPr userDrawn="1"/>
        </p:nvSpPr>
        <p:spPr>
          <a:xfrm>
            <a:off x="1379621" y="6609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792876C3-6BF8-879A-73D9-3D7064466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713508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9" name="Picture 2" descr="Umbrex Consulting: Independent Management Consultants">
            <a:extLst>
              <a:ext uri="{FF2B5EF4-FFF2-40B4-BE49-F238E27FC236}">
                <a16:creationId xmlns:a16="http://schemas.microsoft.com/office/drawing/2014/main" id="{9F8C4C24-CBAB-25CB-D287-91B9D9AA27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6467475"/>
            <a:ext cx="1008505" cy="28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947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822DFBA-5DF6-4A6B-CFEA-E177E759768F}"/>
              </a:ext>
            </a:extLst>
          </p:cNvPr>
          <p:cNvSpPr/>
          <p:nvPr userDrawn="1"/>
        </p:nvSpPr>
        <p:spPr>
          <a:xfrm>
            <a:off x="381001" y="6448425"/>
            <a:ext cx="1016793" cy="303439"/>
          </a:xfrm>
          <a:prstGeom prst="rect">
            <a:avLst/>
          </a:prstGeom>
          <a:solidFill>
            <a:srgbClr val="121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pic>
        <p:nvPicPr>
          <p:cNvPr id="7" name="Picture 2" descr="Umbrex Consulting: Independent Management Consultants">
            <a:extLst>
              <a:ext uri="{FF2B5EF4-FFF2-40B4-BE49-F238E27FC236}">
                <a16:creationId xmlns:a16="http://schemas.microsoft.com/office/drawing/2014/main" id="{728EF91A-88AB-A4F3-4E3B-11123CB487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6467475"/>
            <a:ext cx="1008505" cy="28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192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840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0AE24EED-ECF9-F8B6-E75D-D641EDC0DA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355873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" name="Rectángulo 3">
            <a:extLst>
              <a:ext uri="{FF2B5EF4-FFF2-40B4-BE49-F238E27FC236}">
                <a16:creationId xmlns:a16="http://schemas.microsoft.com/office/drawing/2014/main" id="{0C81E44E-DB84-EF73-B52E-B607FBE691FA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3921882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K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26900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19" name="Marcador de texto 6">
            <a:extLst>
              <a:ext uri="{FF2B5EF4-FFF2-40B4-BE49-F238E27FC236}">
                <a16:creationId xmlns:a16="http://schemas.microsoft.com/office/drawing/2014/main" id="{62B3CFBF-B477-C879-85F6-43142EC507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6668" y="1155517"/>
            <a:ext cx="9613857" cy="338554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0" name="Marcador de texto 6">
            <a:extLst>
              <a:ext uri="{FF2B5EF4-FFF2-40B4-BE49-F238E27FC236}">
                <a16:creationId xmlns:a16="http://schemas.microsoft.com/office/drawing/2014/main" id="{345760BB-AE6A-F937-F9DE-DC9B2817D3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6668" y="1709946"/>
            <a:ext cx="9613857" cy="230327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1" name="Marcador de texto 6">
            <a:extLst>
              <a:ext uri="{FF2B5EF4-FFF2-40B4-BE49-F238E27FC236}">
                <a16:creationId xmlns:a16="http://schemas.microsoft.com/office/drawing/2014/main" id="{AEC3F4F3-98C1-FF87-F1A5-C0B0D17FA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6668" y="4229093"/>
            <a:ext cx="9613857" cy="2079633"/>
          </a:xfrm>
          <a:noFill/>
        </p:spPr>
        <p:txBody>
          <a:bodyPr anchor="t">
            <a:noAutofit/>
          </a:bodyPr>
          <a:lstStyle>
            <a:lvl1pPr marL="228600" indent="-2286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+mj-lt"/>
              <a:buAutoNum type="arabicPeriod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9B569BB-D93E-8F15-6289-B701708214ED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709946"/>
            <a:ext cx="0" cy="230327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0725077-4B52-A681-D149-28C5E4F94642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155517"/>
            <a:ext cx="0" cy="338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399A42A-92BD-B986-0200-8F47A675AA53}"/>
              </a:ext>
            </a:extLst>
          </p:cNvPr>
          <p:cNvCxnSpPr>
            <a:cxnSpLocks/>
          </p:cNvCxnSpPr>
          <p:nvPr userDrawn="1"/>
        </p:nvCxnSpPr>
        <p:spPr>
          <a:xfrm>
            <a:off x="2076866" y="4229093"/>
            <a:ext cx="0" cy="207963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4">
            <a:extLst>
              <a:ext uri="{FF2B5EF4-FFF2-40B4-BE49-F238E27FC236}">
                <a16:creationId xmlns:a16="http://schemas.microsoft.com/office/drawing/2014/main" id="{07CD13FB-D375-1568-F3D3-03A729ADB40F}"/>
              </a:ext>
            </a:extLst>
          </p:cNvPr>
          <p:cNvCxnSpPr>
            <a:cxnSpLocks/>
          </p:cNvCxnSpPr>
          <p:nvPr userDrawn="1"/>
        </p:nvCxnSpPr>
        <p:spPr>
          <a:xfrm>
            <a:off x="2190792" y="1602008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4">
            <a:extLst>
              <a:ext uri="{FF2B5EF4-FFF2-40B4-BE49-F238E27FC236}">
                <a16:creationId xmlns:a16="http://schemas.microsoft.com/office/drawing/2014/main" id="{E4D939DB-C39C-EA41-B6B7-B1AC3902997A}"/>
              </a:ext>
            </a:extLst>
          </p:cNvPr>
          <p:cNvCxnSpPr>
            <a:cxnSpLocks/>
          </p:cNvCxnSpPr>
          <p:nvPr userDrawn="1"/>
        </p:nvCxnSpPr>
        <p:spPr>
          <a:xfrm>
            <a:off x="2190792" y="4121155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B2D9DE78-F741-787A-49F3-BF22745466FA}"/>
              </a:ext>
            </a:extLst>
          </p:cNvPr>
          <p:cNvSpPr txBox="1">
            <a:spLocks/>
          </p:cNvSpPr>
          <p:nvPr userDrawn="1"/>
        </p:nvSpPr>
        <p:spPr>
          <a:xfrm>
            <a:off x="384174" y="1155517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Sourc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B6BE5206-1BCC-6773-0F2E-38F809D3E89F}"/>
              </a:ext>
            </a:extLst>
          </p:cNvPr>
          <p:cNvSpPr txBox="1">
            <a:spLocks/>
          </p:cNvSpPr>
          <p:nvPr userDrawn="1"/>
        </p:nvSpPr>
        <p:spPr>
          <a:xfrm>
            <a:off x="384174" y="1828801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4A133DFF-FE4F-E1F0-64DA-9D495A8D0937}"/>
              </a:ext>
            </a:extLst>
          </p:cNvPr>
          <p:cNvSpPr txBox="1">
            <a:spLocks/>
          </p:cNvSpPr>
          <p:nvPr userDrawn="1"/>
        </p:nvSpPr>
        <p:spPr>
          <a:xfrm>
            <a:off x="384174" y="4229093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pplication</a:t>
            </a:r>
          </a:p>
        </p:txBody>
      </p:sp>
    </p:spTree>
    <p:extLst>
      <p:ext uri="{BB962C8B-B14F-4D97-AF65-F5344CB8AC3E}">
        <p14:creationId xmlns:p14="http://schemas.microsoft.com/office/powerpoint/2010/main" val="1407912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K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26900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19" name="Marcador de texto 6">
            <a:extLst>
              <a:ext uri="{FF2B5EF4-FFF2-40B4-BE49-F238E27FC236}">
                <a16:creationId xmlns:a16="http://schemas.microsoft.com/office/drawing/2014/main" id="{62B3CFBF-B477-C879-85F6-43142EC507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6668" y="1155517"/>
            <a:ext cx="9613857" cy="507831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0" name="Marcador de texto 6">
            <a:extLst>
              <a:ext uri="{FF2B5EF4-FFF2-40B4-BE49-F238E27FC236}">
                <a16:creationId xmlns:a16="http://schemas.microsoft.com/office/drawing/2014/main" id="{345760BB-AE6A-F937-F9DE-DC9B2817D3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6668" y="1828801"/>
            <a:ext cx="9613857" cy="224214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1" name="Marcador de texto 6">
            <a:extLst>
              <a:ext uri="{FF2B5EF4-FFF2-40B4-BE49-F238E27FC236}">
                <a16:creationId xmlns:a16="http://schemas.microsoft.com/office/drawing/2014/main" id="{AEC3F4F3-98C1-FF87-F1A5-C0B0D17FA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6668" y="4287023"/>
            <a:ext cx="9613857" cy="2021703"/>
          </a:xfrm>
          <a:noFill/>
        </p:spPr>
        <p:txBody>
          <a:bodyPr anchor="t">
            <a:noAutofit/>
          </a:bodyPr>
          <a:lstStyle>
            <a:lvl1pPr marL="228600" indent="-2286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+mj-lt"/>
              <a:buAutoNum type="arabicPeriod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9B569BB-D93E-8F15-6289-B701708214ED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828801"/>
            <a:ext cx="0" cy="2245343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0725077-4B52-A681-D149-28C5E4F94642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155517"/>
            <a:ext cx="0" cy="50783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399A42A-92BD-B986-0200-8F47A675AA53}"/>
              </a:ext>
            </a:extLst>
          </p:cNvPr>
          <p:cNvCxnSpPr>
            <a:cxnSpLocks/>
          </p:cNvCxnSpPr>
          <p:nvPr userDrawn="1"/>
        </p:nvCxnSpPr>
        <p:spPr>
          <a:xfrm>
            <a:off x="2076866" y="4291013"/>
            <a:ext cx="0" cy="201771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4">
            <a:extLst>
              <a:ext uri="{FF2B5EF4-FFF2-40B4-BE49-F238E27FC236}">
                <a16:creationId xmlns:a16="http://schemas.microsoft.com/office/drawing/2014/main" id="{07CD13FB-D375-1568-F3D3-03A729ADB40F}"/>
              </a:ext>
            </a:extLst>
          </p:cNvPr>
          <p:cNvCxnSpPr>
            <a:cxnSpLocks/>
          </p:cNvCxnSpPr>
          <p:nvPr userDrawn="1"/>
        </p:nvCxnSpPr>
        <p:spPr>
          <a:xfrm>
            <a:off x="2190792" y="1746074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4">
            <a:extLst>
              <a:ext uri="{FF2B5EF4-FFF2-40B4-BE49-F238E27FC236}">
                <a16:creationId xmlns:a16="http://schemas.microsoft.com/office/drawing/2014/main" id="{E4D939DB-C39C-EA41-B6B7-B1AC3902997A}"/>
              </a:ext>
            </a:extLst>
          </p:cNvPr>
          <p:cNvCxnSpPr>
            <a:cxnSpLocks/>
          </p:cNvCxnSpPr>
          <p:nvPr userDrawn="1"/>
        </p:nvCxnSpPr>
        <p:spPr>
          <a:xfrm>
            <a:off x="2190792" y="4178983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B2D9DE78-F741-787A-49F3-BF22745466FA}"/>
              </a:ext>
            </a:extLst>
          </p:cNvPr>
          <p:cNvSpPr txBox="1">
            <a:spLocks/>
          </p:cNvSpPr>
          <p:nvPr userDrawn="1"/>
        </p:nvSpPr>
        <p:spPr>
          <a:xfrm>
            <a:off x="384174" y="1155517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Sourc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B6BE5206-1BCC-6773-0F2E-38F809D3E89F}"/>
              </a:ext>
            </a:extLst>
          </p:cNvPr>
          <p:cNvSpPr txBox="1">
            <a:spLocks/>
          </p:cNvSpPr>
          <p:nvPr userDrawn="1"/>
        </p:nvSpPr>
        <p:spPr>
          <a:xfrm>
            <a:off x="384174" y="1828801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4A133DFF-FE4F-E1F0-64DA-9D495A8D0937}"/>
              </a:ext>
            </a:extLst>
          </p:cNvPr>
          <p:cNvSpPr txBox="1">
            <a:spLocks/>
          </p:cNvSpPr>
          <p:nvPr userDrawn="1"/>
        </p:nvSpPr>
        <p:spPr>
          <a:xfrm>
            <a:off x="384174" y="4229093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pplication</a:t>
            </a:r>
          </a:p>
        </p:txBody>
      </p:sp>
    </p:spTree>
    <p:extLst>
      <p:ext uri="{BB962C8B-B14F-4D97-AF65-F5344CB8AC3E}">
        <p14:creationId xmlns:p14="http://schemas.microsoft.com/office/powerpoint/2010/main" val="2466913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B07795-2FF5-56AA-0106-E7591702D28C}"/>
              </a:ext>
            </a:extLst>
          </p:cNvPr>
          <p:cNvSpPr txBox="1"/>
          <p:nvPr userDrawn="1"/>
        </p:nvSpPr>
        <p:spPr>
          <a:xfrm>
            <a:off x="1058779" y="664143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EDCA57-2639-3EF3-4B72-5A995CB0489C}"/>
              </a:ext>
            </a:extLst>
          </p:cNvPr>
          <p:cNvSpPr txBox="1"/>
          <p:nvPr userDrawn="1"/>
        </p:nvSpPr>
        <p:spPr>
          <a:xfrm>
            <a:off x="1379621" y="6609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792876C3-6BF8-879A-73D9-3D7064466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4886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813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822DFBA-5DF6-4A6B-CFEA-E177E759768F}"/>
              </a:ext>
            </a:extLst>
          </p:cNvPr>
          <p:cNvSpPr/>
          <p:nvPr userDrawn="1"/>
        </p:nvSpPr>
        <p:spPr>
          <a:xfrm>
            <a:off x="381001" y="6448425"/>
            <a:ext cx="1016793" cy="303439"/>
          </a:xfrm>
          <a:prstGeom prst="rect">
            <a:avLst/>
          </a:prstGeom>
          <a:solidFill>
            <a:srgbClr val="121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92463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14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0AE24EED-ECF9-F8B6-E75D-D641EDC0DA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2592693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K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26900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19" name="Marcador de texto 6">
            <a:extLst>
              <a:ext uri="{FF2B5EF4-FFF2-40B4-BE49-F238E27FC236}">
                <a16:creationId xmlns:a16="http://schemas.microsoft.com/office/drawing/2014/main" id="{62B3CFBF-B477-C879-85F6-43142EC507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6668" y="1155517"/>
            <a:ext cx="9613857" cy="338554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0" name="Marcador de texto 6">
            <a:extLst>
              <a:ext uri="{FF2B5EF4-FFF2-40B4-BE49-F238E27FC236}">
                <a16:creationId xmlns:a16="http://schemas.microsoft.com/office/drawing/2014/main" id="{345760BB-AE6A-F937-F9DE-DC9B2817D3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6668" y="1709946"/>
            <a:ext cx="9613857" cy="230327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1" name="Marcador de texto 6">
            <a:extLst>
              <a:ext uri="{FF2B5EF4-FFF2-40B4-BE49-F238E27FC236}">
                <a16:creationId xmlns:a16="http://schemas.microsoft.com/office/drawing/2014/main" id="{AEC3F4F3-98C1-FF87-F1A5-C0B0D17FA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6668" y="4229093"/>
            <a:ext cx="9613857" cy="2079633"/>
          </a:xfrm>
          <a:noFill/>
        </p:spPr>
        <p:txBody>
          <a:bodyPr anchor="t">
            <a:noAutofit/>
          </a:bodyPr>
          <a:lstStyle>
            <a:lvl1pPr marL="228600" indent="-2286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+mj-lt"/>
              <a:buAutoNum type="arabicPeriod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9B569BB-D93E-8F15-6289-B701708214ED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709946"/>
            <a:ext cx="0" cy="230327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0725077-4B52-A681-D149-28C5E4F94642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155517"/>
            <a:ext cx="0" cy="338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399A42A-92BD-B986-0200-8F47A675AA53}"/>
              </a:ext>
            </a:extLst>
          </p:cNvPr>
          <p:cNvCxnSpPr>
            <a:cxnSpLocks/>
          </p:cNvCxnSpPr>
          <p:nvPr userDrawn="1"/>
        </p:nvCxnSpPr>
        <p:spPr>
          <a:xfrm>
            <a:off x="2076866" y="4229093"/>
            <a:ext cx="0" cy="207963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4">
            <a:extLst>
              <a:ext uri="{FF2B5EF4-FFF2-40B4-BE49-F238E27FC236}">
                <a16:creationId xmlns:a16="http://schemas.microsoft.com/office/drawing/2014/main" id="{07CD13FB-D375-1568-F3D3-03A729ADB40F}"/>
              </a:ext>
            </a:extLst>
          </p:cNvPr>
          <p:cNvCxnSpPr>
            <a:cxnSpLocks/>
          </p:cNvCxnSpPr>
          <p:nvPr userDrawn="1"/>
        </p:nvCxnSpPr>
        <p:spPr>
          <a:xfrm>
            <a:off x="2190792" y="1602008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4">
            <a:extLst>
              <a:ext uri="{FF2B5EF4-FFF2-40B4-BE49-F238E27FC236}">
                <a16:creationId xmlns:a16="http://schemas.microsoft.com/office/drawing/2014/main" id="{E4D939DB-C39C-EA41-B6B7-B1AC3902997A}"/>
              </a:ext>
            </a:extLst>
          </p:cNvPr>
          <p:cNvCxnSpPr>
            <a:cxnSpLocks/>
          </p:cNvCxnSpPr>
          <p:nvPr userDrawn="1"/>
        </p:nvCxnSpPr>
        <p:spPr>
          <a:xfrm>
            <a:off x="2190792" y="4121155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B2D9DE78-F741-787A-49F3-BF22745466FA}"/>
              </a:ext>
            </a:extLst>
          </p:cNvPr>
          <p:cNvSpPr txBox="1">
            <a:spLocks/>
          </p:cNvSpPr>
          <p:nvPr userDrawn="1"/>
        </p:nvSpPr>
        <p:spPr>
          <a:xfrm>
            <a:off x="384174" y="1155517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Sourc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B6BE5206-1BCC-6773-0F2E-38F809D3E89F}"/>
              </a:ext>
            </a:extLst>
          </p:cNvPr>
          <p:cNvSpPr txBox="1">
            <a:spLocks/>
          </p:cNvSpPr>
          <p:nvPr userDrawn="1"/>
        </p:nvSpPr>
        <p:spPr>
          <a:xfrm>
            <a:off x="384174" y="1828801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4A133DFF-FE4F-E1F0-64DA-9D495A8D0937}"/>
              </a:ext>
            </a:extLst>
          </p:cNvPr>
          <p:cNvSpPr txBox="1">
            <a:spLocks/>
          </p:cNvSpPr>
          <p:nvPr userDrawn="1"/>
        </p:nvSpPr>
        <p:spPr>
          <a:xfrm>
            <a:off x="384174" y="4229093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pplication</a:t>
            </a:r>
          </a:p>
        </p:txBody>
      </p:sp>
    </p:spTree>
    <p:extLst>
      <p:ext uri="{BB962C8B-B14F-4D97-AF65-F5344CB8AC3E}">
        <p14:creationId xmlns:p14="http://schemas.microsoft.com/office/powerpoint/2010/main" val="928484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K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26900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19" name="Marcador de texto 6">
            <a:extLst>
              <a:ext uri="{FF2B5EF4-FFF2-40B4-BE49-F238E27FC236}">
                <a16:creationId xmlns:a16="http://schemas.microsoft.com/office/drawing/2014/main" id="{62B3CFBF-B477-C879-85F6-43142EC507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06668" y="1155517"/>
            <a:ext cx="9613857" cy="507831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0" name="Marcador de texto 6">
            <a:extLst>
              <a:ext uri="{FF2B5EF4-FFF2-40B4-BE49-F238E27FC236}">
                <a16:creationId xmlns:a16="http://schemas.microsoft.com/office/drawing/2014/main" id="{345760BB-AE6A-F937-F9DE-DC9B2817D3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6668" y="1828801"/>
            <a:ext cx="9613857" cy="2242143"/>
          </a:xfrm>
          <a:noFill/>
        </p:spPr>
        <p:txBody>
          <a:bodyPr anchor="t">
            <a:noAutofit/>
          </a:bodyPr>
          <a:lstStyle>
            <a:lvl1pPr marL="177800" indent="-1778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21" name="Marcador de texto 6">
            <a:extLst>
              <a:ext uri="{FF2B5EF4-FFF2-40B4-BE49-F238E27FC236}">
                <a16:creationId xmlns:a16="http://schemas.microsoft.com/office/drawing/2014/main" id="{AEC3F4F3-98C1-FF87-F1A5-C0B0D17FA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06668" y="4287023"/>
            <a:ext cx="9613857" cy="2021703"/>
          </a:xfrm>
          <a:noFill/>
        </p:spPr>
        <p:txBody>
          <a:bodyPr anchor="t">
            <a:noAutofit/>
          </a:bodyPr>
          <a:lstStyle>
            <a:lvl1pPr marL="228600" indent="-228600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+mj-lt"/>
              <a:buAutoNum type="arabicPeriod"/>
              <a:defRPr sz="11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endParaRPr lang="en-US" noProof="0" dirty="0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9B569BB-D93E-8F15-6289-B701708214ED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828801"/>
            <a:ext cx="0" cy="2245343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0725077-4B52-A681-D149-28C5E4F94642}"/>
              </a:ext>
            </a:extLst>
          </p:cNvPr>
          <p:cNvCxnSpPr>
            <a:cxnSpLocks/>
          </p:cNvCxnSpPr>
          <p:nvPr userDrawn="1"/>
        </p:nvCxnSpPr>
        <p:spPr>
          <a:xfrm>
            <a:off x="2076866" y="1155517"/>
            <a:ext cx="0" cy="50783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399A42A-92BD-B986-0200-8F47A675AA53}"/>
              </a:ext>
            </a:extLst>
          </p:cNvPr>
          <p:cNvCxnSpPr>
            <a:cxnSpLocks/>
          </p:cNvCxnSpPr>
          <p:nvPr userDrawn="1"/>
        </p:nvCxnSpPr>
        <p:spPr>
          <a:xfrm>
            <a:off x="2076866" y="4291013"/>
            <a:ext cx="0" cy="2017712"/>
          </a:xfrm>
          <a:prstGeom prst="line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4">
            <a:extLst>
              <a:ext uri="{FF2B5EF4-FFF2-40B4-BE49-F238E27FC236}">
                <a16:creationId xmlns:a16="http://schemas.microsoft.com/office/drawing/2014/main" id="{07CD13FB-D375-1568-F3D3-03A729ADB40F}"/>
              </a:ext>
            </a:extLst>
          </p:cNvPr>
          <p:cNvCxnSpPr>
            <a:cxnSpLocks/>
          </p:cNvCxnSpPr>
          <p:nvPr userDrawn="1"/>
        </p:nvCxnSpPr>
        <p:spPr>
          <a:xfrm>
            <a:off x="2190792" y="1746074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4">
            <a:extLst>
              <a:ext uri="{FF2B5EF4-FFF2-40B4-BE49-F238E27FC236}">
                <a16:creationId xmlns:a16="http://schemas.microsoft.com/office/drawing/2014/main" id="{E4D939DB-C39C-EA41-B6B7-B1AC3902997A}"/>
              </a:ext>
            </a:extLst>
          </p:cNvPr>
          <p:cNvCxnSpPr>
            <a:cxnSpLocks/>
          </p:cNvCxnSpPr>
          <p:nvPr userDrawn="1"/>
        </p:nvCxnSpPr>
        <p:spPr>
          <a:xfrm>
            <a:off x="2190792" y="4178983"/>
            <a:ext cx="961385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B2D9DE78-F741-787A-49F3-BF22745466FA}"/>
              </a:ext>
            </a:extLst>
          </p:cNvPr>
          <p:cNvSpPr txBox="1">
            <a:spLocks/>
          </p:cNvSpPr>
          <p:nvPr userDrawn="1"/>
        </p:nvSpPr>
        <p:spPr>
          <a:xfrm>
            <a:off x="384174" y="1155517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Sourc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Marcador de texto 5">
            <a:extLst>
              <a:ext uri="{FF2B5EF4-FFF2-40B4-BE49-F238E27FC236}">
                <a16:creationId xmlns:a16="http://schemas.microsoft.com/office/drawing/2014/main" id="{B6BE5206-1BCC-6773-0F2E-38F809D3E89F}"/>
              </a:ext>
            </a:extLst>
          </p:cNvPr>
          <p:cNvSpPr txBox="1">
            <a:spLocks/>
          </p:cNvSpPr>
          <p:nvPr userDrawn="1"/>
        </p:nvSpPr>
        <p:spPr>
          <a:xfrm>
            <a:off x="384174" y="1828801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1" name="Marcador de texto 6">
            <a:extLst>
              <a:ext uri="{FF2B5EF4-FFF2-40B4-BE49-F238E27FC236}">
                <a16:creationId xmlns:a16="http://schemas.microsoft.com/office/drawing/2014/main" id="{4A133DFF-FE4F-E1F0-64DA-9D495A8D0937}"/>
              </a:ext>
            </a:extLst>
          </p:cNvPr>
          <p:cNvSpPr txBox="1">
            <a:spLocks/>
          </p:cNvSpPr>
          <p:nvPr userDrawn="1"/>
        </p:nvSpPr>
        <p:spPr>
          <a:xfrm>
            <a:off x="384174" y="4229093"/>
            <a:ext cx="1668515" cy="276999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pplication</a:t>
            </a:r>
          </a:p>
        </p:txBody>
      </p:sp>
    </p:spTree>
    <p:extLst>
      <p:ext uri="{BB962C8B-B14F-4D97-AF65-F5344CB8AC3E}">
        <p14:creationId xmlns:p14="http://schemas.microsoft.com/office/powerpoint/2010/main" val="3766831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792876C3-6BF8-879A-73D9-3D7064466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1155997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75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250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3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822DFBA-5DF6-4A6B-CFEA-E177E759768F}"/>
              </a:ext>
            </a:extLst>
          </p:cNvPr>
          <p:cNvSpPr/>
          <p:nvPr userDrawn="1"/>
        </p:nvSpPr>
        <p:spPr>
          <a:xfrm>
            <a:off x="381001" y="6448425"/>
            <a:ext cx="1016793" cy="303439"/>
          </a:xfrm>
          <a:prstGeom prst="rect">
            <a:avLst/>
          </a:prstGeom>
          <a:solidFill>
            <a:srgbClr val="121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588300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DCA443-41D9-A110-FF4D-63F397473777}"/>
              </a:ext>
            </a:extLst>
          </p:cNvPr>
          <p:cNvSpPr txBox="1"/>
          <p:nvPr userDrawn="1"/>
        </p:nvSpPr>
        <p:spPr>
          <a:xfrm>
            <a:off x="1014153" y="66584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BC3487-3CF4-97B3-21C1-3A6AC9585F10}"/>
              </a:ext>
            </a:extLst>
          </p:cNvPr>
          <p:cNvSpPr txBox="1"/>
          <p:nvPr userDrawn="1"/>
        </p:nvSpPr>
        <p:spPr>
          <a:xfrm>
            <a:off x="1587731" y="64839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76C5F-6561-A67F-DC56-81BA526FB4CB}"/>
              </a:ext>
            </a:extLst>
          </p:cNvPr>
          <p:cNvSpPr txBox="1"/>
          <p:nvPr userDrawn="1"/>
        </p:nvSpPr>
        <p:spPr>
          <a:xfrm>
            <a:off x="1463040" y="660030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9419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 userDrawn="1">
          <p15:clr>
            <a:srgbClr val="FBAE40"/>
          </p15:clr>
        </p15:guide>
        <p15:guide id="2" pos="44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 userDrawn="1"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88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445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41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379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1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26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2.xml"/><Relationship Id="rId10" Type="http://schemas.openxmlformats.org/officeDocument/2006/relationships/oleObject" Target="../embeddings/oleObject33.bin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9.xml"/><Relationship Id="rId10" Type="http://schemas.openxmlformats.org/officeDocument/2006/relationships/oleObject" Target="../embeddings/oleObject41.bin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17" imgH="318" progId="TCLayout.ActiveDocument.1">
                  <p:embed/>
                </p:oleObj>
              </mc:Choice>
              <mc:Fallback>
                <p:oleObj name="think-cell Slide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E45E8B21-4ADF-F321-3C11-5C1DBD3921D4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657117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9" r:id="rId2"/>
    <p:sldLayoutId id="2147483995" r:id="rId3"/>
    <p:sldLayoutId id="2147483996" r:id="rId4"/>
    <p:sldLayoutId id="2147483994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 userDrawn="1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 userDrawn="1">
          <p15:clr>
            <a:srgbClr val="F26B43"/>
          </p15:clr>
        </p15:guide>
        <p15:guide id="15" pos="7446" userDrawn="1">
          <p15:clr>
            <a:srgbClr val="F26B43"/>
          </p15:clr>
        </p15:guide>
        <p15:guide id="16" orient="horz" pos="958" userDrawn="1">
          <p15:clr>
            <a:srgbClr val="F26B43"/>
          </p15:clr>
        </p15:guide>
        <p15:guide id="17" orient="horz" pos="232" userDrawn="1">
          <p15:clr>
            <a:srgbClr val="F26B43"/>
          </p15:clr>
        </p15:guide>
        <p15:guide id="19" orient="horz" pos="4156" userDrawn="1">
          <p15:clr>
            <a:srgbClr val="5ACBF0"/>
          </p15:clr>
        </p15:guide>
        <p15:guide id="20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17" imgH="318" progId="TCLayout.ActiveDocument.1">
                  <p:embed/>
                </p:oleObj>
              </mc:Choice>
              <mc:Fallback>
                <p:oleObj name="Diapositiva de think-cell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F60526B-4392-DEC2-5C71-8B616386398E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364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17" imgH="318" progId="TCLayout.ActiveDocument.1">
                  <p:embed/>
                </p:oleObj>
              </mc:Choice>
              <mc:Fallback>
                <p:oleObj name="think-cell Slide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06E0DF-D52D-757F-ED8E-3C1FE1F3198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288" y="6520381"/>
            <a:ext cx="1442085" cy="166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2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17" imgH="318" progId="TCLayout.ActiveDocument.1">
                  <p:embed/>
                </p:oleObj>
              </mc:Choice>
              <mc:Fallback>
                <p:oleObj name="Diapositiva de think-cell" r:id="rId9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8EEA708-D8F5-560B-EE0D-34EF38D9C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  <p:sp>
        <p:nvSpPr>
          <p:cNvPr id="5" name="Rectángulo 3">
            <a:extLst>
              <a:ext uri="{FF2B5EF4-FFF2-40B4-BE49-F238E27FC236}">
                <a16:creationId xmlns:a16="http://schemas.microsoft.com/office/drawing/2014/main" id="{67739262-FB3E-AEC6-19C6-DCA0DD75AC94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3605980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17" imgH="318" progId="TCLayout.ActiveDocument.1">
                  <p:embed/>
                </p:oleObj>
              </mc:Choice>
              <mc:Fallback>
                <p:oleObj name="Diapositiva de think-cell" r:id="rId9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8954A4F-E926-C799-A5E9-2836AE134AA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71475" y="6467475"/>
            <a:ext cx="1008505" cy="285012"/>
          </a:xfrm>
          <a:prstGeom prst="rect">
            <a:avLst/>
          </a:prstGeom>
          <a:ln>
            <a:noFill/>
          </a:ln>
        </p:spPr>
      </p:pic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8EEA708-D8F5-560B-EE0D-34EF38D9C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2936819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17" imgH="318" progId="TCLayout.ActiveDocument.1">
                  <p:embed/>
                </p:oleObj>
              </mc:Choice>
              <mc:Fallback>
                <p:oleObj name="Diapositiva de think-cell" r:id="rId10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8EEA708-D8F5-560B-EE0D-34EF38D9C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  <p:sp>
        <p:nvSpPr>
          <p:cNvPr id="5" name="Rectángulo 3">
            <a:extLst>
              <a:ext uri="{FF2B5EF4-FFF2-40B4-BE49-F238E27FC236}">
                <a16:creationId xmlns:a16="http://schemas.microsoft.com/office/drawing/2014/main" id="{C68726FD-792C-5D09-091B-AC0A7F0BE289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2845666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17" imgH="318" progId="TCLayout.ActiveDocument.1">
                  <p:embed/>
                </p:oleObj>
              </mc:Choice>
              <mc:Fallback>
                <p:oleObj name="Diapositiva de think-cell" r:id="rId10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8EEA708-D8F5-560B-EE0D-34EF38D9C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_______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BC50129-6459-49F0-D6D8-6BD48123EE22}"/>
              </a:ext>
            </a:extLst>
          </p:cNvPr>
          <p:cNvSpPr txBox="1">
            <a:spLocks/>
          </p:cNvSpPr>
          <p:nvPr userDrawn="1"/>
        </p:nvSpPr>
        <p:spPr>
          <a:xfrm>
            <a:off x="371475" y="6460383"/>
            <a:ext cx="1008505" cy="2406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4233377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5.png"/><Relationship Id="rId3" Type="http://schemas.openxmlformats.org/officeDocument/2006/relationships/oleObject" Target="../embeddings/oleObject58.bin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8.svg"/><Relationship Id="rId1" Type="http://schemas.openxmlformats.org/officeDocument/2006/relationships/tags" Target="../tags/tag59.xml"/><Relationship Id="rId6" Type="http://schemas.openxmlformats.org/officeDocument/2006/relationships/image" Target="../media/image19.png"/><Relationship Id="rId11" Type="http://schemas.openxmlformats.org/officeDocument/2006/relationships/image" Target="../media/image33.png"/><Relationship Id="rId5" Type="http://schemas.openxmlformats.org/officeDocument/2006/relationships/hyperlink" Target="https://umbrex.com/join-our-community/?utm_source=deck&amp;utm_id=ppt" TargetMode="External"/><Relationship Id="rId15" Type="http://schemas.openxmlformats.org/officeDocument/2006/relationships/image" Target="../media/image37.png"/><Relationship Id="rId10" Type="http://schemas.openxmlformats.org/officeDocument/2006/relationships/image" Target="../media/image32.svg"/><Relationship Id="rId4" Type="http://schemas.openxmlformats.org/officeDocument/2006/relationships/image" Target="../media/image28.emf"/><Relationship Id="rId9" Type="http://schemas.openxmlformats.org/officeDocument/2006/relationships/image" Target="../media/image31.png"/><Relationship Id="rId14" Type="http://schemas.openxmlformats.org/officeDocument/2006/relationships/image" Target="../media/image36.sv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9.xml"/><Relationship Id="rId4" Type="http://schemas.openxmlformats.org/officeDocument/2006/relationships/image" Target="../media/image71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0.xml"/><Relationship Id="rId4" Type="http://schemas.openxmlformats.org/officeDocument/2006/relationships/image" Target="../media/image72.emf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1.xml"/><Relationship Id="rId4" Type="http://schemas.openxmlformats.org/officeDocument/2006/relationships/image" Target="../media/image73.emf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2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45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3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4.xml"/><Relationship Id="rId5" Type="http://schemas.openxmlformats.org/officeDocument/2006/relationships/chart" Target="../charts/chart44.xml"/><Relationship Id="rId4" Type="http://schemas.openxmlformats.org/officeDocument/2006/relationships/image" Target="../media/image7.emf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5.xml"/><Relationship Id="rId4" Type="http://schemas.openxmlformats.org/officeDocument/2006/relationships/image" Target="../media/image7.emf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7" Type="http://schemas.openxmlformats.org/officeDocument/2006/relationships/image" Target="../media/image14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6.xml"/><Relationship Id="rId5" Type="http://schemas.microsoft.com/office/2014/relationships/chartEx" Target="../charts/chartEx4.xml"/><Relationship Id="rId4" Type="http://schemas.openxmlformats.org/officeDocument/2006/relationships/image" Target="../media/image7.emf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7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58.xml"/><Relationship Id="rId4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hyperlink" Target="https://umbrex.com/independent-management-consultants/?utm_source=deck&amp;utm_id=ppt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0.xml"/><Relationship Id="rId6" Type="http://schemas.openxmlformats.org/officeDocument/2006/relationships/image" Target="../media/image19.png"/><Relationship Id="rId5" Type="http://schemas.openxmlformats.org/officeDocument/2006/relationships/image" Target="../media/image39.png"/><Relationship Id="rId4" Type="http://schemas.openxmlformats.org/officeDocument/2006/relationships/image" Target="../media/image7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59.xml"/><Relationship Id="rId5" Type="http://schemas.openxmlformats.org/officeDocument/2006/relationships/chart" Target="../charts/chart45.xml"/><Relationship Id="rId4" Type="http://schemas.openxmlformats.org/officeDocument/2006/relationships/image" Target="../media/image7.emf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0.xml"/><Relationship Id="rId5" Type="http://schemas.openxmlformats.org/officeDocument/2006/relationships/chart" Target="../charts/chart46.xml"/><Relationship Id="rId4" Type="http://schemas.openxmlformats.org/officeDocument/2006/relationships/image" Target="../media/image7.emf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1.xml"/><Relationship Id="rId5" Type="http://schemas.openxmlformats.org/officeDocument/2006/relationships/chart" Target="../charts/chart47.xml"/><Relationship Id="rId4" Type="http://schemas.openxmlformats.org/officeDocument/2006/relationships/image" Target="../media/image7.emf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2.xml"/><Relationship Id="rId5" Type="http://schemas.openxmlformats.org/officeDocument/2006/relationships/chart" Target="../charts/chart48.xml"/><Relationship Id="rId4" Type="http://schemas.openxmlformats.org/officeDocument/2006/relationships/image" Target="../media/image7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3.xml"/><Relationship Id="rId5" Type="http://schemas.openxmlformats.org/officeDocument/2006/relationships/chart" Target="../charts/chart49.xml"/><Relationship Id="rId4" Type="http://schemas.openxmlformats.org/officeDocument/2006/relationships/image" Target="../media/image7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Relationship Id="rId4" Type="http://schemas.openxmlformats.org/officeDocument/2006/relationships/image" Target="../media/image7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8.xml"/><Relationship Id="rId4" Type="http://schemas.openxmlformats.org/officeDocument/2006/relationships/image" Target="../media/image7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oleObject" Target="../embeddings/oleObject60.bin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s://umbrex.com/independent-management-consultants/?utm_source=deck&amp;utm_id=ppt" TargetMode="External"/><Relationship Id="rId1" Type="http://schemas.openxmlformats.org/officeDocument/2006/relationships/tags" Target="../tags/tag61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19.png"/><Relationship Id="rId15" Type="http://schemas.openxmlformats.org/officeDocument/2006/relationships/image" Target="../media/image32.svg"/><Relationship Id="rId10" Type="http://schemas.openxmlformats.org/officeDocument/2006/relationships/image" Target="../media/image44.png"/><Relationship Id="rId4" Type="http://schemas.openxmlformats.org/officeDocument/2006/relationships/image" Target="../media/image7.emf"/><Relationship Id="rId9" Type="http://schemas.openxmlformats.org/officeDocument/2006/relationships/image" Target="../media/image43.svg"/><Relationship Id="rId14" Type="http://schemas.openxmlformats.org/officeDocument/2006/relationships/image" Target="../media/image31.pn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0.xml"/><Relationship Id="rId4" Type="http://schemas.openxmlformats.org/officeDocument/2006/relationships/image" Target="../media/image7.emf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1.xml"/><Relationship Id="rId4" Type="http://schemas.openxmlformats.org/officeDocument/2006/relationships/image" Target="../media/image7.emf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2.xml"/><Relationship Id="rId4" Type="http://schemas.openxmlformats.org/officeDocument/2006/relationships/image" Target="../media/image7.emf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3.xml"/><Relationship Id="rId5" Type="http://schemas.openxmlformats.org/officeDocument/2006/relationships/image" Target="../media/image75.emf"/><Relationship Id="rId4" Type="http://schemas.openxmlformats.org/officeDocument/2006/relationships/oleObject" Target="../embeddings/oleObject163.bin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4.xml"/><Relationship Id="rId5" Type="http://schemas.openxmlformats.org/officeDocument/2006/relationships/image" Target="../media/image75.emf"/><Relationship Id="rId4" Type="http://schemas.openxmlformats.org/officeDocument/2006/relationships/oleObject" Target="../embeddings/oleObject164.bin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5.xml"/><Relationship Id="rId4" Type="http://schemas.openxmlformats.org/officeDocument/2006/relationships/image" Target="../media/image7.emf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6.xml"/><Relationship Id="rId4" Type="http://schemas.openxmlformats.org/officeDocument/2006/relationships/image" Target="../media/image76.emf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7.xml"/><Relationship Id="rId4" Type="http://schemas.openxmlformats.org/officeDocument/2006/relationships/image" Target="../media/image7.emf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8.xml"/><Relationship Id="rId4" Type="http://schemas.openxmlformats.org/officeDocument/2006/relationships/image" Target="../media/image7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hyperlink" Target="https://umbrex.com/join-our-community/?utm_source=deck&amp;utm_id=ppt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2.xml"/><Relationship Id="rId6" Type="http://schemas.openxmlformats.org/officeDocument/2006/relationships/hyperlink" Target="https://umbrex.com/independent-management-consultants/?utm_source=deck&amp;utm_id=ppt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9.xml"/><Relationship Id="rId4" Type="http://schemas.openxmlformats.org/officeDocument/2006/relationships/image" Target="../media/image78.emf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0.xml"/><Relationship Id="rId4" Type="http://schemas.openxmlformats.org/officeDocument/2006/relationships/image" Target="../media/image79.emf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1.xml"/><Relationship Id="rId4" Type="http://schemas.openxmlformats.org/officeDocument/2006/relationships/image" Target="../media/image80.emf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2.xml"/><Relationship Id="rId4" Type="http://schemas.openxmlformats.org/officeDocument/2006/relationships/image" Target="../media/image7.emf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83.xml"/><Relationship Id="rId4" Type="http://schemas.openxmlformats.org/officeDocument/2006/relationships/image" Target="../media/image7.emf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4.xml"/><Relationship Id="rId4" Type="http://schemas.openxmlformats.org/officeDocument/2006/relationships/image" Target="../media/image81.emf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5.xml"/><Relationship Id="rId4" Type="http://schemas.openxmlformats.org/officeDocument/2006/relationships/image" Target="../media/image82.emf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6.xml"/><Relationship Id="rId4" Type="http://schemas.openxmlformats.org/officeDocument/2006/relationships/image" Target="../media/image82.emf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.xml"/><Relationship Id="rId4" Type="http://schemas.openxmlformats.org/officeDocument/2006/relationships/image" Target="../media/image7.emf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.xml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umbrex.com/resources/proposal-template/" TargetMode="External"/><Relationship Id="rId13" Type="http://schemas.openxmlformats.org/officeDocument/2006/relationships/hyperlink" Target="https://umbrex.com/resources/how-to-find-clients/" TargetMode="External"/><Relationship Id="rId3" Type="http://schemas.openxmlformats.org/officeDocument/2006/relationships/oleObject" Target="../embeddings/oleObject62.bin"/><Relationship Id="rId7" Type="http://schemas.openxmlformats.org/officeDocument/2006/relationships/hyperlink" Target="https://umbrex.com/resources/consulting-website/" TargetMode="External"/><Relationship Id="rId12" Type="http://schemas.openxmlformats.org/officeDocument/2006/relationships/hyperlink" Target="https://umbrex.com/resources/linkedin-best-practices/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3.xml"/><Relationship Id="rId6" Type="http://schemas.openxmlformats.org/officeDocument/2006/relationships/hyperlink" Target="https://umbrex.com/become-a-consultant/setting-up-your-firm-course-introduction/" TargetMode="External"/><Relationship Id="rId11" Type="http://schemas.openxmlformats.org/officeDocument/2006/relationships/image" Target="../media/image49.svg"/><Relationship Id="rId5" Type="http://schemas.openxmlformats.org/officeDocument/2006/relationships/image" Target="../media/image19.png"/><Relationship Id="rId10" Type="http://schemas.openxmlformats.org/officeDocument/2006/relationships/image" Target="../media/image48.png"/><Relationship Id="rId4" Type="http://schemas.openxmlformats.org/officeDocument/2006/relationships/image" Target="../media/image7.emf"/><Relationship Id="rId9" Type="http://schemas.openxmlformats.org/officeDocument/2006/relationships/hyperlink" Target="https://umbrex.com/resources/consulting-fees/" TargetMode="External"/><Relationship Id="rId14" Type="http://schemas.openxmlformats.org/officeDocument/2006/relationships/hyperlink" Target="https://umbrex.com/resources/?utm_source=deck&amp;utm_id=ppt" TargetMode="Externa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.xml"/><Relationship Id="rId4" Type="http://schemas.openxmlformats.org/officeDocument/2006/relationships/image" Target="../media/image7.emf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.xml"/><Relationship Id="rId4" Type="http://schemas.openxmlformats.org/officeDocument/2006/relationships/image" Target="../media/image7.emf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.xml"/><Relationship Id="rId4" Type="http://schemas.openxmlformats.org/officeDocument/2006/relationships/image" Target="../media/image7.emf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4" Type="http://schemas.openxmlformats.org/officeDocument/2006/relationships/image" Target="../media/image7.emf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3.xml"/><Relationship Id="rId4" Type="http://schemas.openxmlformats.org/officeDocument/2006/relationships/image" Target="../media/image83.emf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4.xml"/><Relationship Id="rId4" Type="http://schemas.openxmlformats.org/officeDocument/2006/relationships/image" Target="../media/image84.emf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5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95.xml"/><Relationship Id="rId4" Type="http://schemas.openxmlformats.org/officeDocument/2006/relationships/image" Target="../media/image7.emf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96.xml"/><Relationship Id="rId4" Type="http://schemas.openxmlformats.org/officeDocument/2006/relationships/image" Target="../media/image7.emf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7.xml"/><Relationship Id="rId4" Type="http://schemas.openxmlformats.org/officeDocument/2006/relationships/image" Target="../media/image7.emf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98.xml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4.xml"/><Relationship Id="rId6" Type="http://schemas.openxmlformats.org/officeDocument/2006/relationships/hyperlink" Target="https://umbrex.com/resources/powerpoint-templates-download/" TargetMode="External"/><Relationship Id="rId5" Type="http://schemas.openxmlformats.org/officeDocument/2006/relationships/hyperlink" Target="https://umbrex.com/resources/powerpoint-slides/" TargetMode="External"/><Relationship Id="rId4" Type="http://schemas.openxmlformats.org/officeDocument/2006/relationships/image" Target="../media/image18.emf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99.xml"/><Relationship Id="rId5" Type="http://schemas.openxmlformats.org/officeDocument/2006/relationships/hyperlink" Target="https://umbrex.com/resources/consulting-fees/" TargetMode="External"/><Relationship Id="rId4" Type="http://schemas.openxmlformats.org/officeDocument/2006/relationships/image" Target="../media/image7.emf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8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00.xml"/><Relationship Id="rId4" Type="http://schemas.openxmlformats.org/officeDocument/2006/relationships/image" Target="../media/image79.emf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01.xml"/><Relationship Id="rId4" Type="http://schemas.openxmlformats.org/officeDocument/2006/relationships/image" Target="../media/image7.emf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02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7.bin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0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03.xml"/><Relationship Id="rId4" Type="http://schemas.openxmlformats.org/officeDocument/2006/relationships/image" Target="../media/image7.emf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1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04.xml"/><Relationship Id="rId4" Type="http://schemas.openxmlformats.org/officeDocument/2006/relationships/image" Target="../media/image7.emf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5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6.xml"/><Relationship Id="rId4" Type="http://schemas.openxmlformats.org/officeDocument/2006/relationships/image" Target="../media/image7.emf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7.xml"/><Relationship Id="rId4" Type="http://schemas.openxmlformats.org/officeDocument/2006/relationships/image" Target="../media/image85.emf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8.xml"/><Relationship Id="rId4" Type="http://schemas.openxmlformats.org/officeDocument/2006/relationships/image" Target="../media/image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5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4" Type="http://schemas.openxmlformats.org/officeDocument/2006/relationships/image" Target="../media/image7.emf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4" Type="http://schemas.openxmlformats.org/officeDocument/2006/relationships/image" Target="../media/image7.emf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4" Type="http://schemas.openxmlformats.org/officeDocument/2006/relationships/image" Target="../media/image7.emf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4" Type="http://schemas.openxmlformats.org/officeDocument/2006/relationships/image" Target="../media/image7.emf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3.xml"/><Relationship Id="rId4" Type="http://schemas.openxmlformats.org/officeDocument/2006/relationships/image" Target="../media/image86.emf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4.xml"/><Relationship Id="rId4" Type="http://schemas.openxmlformats.org/officeDocument/2006/relationships/image" Target="../media/image86.emf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5.xml"/><Relationship Id="rId4" Type="http://schemas.openxmlformats.org/officeDocument/2006/relationships/image" Target="../media/image86.emf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6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7.xml"/><Relationship Id="rId5" Type="http://schemas.openxmlformats.org/officeDocument/2006/relationships/image" Target="../media/image87.emf"/><Relationship Id="rId4" Type="http://schemas.openxmlformats.org/officeDocument/2006/relationships/oleObject" Target="../embeddings/oleObject202.bin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8.xml"/><Relationship Id="rId4" Type="http://schemas.openxmlformats.org/officeDocument/2006/relationships/image" Target="../media/image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6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5.bin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4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9.xml"/><Relationship Id="rId4" Type="http://schemas.openxmlformats.org/officeDocument/2006/relationships/image" Target="../media/image7.emf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5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20.xml"/><Relationship Id="rId4" Type="http://schemas.openxmlformats.org/officeDocument/2006/relationships/image" Target="../media/image7.emf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6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21.xml"/><Relationship Id="rId4" Type="http://schemas.openxmlformats.org/officeDocument/2006/relationships/image" Target="../media/image7.emf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7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22.xml"/><Relationship Id="rId4" Type="http://schemas.openxmlformats.org/officeDocument/2006/relationships/image" Target="../media/image7.emf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8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23.xml"/><Relationship Id="rId4" Type="http://schemas.openxmlformats.org/officeDocument/2006/relationships/image" Target="../media/image7.emf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4.xml"/><Relationship Id="rId4" Type="http://schemas.openxmlformats.org/officeDocument/2006/relationships/image" Target="../media/image88.emf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5.xml"/><Relationship Id="rId5" Type="http://schemas.openxmlformats.org/officeDocument/2006/relationships/image" Target="../media/image89.emf"/><Relationship Id="rId4" Type="http://schemas.openxmlformats.org/officeDocument/2006/relationships/oleObject" Target="../embeddings/oleObject210.bin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6.xml"/><Relationship Id="rId4" Type="http://schemas.openxmlformats.org/officeDocument/2006/relationships/image" Target="../media/image90.emf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7.xml"/><Relationship Id="rId4" Type="http://schemas.openxmlformats.org/officeDocument/2006/relationships/image" Target="../media/image7.emf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4" Type="http://schemas.openxmlformats.org/officeDocument/2006/relationships/image" Target="../media/image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9.xml"/><Relationship Id="rId4" Type="http://schemas.openxmlformats.org/officeDocument/2006/relationships/image" Target="../media/image7.emf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4" Type="http://schemas.openxmlformats.org/officeDocument/2006/relationships/image" Target="../media/image7.emf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1.xml"/><Relationship Id="rId4" Type="http://schemas.openxmlformats.org/officeDocument/2006/relationships/image" Target="../media/image7.emf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4" Type="http://schemas.openxmlformats.org/officeDocument/2006/relationships/image" Target="../media/image7.emf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4" Type="http://schemas.openxmlformats.org/officeDocument/2006/relationships/image" Target="../media/image7.emf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4" Type="http://schemas.openxmlformats.org/officeDocument/2006/relationships/image" Target="../media/image7.emf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4" Type="http://schemas.openxmlformats.org/officeDocument/2006/relationships/image" Target="../media/image7.emf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4" Type="http://schemas.openxmlformats.org/officeDocument/2006/relationships/image" Target="../media/image7.emf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4" Type="http://schemas.openxmlformats.org/officeDocument/2006/relationships/image" Target="../media/image7.emf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4" Type="http://schemas.openxmlformats.org/officeDocument/2006/relationships/image" Target="../media/image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8.x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67.bin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4" Type="http://schemas.openxmlformats.org/officeDocument/2006/relationships/image" Target="../media/image7.emf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4" Type="http://schemas.openxmlformats.org/officeDocument/2006/relationships/image" Target="../media/image7.emf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4" Type="http://schemas.openxmlformats.org/officeDocument/2006/relationships/image" Target="../media/image7.emf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4" Type="http://schemas.openxmlformats.org/officeDocument/2006/relationships/image" Target="../media/image7.emf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4" Type="http://schemas.openxmlformats.org/officeDocument/2006/relationships/image" Target="../media/image7.emf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4" Type="http://schemas.openxmlformats.org/officeDocument/2006/relationships/image" Target="../media/image7.emf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4" Type="http://schemas.openxmlformats.org/officeDocument/2006/relationships/image" Target="../media/image7.emf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4" Type="http://schemas.openxmlformats.org/officeDocument/2006/relationships/image" Target="../media/image7.emf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4" Type="http://schemas.openxmlformats.org/officeDocument/2006/relationships/image" Target="../media/image7.emf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48.x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50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1.xml"/><Relationship Id="rId6" Type="http://schemas.openxmlformats.org/officeDocument/2006/relationships/image" Target="../media/image8.png"/><Relationship Id="rId5" Type="http://schemas.openxmlformats.org/officeDocument/2006/relationships/hyperlink" Target="https://umbrex.com/resources/powerpoint-slides/powerpoint-templates-download/" TargetMode="External"/><Relationship Id="rId10" Type="http://schemas.openxmlformats.org/officeDocument/2006/relationships/image" Target="../media/image12.png"/><Relationship Id="rId4" Type="http://schemas.openxmlformats.org/officeDocument/2006/relationships/image" Target="../media/image7.emf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9.x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68.bin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4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49.xml"/><Relationship Id="rId4" Type="http://schemas.openxmlformats.org/officeDocument/2006/relationships/image" Target="../media/image7.emf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4" Type="http://schemas.openxmlformats.org/officeDocument/2006/relationships/image" Target="../media/image7.emf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4" Type="http://schemas.openxmlformats.org/officeDocument/2006/relationships/image" Target="../media/image7.emf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4" Type="http://schemas.openxmlformats.org/officeDocument/2006/relationships/image" Target="../media/image7.emf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4" Type="http://schemas.openxmlformats.org/officeDocument/2006/relationships/image" Target="../media/image7.emf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5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9.bin"/><Relationship Id="rId17" Type="http://schemas.openxmlformats.org/officeDocument/2006/relationships/image" Target="../media/image6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56.xml"/><Relationship Id="rId5" Type="http://schemas.openxmlformats.org/officeDocument/2006/relationships/customXml" Target="../ink/ink1.xml"/><Relationship Id="rId4" Type="http://schemas.openxmlformats.org/officeDocument/2006/relationships/image" Target="../media/image18.emf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57.xml"/><Relationship Id="rId4" Type="http://schemas.openxmlformats.org/officeDocument/2006/relationships/image" Target="../media/image7.emf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58.xml"/><Relationship Id="rId4" Type="http://schemas.openxmlformats.org/officeDocument/2006/relationships/image" Target="../media/image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0.xml"/><Relationship Id="rId4" Type="http://schemas.openxmlformats.org/officeDocument/2006/relationships/image" Target="../media/image18.emf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59.xml"/><Relationship Id="rId4" Type="http://schemas.openxmlformats.org/officeDocument/2006/relationships/image" Target="../media/image7.emf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3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0.xml"/><Relationship Id="rId4" Type="http://schemas.openxmlformats.org/officeDocument/2006/relationships/image" Target="../media/image7.emf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4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1.xml"/><Relationship Id="rId4" Type="http://schemas.openxmlformats.org/officeDocument/2006/relationships/image" Target="../media/image7.emf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5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2.xml"/><Relationship Id="rId4" Type="http://schemas.openxmlformats.org/officeDocument/2006/relationships/image" Target="../media/image7.emf"/></Relationships>
</file>

<file path=ppt/slides/_rels/slide2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6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3.xml"/><Relationship Id="rId4" Type="http://schemas.openxmlformats.org/officeDocument/2006/relationships/image" Target="../media/image7.emf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7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4.xml"/><Relationship Id="rId4" Type="http://schemas.openxmlformats.org/officeDocument/2006/relationships/image" Target="../media/image7.emf"/></Relationships>
</file>

<file path=ppt/slides/_rels/slide2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2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8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5.xml"/><Relationship Id="rId4" Type="http://schemas.openxmlformats.org/officeDocument/2006/relationships/image" Target="../media/image7.emf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9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6.xml"/><Relationship Id="rId4" Type="http://schemas.openxmlformats.org/officeDocument/2006/relationships/image" Target="../media/image7.emf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7.xml"/><Relationship Id="rId4" Type="http://schemas.openxmlformats.org/officeDocument/2006/relationships/image" Target="../media/image7.emf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8.xml"/><Relationship Id="rId4" Type="http://schemas.openxmlformats.org/officeDocument/2006/relationships/image" Target="../media/image7.emf"/></Relationships>
</file>

<file path=ppt/slides/_rels/slide2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9.xml"/><Relationship Id="rId4" Type="http://schemas.openxmlformats.org/officeDocument/2006/relationships/image" Target="../media/image7.emf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1.xml"/><Relationship Id="rId5" Type="http://schemas.openxmlformats.org/officeDocument/2006/relationships/chart" Target="../charts/chart50.xml"/><Relationship Id="rId4" Type="http://schemas.openxmlformats.org/officeDocument/2006/relationships/image" Target="../media/image91.emf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4" Type="http://schemas.openxmlformats.org/officeDocument/2006/relationships/image" Target="../media/image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7.emf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4" Type="http://schemas.openxmlformats.org/officeDocument/2006/relationships/image" Target="../media/image7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71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mbrex.com/resources/powerpoint-slides/powerpoint-templates-download/" TargetMode="External"/><Relationship Id="rId3" Type="http://schemas.openxmlformats.org/officeDocument/2006/relationships/oleObject" Target="../embeddings/oleObject51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10" Type="http://schemas.openxmlformats.org/officeDocument/2006/relationships/image" Target="../media/image16.png"/><Relationship Id="rId4" Type="http://schemas.openxmlformats.org/officeDocument/2006/relationships/image" Target="../media/image7.emf"/><Relationship Id="rId9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7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78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79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8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56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82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85.xml"/><Relationship Id="rId4" Type="http://schemas.openxmlformats.org/officeDocument/2006/relationships/image" Target="../media/image7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6.xml"/><Relationship Id="rId4" Type="http://schemas.openxmlformats.org/officeDocument/2006/relationships/image" Target="../media/image7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4" Type="http://schemas.openxmlformats.org/officeDocument/2006/relationships/image" Target="../media/image7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3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4" Type="http://schemas.openxmlformats.org/officeDocument/2006/relationships/image" Target="../media/image7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2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28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4" Type="http://schemas.openxmlformats.org/officeDocument/2006/relationships/image" Target="../media/image2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28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4" Type="http://schemas.openxmlformats.org/officeDocument/2006/relationships/image" Target="../media/image7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4" Type="http://schemas.openxmlformats.org/officeDocument/2006/relationships/image" Target="../media/image58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4" Type="http://schemas.openxmlformats.org/officeDocument/2006/relationships/image" Target="../media/image59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8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6" Type="http://schemas.openxmlformats.org/officeDocument/2006/relationships/hyperlink" Target="https://umbrex.com/independent-management-consultants/?utm_source=deck&amp;utm_id=ppt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9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7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0.xml"/><Relationship Id="rId4" Type="http://schemas.openxmlformats.org/officeDocument/2006/relationships/image" Target="../media/image7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1.xml"/><Relationship Id="rId5" Type="http://schemas.openxmlformats.org/officeDocument/2006/relationships/hyperlink" Target="https://umbrex.com/resources/consulting-fees/" TargetMode="External"/><Relationship Id="rId4" Type="http://schemas.openxmlformats.org/officeDocument/2006/relationships/image" Target="../media/image7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2.xml"/><Relationship Id="rId4" Type="http://schemas.openxmlformats.org/officeDocument/2006/relationships/image" Target="../media/image7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3.xml"/><Relationship Id="rId5" Type="http://schemas.openxmlformats.org/officeDocument/2006/relationships/hyperlink" Target="https://umbrex.com/resources/consulting-fees/" TargetMode="External"/><Relationship Id="rId4" Type="http://schemas.openxmlformats.org/officeDocument/2006/relationships/image" Target="../media/image7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04.xml"/><Relationship Id="rId4" Type="http://schemas.openxmlformats.org/officeDocument/2006/relationships/image" Target="../media/image7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05.xml"/><Relationship Id="rId4" Type="http://schemas.openxmlformats.org/officeDocument/2006/relationships/image" Target="../media/image7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06.xml"/><Relationship Id="rId4" Type="http://schemas.openxmlformats.org/officeDocument/2006/relationships/image" Target="../media/image7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7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6" Type="http://schemas.openxmlformats.org/officeDocument/2006/relationships/chart" Target="../charts/chart4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5.xml"/><Relationship Id="rId6" Type="http://schemas.openxmlformats.org/officeDocument/2006/relationships/hyperlink" Target="https://umbrex.com/independent-management-consultants/?utm_source=deck&amp;utm_id=ppt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6" Type="http://schemas.openxmlformats.org/officeDocument/2006/relationships/chart" Target="../charts/chart5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5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6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7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8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13.xml"/><Relationship Id="rId5" Type="http://schemas.openxmlformats.org/officeDocument/2006/relationships/chart" Target="../charts/chart9.xml"/><Relationship Id="rId4" Type="http://schemas.openxmlformats.org/officeDocument/2006/relationships/image" Target="../media/image7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6" Type="http://schemas.openxmlformats.org/officeDocument/2006/relationships/chart" Target="../charts/chart10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0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Relationship Id="rId6" Type="http://schemas.openxmlformats.org/officeDocument/2006/relationships/chart" Target="../charts/chart11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1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Relationship Id="rId6" Type="http://schemas.openxmlformats.org/officeDocument/2006/relationships/chart" Target="../charts/chart12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2.bin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notesSlide" Target="../notesSlides/notesSlide26.xml"/><Relationship Id="rId7" Type="http://schemas.openxmlformats.org/officeDocument/2006/relationships/chart" Target="../charts/chart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6" Type="http://schemas.openxmlformats.org/officeDocument/2006/relationships/chart" Target="../charts/chart13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3.bin"/><Relationship Id="rId9" Type="http://schemas.openxmlformats.org/officeDocument/2006/relationships/chart" Target="../charts/char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6.xml"/><Relationship Id="rId6" Type="http://schemas.openxmlformats.org/officeDocument/2006/relationships/hyperlink" Target="https://umbrex.com/independent-management-consultants/?utm_source=deck&amp;utm_id=ppt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microsoft.com/office/2014/relationships/chartEx" Target="../charts/chartEx1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chart" Target="../charts/chart17.xml"/><Relationship Id="rId4" Type="http://schemas.openxmlformats.org/officeDocument/2006/relationships/image" Target="../media/image7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6" Type="http://schemas.openxmlformats.org/officeDocument/2006/relationships/chart" Target="../charts/chart18.x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16.bin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Relationship Id="rId5" Type="http://schemas.openxmlformats.org/officeDocument/2006/relationships/chart" Target="../charts/chart19.xml"/><Relationship Id="rId4" Type="http://schemas.openxmlformats.org/officeDocument/2006/relationships/image" Target="../media/image65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4" Type="http://schemas.openxmlformats.org/officeDocument/2006/relationships/image" Target="../media/image7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5" Type="http://schemas.openxmlformats.org/officeDocument/2006/relationships/chart" Target="../charts/chart20.xml"/><Relationship Id="rId4" Type="http://schemas.openxmlformats.org/officeDocument/2006/relationships/image" Target="../media/image7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7" Type="http://schemas.openxmlformats.org/officeDocument/2006/relationships/image" Target="NUL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Relationship Id="rId5" Type="http://schemas.microsoft.com/office/2014/relationships/chartEx" Target="../charts/chartEx2.xml"/><Relationship Id="rId4" Type="http://schemas.openxmlformats.org/officeDocument/2006/relationships/image" Target="../media/image7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26.xml"/><Relationship Id="rId5" Type="http://schemas.microsoft.com/office/2014/relationships/chartEx" Target="../charts/chartEx3.xml"/><Relationship Id="rId4" Type="http://schemas.openxmlformats.org/officeDocument/2006/relationships/image" Target="../media/image7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image" Target="../media/image7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7.xml"/><Relationship Id="rId6" Type="http://schemas.openxmlformats.org/officeDocument/2006/relationships/hyperlink" Target="https://umbrex.com/independent-management-consultants/?utm_source=deck&amp;utm_id=ppt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7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4" Type="http://schemas.openxmlformats.org/officeDocument/2006/relationships/image" Target="../media/image7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5" Type="http://schemas.openxmlformats.org/officeDocument/2006/relationships/image" Target="../media/image66.png"/><Relationship Id="rId4" Type="http://schemas.openxmlformats.org/officeDocument/2006/relationships/image" Target="../media/image7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3.xml"/><Relationship Id="rId5" Type="http://schemas.openxmlformats.org/officeDocument/2006/relationships/chart" Target="../charts/chart25.xml"/><Relationship Id="rId4" Type="http://schemas.openxmlformats.org/officeDocument/2006/relationships/image" Target="../media/image7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Relationship Id="rId5" Type="http://schemas.openxmlformats.org/officeDocument/2006/relationships/chart" Target="../charts/chart26.xml"/><Relationship Id="rId4" Type="http://schemas.openxmlformats.org/officeDocument/2006/relationships/image" Target="../media/image7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7" Type="http://schemas.openxmlformats.org/officeDocument/2006/relationships/chart" Target="../charts/chart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5.xml"/><Relationship Id="rId6" Type="http://schemas.openxmlformats.org/officeDocument/2006/relationships/chart" Target="../charts/chart28.xml"/><Relationship Id="rId5" Type="http://schemas.openxmlformats.org/officeDocument/2006/relationships/chart" Target="../charts/chart27.xml"/><Relationship Id="rId4" Type="http://schemas.openxmlformats.org/officeDocument/2006/relationships/image" Target="../media/image67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6.xml"/><Relationship Id="rId5" Type="http://schemas.openxmlformats.org/officeDocument/2006/relationships/chart" Target="../charts/chart30.xml"/><Relationship Id="rId4" Type="http://schemas.openxmlformats.org/officeDocument/2006/relationships/image" Target="../media/image7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7.xml"/><Relationship Id="rId5" Type="http://schemas.openxmlformats.org/officeDocument/2006/relationships/chart" Target="../charts/chart31.xml"/><Relationship Id="rId4" Type="http://schemas.openxmlformats.org/officeDocument/2006/relationships/image" Target="../media/image7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57.bin"/><Relationship Id="rId7" Type="http://schemas.openxmlformats.org/officeDocument/2006/relationships/chart" Target="../charts/chart2.xml"/><Relationship Id="rId12" Type="http://schemas.openxmlformats.org/officeDocument/2006/relationships/image" Target="../media/image23.svg"/><Relationship Id="rId17" Type="http://schemas.openxmlformats.org/officeDocument/2006/relationships/hyperlink" Target="https://umbrex.com/independent-management-consultants/?utm_source=deck&amp;utm_id=ppt" TargetMode="Externa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7.svg"/><Relationship Id="rId1" Type="http://schemas.openxmlformats.org/officeDocument/2006/relationships/tags" Target="../tags/tag58.xml"/><Relationship Id="rId6" Type="http://schemas.openxmlformats.org/officeDocument/2006/relationships/chart" Target="../charts/chart1.xml"/><Relationship Id="rId11" Type="http://schemas.openxmlformats.org/officeDocument/2006/relationships/image" Target="../media/image22.png"/><Relationship Id="rId5" Type="http://schemas.openxmlformats.org/officeDocument/2006/relationships/image" Target="../media/image19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4" Type="http://schemas.openxmlformats.org/officeDocument/2006/relationships/image" Target="../media/image7.emf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9.xml"/><Relationship Id="rId5" Type="http://schemas.openxmlformats.org/officeDocument/2006/relationships/chart" Target="../charts/chart32.xml"/><Relationship Id="rId4" Type="http://schemas.openxmlformats.org/officeDocument/2006/relationships/image" Target="../media/image7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0.xml"/><Relationship Id="rId4" Type="http://schemas.openxmlformats.org/officeDocument/2006/relationships/image" Target="../media/image7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Relationship Id="rId5" Type="http://schemas.openxmlformats.org/officeDocument/2006/relationships/chart" Target="../charts/chart33.xml"/><Relationship Id="rId4" Type="http://schemas.openxmlformats.org/officeDocument/2006/relationships/image" Target="../media/image7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2.xml"/><Relationship Id="rId5" Type="http://schemas.openxmlformats.org/officeDocument/2006/relationships/chart" Target="../charts/chart34.xml"/><Relationship Id="rId4" Type="http://schemas.openxmlformats.org/officeDocument/2006/relationships/image" Target="../media/image7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3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4.bin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4.xml"/><Relationship Id="rId5" Type="http://schemas.openxmlformats.org/officeDocument/2006/relationships/chart" Target="../charts/chart35.xml"/><Relationship Id="rId4" Type="http://schemas.openxmlformats.org/officeDocument/2006/relationships/image" Target="../media/image7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5.xml"/><Relationship Id="rId5" Type="http://schemas.openxmlformats.org/officeDocument/2006/relationships/chart" Target="../charts/chart36.xml"/><Relationship Id="rId4" Type="http://schemas.openxmlformats.org/officeDocument/2006/relationships/image" Target="../media/image7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7" Type="http://schemas.openxmlformats.org/officeDocument/2006/relationships/chart" Target="../charts/chart3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6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image" Target="../media/image68.emf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3.xml"/><Relationship Id="rId3" Type="http://schemas.openxmlformats.org/officeDocument/2006/relationships/oleObject" Target="../embeddings/oleObject140.bin"/><Relationship Id="rId7" Type="http://schemas.openxmlformats.org/officeDocument/2006/relationships/chart" Target="../charts/chart4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7.xml"/><Relationship Id="rId6" Type="http://schemas.openxmlformats.org/officeDocument/2006/relationships/chart" Target="../charts/chart41.xml"/><Relationship Id="rId5" Type="http://schemas.openxmlformats.org/officeDocument/2006/relationships/chart" Target="../charts/chart40.xml"/><Relationship Id="rId4" Type="http://schemas.openxmlformats.org/officeDocument/2006/relationships/image" Target="../media/image69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8.xml"/><Relationship Id="rId4" Type="http://schemas.openxmlformats.org/officeDocument/2006/relationships/image" Target="../media/image7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9D99533-1020-C958-F839-8B16DACCC4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89D99533-1020-C958-F839-8B16DACCC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F46638C7-ADBF-00C7-E782-A6A6FFADD6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A3128B5-8739-DBD2-0883-A4758098E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esentation title goes here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5B3CCD8-2147-B08A-1A51-C2936A6C90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57051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7F099A-F537-4B6A-9C76-E61610A6C5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7F099A-F537-4B6A-9C76-E61610A6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8DBB4B6-1BE5-22FE-9565-D60C65FBE8D1}"/>
              </a:ext>
            </a:extLst>
          </p:cNvPr>
          <p:cNvSpPr/>
          <p:nvPr/>
        </p:nvSpPr>
        <p:spPr>
          <a:xfrm>
            <a:off x="9140326" y="363307"/>
            <a:ext cx="2680198" cy="485776"/>
          </a:xfrm>
          <a:prstGeom prst="roundRect">
            <a:avLst>
              <a:gd name="adj" fmla="val 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in our commun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ángulo 9">
            <a:extLst>
              <a:ext uri="{FF2B5EF4-FFF2-40B4-BE49-F238E27FC236}">
                <a16:creationId xmlns:a16="http://schemas.microsoft.com/office/drawing/2014/main" id="{582AE587-4550-4390-9492-1BEFD39D2CDE}"/>
              </a:ext>
            </a:extLst>
          </p:cNvPr>
          <p:cNvSpPr/>
          <p:nvPr/>
        </p:nvSpPr>
        <p:spPr>
          <a:xfrm>
            <a:off x="384174" y="1520825"/>
            <a:ext cx="11449050" cy="47878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We create opportunities for our members to meet,</a:t>
            </a:r>
          </a:p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build relationships, share lessons learned, and collabor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45842F-05C9-41CF-B1B6-7BC0A58FD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5" y="381000"/>
            <a:ext cx="8331242" cy="485775"/>
          </a:xfrm>
        </p:spPr>
        <p:txBody>
          <a:bodyPr vert="horz"/>
          <a:lstStyle/>
          <a:p>
            <a:r>
              <a:rPr lang="en-US" dirty="0" err="1"/>
              <a:t>Umbrex</a:t>
            </a:r>
            <a:r>
              <a:rPr lang="en-US" dirty="0"/>
              <a:t> connects you with a community of other top-tier independent consultant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8626E2C-F879-4A0D-A911-B6C6FCBAA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2E1E653C-A8D0-48E1-948F-D61B47E7E5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8609"/>
          <a:stretch/>
        </p:blipFill>
        <p:spPr>
          <a:xfrm>
            <a:off x="1803524" y="2846854"/>
            <a:ext cx="847476" cy="68977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CFCBE2A-5736-4B24-BF9C-16718D40943C}"/>
              </a:ext>
            </a:extLst>
          </p:cNvPr>
          <p:cNvSpPr txBox="1"/>
          <p:nvPr/>
        </p:nvSpPr>
        <p:spPr>
          <a:xfrm>
            <a:off x="6926373" y="5277236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ee access to resourc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F6DC2A-6C0D-4EDC-AD60-9DB7AF97A2CC}"/>
              </a:ext>
            </a:extLst>
          </p:cNvPr>
          <p:cNvSpPr txBox="1"/>
          <p:nvPr/>
        </p:nvSpPr>
        <p:spPr>
          <a:xfrm>
            <a:off x="2684353" y="5277236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termind Grou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9C02814-A9A3-4C97-BB88-243DD3ECDA4E}"/>
              </a:ext>
            </a:extLst>
          </p:cNvPr>
          <p:cNvSpPr txBox="1"/>
          <p:nvPr/>
        </p:nvSpPr>
        <p:spPr>
          <a:xfrm>
            <a:off x="895310" y="3710829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-person ev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B07003-8AB8-4404-A323-7111E1A3007D}"/>
              </a:ext>
            </a:extLst>
          </p:cNvPr>
          <p:cNvSpPr txBox="1"/>
          <p:nvPr/>
        </p:nvSpPr>
        <p:spPr>
          <a:xfrm>
            <a:off x="8715416" y="3710829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vate online foru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431F3A-5AE0-4B99-8F46-542772C75A08}"/>
              </a:ext>
            </a:extLst>
          </p:cNvPr>
          <p:cNvSpPr txBox="1"/>
          <p:nvPr/>
        </p:nvSpPr>
        <p:spPr>
          <a:xfrm>
            <a:off x="4805363" y="3710829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line event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CCEFEA56-5BCA-4E8F-B146-A536CC02A12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24174"/>
          <a:stretch/>
        </p:blipFill>
        <p:spPr>
          <a:xfrm>
            <a:off x="5640221" y="2846140"/>
            <a:ext cx="911559" cy="691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7647EC8D-E11F-4288-BE52-FEC5135036E3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60453" y="2846140"/>
            <a:ext cx="691200" cy="691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802C6A3A-922C-4ECD-9E32-764EF5F3189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b="27594"/>
          <a:stretch/>
        </p:blipFill>
        <p:spPr>
          <a:xfrm>
            <a:off x="3497680" y="4481524"/>
            <a:ext cx="954620" cy="691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293861B-7E3F-4241-83FE-C8FD29EFCDC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b="18319"/>
          <a:stretch/>
        </p:blipFill>
        <p:spPr>
          <a:xfrm>
            <a:off x="7793902" y="4481524"/>
            <a:ext cx="846217" cy="69120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766EC68-224E-4F72-A4F3-1F1EDD44945D}"/>
              </a:ext>
            </a:extLst>
          </p:cNvPr>
          <p:cNvCxnSpPr/>
          <p:nvPr/>
        </p:nvCxnSpPr>
        <p:spPr>
          <a:xfrm>
            <a:off x="618067" y="4365413"/>
            <a:ext cx="1083733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AB24472-9348-4EF3-9DAA-BC8137AE253A}"/>
              </a:ext>
            </a:extLst>
          </p:cNvPr>
          <p:cNvCxnSpPr/>
          <p:nvPr/>
        </p:nvCxnSpPr>
        <p:spPr>
          <a:xfrm>
            <a:off x="8051027" y="2438400"/>
            <a:ext cx="0" cy="148166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5678644-CA98-4A01-978E-C07B9F666867}"/>
              </a:ext>
            </a:extLst>
          </p:cNvPr>
          <p:cNvCxnSpPr/>
          <p:nvPr/>
        </p:nvCxnSpPr>
        <p:spPr>
          <a:xfrm>
            <a:off x="4140974" y="2438400"/>
            <a:ext cx="0" cy="148166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B7FC9F8-7EC2-44CA-80CF-DB7B0C6CE4B7}"/>
              </a:ext>
            </a:extLst>
          </p:cNvPr>
          <p:cNvCxnSpPr/>
          <p:nvPr/>
        </p:nvCxnSpPr>
        <p:spPr>
          <a:xfrm>
            <a:off x="6096000" y="4683760"/>
            <a:ext cx="0" cy="148166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E6676F8A-A04A-D7D2-00E9-B1A11FD804FF}"/>
              </a:ext>
            </a:extLst>
          </p:cNvPr>
          <p:cNvSpPr/>
          <p:nvPr/>
        </p:nvSpPr>
        <p:spPr>
          <a:xfrm>
            <a:off x="121920" y="6400800"/>
            <a:ext cx="1787562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4AE205B-F279-4875-45C3-755BF419C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5680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948F25B-A8AF-B457-031B-C9FBA92CA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2385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948F25B-A8AF-B457-031B-C9FBA92CA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7D1B6945-7019-D4BA-35FF-9F0F9608CC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4B08A480-CF36-F0AA-25AA-AC2AAEE84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0635878"/>
              </p:ext>
            </p:extLst>
          </p:nvPr>
        </p:nvGraphicFramePr>
        <p:xfrm>
          <a:off x="561975" y="1520824"/>
          <a:ext cx="11258551" cy="3729001"/>
        </p:xfrm>
        <a:graphic>
          <a:graphicData uri="http://schemas.openxmlformats.org/drawingml/2006/table">
            <a:tbl>
              <a:tblPr firstRow="1" firstCol="1">
                <a:tableStyleId>{5A111915-BE36-4E01-A7E5-04B1672EAD32}</a:tableStyleId>
              </a:tblPr>
              <a:tblGrid>
                <a:gridCol w="3962035">
                  <a:extLst>
                    <a:ext uri="{9D8B030D-6E8A-4147-A177-3AD203B41FA5}">
                      <a16:colId xmlns:a16="http://schemas.microsoft.com/office/drawing/2014/main" val="3217080445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2441850317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3825669539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2643082913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374085253"/>
                    </a:ext>
                  </a:extLst>
                </a:gridCol>
              </a:tblGrid>
              <a:tr h="362666">
                <a:tc>
                  <a:txBody>
                    <a:bodyPr/>
                    <a:lstStyle/>
                    <a:p>
                      <a:r>
                        <a:rPr lang="en-US" sz="1800" b="1" i="0" dirty="0">
                          <a:latin typeface="+mn-lt"/>
                          <a:ea typeface="Roboto" panose="02000000000000000000" pitchFamily="2" charset="0"/>
                        </a:rPr>
                        <a:t> </a:t>
                      </a:r>
                    </a:p>
                  </a:txBody>
                  <a:tcPr marL="45720" marR="45720" marT="22860" marB="2286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12651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indent="0" algn="l" defTabSz="108763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/>
                        <a:buNone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50456879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7556444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9232025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440313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9828481"/>
                  </a:ext>
                </a:extLst>
              </a:tr>
            </a:tbl>
          </a:graphicData>
        </a:graphic>
      </p:graphicFrame>
      <p:sp>
        <p:nvSpPr>
          <p:cNvPr id="12" name="Oval 7">
            <a:extLst>
              <a:ext uri="{FF2B5EF4-FFF2-40B4-BE49-F238E27FC236}">
                <a16:creationId xmlns:a16="http://schemas.microsoft.com/office/drawing/2014/main" id="{E27D69D2-E1A6-BE92-9F5E-A001783F382F}"/>
              </a:ext>
            </a:extLst>
          </p:cNvPr>
          <p:cNvSpPr/>
          <p:nvPr/>
        </p:nvSpPr>
        <p:spPr>
          <a:xfrm>
            <a:off x="5183188" y="1989214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Pie 8">
            <a:extLst>
              <a:ext uri="{FF2B5EF4-FFF2-40B4-BE49-F238E27FC236}">
                <a16:creationId xmlns:a16="http://schemas.microsoft.com/office/drawing/2014/main" id="{A87F9301-ECF4-ECB5-1B1E-0FE85D9E8864}"/>
              </a:ext>
            </a:extLst>
          </p:cNvPr>
          <p:cNvSpPr/>
          <p:nvPr/>
        </p:nvSpPr>
        <p:spPr>
          <a:xfrm>
            <a:off x="5183188" y="1989214"/>
            <a:ext cx="483633" cy="475812"/>
          </a:xfrm>
          <a:prstGeom prst="pie">
            <a:avLst/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CFAB5C15-E3AC-26DC-F7ED-18F0F24F1CF5}"/>
              </a:ext>
            </a:extLst>
          </p:cNvPr>
          <p:cNvSpPr/>
          <p:nvPr/>
        </p:nvSpPr>
        <p:spPr>
          <a:xfrm>
            <a:off x="5183188" y="2655964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Pie 10">
            <a:extLst>
              <a:ext uri="{FF2B5EF4-FFF2-40B4-BE49-F238E27FC236}">
                <a16:creationId xmlns:a16="http://schemas.microsoft.com/office/drawing/2014/main" id="{C3349C3E-9C7E-4C6D-27C0-670D18A950B4}"/>
              </a:ext>
            </a:extLst>
          </p:cNvPr>
          <p:cNvSpPr/>
          <p:nvPr/>
        </p:nvSpPr>
        <p:spPr>
          <a:xfrm>
            <a:off x="5183188" y="2655964"/>
            <a:ext cx="483633" cy="475812"/>
          </a:xfrm>
          <a:prstGeom prst="pie">
            <a:avLst>
              <a:gd name="adj1" fmla="val 5373011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C7D83A88-0DA4-AD8A-4730-1DAD9F465FCB}"/>
              </a:ext>
            </a:extLst>
          </p:cNvPr>
          <p:cNvSpPr/>
          <p:nvPr/>
        </p:nvSpPr>
        <p:spPr>
          <a:xfrm>
            <a:off x="5183188" y="3337398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e 12">
            <a:extLst>
              <a:ext uri="{FF2B5EF4-FFF2-40B4-BE49-F238E27FC236}">
                <a16:creationId xmlns:a16="http://schemas.microsoft.com/office/drawing/2014/main" id="{4A748D93-1922-1403-5853-A72C49854D95}"/>
              </a:ext>
            </a:extLst>
          </p:cNvPr>
          <p:cNvSpPr/>
          <p:nvPr/>
        </p:nvSpPr>
        <p:spPr>
          <a:xfrm>
            <a:off x="5183188" y="3337398"/>
            <a:ext cx="483633" cy="475812"/>
          </a:xfrm>
          <a:prstGeom prst="pie">
            <a:avLst>
              <a:gd name="adj1" fmla="val 10692023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10E9048F-1F1C-7E39-B4DF-CF1A203C4378}"/>
              </a:ext>
            </a:extLst>
          </p:cNvPr>
          <p:cNvSpPr/>
          <p:nvPr/>
        </p:nvSpPr>
        <p:spPr>
          <a:xfrm>
            <a:off x="5183188" y="4003282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Pie 14">
            <a:extLst>
              <a:ext uri="{FF2B5EF4-FFF2-40B4-BE49-F238E27FC236}">
                <a16:creationId xmlns:a16="http://schemas.microsoft.com/office/drawing/2014/main" id="{685ECCAA-F012-8B6B-9886-CD3EDA7199F0}"/>
              </a:ext>
            </a:extLst>
          </p:cNvPr>
          <p:cNvSpPr/>
          <p:nvPr/>
        </p:nvSpPr>
        <p:spPr>
          <a:xfrm>
            <a:off x="5183188" y="4003282"/>
            <a:ext cx="483633" cy="475812"/>
          </a:xfrm>
          <a:prstGeom prst="pie">
            <a:avLst>
              <a:gd name="adj1" fmla="val 16216965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1ED3DBCA-CF17-A667-F87E-DA2D68D87813}"/>
              </a:ext>
            </a:extLst>
          </p:cNvPr>
          <p:cNvSpPr/>
          <p:nvPr/>
        </p:nvSpPr>
        <p:spPr>
          <a:xfrm>
            <a:off x="5183188" y="4734975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" name="Pie 16">
            <a:extLst>
              <a:ext uri="{FF2B5EF4-FFF2-40B4-BE49-F238E27FC236}">
                <a16:creationId xmlns:a16="http://schemas.microsoft.com/office/drawing/2014/main" id="{BC4AE7D5-DC9A-9898-635E-80D6463B3D41}"/>
              </a:ext>
            </a:extLst>
          </p:cNvPr>
          <p:cNvSpPr/>
          <p:nvPr/>
        </p:nvSpPr>
        <p:spPr>
          <a:xfrm>
            <a:off x="5183188" y="4734975"/>
            <a:ext cx="483633" cy="475812"/>
          </a:xfrm>
          <a:prstGeom prst="pie">
            <a:avLst>
              <a:gd name="adj1" fmla="val 13508267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93B8E6D9-8276-FDE1-1E71-E66770427FDD}"/>
              </a:ext>
            </a:extLst>
          </p:cNvPr>
          <p:cNvSpPr/>
          <p:nvPr/>
        </p:nvSpPr>
        <p:spPr>
          <a:xfrm>
            <a:off x="6993492" y="1989214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Pie 18">
            <a:extLst>
              <a:ext uri="{FF2B5EF4-FFF2-40B4-BE49-F238E27FC236}">
                <a16:creationId xmlns:a16="http://schemas.microsoft.com/office/drawing/2014/main" id="{6CBE4EF5-8067-FA3D-C98C-61A7FAB35F3B}"/>
              </a:ext>
            </a:extLst>
          </p:cNvPr>
          <p:cNvSpPr/>
          <p:nvPr/>
        </p:nvSpPr>
        <p:spPr>
          <a:xfrm>
            <a:off x="6993492" y="1989214"/>
            <a:ext cx="483633" cy="475812"/>
          </a:xfrm>
          <a:prstGeom prst="pie">
            <a:avLst>
              <a:gd name="adj1" fmla="val 19627430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Oval 19">
            <a:extLst>
              <a:ext uri="{FF2B5EF4-FFF2-40B4-BE49-F238E27FC236}">
                <a16:creationId xmlns:a16="http://schemas.microsoft.com/office/drawing/2014/main" id="{2EC8E5BA-682F-7313-07BE-0F10FEFBA293}"/>
              </a:ext>
            </a:extLst>
          </p:cNvPr>
          <p:cNvSpPr/>
          <p:nvPr/>
        </p:nvSpPr>
        <p:spPr>
          <a:xfrm>
            <a:off x="6993492" y="2655964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" name="Pie 20">
            <a:extLst>
              <a:ext uri="{FF2B5EF4-FFF2-40B4-BE49-F238E27FC236}">
                <a16:creationId xmlns:a16="http://schemas.microsoft.com/office/drawing/2014/main" id="{4510B60A-D757-8F6F-294E-6A9A8C285658}"/>
              </a:ext>
            </a:extLst>
          </p:cNvPr>
          <p:cNvSpPr/>
          <p:nvPr/>
        </p:nvSpPr>
        <p:spPr>
          <a:xfrm>
            <a:off x="6993492" y="2655964"/>
            <a:ext cx="483633" cy="475812"/>
          </a:xfrm>
          <a:prstGeom prst="pie">
            <a:avLst>
              <a:gd name="adj1" fmla="val 18473056"/>
              <a:gd name="adj2" fmla="val 312119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9023FBAD-8EED-C875-4175-B7E41ABEB9F2}"/>
              </a:ext>
            </a:extLst>
          </p:cNvPr>
          <p:cNvSpPr/>
          <p:nvPr/>
        </p:nvSpPr>
        <p:spPr>
          <a:xfrm>
            <a:off x="6993492" y="3337398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Pie 22">
            <a:extLst>
              <a:ext uri="{FF2B5EF4-FFF2-40B4-BE49-F238E27FC236}">
                <a16:creationId xmlns:a16="http://schemas.microsoft.com/office/drawing/2014/main" id="{0EEE9B3B-D4EA-CABB-970E-C25A3EF5BDE5}"/>
              </a:ext>
            </a:extLst>
          </p:cNvPr>
          <p:cNvSpPr/>
          <p:nvPr/>
        </p:nvSpPr>
        <p:spPr>
          <a:xfrm>
            <a:off x="6993492" y="3337398"/>
            <a:ext cx="483633" cy="475812"/>
          </a:xfrm>
          <a:prstGeom prst="pie">
            <a:avLst>
              <a:gd name="adj1" fmla="val 1290323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" name="Oval 23">
            <a:extLst>
              <a:ext uri="{FF2B5EF4-FFF2-40B4-BE49-F238E27FC236}">
                <a16:creationId xmlns:a16="http://schemas.microsoft.com/office/drawing/2014/main" id="{BACB931C-B270-E075-A29A-42D273EF327E}"/>
              </a:ext>
            </a:extLst>
          </p:cNvPr>
          <p:cNvSpPr/>
          <p:nvPr/>
        </p:nvSpPr>
        <p:spPr>
          <a:xfrm>
            <a:off x="6993492" y="4003282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9" name="Pie 24">
            <a:extLst>
              <a:ext uri="{FF2B5EF4-FFF2-40B4-BE49-F238E27FC236}">
                <a16:creationId xmlns:a16="http://schemas.microsoft.com/office/drawing/2014/main" id="{3B1B0EAB-C934-811A-66D3-6D93322CA1EE}"/>
              </a:ext>
            </a:extLst>
          </p:cNvPr>
          <p:cNvSpPr/>
          <p:nvPr/>
        </p:nvSpPr>
        <p:spPr>
          <a:xfrm>
            <a:off x="6993492" y="4003282"/>
            <a:ext cx="483633" cy="475812"/>
          </a:xfrm>
          <a:prstGeom prst="pie">
            <a:avLst>
              <a:gd name="adj1" fmla="val 16216965"/>
              <a:gd name="adj2" fmla="val 209884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B7AB8194-0D84-F155-E3A7-A3ABF05E6D07}"/>
              </a:ext>
            </a:extLst>
          </p:cNvPr>
          <p:cNvSpPr/>
          <p:nvPr/>
        </p:nvSpPr>
        <p:spPr>
          <a:xfrm>
            <a:off x="6993492" y="4734975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1" name="Pie 26">
            <a:extLst>
              <a:ext uri="{FF2B5EF4-FFF2-40B4-BE49-F238E27FC236}">
                <a16:creationId xmlns:a16="http://schemas.microsoft.com/office/drawing/2014/main" id="{B888300B-6778-456D-AB31-82A02D0FAB93}"/>
              </a:ext>
            </a:extLst>
          </p:cNvPr>
          <p:cNvSpPr/>
          <p:nvPr/>
        </p:nvSpPr>
        <p:spPr>
          <a:xfrm>
            <a:off x="6993492" y="4734975"/>
            <a:ext cx="483633" cy="475812"/>
          </a:xfrm>
          <a:prstGeom prst="pie">
            <a:avLst>
              <a:gd name="adj1" fmla="val 16778425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2" name="Oval 27">
            <a:extLst>
              <a:ext uri="{FF2B5EF4-FFF2-40B4-BE49-F238E27FC236}">
                <a16:creationId xmlns:a16="http://schemas.microsoft.com/office/drawing/2014/main" id="{3EE94E30-2981-435F-6318-92B677D740EB}"/>
              </a:ext>
            </a:extLst>
          </p:cNvPr>
          <p:cNvSpPr/>
          <p:nvPr/>
        </p:nvSpPr>
        <p:spPr>
          <a:xfrm>
            <a:off x="8795119" y="1989214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3" name="Pie 28">
            <a:extLst>
              <a:ext uri="{FF2B5EF4-FFF2-40B4-BE49-F238E27FC236}">
                <a16:creationId xmlns:a16="http://schemas.microsoft.com/office/drawing/2014/main" id="{4365AB1B-24E3-26D9-5151-D05E58D6B736}"/>
              </a:ext>
            </a:extLst>
          </p:cNvPr>
          <p:cNvSpPr/>
          <p:nvPr/>
        </p:nvSpPr>
        <p:spPr>
          <a:xfrm>
            <a:off x="8795119" y="1989214"/>
            <a:ext cx="483633" cy="475812"/>
          </a:xfrm>
          <a:prstGeom prst="pie">
            <a:avLst>
              <a:gd name="adj1" fmla="val 14734418"/>
              <a:gd name="adj2" fmla="val 162000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4" name="Oval 29">
            <a:extLst>
              <a:ext uri="{FF2B5EF4-FFF2-40B4-BE49-F238E27FC236}">
                <a16:creationId xmlns:a16="http://schemas.microsoft.com/office/drawing/2014/main" id="{18A9C01A-D19C-8ACD-C603-FB031CFB3AB2}"/>
              </a:ext>
            </a:extLst>
          </p:cNvPr>
          <p:cNvSpPr/>
          <p:nvPr/>
        </p:nvSpPr>
        <p:spPr>
          <a:xfrm>
            <a:off x="8795119" y="2655964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5" name="Pie 30">
            <a:extLst>
              <a:ext uri="{FF2B5EF4-FFF2-40B4-BE49-F238E27FC236}">
                <a16:creationId xmlns:a16="http://schemas.microsoft.com/office/drawing/2014/main" id="{729CF43C-9418-7638-2BEC-79C00504BFEB}"/>
              </a:ext>
            </a:extLst>
          </p:cNvPr>
          <p:cNvSpPr/>
          <p:nvPr/>
        </p:nvSpPr>
        <p:spPr>
          <a:xfrm>
            <a:off x="8795119" y="2655964"/>
            <a:ext cx="483633" cy="475812"/>
          </a:xfrm>
          <a:prstGeom prst="pie">
            <a:avLst>
              <a:gd name="adj1" fmla="val 18473056"/>
              <a:gd name="adj2" fmla="val 99252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6" name="Oval 31">
            <a:extLst>
              <a:ext uri="{FF2B5EF4-FFF2-40B4-BE49-F238E27FC236}">
                <a16:creationId xmlns:a16="http://schemas.microsoft.com/office/drawing/2014/main" id="{F4C6ED8E-037D-05DF-0D9C-C57DFF7FFD51}"/>
              </a:ext>
            </a:extLst>
          </p:cNvPr>
          <p:cNvSpPr/>
          <p:nvPr/>
        </p:nvSpPr>
        <p:spPr>
          <a:xfrm>
            <a:off x="8795119" y="3337398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7" name="Pie 32">
            <a:extLst>
              <a:ext uri="{FF2B5EF4-FFF2-40B4-BE49-F238E27FC236}">
                <a16:creationId xmlns:a16="http://schemas.microsoft.com/office/drawing/2014/main" id="{2DF1F661-B3E5-6E00-A1D1-863AA081C67C}"/>
              </a:ext>
            </a:extLst>
          </p:cNvPr>
          <p:cNvSpPr/>
          <p:nvPr/>
        </p:nvSpPr>
        <p:spPr>
          <a:xfrm>
            <a:off x="8795119" y="3337398"/>
            <a:ext cx="483633" cy="475812"/>
          </a:xfrm>
          <a:prstGeom prst="pie">
            <a:avLst>
              <a:gd name="adj1" fmla="val 18574662"/>
              <a:gd name="adj2" fmla="val 162000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8" name="Oval 33">
            <a:extLst>
              <a:ext uri="{FF2B5EF4-FFF2-40B4-BE49-F238E27FC236}">
                <a16:creationId xmlns:a16="http://schemas.microsoft.com/office/drawing/2014/main" id="{56F148BD-A01C-3B64-3FBE-2BEE557BBBE4}"/>
              </a:ext>
            </a:extLst>
          </p:cNvPr>
          <p:cNvSpPr/>
          <p:nvPr/>
        </p:nvSpPr>
        <p:spPr>
          <a:xfrm>
            <a:off x="8795119" y="4003282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Pie 34">
            <a:extLst>
              <a:ext uri="{FF2B5EF4-FFF2-40B4-BE49-F238E27FC236}">
                <a16:creationId xmlns:a16="http://schemas.microsoft.com/office/drawing/2014/main" id="{C4904CC0-D9B8-CCA9-8D2F-5F7DDACF5A95}"/>
              </a:ext>
            </a:extLst>
          </p:cNvPr>
          <p:cNvSpPr/>
          <p:nvPr/>
        </p:nvSpPr>
        <p:spPr>
          <a:xfrm>
            <a:off x="8795119" y="4003282"/>
            <a:ext cx="483633" cy="475812"/>
          </a:xfrm>
          <a:prstGeom prst="pie">
            <a:avLst>
              <a:gd name="adj1" fmla="val 16216965"/>
              <a:gd name="adj2" fmla="val 5436963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Oval 35">
            <a:extLst>
              <a:ext uri="{FF2B5EF4-FFF2-40B4-BE49-F238E27FC236}">
                <a16:creationId xmlns:a16="http://schemas.microsoft.com/office/drawing/2014/main" id="{E645853C-4444-13FD-9DFE-B1D3EC977FA2}"/>
              </a:ext>
            </a:extLst>
          </p:cNvPr>
          <p:cNvSpPr/>
          <p:nvPr/>
        </p:nvSpPr>
        <p:spPr>
          <a:xfrm>
            <a:off x="8795119" y="4734975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Pie 36">
            <a:extLst>
              <a:ext uri="{FF2B5EF4-FFF2-40B4-BE49-F238E27FC236}">
                <a16:creationId xmlns:a16="http://schemas.microsoft.com/office/drawing/2014/main" id="{E1C10BBF-D894-F992-B857-9378E395E5FF}"/>
              </a:ext>
            </a:extLst>
          </p:cNvPr>
          <p:cNvSpPr/>
          <p:nvPr/>
        </p:nvSpPr>
        <p:spPr>
          <a:xfrm>
            <a:off x="8795119" y="4734975"/>
            <a:ext cx="483633" cy="475812"/>
          </a:xfrm>
          <a:prstGeom prst="pie">
            <a:avLst>
              <a:gd name="adj1" fmla="val 16778425"/>
              <a:gd name="adj2" fmla="val 1626574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2" name="Oval 37">
            <a:extLst>
              <a:ext uri="{FF2B5EF4-FFF2-40B4-BE49-F238E27FC236}">
                <a16:creationId xmlns:a16="http://schemas.microsoft.com/office/drawing/2014/main" id="{6CD1D797-0E62-27AD-5852-96082BE07C8C}"/>
              </a:ext>
            </a:extLst>
          </p:cNvPr>
          <p:cNvSpPr/>
          <p:nvPr/>
        </p:nvSpPr>
        <p:spPr>
          <a:xfrm>
            <a:off x="10667734" y="1989214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3" name="Pie 38">
            <a:extLst>
              <a:ext uri="{FF2B5EF4-FFF2-40B4-BE49-F238E27FC236}">
                <a16:creationId xmlns:a16="http://schemas.microsoft.com/office/drawing/2014/main" id="{7312D46D-4037-B37C-9C21-C3EC1F4E3DA1}"/>
              </a:ext>
            </a:extLst>
          </p:cNvPr>
          <p:cNvSpPr/>
          <p:nvPr/>
        </p:nvSpPr>
        <p:spPr>
          <a:xfrm>
            <a:off x="10667734" y="1989214"/>
            <a:ext cx="483633" cy="475812"/>
          </a:xfrm>
          <a:prstGeom prst="pie">
            <a:avLst>
              <a:gd name="adj1" fmla="val 18693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4" name="Oval 39">
            <a:extLst>
              <a:ext uri="{FF2B5EF4-FFF2-40B4-BE49-F238E27FC236}">
                <a16:creationId xmlns:a16="http://schemas.microsoft.com/office/drawing/2014/main" id="{5F7735A7-D9A8-617E-2A21-794482037592}"/>
              </a:ext>
            </a:extLst>
          </p:cNvPr>
          <p:cNvSpPr/>
          <p:nvPr/>
        </p:nvSpPr>
        <p:spPr>
          <a:xfrm>
            <a:off x="10667734" y="2655964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5" name="Pie 40">
            <a:extLst>
              <a:ext uri="{FF2B5EF4-FFF2-40B4-BE49-F238E27FC236}">
                <a16:creationId xmlns:a16="http://schemas.microsoft.com/office/drawing/2014/main" id="{9EE32CBE-7B04-82C6-E6FF-007C80A7C569}"/>
              </a:ext>
            </a:extLst>
          </p:cNvPr>
          <p:cNvSpPr/>
          <p:nvPr/>
        </p:nvSpPr>
        <p:spPr>
          <a:xfrm>
            <a:off x="10667734" y="2655964"/>
            <a:ext cx="483633" cy="475812"/>
          </a:xfrm>
          <a:prstGeom prst="pie">
            <a:avLst>
              <a:gd name="adj1" fmla="val 16243695"/>
              <a:gd name="adj2" fmla="val 835432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6" name="Oval 41">
            <a:extLst>
              <a:ext uri="{FF2B5EF4-FFF2-40B4-BE49-F238E27FC236}">
                <a16:creationId xmlns:a16="http://schemas.microsoft.com/office/drawing/2014/main" id="{54E4744E-23E9-F153-98CE-BA3E10AB9B29}"/>
              </a:ext>
            </a:extLst>
          </p:cNvPr>
          <p:cNvSpPr/>
          <p:nvPr/>
        </p:nvSpPr>
        <p:spPr>
          <a:xfrm>
            <a:off x="10667734" y="3337398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7" name="Pie 42">
            <a:extLst>
              <a:ext uri="{FF2B5EF4-FFF2-40B4-BE49-F238E27FC236}">
                <a16:creationId xmlns:a16="http://schemas.microsoft.com/office/drawing/2014/main" id="{58973053-3797-7624-0182-FE8127B43A4C}"/>
              </a:ext>
            </a:extLst>
          </p:cNvPr>
          <p:cNvSpPr/>
          <p:nvPr/>
        </p:nvSpPr>
        <p:spPr>
          <a:xfrm>
            <a:off x="10667734" y="3337398"/>
            <a:ext cx="483633" cy="475812"/>
          </a:xfrm>
          <a:prstGeom prst="pie">
            <a:avLst>
              <a:gd name="adj1" fmla="val 12085007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8" name="Oval 43">
            <a:extLst>
              <a:ext uri="{FF2B5EF4-FFF2-40B4-BE49-F238E27FC236}">
                <a16:creationId xmlns:a16="http://schemas.microsoft.com/office/drawing/2014/main" id="{8C85C395-DB7C-A859-A644-8EC69277E05C}"/>
              </a:ext>
            </a:extLst>
          </p:cNvPr>
          <p:cNvSpPr/>
          <p:nvPr/>
        </p:nvSpPr>
        <p:spPr>
          <a:xfrm>
            <a:off x="10667734" y="4003282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9" name="Pie 44">
            <a:extLst>
              <a:ext uri="{FF2B5EF4-FFF2-40B4-BE49-F238E27FC236}">
                <a16:creationId xmlns:a16="http://schemas.microsoft.com/office/drawing/2014/main" id="{A4DEEFBD-ED5A-8CA6-7B9F-05C4291D53A1}"/>
              </a:ext>
            </a:extLst>
          </p:cNvPr>
          <p:cNvSpPr/>
          <p:nvPr/>
        </p:nvSpPr>
        <p:spPr>
          <a:xfrm>
            <a:off x="10667734" y="4003282"/>
            <a:ext cx="483633" cy="475812"/>
          </a:xfrm>
          <a:prstGeom prst="pie">
            <a:avLst>
              <a:gd name="adj1" fmla="val 16216965"/>
              <a:gd name="adj2" fmla="val 1621694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0" name="Oval 45">
            <a:extLst>
              <a:ext uri="{FF2B5EF4-FFF2-40B4-BE49-F238E27FC236}">
                <a16:creationId xmlns:a16="http://schemas.microsoft.com/office/drawing/2014/main" id="{BFB06B63-EE8D-A80E-B129-9A1A26D494F3}"/>
              </a:ext>
            </a:extLst>
          </p:cNvPr>
          <p:cNvSpPr/>
          <p:nvPr/>
        </p:nvSpPr>
        <p:spPr>
          <a:xfrm>
            <a:off x="10667734" y="4734975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1" name="Pie 46">
            <a:extLst>
              <a:ext uri="{FF2B5EF4-FFF2-40B4-BE49-F238E27FC236}">
                <a16:creationId xmlns:a16="http://schemas.microsoft.com/office/drawing/2014/main" id="{98453E3D-E005-D3CE-ACB6-2ACFE15DA67B}"/>
              </a:ext>
            </a:extLst>
          </p:cNvPr>
          <p:cNvSpPr/>
          <p:nvPr/>
        </p:nvSpPr>
        <p:spPr>
          <a:xfrm>
            <a:off x="10667734" y="4734975"/>
            <a:ext cx="483633" cy="475812"/>
          </a:xfrm>
          <a:prstGeom prst="pie">
            <a:avLst>
              <a:gd name="adj1" fmla="val 18391448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0DEE824A-ECCE-7DF5-0600-4128AF909E79}"/>
              </a:ext>
            </a:extLst>
          </p:cNvPr>
          <p:cNvSpPr txBox="1">
            <a:spLocks/>
          </p:cNvSpPr>
          <p:nvPr/>
        </p:nvSpPr>
        <p:spPr>
          <a:xfrm>
            <a:off x="371474" y="5505705"/>
            <a:ext cx="11449051" cy="80301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44000" tIns="72000" rIns="108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9AC356-EE25-475B-8674-96349846A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1CEFD768-1F42-D3B9-811F-95AD34B4E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358850783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23B752E-CB0E-C116-58C1-F7CDF2F5D4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3106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23B752E-CB0E-C116-58C1-F7CDF2F5D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593F624-0CE8-0FF7-D794-1867099068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" name="Freeform 86">
            <a:extLst>
              <a:ext uri="{FF2B5EF4-FFF2-40B4-BE49-F238E27FC236}">
                <a16:creationId xmlns:a16="http://schemas.microsoft.com/office/drawing/2014/main" id="{F34A79E7-10AE-F9E5-D4FF-19895748AA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8016" y="2475262"/>
            <a:ext cx="2442466" cy="244262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1" name="Pie 4">
            <a:extLst>
              <a:ext uri="{FF2B5EF4-FFF2-40B4-BE49-F238E27FC236}">
                <a16:creationId xmlns:a16="http://schemas.microsoft.com/office/drawing/2014/main" id="{49632853-D343-950B-50CC-49B2AF8AF0B1}"/>
              </a:ext>
            </a:extLst>
          </p:cNvPr>
          <p:cNvSpPr>
            <a:spLocks/>
          </p:cNvSpPr>
          <p:nvPr/>
        </p:nvSpPr>
        <p:spPr>
          <a:xfrm>
            <a:off x="4794762" y="2475104"/>
            <a:ext cx="2445718" cy="2442624"/>
          </a:xfrm>
          <a:prstGeom prst="pie">
            <a:avLst>
              <a:gd name="adj1" fmla="val 16193829"/>
              <a:gd name="adj2" fmla="val 3320925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2" name="Freeform 86">
            <a:extLst>
              <a:ext uri="{FF2B5EF4-FFF2-40B4-BE49-F238E27FC236}">
                <a16:creationId xmlns:a16="http://schemas.microsoft.com/office/drawing/2014/main" id="{FA89766A-5F8D-226D-5808-AFE0F97CE6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95785" y="4360113"/>
            <a:ext cx="1805438" cy="180555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3" name="Pie 8">
            <a:extLst>
              <a:ext uri="{FF2B5EF4-FFF2-40B4-BE49-F238E27FC236}">
                <a16:creationId xmlns:a16="http://schemas.microsoft.com/office/drawing/2014/main" id="{C4EE1873-0A29-00D7-8FA9-28ED555E71CD}"/>
              </a:ext>
            </a:extLst>
          </p:cNvPr>
          <p:cNvSpPr>
            <a:spLocks/>
          </p:cNvSpPr>
          <p:nvPr/>
        </p:nvSpPr>
        <p:spPr>
          <a:xfrm>
            <a:off x="6793380" y="4359996"/>
            <a:ext cx="1807842" cy="1805554"/>
          </a:xfrm>
          <a:prstGeom prst="pie">
            <a:avLst>
              <a:gd name="adj1" fmla="val 16193829"/>
              <a:gd name="adj2" fmla="val 14143275"/>
            </a:avLst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4" name="Freeform 86">
            <a:extLst>
              <a:ext uri="{FF2B5EF4-FFF2-40B4-BE49-F238E27FC236}">
                <a16:creationId xmlns:a16="http://schemas.microsoft.com/office/drawing/2014/main" id="{7BFBB520-BE28-F97B-B782-AA0A9C31049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8895" y="1624853"/>
            <a:ext cx="1470948" cy="1471044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5" name="Pie 11">
            <a:extLst>
              <a:ext uri="{FF2B5EF4-FFF2-40B4-BE49-F238E27FC236}">
                <a16:creationId xmlns:a16="http://schemas.microsoft.com/office/drawing/2014/main" id="{19CB9FFE-5171-8A3B-4AB3-87331B354F63}"/>
              </a:ext>
            </a:extLst>
          </p:cNvPr>
          <p:cNvSpPr>
            <a:spLocks/>
          </p:cNvSpPr>
          <p:nvPr/>
        </p:nvSpPr>
        <p:spPr>
          <a:xfrm>
            <a:off x="3606935" y="1624758"/>
            <a:ext cx="1472907" cy="1471043"/>
          </a:xfrm>
          <a:prstGeom prst="pie">
            <a:avLst>
              <a:gd name="adj1" fmla="val 16193829"/>
              <a:gd name="adj2" fmla="val 18631802"/>
            </a:avLst>
          </a:prstGeom>
          <a:solidFill>
            <a:schemeClr val="accent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6" name="Freeform 86">
            <a:extLst>
              <a:ext uri="{FF2B5EF4-FFF2-40B4-BE49-F238E27FC236}">
                <a16:creationId xmlns:a16="http://schemas.microsoft.com/office/drawing/2014/main" id="{D2133A5C-E8D6-DADF-D416-2E89746342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99804" y="1742401"/>
            <a:ext cx="1183602" cy="1183679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7" name="Pie 14">
            <a:extLst>
              <a:ext uri="{FF2B5EF4-FFF2-40B4-BE49-F238E27FC236}">
                <a16:creationId xmlns:a16="http://schemas.microsoft.com/office/drawing/2014/main" id="{1CF491DD-D49C-372B-6541-13E8CF7E3A8A}"/>
              </a:ext>
            </a:extLst>
          </p:cNvPr>
          <p:cNvSpPr>
            <a:spLocks/>
          </p:cNvSpPr>
          <p:nvPr/>
        </p:nvSpPr>
        <p:spPr>
          <a:xfrm>
            <a:off x="6898227" y="1742325"/>
            <a:ext cx="1185178" cy="1183678"/>
          </a:xfrm>
          <a:prstGeom prst="pie">
            <a:avLst>
              <a:gd name="adj1" fmla="val 16193829"/>
              <a:gd name="adj2" fmla="val 9111790"/>
            </a:avLst>
          </a:prstGeom>
          <a:solidFill>
            <a:schemeClr val="tx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1384E3B0-B70E-60CA-D5B1-F9BB80F2F6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59433" y="4230472"/>
            <a:ext cx="883728" cy="88378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9" name="Pie 17">
            <a:extLst>
              <a:ext uri="{FF2B5EF4-FFF2-40B4-BE49-F238E27FC236}">
                <a16:creationId xmlns:a16="http://schemas.microsoft.com/office/drawing/2014/main" id="{95B0A28B-20A6-A63E-EF27-50DCE71A5144}"/>
              </a:ext>
            </a:extLst>
          </p:cNvPr>
          <p:cNvSpPr>
            <a:spLocks/>
          </p:cNvSpPr>
          <p:nvPr/>
        </p:nvSpPr>
        <p:spPr>
          <a:xfrm>
            <a:off x="4058256" y="4230415"/>
            <a:ext cx="884904" cy="883784"/>
          </a:xfrm>
          <a:prstGeom prst="pie">
            <a:avLst>
              <a:gd name="adj1" fmla="val 16193829"/>
              <a:gd name="adj2" fmla="val 7315556"/>
            </a:avLst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20" name="Freeform 86">
            <a:extLst>
              <a:ext uri="{FF2B5EF4-FFF2-40B4-BE49-F238E27FC236}">
                <a16:creationId xmlns:a16="http://schemas.microsoft.com/office/drawing/2014/main" id="{CD071F44-682B-B6E8-28DA-307DB8C993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18452" y="5367067"/>
            <a:ext cx="622881" cy="622921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1" name="Pie 20">
            <a:extLst>
              <a:ext uri="{FF2B5EF4-FFF2-40B4-BE49-F238E27FC236}">
                <a16:creationId xmlns:a16="http://schemas.microsoft.com/office/drawing/2014/main" id="{F31F3B08-9C9A-346D-C11F-3621C0C12701}"/>
              </a:ext>
            </a:extLst>
          </p:cNvPr>
          <p:cNvSpPr>
            <a:spLocks/>
          </p:cNvSpPr>
          <p:nvPr/>
        </p:nvSpPr>
        <p:spPr>
          <a:xfrm>
            <a:off x="6017622" y="5367027"/>
            <a:ext cx="623710" cy="622921"/>
          </a:xfrm>
          <a:prstGeom prst="pie">
            <a:avLst>
              <a:gd name="adj1" fmla="val 16193829"/>
              <a:gd name="adj2" fmla="val 5404730"/>
            </a:avLst>
          </a:prstGeom>
          <a:solidFill>
            <a:schemeClr val="accent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AAB0E93D-206D-53CB-04B4-EBB194432608}"/>
              </a:ext>
            </a:extLst>
          </p:cNvPr>
          <p:cNvSpPr txBox="1"/>
          <p:nvPr/>
        </p:nvSpPr>
        <p:spPr>
          <a:xfrm>
            <a:off x="9215593" y="2162120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29" name="TextBox 30">
            <a:extLst>
              <a:ext uri="{FF2B5EF4-FFF2-40B4-BE49-F238E27FC236}">
                <a16:creationId xmlns:a16="http://schemas.microsoft.com/office/drawing/2014/main" id="{98334B0C-6F83-7C5D-5FF4-AFAC82A97BA0}"/>
              </a:ext>
            </a:extLst>
          </p:cNvPr>
          <p:cNvSpPr txBox="1"/>
          <p:nvPr/>
        </p:nvSpPr>
        <p:spPr>
          <a:xfrm>
            <a:off x="9671968" y="5136077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9751AE54-B568-4B37-5FAA-33A3A4634B91}"/>
              </a:ext>
            </a:extLst>
          </p:cNvPr>
          <p:cNvSpPr txBox="1"/>
          <p:nvPr/>
        </p:nvSpPr>
        <p:spPr>
          <a:xfrm>
            <a:off x="8308435" y="3589255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ADD3821A-3FFC-A26E-E684-21A00EA20B43}"/>
              </a:ext>
            </a:extLst>
          </p:cNvPr>
          <p:cNvSpPr txBox="1"/>
          <p:nvPr/>
        </p:nvSpPr>
        <p:spPr>
          <a:xfrm>
            <a:off x="2818697" y="5583313"/>
            <a:ext cx="21027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r"/>
            <a:endParaRPr lang="en-US" dirty="0"/>
          </a:p>
          <a:p>
            <a:pPr algn="r"/>
            <a:r>
              <a:rPr lang="en-US" dirty="0"/>
              <a:t>.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5C0E80D0-6F38-3E5E-00F0-D472F7A7D786}"/>
              </a:ext>
            </a:extLst>
          </p:cNvPr>
          <p:cNvSpPr txBox="1"/>
          <p:nvPr/>
        </p:nvSpPr>
        <p:spPr>
          <a:xfrm>
            <a:off x="890092" y="4587606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3" name="TextBox 34">
            <a:extLst>
              <a:ext uri="{FF2B5EF4-FFF2-40B4-BE49-F238E27FC236}">
                <a16:creationId xmlns:a16="http://schemas.microsoft.com/office/drawing/2014/main" id="{25C89B24-BBEE-C462-C666-46E08C6430C1}"/>
              </a:ext>
            </a:extLst>
          </p:cNvPr>
          <p:cNvSpPr txBox="1"/>
          <p:nvPr/>
        </p:nvSpPr>
        <p:spPr>
          <a:xfrm>
            <a:off x="397167" y="2181209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grpSp>
        <p:nvGrpSpPr>
          <p:cNvPr id="34" name="Grupo 42">
            <a:extLst>
              <a:ext uri="{FF2B5EF4-FFF2-40B4-BE49-F238E27FC236}">
                <a16:creationId xmlns:a16="http://schemas.microsoft.com/office/drawing/2014/main" id="{2DDC6802-94C1-BFD5-A598-B102C0B1B6A1}"/>
              </a:ext>
            </a:extLst>
          </p:cNvPr>
          <p:cNvGrpSpPr/>
          <p:nvPr/>
        </p:nvGrpSpPr>
        <p:grpSpPr>
          <a:xfrm>
            <a:off x="7404501" y="3327412"/>
            <a:ext cx="739910" cy="874955"/>
            <a:chOff x="3657318" y="2960019"/>
            <a:chExt cx="428407" cy="506598"/>
          </a:xfrm>
        </p:grpSpPr>
        <p:grpSp>
          <p:nvGrpSpPr>
            <p:cNvPr id="35" name="Grupo 43">
              <a:extLst>
                <a:ext uri="{FF2B5EF4-FFF2-40B4-BE49-F238E27FC236}">
                  <a16:creationId xmlns:a16="http://schemas.microsoft.com/office/drawing/2014/main" id="{B747F321-79E3-71F1-9DBA-61CEB1665E9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7" name="Conector recto 45">
                <a:extLst>
                  <a:ext uri="{FF2B5EF4-FFF2-40B4-BE49-F238E27FC236}">
                    <a16:creationId xmlns:a16="http://schemas.microsoft.com/office/drawing/2014/main" id="{CBA5FDA2-9FCD-CE03-009B-B4E61AE5627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ector recto 46">
                <a:extLst>
                  <a:ext uri="{FF2B5EF4-FFF2-40B4-BE49-F238E27FC236}">
                    <a16:creationId xmlns:a16="http://schemas.microsoft.com/office/drawing/2014/main" id="{4999C855-CD94-20C7-4C76-1B53DAC869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6" name="Conector recto 44">
              <a:extLst>
                <a:ext uri="{FF2B5EF4-FFF2-40B4-BE49-F238E27FC236}">
                  <a16:creationId xmlns:a16="http://schemas.microsoft.com/office/drawing/2014/main" id="{84180F20-F60D-041E-CF45-A1A877AD480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o 42">
            <a:extLst>
              <a:ext uri="{FF2B5EF4-FFF2-40B4-BE49-F238E27FC236}">
                <a16:creationId xmlns:a16="http://schemas.microsoft.com/office/drawing/2014/main" id="{DDCAF919-82E7-B310-49C3-759FA36CEA2E}"/>
              </a:ext>
            </a:extLst>
          </p:cNvPr>
          <p:cNvGrpSpPr/>
          <p:nvPr/>
        </p:nvGrpSpPr>
        <p:grpSpPr>
          <a:xfrm>
            <a:off x="8279543" y="1896686"/>
            <a:ext cx="739910" cy="874955"/>
            <a:chOff x="3657318" y="2960019"/>
            <a:chExt cx="428407" cy="506598"/>
          </a:xfrm>
        </p:grpSpPr>
        <p:grpSp>
          <p:nvGrpSpPr>
            <p:cNvPr id="40" name="Grupo 43">
              <a:extLst>
                <a:ext uri="{FF2B5EF4-FFF2-40B4-BE49-F238E27FC236}">
                  <a16:creationId xmlns:a16="http://schemas.microsoft.com/office/drawing/2014/main" id="{CED81B6C-132E-2B21-F6DB-F28E08C10B05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2" name="Conector recto 45">
                <a:extLst>
                  <a:ext uri="{FF2B5EF4-FFF2-40B4-BE49-F238E27FC236}">
                    <a16:creationId xmlns:a16="http://schemas.microsoft.com/office/drawing/2014/main" id="{47CB80BB-CFF5-162D-3E5E-5A38629606A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ector recto 46">
                <a:extLst>
                  <a:ext uri="{FF2B5EF4-FFF2-40B4-BE49-F238E27FC236}">
                    <a16:creationId xmlns:a16="http://schemas.microsoft.com/office/drawing/2014/main" id="{16D774B0-612E-A9CF-2EF1-81BEC6CF0D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Conector recto 44">
              <a:extLst>
                <a:ext uri="{FF2B5EF4-FFF2-40B4-BE49-F238E27FC236}">
                  <a16:creationId xmlns:a16="http://schemas.microsoft.com/office/drawing/2014/main" id="{D758EA2B-8EB0-126B-E54C-44DEB23385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o 42">
            <a:extLst>
              <a:ext uri="{FF2B5EF4-FFF2-40B4-BE49-F238E27FC236}">
                <a16:creationId xmlns:a16="http://schemas.microsoft.com/office/drawing/2014/main" id="{EBA968AB-B797-F175-583E-06AAAA6521C7}"/>
              </a:ext>
            </a:extLst>
          </p:cNvPr>
          <p:cNvGrpSpPr/>
          <p:nvPr/>
        </p:nvGrpSpPr>
        <p:grpSpPr>
          <a:xfrm>
            <a:off x="8778952" y="4883265"/>
            <a:ext cx="739910" cy="874955"/>
            <a:chOff x="3657318" y="2960019"/>
            <a:chExt cx="428407" cy="506598"/>
          </a:xfrm>
        </p:grpSpPr>
        <p:grpSp>
          <p:nvGrpSpPr>
            <p:cNvPr id="45" name="Grupo 43">
              <a:extLst>
                <a:ext uri="{FF2B5EF4-FFF2-40B4-BE49-F238E27FC236}">
                  <a16:creationId xmlns:a16="http://schemas.microsoft.com/office/drawing/2014/main" id="{649320AB-DE0D-8D9F-B0DC-07ECFC07E3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7" name="Conector recto 45">
                <a:extLst>
                  <a:ext uri="{FF2B5EF4-FFF2-40B4-BE49-F238E27FC236}">
                    <a16:creationId xmlns:a16="http://schemas.microsoft.com/office/drawing/2014/main" id="{7D702BA4-B0D9-AC1F-80C1-5CFDEB0D1456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Conector recto 46">
                <a:extLst>
                  <a:ext uri="{FF2B5EF4-FFF2-40B4-BE49-F238E27FC236}">
                    <a16:creationId xmlns:a16="http://schemas.microsoft.com/office/drawing/2014/main" id="{1A8FE634-9505-2D4E-97B5-1EB3B6C4BE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6" name="Conector recto 44">
              <a:extLst>
                <a:ext uri="{FF2B5EF4-FFF2-40B4-BE49-F238E27FC236}">
                  <a16:creationId xmlns:a16="http://schemas.microsoft.com/office/drawing/2014/main" id="{FD80BA6D-6BDA-68EF-64C1-406C755A3D5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o 42">
            <a:extLst>
              <a:ext uri="{FF2B5EF4-FFF2-40B4-BE49-F238E27FC236}">
                <a16:creationId xmlns:a16="http://schemas.microsoft.com/office/drawing/2014/main" id="{542ADD29-DFA2-5B46-B16B-AC13511AE049}"/>
              </a:ext>
            </a:extLst>
          </p:cNvPr>
          <p:cNvGrpSpPr/>
          <p:nvPr/>
        </p:nvGrpSpPr>
        <p:grpSpPr>
          <a:xfrm flipH="1">
            <a:off x="5124606" y="5290595"/>
            <a:ext cx="739910" cy="874955"/>
            <a:chOff x="3657318" y="2960019"/>
            <a:chExt cx="428407" cy="506598"/>
          </a:xfrm>
        </p:grpSpPr>
        <p:grpSp>
          <p:nvGrpSpPr>
            <p:cNvPr id="50" name="Grupo 43">
              <a:extLst>
                <a:ext uri="{FF2B5EF4-FFF2-40B4-BE49-F238E27FC236}">
                  <a16:creationId xmlns:a16="http://schemas.microsoft.com/office/drawing/2014/main" id="{286BBFFD-B406-C618-5819-593B156488A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2" name="Conector recto 45">
                <a:extLst>
                  <a:ext uri="{FF2B5EF4-FFF2-40B4-BE49-F238E27FC236}">
                    <a16:creationId xmlns:a16="http://schemas.microsoft.com/office/drawing/2014/main" id="{16ED03B0-5878-3444-43AD-A08F6C95241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ector recto 46">
                <a:extLst>
                  <a:ext uri="{FF2B5EF4-FFF2-40B4-BE49-F238E27FC236}">
                    <a16:creationId xmlns:a16="http://schemas.microsoft.com/office/drawing/2014/main" id="{2B0DD9FC-6D99-F428-C169-4B767A893CB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1" name="Conector recto 44">
              <a:extLst>
                <a:ext uri="{FF2B5EF4-FFF2-40B4-BE49-F238E27FC236}">
                  <a16:creationId xmlns:a16="http://schemas.microsoft.com/office/drawing/2014/main" id="{A40B6002-58D8-A1E6-CA0E-612F4FC848C2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o 42">
            <a:extLst>
              <a:ext uri="{FF2B5EF4-FFF2-40B4-BE49-F238E27FC236}">
                <a16:creationId xmlns:a16="http://schemas.microsoft.com/office/drawing/2014/main" id="{326D6199-58E1-CEFD-2E6D-BE30789B8AC5}"/>
              </a:ext>
            </a:extLst>
          </p:cNvPr>
          <p:cNvGrpSpPr/>
          <p:nvPr/>
        </p:nvGrpSpPr>
        <p:grpSpPr>
          <a:xfrm flipH="1">
            <a:off x="3130149" y="4334794"/>
            <a:ext cx="739910" cy="874955"/>
            <a:chOff x="3657318" y="2960019"/>
            <a:chExt cx="428407" cy="506598"/>
          </a:xfrm>
        </p:grpSpPr>
        <p:grpSp>
          <p:nvGrpSpPr>
            <p:cNvPr id="55" name="Grupo 43">
              <a:extLst>
                <a:ext uri="{FF2B5EF4-FFF2-40B4-BE49-F238E27FC236}">
                  <a16:creationId xmlns:a16="http://schemas.microsoft.com/office/drawing/2014/main" id="{64534A16-D17F-AF94-BBA7-EB5A39ADEB1F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7" name="Conector recto 45">
                <a:extLst>
                  <a:ext uri="{FF2B5EF4-FFF2-40B4-BE49-F238E27FC236}">
                    <a16:creationId xmlns:a16="http://schemas.microsoft.com/office/drawing/2014/main" id="{01C14542-DB5F-63CA-52A0-DD0B7E36F58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cto 46">
                <a:extLst>
                  <a:ext uri="{FF2B5EF4-FFF2-40B4-BE49-F238E27FC236}">
                    <a16:creationId xmlns:a16="http://schemas.microsoft.com/office/drawing/2014/main" id="{F1B47045-51C5-C588-5CD8-97311DEA68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6" name="Conector recto 44">
              <a:extLst>
                <a:ext uri="{FF2B5EF4-FFF2-40B4-BE49-F238E27FC236}">
                  <a16:creationId xmlns:a16="http://schemas.microsoft.com/office/drawing/2014/main" id="{16BB0563-369A-0B73-DF0D-62499A632110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42">
            <a:extLst>
              <a:ext uri="{FF2B5EF4-FFF2-40B4-BE49-F238E27FC236}">
                <a16:creationId xmlns:a16="http://schemas.microsoft.com/office/drawing/2014/main" id="{FDEE2836-76CF-22C5-1A8F-F80F5D09D5E6}"/>
              </a:ext>
            </a:extLst>
          </p:cNvPr>
          <p:cNvGrpSpPr/>
          <p:nvPr/>
        </p:nvGrpSpPr>
        <p:grpSpPr>
          <a:xfrm flipH="1">
            <a:off x="2664673" y="1925953"/>
            <a:ext cx="739910" cy="874955"/>
            <a:chOff x="3657318" y="2960019"/>
            <a:chExt cx="428407" cy="506598"/>
          </a:xfrm>
        </p:grpSpPr>
        <p:grpSp>
          <p:nvGrpSpPr>
            <p:cNvPr id="60" name="Grupo 43">
              <a:extLst>
                <a:ext uri="{FF2B5EF4-FFF2-40B4-BE49-F238E27FC236}">
                  <a16:creationId xmlns:a16="http://schemas.microsoft.com/office/drawing/2014/main" id="{5F01AE2E-0228-EE28-A169-8F3BA31E547A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2" name="Conector recto 45">
                <a:extLst>
                  <a:ext uri="{FF2B5EF4-FFF2-40B4-BE49-F238E27FC236}">
                    <a16:creationId xmlns:a16="http://schemas.microsoft.com/office/drawing/2014/main" id="{BADC0A34-7BB7-E891-33A2-AEA68C57E658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Conector recto 46">
                <a:extLst>
                  <a:ext uri="{FF2B5EF4-FFF2-40B4-BE49-F238E27FC236}">
                    <a16:creationId xmlns:a16="http://schemas.microsoft.com/office/drawing/2014/main" id="{1E6D97CE-D735-DCC2-0516-82E35BA747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1" name="Conector recto 44">
              <a:extLst>
                <a:ext uri="{FF2B5EF4-FFF2-40B4-BE49-F238E27FC236}">
                  <a16:creationId xmlns:a16="http://schemas.microsoft.com/office/drawing/2014/main" id="{15F2CC12-9DAC-1340-D6FA-32B785EBDC7A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C7314F7-7434-B983-ED30-AC9363CF24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31AFF45-6590-D314-6C40-CE653035D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1544255668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B8681D-D946-39D3-589C-115DBDC11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0134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1B8681D-D946-39D3-589C-115DBDC11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3" name="Rectangle 5">
            <a:extLst>
              <a:ext uri="{FF2B5EF4-FFF2-40B4-BE49-F238E27FC236}">
                <a16:creationId xmlns:a16="http://schemas.microsoft.com/office/drawing/2014/main" id="{42DF3400-348A-E39A-5C91-203443198FDB}"/>
              </a:ext>
            </a:extLst>
          </p:cNvPr>
          <p:cNvSpPr/>
          <p:nvPr/>
        </p:nvSpPr>
        <p:spPr>
          <a:xfrm>
            <a:off x="9084673" y="1520825"/>
            <a:ext cx="2735851" cy="47879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57DC37-B710-EDC0-5689-E529E1657A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9" name="Group 434">
            <a:extLst>
              <a:ext uri="{FF2B5EF4-FFF2-40B4-BE49-F238E27FC236}">
                <a16:creationId xmlns:a16="http://schemas.microsoft.com/office/drawing/2014/main" id="{9346BD7B-6263-5D5C-4C13-21C9A63CE898}"/>
              </a:ext>
            </a:extLst>
          </p:cNvPr>
          <p:cNvGrpSpPr/>
          <p:nvPr/>
        </p:nvGrpSpPr>
        <p:grpSpPr>
          <a:xfrm>
            <a:off x="504409" y="1628700"/>
            <a:ext cx="8459032" cy="4427002"/>
            <a:chOff x="3843499" y="3719582"/>
            <a:chExt cx="16665619" cy="8244192"/>
          </a:xfrm>
          <a:solidFill>
            <a:schemeClr val="bg1">
              <a:lumMod val="85000"/>
            </a:schemeClr>
          </a:solidFill>
        </p:grpSpPr>
        <p:sp>
          <p:nvSpPr>
            <p:cNvPr id="10" name="Freeform 781">
              <a:extLst>
                <a:ext uri="{FF2B5EF4-FFF2-40B4-BE49-F238E27FC236}">
                  <a16:creationId xmlns:a16="http://schemas.microsoft.com/office/drawing/2014/main" id="{DE84336D-6EE7-4EF7-8D7F-63D630E50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8027" y="3757809"/>
              <a:ext cx="85988" cy="38227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" name="Freeform 403">
              <a:extLst>
                <a:ext uri="{FF2B5EF4-FFF2-40B4-BE49-F238E27FC236}">
                  <a16:creationId xmlns:a16="http://schemas.microsoft.com/office/drawing/2014/main" id="{31B659C5-70B8-D291-B4EA-E2B2D6064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9435" y="9558687"/>
              <a:ext cx="1904460" cy="1423937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" name="Freeform 404">
              <a:extLst>
                <a:ext uri="{FF2B5EF4-FFF2-40B4-BE49-F238E27FC236}">
                  <a16:creationId xmlns:a16="http://schemas.microsoft.com/office/drawing/2014/main" id="{80784B35-D2F9-9739-1445-B24651182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5927165"/>
              <a:ext cx="372610" cy="563840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" name="Freeform 405">
              <a:extLst>
                <a:ext uri="{FF2B5EF4-FFF2-40B4-BE49-F238E27FC236}">
                  <a16:creationId xmlns:a16="http://schemas.microsoft.com/office/drawing/2014/main" id="{F248F951-AFEA-A29C-25A7-E59C75CE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6434" y="5337841"/>
              <a:ext cx="503186" cy="245289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" name="Freeform 406">
              <a:extLst>
                <a:ext uri="{FF2B5EF4-FFF2-40B4-BE49-F238E27FC236}">
                  <a16:creationId xmlns:a16="http://schemas.microsoft.com/office/drawing/2014/main" id="{F8113ECE-5650-C6CE-C01F-28D7DE5A0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85545" y="4439516"/>
              <a:ext cx="840765" cy="57977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" name="Freeform 407">
              <a:extLst>
                <a:ext uri="{FF2B5EF4-FFF2-40B4-BE49-F238E27FC236}">
                  <a16:creationId xmlns:a16="http://schemas.microsoft.com/office/drawing/2014/main" id="{F18134AE-79ED-1F91-D41C-6D847C0D3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1600" y="4197415"/>
              <a:ext cx="299364" cy="14972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" name="Freeform 408">
              <a:extLst>
                <a:ext uri="{FF2B5EF4-FFF2-40B4-BE49-F238E27FC236}">
                  <a16:creationId xmlns:a16="http://schemas.microsoft.com/office/drawing/2014/main" id="{AC30D2F3-F45D-BCC9-4C7E-8134868F9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9561" y="4111405"/>
              <a:ext cx="280256" cy="14972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" name="Freeform 409">
              <a:extLst>
                <a:ext uri="{FF2B5EF4-FFF2-40B4-BE49-F238E27FC236}">
                  <a16:creationId xmlns:a16="http://schemas.microsoft.com/office/drawing/2014/main" id="{86037636-102C-69E6-A754-48148F2C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6758" y="4120960"/>
              <a:ext cx="140127" cy="47785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" name="Freeform 410">
              <a:extLst>
                <a:ext uri="{FF2B5EF4-FFF2-40B4-BE49-F238E27FC236}">
                  <a16:creationId xmlns:a16="http://schemas.microsoft.com/office/drawing/2014/main" id="{2D1C911C-24EA-B24A-8C89-C08DAA1FF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2235" y="3990355"/>
              <a:ext cx="235667" cy="14972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" name="Freeform 411">
              <a:extLst>
                <a:ext uri="{FF2B5EF4-FFF2-40B4-BE49-F238E27FC236}">
                  <a16:creationId xmlns:a16="http://schemas.microsoft.com/office/drawing/2014/main" id="{330B51A4-57DA-5A4F-F94D-59A72E835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6316" y="4579679"/>
              <a:ext cx="235667" cy="76452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" name="Freeform 412">
              <a:extLst>
                <a:ext uri="{FF2B5EF4-FFF2-40B4-BE49-F238E27FC236}">
                  <a16:creationId xmlns:a16="http://schemas.microsoft.com/office/drawing/2014/main" id="{B6C0227B-7C1F-4B51-75C1-40829E93E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6952" y="4729398"/>
              <a:ext cx="197453" cy="76452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" name="Freeform 413">
              <a:extLst>
                <a:ext uri="{FF2B5EF4-FFF2-40B4-BE49-F238E27FC236}">
                  <a16:creationId xmlns:a16="http://schemas.microsoft.com/office/drawing/2014/main" id="{325E1822-B3EA-3073-BC88-28D07060D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6507" y="4694361"/>
              <a:ext cx="76432" cy="44598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" name="Freeform 414">
              <a:extLst>
                <a:ext uri="{FF2B5EF4-FFF2-40B4-BE49-F238E27FC236}">
                  <a16:creationId xmlns:a16="http://schemas.microsoft.com/office/drawing/2014/main" id="{6ABAE6B9-1CC5-FE41-2EB9-2AEC5F8C0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683" y="4560566"/>
              <a:ext cx="28662" cy="47785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" name="Freeform 415">
              <a:extLst>
                <a:ext uri="{FF2B5EF4-FFF2-40B4-BE49-F238E27FC236}">
                  <a16:creationId xmlns:a16="http://schemas.microsoft.com/office/drawing/2014/main" id="{AE415092-08E5-DCC3-DBDB-D8D32EDD5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683" y="4700729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" name="Freeform 416">
              <a:extLst>
                <a:ext uri="{FF2B5EF4-FFF2-40B4-BE49-F238E27FC236}">
                  <a16:creationId xmlns:a16="http://schemas.microsoft.com/office/drawing/2014/main" id="{0C717BF3-7B72-DBE7-9914-E6175C670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6378" y="4525526"/>
              <a:ext cx="394905" cy="14972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" name="Freeform 417">
              <a:extLst>
                <a:ext uri="{FF2B5EF4-FFF2-40B4-BE49-F238E27FC236}">
                  <a16:creationId xmlns:a16="http://schemas.microsoft.com/office/drawing/2014/main" id="{87DC67BB-D2CD-C24A-0A12-430000CB8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2495" y="4570124"/>
              <a:ext cx="73248" cy="76452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" name="Freeform 418">
              <a:extLst>
                <a:ext uri="{FF2B5EF4-FFF2-40B4-BE49-F238E27FC236}">
                  <a16:creationId xmlns:a16="http://schemas.microsoft.com/office/drawing/2014/main" id="{7E514755-03C8-9FAA-1419-6EE573827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5425" y="5076623"/>
              <a:ext cx="101909" cy="57338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" name="Freeform 419">
              <a:extLst>
                <a:ext uri="{FF2B5EF4-FFF2-40B4-BE49-F238E27FC236}">
                  <a16:creationId xmlns:a16="http://schemas.microsoft.com/office/drawing/2014/main" id="{D4A6004F-08CE-1EFA-B879-11D28E4C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7970" y="5898496"/>
              <a:ext cx="57323" cy="47785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" name="Freeform 420">
              <a:extLst>
                <a:ext uri="{FF2B5EF4-FFF2-40B4-BE49-F238E27FC236}">
                  <a16:creationId xmlns:a16="http://schemas.microsoft.com/office/drawing/2014/main" id="{A49927D8-1CEC-2384-9762-4214D46A1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5931" y="6172454"/>
              <a:ext cx="47770" cy="25484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" name="Freeform 421">
              <a:extLst>
                <a:ext uri="{FF2B5EF4-FFF2-40B4-BE49-F238E27FC236}">
                  <a16:creationId xmlns:a16="http://schemas.microsoft.com/office/drawing/2014/main" id="{5C433E5F-BE8F-439B-C791-1B7013413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6696" y="6452780"/>
              <a:ext cx="47770" cy="44598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" name="Freeform 422">
              <a:extLst>
                <a:ext uri="{FF2B5EF4-FFF2-40B4-BE49-F238E27FC236}">
                  <a16:creationId xmlns:a16="http://schemas.microsoft.com/office/drawing/2014/main" id="{A6EEA0E5-B34D-2AA7-0D95-0C8D68A1B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8035" y="6526047"/>
              <a:ext cx="19109" cy="9556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" name="Freeform 423">
              <a:extLst>
                <a:ext uri="{FF2B5EF4-FFF2-40B4-BE49-F238E27FC236}">
                  <a16:creationId xmlns:a16="http://schemas.microsoft.com/office/drawing/2014/main" id="{5C949C4E-BF35-57F8-9A44-A5F5EE1D7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7463" y="6675768"/>
              <a:ext cx="28662" cy="9556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" name="Freeform 424">
              <a:extLst>
                <a:ext uri="{FF2B5EF4-FFF2-40B4-BE49-F238E27FC236}">
                  <a16:creationId xmlns:a16="http://schemas.microsoft.com/office/drawing/2014/main" id="{2D06EA24-C049-CBF3-058E-3BF89C9F6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75996" y="6723551"/>
              <a:ext cx="66879" cy="38227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" name="Freeform 425">
              <a:extLst>
                <a:ext uri="{FF2B5EF4-FFF2-40B4-BE49-F238E27FC236}">
                  <a16:creationId xmlns:a16="http://schemas.microsoft.com/office/drawing/2014/main" id="{9612D60E-D5DB-9750-A3A3-C7965EF80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2748" y="6761778"/>
              <a:ext cx="54139" cy="35042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" name="Freeform 426">
              <a:extLst>
                <a:ext uri="{FF2B5EF4-FFF2-40B4-BE49-F238E27FC236}">
                  <a16:creationId xmlns:a16="http://schemas.microsoft.com/office/drawing/2014/main" id="{B32DE19B-D170-155B-A92D-65B2810DF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54978" y="6790447"/>
              <a:ext cx="47770" cy="44598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" name="Freeform 427">
              <a:extLst>
                <a:ext uri="{FF2B5EF4-FFF2-40B4-BE49-F238E27FC236}">
                  <a16:creationId xmlns:a16="http://schemas.microsoft.com/office/drawing/2014/main" id="{8E62DF98-E69A-D493-D0CE-3E1F074E3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5422" y="6854158"/>
              <a:ext cx="9553" cy="9556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" name="Freeform 428">
              <a:extLst>
                <a:ext uri="{FF2B5EF4-FFF2-40B4-BE49-F238E27FC236}">
                  <a16:creationId xmlns:a16="http://schemas.microsoft.com/office/drawing/2014/main" id="{2F33C28C-1EC7-49E7-5EF2-F9619588F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7652" y="681593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" name="Freeform 429">
              <a:extLst>
                <a:ext uri="{FF2B5EF4-FFF2-40B4-BE49-F238E27FC236}">
                  <a16:creationId xmlns:a16="http://schemas.microsoft.com/office/drawing/2014/main" id="{43C8F0B6-125F-077B-48A0-542D5092D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3701" y="7163156"/>
              <a:ext cx="19109" cy="28669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grpSp>
          <p:nvGrpSpPr>
            <p:cNvPr id="38" name="Group 463">
              <a:extLst>
                <a:ext uri="{FF2B5EF4-FFF2-40B4-BE49-F238E27FC236}">
                  <a16:creationId xmlns:a16="http://schemas.microsoft.com/office/drawing/2014/main" id="{4A4F131D-827B-BC64-3DC6-38A71FCAE6E3}"/>
                </a:ext>
              </a:extLst>
            </p:cNvPr>
            <p:cNvGrpSpPr/>
            <p:nvPr/>
          </p:nvGrpSpPr>
          <p:grpSpPr>
            <a:xfrm>
              <a:off x="17709756" y="6761778"/>
              <a:ext cx="697449" cy="662593"/>
              <a:chOff x="5961121" y="2686387"/>
              <a:chExt cx="288233" cy="273757"/>
            </a:xfrm>
            <a:grpFill/>
          </p:grpSpPr>
          <p:sp>
            <p:nvSpPr>
              <p:cNvPr id="403" name="Freeform 430">
                <a:extLst>
                  <a:ext uri="{FF2B5EF4-FFF2-40B4-BE49-F238E27FC236}">
                    <a16:creationId xmlns:a16="http://schemas.microsoft.com/office/drawing/2014/main" id="{35DA95C3-979C-F6B3-509F-E129CC8AA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4763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 dirty="0">
                  <a:latin typeface="Josefin Sans" pitchFamily="2" charset="77"/>
                </a:endParaRPr>
              </a:p>
            </p:txBody>
          </p:sp>
          <p:sp>
            <p:nvSpPr>
              <p:cNvPr id="404" name="Freeform 431">
                <a:extLst>
                  <a:ext uri="{FF2B5EF4-FFF2-40B4-BE49-F238E27FC236}">
                    <a16:creationId xmlns:a16="http://schemas.microsoft.com/office/drawing/2014/main" id="{C11CBB1A-8BFE-BA73-00B8-0DE1AA025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4763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 dirty="0">
                  <a:latin typeface="Josefin Sans" pitchFamily="2" charset="77"/>
                </a:endParaRPr>
              </a:p>
            </p:txBody>
          </p:sp>
        </p:grpSp>
        <p:sp>
          <p:nvSpPr>
            <p:cNvPr id="39" name="Freeform 432">
              <a:extLst>
                <a:ext uri="{FF2B5EF4-FFF2-40B4-BE49-F238E27FC236}">
                  <a16:creationId xmlns:a16="http://schemas.microsoft.com/office/drawing/2014/main" id="{9DC30F8B-1622-5344-259F-9E64A5DEA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4911" y="7370216"/>
              <a:ext cx="19109" cy="2548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" name="Freeform 433">
              <a:extLst>
                <a:ext uri="{FF2B5EF4-FFF2-40B4-BE49-F238E27FC236}">
                  <a16:creationId xmlns:a16="http://schemas.microsoft.com/office/drawing/2014/main" id="{E5823BD8-686B-A93F-23A3-B8E742BCE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3446" y="7370216"/>
              <a:ext cx="121018" cy="92380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1" name="Freeform 434">
              <a:extLst>
                <a:ext uri="{FF2B5EF4-FFF2-40B4-BE49-F238E27FC236}">
                  <a16:creationId xmlns:a16="http://schemas.microsoft.com/office/drawing/2014/main" id="{6F056D58-6354-0738-9BB9-8726AFDDB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2427" y="7405258"/>
              <a:ext cx="101909" cy="14972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2" name="Freeform 435">
              <a:extLst>
                <a:ext uri="{FF2B5EF4-FFF2-40B4-BE49-F238E27FC236}">
                  <a16:creationId xmlns:a16="http://schemas.microsoft.com/office/drawing/2014/main" id="{D5EF729E-83C1-71D9-9EE8-10BC21327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0518" y="7771599"/>
              <a:ext cx="35033" cy="28669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3" name="Freeform 436">
              <a:extLst>
                <a:ext uri="{FF2B5EF4-FFF2-40B4-BE49-F238E27FC236}">
                  <a16:creationId xmlns:a16="http://schemas.microsoft.com/office/drawing/2014/main" id="{4D8B6938-9492-6B99-4DB7-DFA25BA18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3319" y="7679216"/>
              <a:ext cx="19109" cy="15928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4" name="Freeform 437">
              <a:extLst>
                <a:ext uri="{FF2B5EF4-FFF2-40B4-BE49-F238E27FC236}">
                  <a16:creationId xmlns:a16="http://schemas.microsoft.com/office/drawing/2014/main" id="{EE90D9D5-3FFC-DCDF-C298-AC748AC53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1727" y="7873535"/>
              <a:ext cx="19109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5" name="Freeform 438">
              <a:extLst>
                <a:ext uri="{FF2B5EF4-FFF2-40B4-BE49-F238E27FC236}">
                  <a16:creationId xmlns:a16="http://schemas.microsoft.com/office/drawing/2014/main" id="{CA39C297-E136-F5F1-41D3-7AF33F040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3386" y="7838493"/>
              <a:ext cx="111465" cy="156092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6" name="Freeform 439">
              <a:extLst>
                <a:ext uri="{FF2B5EF4-FFF2-40B4-BE49-F238E27FC236}">
                  <a16:creationId xmlns:a16="http://schemas.microsoft.com/office/drawing/2014/main" id="{0A3153F2-A60C-7141-49F4-F6C8EBF5B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429" y="8099708"/>
              <a:ext cx="130574" cy="92380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7" name="Freeform 440">
              <a:extLst>
                <a:ext uri="{FF2B5EF4-FFF2-40B4-BE49-F238E27FC236}">
                  <a16:creationId xmlns:a16="http://schemas.microsoft.com/office/drawing/2014/main" id="{2D3D1019-47B8-0C17-B205-F64943418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277" y="8163419"/>
              <a:ext cx="187897" cy="264400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8" name="Freeform 441">
              <a:extLst>
                <a:ext uri="{FF2B5EF4-FFF2-40B4-BE49-F238E27FC236}">
                  <a16:creationId xmlns:a16="http://schemas.microsoft.com/office/drawing/2014/main" id="{30C328A1-64A2-5CDC-A698-DC2241702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3512" y="8389592"/>
              <a:ext cx="57323" cy="73269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9" name="Freeform 442">
              <a:extLst>
                <a:ext uri="{FF2B5EF4-FFF2-40B4-BE49-F238E27FC236}">
                  <a16:creationId xmlns:a16="http://schemas.microsoft.com/office/drawing/2014/main" id="{3DEBD4B2-B105-9D79-14E0-4A2290E10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1727" y="8453303"/>
              <a:ext cx="92356" cy="124237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0" name="Freeform 443">
              <a:extLst>
                <a:ext uri="{FF2B5EF4-FFF2-40B4-BE49-F238E27FC236}">
                  <a16:creationId xmlns:a16="http://schemas.microsoft.com/office/drawing/2014/main" id="{14FBD4C2-6C7A-452A-8E03-A2B0B5859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2936" y="8399150"/>
              <a:ext cx="57323" cy="73269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1" name="Freeform 444">
              <a:extLst>
                <a:ext uri="{FF2B5EF4-FFF2-40B4-BE49-F238E27FC236}">
                  <a16:creationId xmlns:a16="http://schemas.microsoft.com/office/drawing/2014/main" id="{F5171AD3-289C-AA1C-0431-2DC07B6A5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9818" y="8472417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2" name="Freeform 445">
              <a:extLst>
                <a:ext uri="{FF2B5EF4-FFF2-40B4-BE49-F238E27FC236}">
                  <a16:creationId xmlns:a16="http://schemas.microsoft.com/office/drawing/2014/main" id="{FDFCB860-002C-404B-E715-0EF919881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8926" y="8529755"/>
              <a:ext cx="63695" cy="101936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3" name="Freeform 446">
              <a:extLst>
                <a:ext uri="{FF2B5EF4-FFF2-40B4-BE49-F238E27FC236}">
                  <a16:creationId xmlns:a16="http://schemas.microsoft.com/office/drawing/2014/main" id="{72894714-948A-CDE6-2677-F4FD708C3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3063" y="8520200"/>
              <a:ext cx="38217" cy="73269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4" name="Freeform 447">
              <a:extLst>
                <a:ext uri="{FF2B5EF4-FFF2-40B4-BE49-F238E27FC236}">
                  <a16:creationId xmlns:a16="http://schemas.microsoft.com/office/drawing/2014/main" id="{543E0039-D6A4-F0B1-1507-EAD1D842F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2174" y="8567983"/>
              <a:ext cx="57323" cy="35042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5" name="Freeform 448">
              <a:extLst>
                <a:ext uri="{FF2B5EF4-FFF2-40B4-BE49-F238E27FC236}">
                  <a16:creationId xmlns:a16="http://schemas.microsoft.com/office/drawing/2014/main" id="{2F114B65-9156-28CC-59E1-F3BC8BDFB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2174" y="8593469"/>
              <a:ext cx="130574" cy="197506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6" name="Freeform 449">
              <a:extLst>
                <a:ext uri="{FF2B5EF4-FFF2-40B4-BE49-F238E27FC236}">
                  <a16:creationId xmlns:a16="http://schemas.microsoft.com/office/drawing/2014/main" id="{C559BEF4-6A64-585A-3B9E-1B711518D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9371" y="8631694"/>
              <a:ext cx="111465" cy="95566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7" name="Freeform 450">
              <a:extLst>
                <a:ext uri="{FF2B5EF4-FFF2-40B4-BE49-F238E27FC236}">
                  <a16:creationId xmlns:a16="http://schemas.microsoft.com/office/drawing/2014/main" id="{110D3840-8804-9AEC-28DC-CACCADCF3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63256" y="8539313"/>
              <a:ext cx="111465" cy="111494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8" name="Freeform 451">
              <a:extLst>
                <a:ext uri="{FF2B5EF4-FFF2-40B4-BE49-F238E27FC236}">
                  <a16:creationId xmlns:a16="http://schemas.microsoft.com/office/drawing/2014/main" id="{EF3A57E8-8B57-79ED-CA2E-3C385C13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91283" y="8399150"/>
              <a:ext cx="19109" cy="9556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9" name="Freeform 452">
              <a:extLst>
                <a:ext uri="{FF2B5EF4-FFF2-40B4-BE49-F238E27FC236}">
                  <a16:creationId xmlns:a16="http://schemas.microsoft.com/office/drawing/2014/main" id="{1FA8740B-8C2C-0655-8ADB-38B541A68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7776" y="8781415"/>
              <a:ext cx="522294" cy="544729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0" name="Freeform 453">
              <a:extLst>
                <a:ext uri="{FF2B5EF4-FFF2-40B4-BE49-F238E27FC236}">
                  <a16:creationId xmlns:a16="http://schemas.microsoft.com/office/drawing/2014/main" id="{5A07D2B2-F29B-476B-4DBF-388153ADD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0132" y="8978921"/>
              <a:ext cx="47770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1" name="Freeform 454">
              <a:extLst>
                <a:ext uri="{FF2B5EF4-FFF2-40B4-BE49-F238E27FC236}">
                  <a16:creationId xmlns:a16="http://schemas.microsoft.com/office/drawing/2014/main" id="{56105766-4218-E158-5C54-63895EB01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7014" y="9090415"/>
              <a:ext cx="44586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2" name="Freeform 455">
              <a:extLst>
                <a:ext uri="{FF2B5EF4-FFF2-40B4-BE49-F238E27FC236}">
                  <a16:creationId xmlns:a16="http://schemas.microsoft.com/office/drawing/2014/main" id="{05975A11-AAA7-D59E-723C-F9CBDFC3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2300" y="9119082"/>
              <a:ext cx="66879" cy="66896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3" name="Freeform 456">
              <a:extLst>
                <a:ext uri="{FF2B5EF4-FFF2-40B4-BE49-F238E27FC236}">
                  <a16:creationId xmlns:a16="http://schemas.microsoft.com/office/drawing/2014/main" id="{80B1E84E-1A6E-A421-25A0-E7E6B6BD5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7396" y="9166867"/>
              <a:ext cx="35033" cy="35042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4" name="Freeform 457">
              <a:extLst>
                <a:ext uri="{FF2B5EF4-FFF2-40B4-BE49-F238E27FC236}">
                  <a16:creationId xmlns:a16="http://schemas.microsoft.com/office/drawing/2014/main" id="{582557AF-6BAA-7F6C-0DFE-4047D21D9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21853" y="9326144"/>
              <a:ext cx="429938" cy="1401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5" name="Freeform 458">
              <a:extLst>
                <a:ext uri="{FF2B5EF4-FFF2-40B4-BE49-F238E27FC236}">
                  <a16:creationId xmlns:a16="http://schemas.microsoft.com/office/drawing/2014/main" id="{67D6FB79-47B2-D178-B134-61CF4935F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0326" y="9361183"/>
              <a:ext cx="73248" cy="28669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6" name="Freeform 459">
              <a:extLst>
                <a:ext uri="{FF2B5EF4-FFF2-40B4-BE49-F238E27FC236}">
                  <a16:creationId xmlns:a16="http://schemas.microsoft.com/office/drawing/2014/main" id="{93D760EA-A956-6C18-4FEE-7208E9760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42236" y="9428080"/>
              <a:ext cx="57323" cy="38227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7" name="Freeform 460">
              <a:extLst>
                <a:ext uri="{FF2B5EF4-FFF2-40B4-BE49-F238E27FC236}">
                  <a16:creationId xmlns:a16="http://schemas.microsoft.com/office/drawing/2014/main" id="{260F2777-FF69-092D-A51B-7987E94D2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9562" y="9437635"/>
              <a:ext cx="44586" cy="28669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8" name="Freeform 461">
              <a:extLst>
                <a:ext uri="{FF2B5EF4-FFF2-40B4-BE49-F238E27FC236}">
                  <a16:creationId xmlns:a16="http://schemas.microsoft.com/office/drawing/2014/main" id="{AFE5E896-05C9-7C63-3D10-E702A5D27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4592" y="9437635"/>
              <a:ext cx="66879" cy="38227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9" name="Freeform 462">
              <a:extLst>
                <a:ext uri="{FF2B5EF4-FFF2-40B4-BE49-F238E27FC236}">
                  <a16:creationId xmlns:a16="http://schemas.microsoft.com/office/drawing/2014/main" id="{96877C0D-2CA1-A784-A8B4-6AFE8C6D3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82363" y="9428080"/>
              <a:ext cx="76432" cy="4778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0" name="Freeform 463">
              <a:extLst>
                <a:ext uri="{FF2B5EF4-FFF2-40B4-BE49-F238E27FC236}">
                  <a16:creationId xmlns:a16="http://schemas.microsoft.com/office/drawing/2014/main" id="{6271EC6E-E3FB-53A9-5E2A-23EF1AC80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277" y="9437635"/>
              <a:ext cx="114649" cy="38227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1" name="Freeform 464">
              <a:extLst>
                <a:ext uri="{FF2B5EF4-FFF2-40B4-BE49-F238E27FC236}">
                  <a16:creationId xmlns:a16="http://schemas.microsoft.com/office/drawing/2014/main" id="{5A625444-3929-8FA0-EAC4-7BA9D8922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49244" y="9491791"/>
              <a:ext cx="101909" cy="57338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2" name="Freeform 465">
              <a:extLst>
                <a:ext uri="{FF2B5EF4-FFF2-40B4-BE49-F238E27FC236}">
                  <a16:creationId xmlns:a16="http://schemas.microsoft.com/office/drawing/2014/main" id="{23515ACB-6E66-E008-BFCA-38DC84DC2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4083" y="9192351"/>
              <a:ext cx="57323" cy="38227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3" name="Freeform 466">
              <a:extLst>
                <a:ext uri="{FF2B5EF4-FFF2-40B4-BE49-F238E27FC236}">
                  <a16:creationId xmlns:a16="http://schemas.microsoft.com/office/drawing/2014/main" id="{8A6BA01F-428B-CA86-E1F9-6392C0CF9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9627" y="9185981"/>
              <a:ext cx="140127" cy="44598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4" name="Freeform 467">
              <a:extLst>
                <a:ext uri="{FF2B5EF4-FFF2-40B4-BE49-F238E27FC236}">
                  <a16:creationId xmlns:a16="http://schemas.microsoft.com/office/drawing/2014/main" id="{B445743B-F5E2-7776-CA5A-1E62422CC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39689" y="8969361"/>
              <a:ext cx="299364" cy="337667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5" name="Freeform 468">
              <a:extLst>
                <a:ext uri="{FF2B5EF4-FFF2-40B4-BE49-F238E27FC236}">
                  <a16:creationId xmlns:a16="http://schemas.microsoft.com/office/drawing/2014/main" id="{562A9920-045E-3E10-D96B-BB27DF323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0962" y="8950247"/>
              <a:ext cx="73248" cy="1401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6" name="Freeform 469">
              <a:extLst>
                <a:ext uri="{FF2B5EF4-FFF2-40B4-BE49-F238E27FC236}">
                  <a16:creationId xmlns:a16="http://schemas.microsoft.com/office/drawing/2014/main" id="{B96585E4-24AE-9D32-9A13-0D532E31C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9182" y="8931136"/>
              <a:ext cx="25477" cy="19114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7" name="Freeform 470">
              <a:extLst>
                <a:ext uri="{FF2B5EF4-FFF2-40B4-BE49-F238E27FC236}">
                  <a16:creationId xmlns:a16="http://schemas.microsoft.com/office/drawing/2014/main" id="{3FA92890-93B3-8CC1-EC57-54C24E53C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1092" y="9052186"/>
              <a:ext cx="44586" cy="19114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8" name="Freeform 471">
              <a:extLst>
                <a:ext uri="{FF2B5EF4-FFF2-40B4-BE49-F238E27FC236}">
                  <a16:creationId xmlns:a16="http://schemas.microsoft.com/office/drawing/2014/main" id="{2BE335EC-FE07-8623-29DD-8B40BBD3A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90647" y="9061741"/>
              <a:ext cx="175160" cy="105124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9" name="Freeform 472">
              <a:extLst>
                <a:ext uri="{FF2B5EF4-FFF2-40B4-BE49-F238E27FC236}">
                  <a16:creationId xmlns:a16="http://schemas.microsoft.com/office/drawing/2014/main" id="{BA4F05C6-55F2-6160-4B20-2A1FF1495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1857" y="9240134"/>
              <a:ext cx="194268" cy="111494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0" name="Freeform 473">
              <a:extLst>
                <a:ext uri="{FF2B5EF4-FFF2-40B4-BE49-F238E27FC236}">
                  <a16:creationId xmlns:a16="http://schemas.microsoft.com/office/drawing/2014/main" id="{4972FE5D-A936-D0B6-1424-91EF0FAC4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02113" y="9297472"/>
              <a:ext cx="82803" cy="101936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1" name="Freeform 474">
              <a:extLst>
                <a:ext uri="{FF2B5EF4-FFF2-40B4-BE49-F238E27FC236}">
                  <a16:creationId xmlns:a16="http://schemas.microsoft.com/office/drawing/2014/main" id="{9E197132-A888-DA79-99E8-38F41ED14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4149" y="9485423"/>
              <a:ext cx="54139" cy="54153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2" name="Freeform 475">
              <a:extLst>
                <a:ext uri="{FF2B5EF4-FFF2-40B4-BE49-F238E27FC236}">
                  <a16:creationId xmlns:a16="http://schemas.microsoft.com/office/drawing/2014/main" id="{F81F3EF3-8E79-00F1-7835-9B1374784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6825" y="9399411"/>
              <a:ext cx="85988" cy="57338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3" name="Freeform 476">
              <a:extLst>
                <a:ext uri="{FF2B5EF4-FFF2-40B4-BE49-F238E27FC236}">
                  <a16:creationId xmlns:a16="http://schemas.microsoft.com/office/drawing/2014/main" id="{17DAB5AC-2AAF-CD09-DD27-29DEDB6C9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4022" y="9361183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4" name="Freeform 477">
              <a:extLst>
                <a:ext uri="{FF2B5EF4-FFF2-40B4-BE49-F238E27FC236}">
                  <a16:creationId xmlns:a16="http://schemas.microsoft.com/office/drawing/2014/main" id="{0510E0A2-7471-A3B9-E717-EDC5C41A0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7970" y="10017406"/>
              <a:ext cx="149680" cy="111494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5" name="Freeform 478">
              <a:extLst>
                <a:ext uri="{FF2B5EF4-FFF2-40B4-BE49-F238E27FC236}">
                  <a16:creationId xmlns:a16="http://schemas.microsoft.com/office/drawing/2014/main" id="{34117142-EC45-351F-6236-5166A1D29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9244" y="10727782"/>
              <a:ext cx="105096" cy="130608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6" name="Freeform 479">
              <a:extLst>
                <a:ext uri="{FF2B5EF4-FFF2-40B4-BE49-F238E27FC236}">
                  <a16:creationId xmlns:a16="http://schemas.microsoft.com/office/drawing/2014/main" id="{F7F844BE-1954-8A05-F76B-DF67C081C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7908" y="10848834"/>
              <a:ext cx="242036" cy="283514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7" name="Freeform 480">
              <a:extLst>
                <a:ext uri="{FF2B5EF4-FFF2-40B4-BE49-F238E27FC236}">
                  <a16:creationId xmlns:a16="http://schemas.microsoft.com/office/drawing/2014/main" id="{475FCABF-5747-F071-371E-8587EA82B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9438" y="11055894"/>
              <a:ext cx="366243" cy="356781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8" name="Freeform 481">
              <a:extLst>
                <a:ext uri="{FF2B5EF4-FFF2-40B4-BE49-F238E27FC236}">
                  <a16:creationId xmlns:a16="http://schemas.microsoft.com/office/drawing/2014/main" id="{01E81A73-D6F4-E902-DA45-A92AFC44B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6761" y="11412677"/>
              <a:ext cx="19109" cy="19114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9" name="Freeform 482">
              <a:extLst>
                <a:ext uri="{FF2B5EF4-FFF2-40B4-BE49-F238E27FC236}">
                  <a16:creationId xmlns:a16="http://schemas.microsoft.com/office/drawing/2014/main" id="{73AE7844-0865-47AF-2906-8A81D3BE1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3513" y="11065452"/>
              <a:ext cx="178346" cy="168835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0" name="Freeform 483">
              <a:extLst>
                <a:ext uri="{FF2B5EF4-FFF2-40B4-BE49-F238E27FC236}">
                  <a16:creationId xmlns:a16="http://schemas.microsoft.com/office/drawing/2014/main" id="{74F887A4-FA34-7EAB-E73F-F91E0173B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3640" y="11017669"/>
              <a:ext cx="28662" cy="47785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1" name="Freeform 484">
              <a:extLst>
                <a:ext uri="{FF2B5EF4-FFF2-40B4-BE49-F238E27FC236}">
                  <a16:creationId xmlns:a16="http://schemas.microsoft.com/office/drawing/2014/main" id="{F175B44A-77ED-1B3A-DB6A-B63BA363D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5742" y="11017669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2" name="Freeform 485">
              <a:extLst>
                <a:ext uri="{FF2B5EF4-FFF2-40B4-BE49-F238E27FC236}">
                  <a16:creationId xmlns:a16="http://schemas.microsoft.com/office/drawing/2014/main" id="{7C802DC9-ACEF-4773-B182-C75FEE441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4910" y="8593469"/>
              <a:ext cx="101909" cy="168835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3" name="Freeform 486">
              <a:extLst>
                <a:ext uri="{FF2B5EF4-FFF2-40B4-BE49-F238E27FC236}">
                  <a16:creationId xmlns:a16="http://schemas.microsoft.com/office/drawing/2014/main" id="{CBD547E1-849F-D79C-2F0F-B6270C7B6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65165" y="9606473"/>
              <a:ext cx="337579" cy="653035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4" name="Freeform 487">
              <a:extLst>
                <a:ext uri="{FF2B5EF4-FFF2-40B4-BE49-F238E27FC236}">
                  <a16:creationId xmlns:a16="http://schemas.microsoft.com/office/drawing/2014/main" id="{9483D563-5A7C-5688-D746-4AFE0B2B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3572" y="5028840"/>
              <a:ext cx="101909" cy="76452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5" name="Freeform 488">
              <a:extLst>
                <a:ext uri="{FF2B5EF4-FFF2-40B4-BE49-F238E27FC236}">
                  <a16:creationId xmlns:a16="http://schemas.microsoft.com/office/drawing/2014/main" id="{AE8558E3-0E99-9042-0E02-5D331B96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6310" y="5086181"/>
              <a:ext cx="101909" cy="92380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6" name="Freeform 489">
              <a:extLst>
                <a:ext uri="{FF2B5EF4-FFF2-40B4-BE49-F238E27FC236}">
                  <a16:creationId xmlns:a16="http://schemas.microsoft.com/office/drawing/2014/main" id="{7FCA2B6F-C6B6-B129-2925-3B69D343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5419" y="4767625"/>
              <a:ext cx="82803" cy="47785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7" name="Freeform 490">
              <a:extLst>
                <a:ext uri="{FF2B5EF4-FFF2-40B4-BE49-F238E27FC236}">
                  <a16:creationId xmlns:a16="http://schemas.microsoft.com/office/drawing/2014/main" id="{B034A006-ACC7-9322-546F-54B64A7A6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62" y="4675245"/>
              <a:ext cx="92356" cy="44598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8" name="Freeform 491">
              <a:extLst>
                <a:ext uri="{FF2B5EF4-FFF2-40B4-BE49-F238E27FC236}">
                  <a16:creationId xmlns:a16="http://schemas.microsoft.com/office/drawing/2014/main" id="{363EE200-CA3F-66F9-1001-9E07D0202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8988" y="3999911"/>
              <a:ext cx="57323" cy="19114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9" name="Freeform 492">
              <a:extLst>
                <a:ext uri="{FF2B5EF4-FFF2-40B4-BE49-F238E27FC236}">
                  <a16:creationId xmlns:a16="http://schemas.microsoft.com/office/drawing/2014/main" id="{95E73EA9-233C-8F6E-F5CC-A7C38ED25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696" y="4805855"/>
              <a:ext cx="54139" cy="38227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0" name="Freeform 493">
              <a:extLst>
                <a:ext uri="{FF2B5EF4-FFF2-40B4-BE49-F238E27FC236}">
                  <a16:creationId xmlns:a16="http://schemas.microsoft.com/office/drawing/2014/main" id="{B261F8EF-6861-0A27-EDB8-82294A479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8282" y="6892386"/>
              <a:ext cx="54139" cy="101936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1" name="Freeform 494">
              <a:extLst>
                <a:ext uri="{FF2B5EF4-FFF2-40B4-BE49-F238E27FC236}">
                  <a16:creationId xmlns:a16="http://schemas.microsoft.com/office/drawing/2014/main" id="{3D802BEB-2D4B-D58D-1BDA-18E01C683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9173" y="6984768"/>
              <a:ext cx="82803" cy="1401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2" name="Freeform 495">
              <a:extLst>
                <a:ext uri="{FF2B5EF4-FFF2-40B4-BE49-F238E27FC236}">
                  <a16:creationId xmlns:a16="http://schemas.microsoft.com/office/drawing/2014/main" id="{021AA662-D662-04D7-A7D3-46918E08C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3444" y="7153601"/>
              <a:ext cx="149680" cy="92380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3" name="Freeform 496">
              <a:extLst>
                <a:ext uri="{FF2B5EF4-FFF2-40B4-BE49-F238E27FC236}">
                  <a16:creationId xmlns:a16="http://schemas.microsoft.com/office/drawing/2014/main" id="{EC040ECE-AB81-F4AD-7C77-DDD3395CF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1977" y="7284208"/>
              <a:ext cx="121018" cy="66896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4" name="Freeform 497">
              <a:extLst>
                <a:ext uri="{FF2B5EF4-FFF2-40B4-BE49-F238E27FC236}">
                  <a16:creationId xmlns:a16="http://schemas.microsoft.com/office/drawing/2014/main" id="{36C2EB46-EA02-4565-69F5-C622DE053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5" y="7293764"/>
              <a:ext cx="140127" cy="38227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5" name="Freeform 498">
              <a:extLst>
                <a:ext uri="{FF2B5EF4-FFF2-40B4-BE49-F238E27FC236}">
                  <a16:creationId xmlns:a16="http://schemas.microsoft.com/office/drawing/2014/main" id="{3CE2C4BD-44A1-53A7-5BE3-DC2B1704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3826" y="5917609"/>
              <a:ext cx="66879" cy="66896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6" name="Freeform 499">
              <a:extLst>
                <a:ext uri="{FF2B5EF4-FFF2-40B4-BE49-F238E27FC236}">
                  <a16:creationId xmlns:a16="http://schemas.microsoft.com/office/drawing/2014/main" id="{423BB34C-96BA-33E8-B122-F8E6A5480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3380" y="5892125"/>
              <a:ext cx="47770" cy="25484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7" name="Freeform 500">
              <a:extLst>
                <a:ext uri="{FF2B5EF4-FFF2-40B4-BE49-F238E27FC236}">
                  <a16:creationId xmlns:a16="http://schemas.microsoft.com/office/drawing/2014/main" id="{045DDAA3-E47D-2017-4E66-55FF2D2A5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9111" y="5955834"/>
              <a:ext cx="54139" cy="92380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8" name="Freeform 501">
              <a:extLst>
                <a:ext uri="{FF2B5EF4-FFF2-40B4-BE49-F238E27FC236}">
                  <a16:creationId xmlns:a16="http://schemas.microsoft.com/office/drawing/2014/main" id="{0BE90193-820B-98F5-63C8-F475FBB49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7" y="5796557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9" name="Freeform 502">
              <a:extLst>
                <a:ext uri="{FF2B5EF4-FFF2-40B4-BE49-F238E27FC236}">
                  <a16:creationId xmlns:a16="http://schemas.microsoft.com/office/drawing/2014/main" id="{07A86C02-628F-31F7-67E3-21CBEFFE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2" y="6086441"/>
              <a:ext cx="54139" cy="86010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0" name="Freeform 503">
              <a:extLst>
                <a:ext uri="{FF2B5EF4-FFF2-40B4-BE49-F238E27FC236}">
                  <a16:creationId xmlns:a16="http://schemas.microsoft.com/office/drawing/2014/main" id="{552E36F5-6F68-3C55-67B4-215499012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2426" y="6105555"/>
              <a:ext cx="76432" cy="76452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1" name="Freeform 504">
              <a:extLst>
                <a:ext uri="{FF2B5EF4-FFF2-40B4-BE49-F238E27FC236}">
                  <a16:creationId xmlns:a16="http://schemas.microsoft.com/office/drawing/2014/main" id="{59D55356-1A6A-4AA3-C84D-E8F805F76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8028" y="7070776"/>
              <a:ext cx="44586" cy="35042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2" name="Freeform 505">
              <a:extLst>
                <a:ext uri="{FF2B5EF4-FFF2-40B4-BE49-F238E27FC236}">
                  <a16:creationId xmlns:a16="http://schemas.microsoft.com/office/drawing/2014/main" id="{BA717E2C-AED9-848C-C140-CD98A939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9426" y="5927165"/>
              <a:ext cx="57323" cy="57338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3" name="Freeform 506">
              <a:extLst>
                <a:ext uri="{FF2B5EF4-FFF2-40B4-BE49-F238E27FC236}">
                  <a16:creationId xmlns:a16="http://schemas.microsoft.com/office/drawing/2014/main" id="{EF42E7E9-4F82-BE6B-D58D-F1923862D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8093" y="5994061"/>
              <a:ext cx="28662" cy="28669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4" name="Freeform 507">
              <a:extLst>
                <a:ext uri="{FF2B5EF4-FFF2-40B4-BE49-F238E27FC236}">
                  <a16:creationId xmlns:a16="http://schemas.microsoft.com/office/drawing/2014/main" id="{47C2F699-9E92-B7E8-3ECE-A7BAD1D7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22733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5" name="Freeform 508">
              <a:extLst>
                <a:ext uri="{FF2B5EF4-FFF2-40B4-BE49-F238E27FC236}">
                  <a16:creationId xmlns:a16="http://schemas.microsoft.com/office/drawing/2014/main" id="{536FEE6B-63AF-83AC-BC6E-DE9CF916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48217"/>
              <a:ext cx="9553" cy="19114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6" name="Freeform 509">
              <a:extLst>
                <a:ext uri="{FF2B5EF4-FFF2-40B4-BE49-F238E27FC236}">
                  <a16:creationId xmlns:a16="http://schemas.microsoft.com/office/drawing/2014/main" id="{EB1A72C7-723C-3E03-06C9-DCA8C3BD4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67328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7" name="Freeform 510">
              <a:extLst>
                <a:ext uri="{FF2B5EF4-FFF2-40B4-BE49-F238E27FC236}">
                  <a16:creationId xmlns:a16="http://schemas.microsoft.com/office/drawing/2014/main" id="{6F9652DE-C119-422C-0658-319DEA01E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0002" y="6207491"/>
              <a:ext cx="9553" cy="1911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8" name="Freeform 511">
              <a:extLst>
                <a:ext uri="{FF2B5EF4-FFF2-40B4-BE49-F238E27FC236}">
                  <a16:creationId xmlns:a16="http://schemas.microsoft.com/office/drawing/2014/main" id="{914868DA-6788-9927-5074-C8C9AE1F9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0131" y="5787002"/>
              <a:ext cx="19109" cy="38227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9" name="Freeform 512">
              <a:extLst>
                <a:ext uri="{FF2B5EF4-FFF2-40B4-BE49-F238E27FC236}">
                  <a16:creationId xmlns:a16="http://schemas.microsoft.com/office/drawing/2014/main" id="{19197351-6EC7-277F-0EBA-CDD42A4A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0699" y="11747159"/>
              <a:ext cx="111465" cy="57338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0" name="Freeform 513">
              <a:extLst>
                <a:ext uri="{FF2B5EF4-FFF2-40B4-BE49-F238E27FC236}">
                  <a16:creationId xmlns:a16="http://schemas.microsoft.com/office/drawing/2014/main" id="{6D5DDC5E-C2A6-0AB4-73A0-3F8551630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144" y="11804497"/>
              <a:ext cx="82803" cy="57338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1" name="Freeform 514">
              <a:extLst>
                <a:ext uri="{FF2B5EF4-FFF2-40B4-BE49-F238E27FC236}">
                  <a16:creationId xmlns:a16="http://schemas.microsoft.com/office/drawing/2014/main" id="{567D5E68-1417-70B4-A389-7127E3B35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1593" y="11731231"/>
              <a:ext cx="73248" cy="44598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2" name="Freeform 515">
              <a:extLst>
                <a:ext uri="{FF2B5EF4-FFF2-40B4-BE49-F238E27FC236}">
                  <a16:creationId xmlns:a16="http://schemas.microsoft.com/office/drawing/2014/main" id="{4627FB57-9B8A-33CD-6A4B-8752567C0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3376" y="11766272"/>
              <a:ext cx="76432" cy="47785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3" name="Freeform 516">
              <a:extLst>
                <a:ext uri="{FF2B5EF4-FFF2-40B4-BE49-F238E27FC236}">
                  <a16:creationId xmlns:a16="http://schemas.microsoft.com/office/drawing/2014/main" id="{B5FE3CDE-766B-3064-9B3A-0E36A0FB7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67" y="11702559"/>
              <a:ext cx="28662" cy="28669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4" name="Freeform 517">
              <a:extLst>
                <a:ext uri="{FF2B5EF4-FFF2-40B4-BE49-F238E27FC236}">
                  <a16:creationId xmlns:a16="http://schemas.microsoft.com/office/drawing/2014/main" id="{2B104EB7-1F64-5CCF-6726-FC2A9D6D5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67" y="11626107"/>
              <a:ext cx="66879" cy="66896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5" name="Freeform 518">
              <a:extLst>
                <a:ext uri="{FF2B5EF4-FFF2-40B4-BE49-F238E27FC236}">
                  <a16:creationId xmlns:a16="http://schemas.microsoft.com/office/drawing/2014/main" id="{658BC11F-F71F-F1FD-B0E1-DB90B5FB1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4712" y="11505057"/>
              <a:ext cx="47770" cy="101936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6" name="Freeform 519">
              <a:extLst>
                <a:ext uri="{FF2B5EF4-FFF2-40B4-BE49-F238E27FC236}">
                  <a16:creationId xmlns:a16="http://schemas.microsoft.com/office/drawing/2014/main" id="{5FFBC344-286A-AA12-A1DB-760D5490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5159" y="11587880"/>
              <a:ext cx="28662" cy="57338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7" name="Freeform 520">
              <a:extLst>
                <a:ext uri="{FF2B5EF4-FFF2-40B4-BE49-F238E27FC236}">
                  <a16:creationId xmlns:a16="http://schemas.microsoft.com/office/drawing/2014/main" id="{6FD60022-EB56-BD7F-0B7E-45BEE1ABF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5159" y="11466830"/>
              <a:ext cx="47770" cy="66896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8" name="Freeform 521">
              <a:extLst>
                <a:ext uri="{FF2B5EF4-FFF2-40B4-BE49-F238E27FC236}">
                  <a16:creationId xmlns:a16="http://schemas.microsoft.com/office/drawing/2014/main" id="{E81FD524-72BB-8ECC-AD90-64442E70D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2931" y="11282067"/>
              <a:ext cx="47770" cy="44598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9" name="Freeform 522">
              <a:extLst>
                <a:ext uri="{FF2B5EF4-FFF2-40B4-BE49-F238E27FC236}">
                  <a16:creationId xmlns:a16="http://schemas.microsoft.com/office/drawing/2014/main" id="{193F504D-0787-9B5A-A5C3-0C7A7E400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2485" y="11113235"/>
              <a:ext cx="57323" cy="101936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0" name="Freeform 523">
              <a:extLst>
                <a:ext uri="{FF2B5EF4-FFF2-40B4-BE49-F238E27FC236}">
                  <a16:creationId xmlns:a16="http://schemas.microsoft.com/office/drawing/2014/main" id="{AF5DAA86-CB85-D482-3B68-2E7630160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0382" y="8462859"/>
              <a:ext cx="44586" cy="38227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1" name="Freeform 524">
              <a:extLst>
                <a:ext uri="{FF2B5EF4-FFF2-40B4-BE49-F238E27FC236}">
                  <a16:creationId xmlns:a16="http://schemas.microsoft.com/office/drawing/2014/main" id="{AF7A0350-19B6-32E5-8FF8-52E9AF8F1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1656" y="8520200"/>
              <a:ext cx="54139" cy="73269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2" name="Freeform 525">
              <a:extLst>
                <a:ext uri="{FF2B5EF4-FFF2-40B4-BE49-F238E27FC236}">
                  <a16:creationId xmlns:a16="http://schemas.microsoft.com/office/drawing/2014/main" id="{BAE2F077-9C6A-CD45-43F6-2139447F1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4397" y="9026702"/>
              <a:ext cx="130574" cy="121050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3" name="Freeform 526">
              <a:extLst>
                <a:ext uri="{FF2B5EF4-FFF2-40B4-BE49-F238E27FC236}">
                  <a16:creationId xmlns:a16="http://schemas.microsoft.com/office/drawing/2014/main" id="{C5D0D015-872C-AB63-CFC8-8CAFB31EF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0064" y="8163419"/>
              <a:ext cx="92356" cy="38227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4" name="Freeform 527">
              <a:extLst>
                <a:ext uri="{FF2B5EF4-FFF2-40B4-BE49-F238E27FC236}">
                  <a16:creationId xmlns:a16="http://schemas.microsoft.com/office/drawing/2014/main" id="{BAED492C-FCE7-8161-0000-227FF8F90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4585" y="8153861"/>
              <a:ext cx="105096" cy="47785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5" name="Freeform 528">
              <a:extLst>
                <a:ext uri="{FF2B5EF4-FFF2-40B4-BE49-F238E27FC236}">
                  <a16:creationId xmlns:a16="http://schemas.microsoft.com/office/drawing/2014/main" id="{F3CA34E0-BE42-8A11-6572-3D0152DD0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963" y="7940431"/>
              <a:ext cx="484077" cy="168835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6" name="Freeform 529">
              <a:extLst>
                <a:ext uri="{FF2B5EF4-FFF2-40B4-BE49-F238E27FC236}">
                  <a16:creationId xmlns:a16="http://schemas.microsoft.com/office/drawing/2014/main" id="{83216307-5F0B-8C5A-F75D-846C193BC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4585" y="7838493"/>
              <a:ext cx="38217" cy="35042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7" name="Freeform 530">
              <a:extLst>
                <a:ext uri="{FF2B5EF4-FFF2-40B4-BE49-F238E27FC236}">
                  <a16:creationId xmlns:a16="http://schemas.microsoft.com/office/drawing/2014/main" id="{E7FC0018-9D53-18B9-A77B-192965073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0255" y="8032812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8" name="Freeform 531">
              <a:extLst>
                <a:ext uri="{FF2B5EF4-FFF2-40B4-BE49-F238E27FC236}">
                  <a16:creationId xmlns:a16="http://schemas.microsoft.com/office/drawing/2014/main" id="{646A351F-B20F-851A-3406-3073FF4DA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0764" y="6656657"/>
              <a:ext cx="54139" cy="95566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9" name="Freeform 532">
              <a:extLst>
                <a:ext uri="{FF2B5EF4-FFF2-40B4-BE49-F238E27FC236}">
                  <a16:creationId xmlns:a16="http://schemas.microsoft.com/office/drawing/2014/main" id="{2B2416F1-A3C5-5483-ABCA-28A48AD71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6242" y="6704440"/>
              <a:ext cx="66879" cy="38227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0" name="Freeform 533">
              <a:extLst>
                <a:ext uri="{FF2B5EF4-FFF2-40B4-BE49-F238E27FC236}">
                  <a16:creationId xmlns:a16="http://schemas.microsoft.com/office/drawing/2014/main" id="{46E63ED5-2DCB-3173-F1D6-5F2DF88D4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1526" y="6666212"/>
              <a:ext cx="140127" cy="66896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1" name="Freeform 534">
              <a:extLst>
                <a:ext uri="{FF2B5EF4-FFF2-40B4-BE49-F238E27FC236}">
                  <a16:creationId xmlns:a16="http://schemas.microsoft.com/office/drawing/2014/main" id="{E5DCEF3E-54AA-5F15-4F10-3C08E0922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0193" y="6481449"/>
              <a:ext cx="146495" cy="73269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2" name="Freeform 535">
              <a:extLst>
                <a:ext uri="{FF2B5EF4-FFF2-40B4-BE49-F238E27FC236}">
                  <a16:creationId xmlns:a16="http://schemas.microsoft.com/office/drawing/2014/main" id="{82360769-77DD-0FDC-340A-440D174C9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2676" y="6385884"/>
              <a:ext cx="299364" cy="289884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3" name="Freeform 536">
              <a:extLst>
                <a:ext uri="{FF2B5EF4-FFF2-40B4-BE49-F238E27FC236}">
                  <a16:creationId xmlns:a16="http://schemas.microsoft.com/office/drawing/2014/main" id="{FE53168A-2892-E1BA-C46D-B23DD62C2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4715" y="6592943"/>
              <a:ext cx="76432" cy="92380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4" name="Freeform 537">
              <a:extLst>
                <a:ext uri="{FF2B5EF4-FFF2-40B4-BE49-F238E27FC236}">
                  <a16:creationId xmlns:a16="http://schemas.microsoft.com/office/drawing/2014/main" id="{AC3A4AEB-8B90-B437-27D1-ADBAAF90A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2423" y="5694619"/>
              <a:ext cx="28662" cy="54153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5" name="Freeform 538">
              <a:extLst>
                <a:ext uri="{FF2B5EF4-FFF2-40B4-BE49-F238E27FC236}">
                  <a16:creationId xmlns:a16="http://schemas.microsoft.com/office/drawing/2014/main" id="{97668433-4DBC-2F67-B441-55CD76A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296" y="5787002"/>
              <a:ext cx="28662" cy="28669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6" name="Freeform 539">
              <a:extLst>
                <a:ext uri="{FF2B5EF4-FFF2-40B4-BE49-F238E27FC236}">
                  <a16:creationId xmlns:a16="http://schemas.microsoft.com/office/drawing/2014/main" id="{B2083C1E-731D-D931-B672-D8CA4A4B4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981" y="6283948"/>
              <a:ext cx="63695" cy="38227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7" name="Freeform 540">
              <a:extLst>
                <a:ext uri="{FF2B5EF4-FFF2-40B4-BE49-F238E27FC236}">
                  <a16:creationId xmlns:a16="http://schemas.microsoft.com/office/drawing/2014/main" id="{85D7097B-3297-4A6C-DBA6-B15B1DBE2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90" y="6057775"/>
              <a:ext cx="57323" cy="57338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8" name="Freeform 541">
              <a:extLst>
                <a:ext uri="{FF2B5EF4-FFF2-40B4-BE49-F238E27FC236}">
                  <a16:creationId xmlns:a16="http://schemas.microsoft.com/office/drawing/2014/main" id="{220AF1CF-6EB9-BA33-2D01-2DF258528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2229" y="5656392"/>
              <a:ext cx="57323" cy="66896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9" name="Freeform 542">
              <a:extLst>
                <a:ext uri="{FF2B5EF4-FFF2-40B4-BE49-F238E27FC236}">
                  <a16:creationId xmlns:a16="http://schemas.microsoft.com/office/drawing/2014/main" id="{C98BCF52-ABC4-9E10-C259-2D0686D57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2993" y="5618167"/>
              <a:ext cx="111465" cy="57338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0" name="Freeform 543">
              <a:extLst>
                <a:ext uri="{FF2B5EF4-FFF2-40B4-BE49-F238E27FC236}">
                  <a16:creationId xmlns:a16="http://schemas.microsoft.com/office/drawing/2014/main" id="{71865944-DD58-30A8-D218-68BBFA910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8661" y="5583125"/>
              <a:ext cx="63695" cy="25484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1" name="Freeform 544">
              <a:extLst>
                <a:ext uri="{FF2B5EF4-FFF2-40B4-BE49-F238E27FC236}">
                  <a16:creationId xmlns:a16="http://schemas.microsoft.com/office/drawing/2014/main" id="{F494F5AF-0487-31C1-EF42-F45C50FC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756" y="5395179"/>
              <a:ext cx="318473" cy="222990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2" name="Freeform 545">
              <a:extLst>
                <a:ext uri="{FF2B5EF4-FFF2-40B4-BE49-F238E27FC236}">
                  <a16:creationId xmlns:a16="http://schemas.microsoft.com/office/drawing/2014/main" id="{37E37393-54E9-68E0-8A57-0B399D83F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963" y="5376063"/>
              <a:ext cx="63695" cy="47785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3" name="Freeform 546">
              <a:extLst>
                <a:ext uri="{FF2B5EF4-FFF2-40B4-BE49-F238E27FC236}">
                  <a16:creationId xmlns:a16="http://schemas.microsoft.com/office/drawing/2014/main" id="{D204001F-8938-5B24-895E-330DAFB13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8852" y="5385621"/>
              <a:ext cx="35033" cy="47785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4" name="Freeform 547">
              <a:extLst>
                <a:ext uri="{FF2B5EF4-FFF2-40B4-BE49-F238E27FC236}">
                  <a16:creationId xmlns:a16="http://schemas.microsoft.com/office/drawing/2014/main" id="{CFA7DA8A-157B-3A19-1034-DD48D283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2864" y="5207233"/>
              <a:ext cx="28662" cy="57338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5" name="Freeform 548">
              <a:extLst>
                <a:ext uri="{FF2B5EF4-FFF2-40B4-BE49-F238E27FC236}">
                  <a16:creationId xmlns:a16="http://schemas.microsoft.com/office/drawing/2014/main" id="{02669CFF-4498-94C5-0555-6984144E0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737" y="4719845"/>
              <a:ext cx="1343951" cy="984332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6" name="Freeform 549">
              <a:extLst>
                <a:ext uri="{FF2B5EF4-FFF2-40B4-BE49-F238E27FC236}">
                  <a16:creationId xmlns:a16="http://schemas.microsoft.com/office/drawing/2014/main" id="{89BC824E-1A5D-526C-6879-9C9C44992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64" y="5637283"/>
              <a:ext cx="57323" cy="19114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7" name="Freeform 550">
              <a:extLst>
                <a:ext uri="{FF2B5EF4-FFF2-40B4-BE49-F238E27FC236}">
                  <a16:creationId xmlns:a16="http://schemas.microsoft.com/office/drawing/2014/main" id="{822D76D3-DF11-81F5-0E50-F60655156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3376" y="5226347"/>
              <a:ext cx="76432" cy="19114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8" name="Freeform 551">
              <a:extLst>
                <a:ext uri="{FF2B5EF4-FFF2-40B4-BE49-F238E27FC236}">
                  <a16:creationId xmlns:a16="http://schemas.microsoft.com/office/drawing/2014/main" id="{A65AD6CF-1A7B-49EE-44F9-9C95EFD6D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911" y="5207233"/>
              <a:ext cx="111465" cy="92380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9" name="Freeform 552">
              <a:extLst>
                <a:ext uri="{FF2B5EF4-FFF2-40B4-BE49-F238E27FC236}">
                  <a16:creationId xmlns:a16="http://schemas.microsoft.com/office/drawing/2014/main" id="{AD135C97-5D8F-B11E-477D-72FCB11A9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9999" y="5124408"/>
              <a:ext cx="63695" cy="35042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0" name="Freeform 553">
              <a:extLst>
                <a:ext uri="{FF2B5EF4-FFF2-40B4-BE49-F238E27FC236}">
                  <a16:creationId xmlns:a16="http://schemas.microsoft.com/office/drawing/2014/main" id="{59A936B7-542F-A3C2-DF6B-02B242BBE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2358" y="5114850"/>
              <a:ext cx="57323" cy="28669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1" name="Freeform 554">
              <a:extLst>
                <a:ext uri="{FF2B5EF4-FFF2-40B4-BE49-F238E27FC236}">
                  <a16:creationId xmlns:a16="http://schemas.microsoft.com/office/drawing/2014/main" id="{A4378921-527A-B7E8-F86B-601779E8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8216" y="5095739"/>
              <a:ext cx="44586" cy="19114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2" name="Freeform 555">
              <a:extLst>
                <a:ext uri="{FF2B5EF4-FFF2-40B4-BE49-F238E27FC236}">
                  <a16:creationId xmlns:a16="http://schemas.microsoft.com/office/drawing/2014/main" id="{57B29E6F-ACBD-B9BC-5BA2-0E8209455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567" y="4738956"/>
              <a:ext cx="245223" cy="105124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3" name="Freeform 556">
              <a:extLst>
                <a:ext uri="{FF2B5EF4-FFF2-40B4-BE49-F238E27FC236}">
                  <a16:creationId xmlns:a16="http://schemas.microsoft.com/office/drawing/2014/main" id="{73C3DDF3-288C-56A7-A374-A46D315AF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742" y="6433669"/>
              <a:ext cx="270700" cy="178393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4" name="Freeform 557">
              <a:extLst>
                <a:ext uri="{FF2B5EF4-FFF2-40B4-BE49-F238E27FC236}">
                  <a16:creationId xmlns:a16="http://schemas.microsoft.com/office/drawing/2014/main" id="{504A7CB2-82C0-E944-A8BA-0C28C7F87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368" y="6226607"/>
              <a:ext cx="121018" cy="130608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5" name="Freeform 558">
              <a:extLst>
                <a:ext uri="{FF2B5EF4-FFF2-40B4-BE49-F238E27FC236}">
                  <a16:creationId xmlns:a16="http://schemas.microsoft.com/office/drawing/2014/main" id="{8FC088F2-CDCD-E9D8-AF55-E5F7389D7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923" y="6076886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6" name="Freeform 559">
              <a:extLst>
                <a:ext uri="{FF2B5EF4-FFF2-40B4-BE49-F238E27FC236}">
                  <a16:creationId xmlns:a16="http://schemas.microsoft.com/office/drawing/2014/main" id="{08C84D53-FCE0-F810-C81D-3C3DB49AE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150" y="6032291"/>
              <a:ext cx="57323" cy="54153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7" name="Freeform 560">
              <a:extLst>
                <a:ext uri="{FF2B5EF4-FFF2-40B4-BE49-F238E27FC236}">
                  <a16:creationId xmlns:a16="http://schemas.microsoft.com/office/drawing/2014/main" id="{CE722FD3-9ED9-CD47-10C8-CDF9EFDD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2673" y="6048217"/>
              <a:ext cx="35033" cy="57338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8" name="Freeform 561">
              <a:extLst>
                <a:ext uri="{FF2B5EF4-FFF2-40B4-BE49-F238E27FC236}">
                  <a16:creationId xmlns:a16="http://schemas.microsoft.com/office/drawing/2014/main" id="{DBC28D54-9B2B-F630-82EA-F38CFD550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347" y="5994061"/>
              <a:ext cx="47770" cy="101936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9" name="Freeform 562">
              <a:extLst>
                <a:ext uri="{FF2B5EF4-FFF2-40B4-BE49-F238E27FC236}">
                  <a16:creationId xmlns:a16="http://schemas.microsoft.com/office/drawing/2014/main" id="{38C64382-4F7C-834F-E37B-1B71381E6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7130" y="5955834"/>
              <a:ext cx="66879" cy="66896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0" name="Freeform 563">
              <a:extLst>
                <a:ext uri="{FF2B5EF4-FFF2-40B4-BE49-F238E27FC236}">
                  <a16:creationId xmlns:a16="http://schemas.microsoft.com/office/drawing/2014/main" id="{3ED4A8E5-7181-CF56-2679-F434A4852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009" y="5955834"/>
              <a:ext cx="63695" cy="86010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1" name="Freeform 564">
              <a:extLst>
                <a:ext uri="{FF2B5EF4-FFF2-40B4-BE49-F238E27FC236}">
                  <a16:creationId xmlns:a16="http://schemas.microsoft.com/office/drawing/2014/main" id="{832C6E33-C3AA-2181-AB5A-5FCD35A2B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900" y="5974948"/>
              <a:ext cx="28662" cy="9556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2" name="Freeform 565">
              <a:extLst>
                <a:ext uri="{FF2B5EF4-FFF2-40B4-BE49-F238E27FC236}">
                  <a16:creationId xmlns:a16="http://schemas.microsoft.com/office/drawing/2014/main" id="{0D4C31EA-A079-ADD2-B308-17578A8AE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812" y="5984506"/>
              <a:ext cx="124202" cy="63711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3" name="Freeform 566">
              <a:extLst>
                <a:ext uri="{FF2B5EF4-FFF2-40B4-BE49-F238E27FC236}">
                  <a16:creationId xmlns:a16="http://schemas.microsoft.com/office/drawing/2014/main" id="{DD00F4FA-1860-4181-75AD-B7D6CB90E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582" y="5927165"/>
              <a:ext cx="76432" cy="66896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4" name="Freeform 567">
              <a:extLst>
                <a:ext uri="{FF2B5EF4-FFF2-40B4-BE49-F238E27FC236}">
                  <a16:creationId xmlns:a16="http://schemas.microsoft.com/office/drawing/2014/main" id="{D02326B9-FEFC-2EDD-AFEC-3C309157E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734" y="6182007"/>
              <a:ext cx="92356" cy="35042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5" name="Freeform 568">
              <a:extLst>
                <a:ext uri="{FF2B5EF4-FFF2-40B4-BE49-F238E27FC236}">
                  <a16:creationId xmlns:a16="http://schemas.microsoft.com/office/drawing/2014/main" id="{46306A4F-3504-3434-59D0-7D39AA3FB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269" y="6236163"/>
              <a:ext cx="54139" cy="47785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6" name="Freeform 569">
              <a:extLst>
                <a:ext uri="{FF2B5EF4-FFF2-40B4-BE49-F238E27FC236}">
                  <a16:creationId xmlns:a16="http://schemas.microsoft.com/office/drawing/2014/main" id="{74FF9783-233A-854E-5982-DBAE4F460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6431" y="5076623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7" name="Freeform 570">
              <a:extLst>
                <a:ext uri="{FF2B5EF4-FFF2-40B4-BE49-F238E27FC236}">
                  <a16:creationId xmlns:a16="http://schemas.microsoft.com/office/drawing/2014/main" id="{2A28DB01-9393-CCD9-B4A3-E954AC94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554" y="5133964"/>
              <a:ext cx="47770" cy="35042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8" name="Freeform 571">
              <a:extLst>
                <a:ext uri="{FF2B5EF4-FFF2-40B4-BE49-F238E27FC236}">
                  <a16:creationId xmlns:a16="http://schemas.microsoft.com/office/drawing/2014/main" id="{48F0AFE2-DA4F-BC6D-28D9-C6AB28A10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228" y="5169003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9" name="Freeform 572">
              <a:extLst>
                <a:ext uri="{FF2B5EF4-FFF2-40B4-BE49-F238E27FC236}">
                  <a16:creationId xmlns:a16="http://schemas.microsoft.com/office/drawing/2014/main" id="{FCF024A6-B323-7EFF-060A-E2B13B31E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678" y="4777183"/>
              <a:ext cx="859874" cy="4204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0" name="Freeform 573">
              <a:extLst>
                <a:ext uri="{FF2B5EF4-FFF2-40B4-BE49-F238E27FC236}">
                  <a16:creationId xmlns:a16="http://schemas.microsoft.com/office/drawing/2014/main" id="{E2C6336F-C5BC-07FF-B8D8-2AC274427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9745" y="4738956"/>
              <a:ext cx="130574" cy="86010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1" name="Freeform 574">
              <a:extLst>
                <a:ext uri="{FF2B5EF4-FFF2-40B4-BE49-F238E27FC236}">
                  <a16:creationId xmlns:a16="http://schemas.microsoft.com/office/drawing/2014/main" id="{FB891089-ABE0-0151-CF68-DAE1A0A7D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6751" y="4700729"/>
              <a:ext cx="296178" cy="273958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2" name="Freeform 575">
              <a:extLst>
                <a:ext uri="{FF2B5EF4-FFF2-40B4-BE49-F238E27FC236}">
                  <a16:creationId xmlns:a16="http://schemas.microsoft.com/office/drawing/2014/main" id="{D373E7D7-E6FB-C4FC-9BC9-20E9F2914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037" y="4700729"/>
              <a:ext cx="261145" cy="207060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3" name="Freeform 576">
              <a:extLst>
                <a:ext uri="{FF2B5EF4-FFF2-40B4-BE49-F238E27FC236}">
                  <a16:creationId xmlns:a16="http://schemas.microsoft.com/office/drawing/2014/main" id="{E0CF9FA7-DC61-D38C-2A01-0AA2A5E5C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3947" y="4675245"/>
              <a:ext cx="503186" cy="308998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4" name="Freeform 577">
              <a:extLst>
                <a:ext uri="{FF2B5EF4-FFF2-40B4-BE49-F238E27FC236}">
                  <a16:creationId xmlns:a16="http://schemas.microsoft.com/office/drawing/2014/main" id="{99FCB58E-090E-B0EC-779E-5C45EE562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655" y="4589235"/>
              <a:ext cx="66879" cy="38227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5" name="Freeform 578">
              <a:extLst>
                <a:ext uri="{FF2B5EF4-FFF2-40B4-BE49-F238E27FC236}">
                  <a16:creationId xmlns:a16="http://schemas.microsoft.com/office/drawing/2014/main" id="{33892A7E-9D4B-EF18-7793-43488A0C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221" y="4420403"/>
              <a:ext cx="560509" cy="264400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6" name="Freeform 579">
              <a:extLst>
                <a:ext uri="{FF2B5EF4-FFF2-40B4-BE49-F238E27FC236}">
                  <a16:creationId xmlns:a16="http://schemas.microsoft.com/office/drawing/2014/main" id="{1BDEC9EB-0A89-1CF4-858C-ECD63D115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678" y="4525526"/>
              <a:ext cx="95541" cy="63711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7" name="Freeform 580">
              <a:extLst>
                <a:ext uri="{FF2B5EF4-FFF2-40B4-BE49-F238E27FC236}">
                  <a16:creationId xmlns:a16="http://schemas.microsoft.com/office/drawing/2014/main" id="{C97C733D-F5E0-25D3-7A3C-30EC4018B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074" y="4385363"/>
              <a:ext cx="343950" cy="15927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8" name="Freeform 581">
              <a:extLst>
                <a:ext uri="{FF2B5EF4-FFF2-40B4-BE49-F238E27FC236}">
                  <a16:creationId xmlns:a16="http://schemas.microsoft.com/office/drawing/2014/main" id="{7A4A8E11-3430-B974-E72D-B694088EC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686" y="4449069"/>
              <a:ext cx="73248" cy="19114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9" name="Freeform 582">
              <a:extLst>
                <a:ext uri="{FF2B5EF4-FFF2-40B4-BE49-F238E27FC236}">
                  <a16:creationId xmlns:a16="http://schemas.microsoft.com/office/drawing/2014/main" id="{437F004F-09CC-BC25-06EE-215FEA215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81" y="4318467"/>
              <a:ext cx="197453" cy="92380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0" name="Freeform 583">
              <a:extLst>
                <a:ext uri="{FF2B5EF4-FFF2-40B4-BE49-F238E27FC236}">
                  <a16:creationId xmlns:a16="http://schemas.microsoft.com/office/drawing/2014/main" id="{E70E78BE-4376-A31E-5526-96228626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577" y="4337578"/>
              <a:ext cx="73248" cy="38227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1" name="Freeform 584">
              <a:extLst>
                <a:ext uri="{FF2B5EF4-FFF2-40B4-BE49-F238E27FC236}">
                  <a16:creationId xmlns:a16="http://schemas.microsoft.com/office/drawing/2014/main" id="{A63C2D14-B0AD-F2EA-2A22-299012B8E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489" y="4251568"/>
              <a:ext cx="197453" cy="66896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2" name="Freeform 585">
              <a:extLst>
                <a:ext uri="{FF2B5EF4-FFF2-40B4-BE49-F238E27FC236}">
                  <a16:creationId xmlns:a16="http://schemas.microsoft.com/office/drawing/2014/main" id="{9D9D7A27-1722-C877-72B8-89CD01A20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7195" y="4449069"/>
              <a:ext cx="261145" cy="178393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3" name="Freeform 586">
              <a:extLst>
                <a:ext uri="{FF2B5EF4-FFF2-40B4-BE49-F238E27FC236}">
                  <a16:creationId xmlns:a16="http://schemas.microsoft.com/office/drawing/2014/main" id="{FA9137D9-35A5-044C-0E45-48D4D3565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8534" y="4535082"/>
              <a:ext cx="82803" cy="25484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4" name="Freeform 587">
              <a:extLst>
                <a:ext uri="{FF2B5EF4-FFF2-40B4-BE49-F238E27FC236}">
                  <a16:creationId xmlns:a16="http://schemas.microsoft.com/office/drawing/2014/main" id="{65FBE5A6-8DB6-51F3-DD8A-B4E363F39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9425" y="4525526"/>
              <a:ext cx="76432" cy="19114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5" name="Freeform 588">
              <a:extLst>
                <a:ext uri="{FF2B5EF4-FFF2-40B4-BE49-F238E27FC236}">
                  <a16:creationId xmlns:a16="http://schemas.microsoft.com/office/drawing/2014/main" id="{262ABFE5-4A21-66A4-916B-F82E2DA27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1208" y="4496854"/>
              <a:ext cx="95541" cy="47785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6" name="Freeform 589">
              <a:extLst>
                <a:ext uri="{FF2B5EF4-FFF2-40B4-BE49-F238E27FC236}">
                  <a16:creationId xmlns:a16="http://schemas.microsoft.com/office/drawing/2014/main" id="{182938EC-5087-3FB6-C602-A5B16E3E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0763" y="4458630"/>
              <a:ext cx="66879" cy="47785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7" name="Freeform 590">
              <a:extLst>
                <a:ext uri="{FF2B5EF4-FFF2-40B4-BE49-F238E27FC236}">
                  <a16:creationId xmlns:a16="http://schemas.microsoft.com/office/drawing/2014/main" id="{AEBCBBAF-BDAE-0A81-E0CB-F1C2BB8B3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407" y="4347133"/>
              <a:ext cx="111465" cy="82827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8" name="Freeform 591">
              <a:extLst>
                <a:ext uri="{FF2B5EF4-FFF2-40B4-BE49-F238E27FC236}">
                  <a16:creationId xmlns:a16="http://schemas.microsoft.com/office/drawing/2014/main" id="{407FC15E-59C2-36E9-C026-618AA16DF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6751" y="4337578"/>
              <a:ext cx="82803" cy="28669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9" name="Freeform 592">
              <a:extLst>
                <a:ext uri="{FF2B5EF4-FFF2-40B4-BE49-F238E27FC236}">
                  <a16:creationId xmlns:a16="http://schemas.microsoft.com/office/drawing/2014/main" id="{43B31137-1F3B-12DB-9CFA-44903F883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513" y="4187857"/>
              <a:ext cx="334395" cy="178393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0" name="Freeform 593">
              <a:extLst>
                <a:ext uri="{FF2B5EF4-FFF2-40B4-BE49-F238E27FC236}">
                  <a16:creationId xmlns:a16="http://schemas.microsoft.com/office/drawing/2014/main" id="{8FE410D6-8B54-8B6B-A3AF-C8C4B7837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660" y="4101847"/>
              <a:ext cx="101909" cy="47785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1" name="Freeform 594">
              <a:extLst>
                <a:ext uri="{FF2B5EF4-FFF2-40B4-BE49-F238E27FC236}">
                  <a16:creationId xmlns:a16="http://schemas.microsoft.com/office/drawing/2014/main" id="{FAA2169A-3534-9DC8-AD8B-55D94E7BD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463" y="4251568"/>
              <a:ext cx="187897" cy="105124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2" name="Freeform 595">
              <a:extLst>
                <a:ext uri="{FF2B5EF4-FFF2-40B4-BE49-F238E27FC236}">
                  <a16:creationId xmlns:a16="http://schemas.microsoft.com/office/drawing/2014/main" id="{EADCB98C-4B06-A0AF-11C9-389B99558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6560" y="4347133"/>
              <a:ext cx="165604" cy="47785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3" name="Freeform 596">
              <a:extLst>
                <a:ext uri="{FF2B5EF4-FFF2-40B4-BE49-F238E27FC236}">
                  <a16:creationId xmlns:a16="http://schemas.microsoft.com/office/drawing/2014/main" id="{053C8FA0-AF5F-FF8A-D9C0-A6FFD385D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007" y="4560566"/>
              <a:ext cx="156051" cy="105124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4" name="Freeform 597">
              <a:extLst>
                <a:ext uri="{FF2B5EF4-FFF2-40B4-BE49-F238E27FC236}">
                  <a16:creationId xmlns:a16="http://schemas.microsoft.com/office/drawing/2014/main" id="{25887EF5-BA71-1A77-E3BE-F0D7F03A5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254" y="4535082"/>
              <a:ext cx="38217" cy="25484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5" name="Freeform 598">
              <a:extLst>
                <a:ext uri="{FF2B5EF4-FFF2-40B4-BE49-F238E27FC236}">
                  <a16:creationId xmlns:a16="http://schemas.microsoft.com/office/drawing/2014/main" id="{97EC3CC7-337C-B126-2F10-A50163810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043" y="4366247"/>
              <a:ext cx="82803" cy="54153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6" name="Freeform 599">
              <a:extLst>
                <a:ext uri="{FF2B5EF4-FFF2-40B4-BE49-F238E27FC236}">
                  <a16:creationId xmlns:a16="http://schemas.microsoft.com/office/drawing/2014/main" id="{7D9BDE91-81D6-67AA-0FCF-C564E72DF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629" y="4449069"/>
              <a:ext cx="28662" cy="38227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7" name="Freeform 600">
              <a:extLst>
                <a:ext uri="{FF2B5EF4-FFF2-40B4-BE49-F238E27FC236}">
                  <a16:creationId xmlns:a16="http://schemas.microsoft.com/office/drawing/2014/main" id="{1DBEEEB5-4728-CEE8-E4AC-7CE9338FD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896" y="4420403"/>
              <a:ext cx="831212" cy="254845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8" name="Freeform 601">
              <a:extLst>
                <a:ext uri="{FF2B5EF4-FFF2-40B4-BE49-F238E27FC236}">
                  <a16:creationId xmlns:a16="http://schemas.microsoft.com/office/drawing/2014/main" id="{3CDA1DAF-A78A-56FB-9A26-DCF9BF40E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007" y="3980797"/>
              <a:ext cx="550956" cy="347225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9" name="Freeform 602">
              <a:extLst>
                <a:ext uri="{FF2B5EF4-FFF2-40B4-BE49-F238E27FC236}">
                  <a16:creationId xmlns:a16="http://schemas.microsoft.com/office/drawing/2014/main" id="{6B004B91-4298-7388-9793-B80605E5E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934" y="3767367"/>
              <a:ext cx="1455416" cy="758159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0" name="Freeform 604">
              <a:extLst>
                <a:ext uri="{FF2B5EF4-FFF2-40B4-BE49-F238E27FC236}">
                  <a16:creationId xmlns:a16="http://schemas.microsoft.com/office/drawing/2014/main" id="{B9309985-62CF-F6C9-FAB1-515B28C4D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466" y="4187857"/>
              <a:ext cx="130574" cy="47785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1" name="Freeform 605">
              <a:extLst>
                <a:ext uri="{FF2B5EF4-FFF2-40B4-BE49-F238E27FC236}">
                  <a16:creationId xmlns:a16="http://schemas.microsoft.com/office/drawing/2014/main" id="{A23ED048-99CA-522F-C4AF-68F512AAD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8407" y="4226081"/>
              <a:ext cx="54142" cy="19114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2" name="Freeform 606">
              <a:extLst>
                <a:ext uri="{FF2B5EF4-FFF2-40B4-BE49-F238E27FC236}">
                  <a16:creationId xmlns:a16="http://schemas.microsoft.com/office/drawing/2014/main" id="{902C4A3A-1390-C93E-B365-9AB6D633B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0446" y="4515968"/>
              <a:ext cx="54142" cy="28672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3" name="Freeform 607">
              <a:extLst>
                <a:ext uri="{FF2B5EF4-FFF2-40B4-BE49-F238E27FC236}">
                  <a16:creationId xmlns:a16="http://schemas.microsoft.com/office/drawing/2014/main" id="{8F92D289-E6C8-5235-5127-E49E43691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282" y="581567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4" name="Freeform 608">
              <a:extLst>
                <a:ext uri="{FF2B5EF4-FFF2-40B4-BE49-F238E27FC236}">
                  <a16:creationId xmlns:a16="http://schemas.microsoft.com/office/drawing/2014/main" id="{D7318757-2CA8-24A9-EDF9-A2CE0ED1A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164" y="5806113"/>
              <a:ext cx="9556" cy="955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5" name="Freeform 609">
              <a:extLst>
                <a:ext uri="{FF2B5EF4-FFF2-40B4-BE49-F238E27FC236}">
                  <a16:creationId xmlns:a16="http://schemas.microsoft.com/office/drawing/2014/main" id="{996923DA-2609-3E96-83E9-94F46549F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931" y="5815671"/>
              <a:ext cx="63695" cy="57338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6" name="Freeform 610">
              <a:extLst>
                <a:ext uri="{FF2B5EF4-FFF2-40B4-BE49-F238E27FC236}">
                  <a16:creationId xmlns:a16="http://schemas.microsoft.com/office/drawing/2014/main" id="{B615DC79-4880-D4F8-F167-CCC9621D4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1981" y="9138193"/>
              <a:ext cx="19109" cy="955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7" name="Freeform 611">
              <a:extLst>
                <a:ext uri="{FF2B5EF4-FFF2-40B4-BE49-F238E27FC236}">
                  <a16:creationId xmlns:a16="http://schemas.microsoft.com/office/drawing/2014/main" id="{E9BDFDA0-2404-E0F6-14AF-9E8A18C00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0962" y="9119079"/>
              <a:ext cx="19109" cy="19114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8" name="Freeform 612">
              <a:extLst>
                <a:ext uri="{FF2B5EF4-FFF2-40B4-BE49-F238E27FC236}">
                  <a16:creationId xmlns:a16="http://schemas.microsoft.com/office/drawing/2014/main" id="{58F31B38-B4B2-8D51-DFFF-6EC7BF479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1345" y="10785121"/>
              <a:ext cx="63695" cy="47785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9" name="Rectangle 613">
              <a:extLst>
                <a:ext uri="{FF2B5EF4-FFF2-40B4-BE49-F238E27FC236}">
                  <a16:creationId xmlns:a16="http://schemas.microsoft.com/office/drawing/2014/main" id="{638020FC-F7D7-14F9-2770-6356D0D24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51788" y="5197675"/>
              <a:ext cx="3187" cy="3188"/>
            </a:xfrm>
            <a:prstGeom prst="rect">
              <a:avLst/>
            </a:pr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0" name="Freeform 614">
              <a:extLst>
                <a:ext uri="{FF2B5EF4-FFF2-40B4-BE49-F238E27FC236}">
                  <a16:creationId xmlns:a16="http://schemas.microsoft.com/office/drawing/2014/main" id="{DC6AC652-FEB5-13A7-E10D-C6EE486D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7516" y="10504795"/>
              <a:ext cx="95541" cy="82827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1" name="Freeform 615">
              <a:extLst>
                <a:ext uri="{FF2B5EF4-FFF2-40B4-BE49-F238E27FC236}">
                  <a16:creationId xmlns:a16="http://schemas.microsoft.com/office/drawing/2014/main" id="{8B2ED949-B2F9-076D-F588-703F440D4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211" y="6733109"/>
              <a:ext cx="66879" cy="28672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2" name="Freeform 616">
              <a:extLst>
                <a:ext uri="{FF2B5EF4-FFF2-40B4-BE49-F238E27FC236}">
                  <a16:creationId xmlns:a16="http://schemas.microsoft.com/office/drawing/2014/main" id="{B3B3FB98-9CDE-9651-2D63-2BEBABD2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3629" y="11766268"/>
              <a:ext cx="168791" cy="14972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3" name="Freeform 617">
              <a:extLst>
                <a:ext uri="{FF2B5EF4-FFF2-40B4-BE49-F238E27FC236}">
                  <a16:creationId xmlns:a16="http://schemas.microsoft.com/office/drawing/2014/main" id="{B7E80686-6015-19D0-36CE-33B940D0D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5288" y="11747159"/>
              <a:ext cx="280256" cy="216615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4" name="Freeform 618">
              <a:extLst>
                <a:ext uri="{FF2B5EF4-FFF2-40B4-BE49-F238E27FC236}">
                  <a16:creationId xmlns:a16="http://schemas.microsoft.com/office/drawing/2014/main" id="{B5C0A2E2-27F9-2372-90C7-BD9C5AD7B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0699" y="8501084"/>
              <a:ext cx="710194" cy="516057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5" name="Freeform 619">
              <a:extLst>
                <a:ext uri="{FF2B5EF4-FFF2-40B4-BE49-F238E27FC236}">
                  <a16:creationId xmlns:a16="http://schemas.microsoft.com/office/drawing/2014/main" id="{89D068AA-ED14-B14C-3FEB-CB3D35834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0764" y="8641249"/>
              <a:ext cx="242036" cy="356781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6" name="Freeform 620">
              <a:extLst>
                <a:ext uri="{FF2B5EF4-FFF2-40B4-BE49-F238E27FC236}">
                  <a16:creationId xmlns:a16="http://schemas.microsoft.com/office/drawing/2014/main" id="{224D1A96-286C-3490-AA36-0E5333EAD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815" y="8752743"/>
              <a:ext cx="207006" cy="216615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7" name="Freeform 621">
              <a:extLst>
                <a:ext uri="{FF2B5EF4-FFF2-40B4-BE49-F238E27FC236}">
                  <a16:creationId xmlns:a16="http://schemas.microsoft.com/office/drawing/2014/main" id="{98DA6A9B-6263-1867-7515-519479C04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5606" y="8771859"/>
              <a:ext cx="149682" cy="16883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8" name="Freeform 622">
              <a:extLst>
                <a:ext uri="{FF2B5EF4-FFF2-40B4-BE49-F238E27FC236}">
                  <a16:creationId xmlns:a16="http://schemas.microsoft.com/office/drawing/2014/main" id="{2FBD97D0-E144-D99A-3815-6E7177C5B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211" y="8453303"/>
              <a:ext cx="754780" cy="786831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9" name="Freeform 623">
              <a:extLst>
                <a:ext uri="{FF2B5EF4-FFF2-40B4-BE49-F238E27FC236}">
                  <a16:creationId xmlns:a16="http://schemas.microsoft.com/office/drawing/2014/main" id="{981FBA5D-8BBF-6C5C-5BB1-528173D31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120" y="8978916"/>
              <a:ext cx="261145" cy="309000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0" name="Freeform 624">
              <a:extLst>
                <a:ext uri="{FF2B5EF4-FFF2-40B4-BE49-F238E27FC236}">
                  <a16:creationId xmlns:a16="http://schemas.microsoft.com/office/drawing/2014/main" id="{286E05DF-1C56-354D-5B5D-37EEB3898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4458" y="9036257"/>
              <a:ext cx="598727" cy="888769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1" name="Freeform 625">
              <a:extLst>
                <a:ext uri="{FF2B5EF4-FFF2-40B4-BE49-F238E27FC236}">
                  <a16:creationId xmlns:a16="http://schemas.microsoft.com/office/drawing/2014/main" id="{72B6C925-861C-7C6B-DD5D-B1CA6B022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90" y="9867685"/>
              <a:ext cx="407643" cy="1984597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2" name="Freeform 626">
              <a:extLst>
                <a:ext uri="{FF2B5EF4-FFF2-40B4-BE49-F238E27FC236}">
                  <a16:creationId xmlns:a16="http://schemas.microsoft.com/office/drawing/2014/main" id="{D963086F-BCC6-6F6A-F7A0-A95085A7F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5859" y="9485418"/>
              <a:ext cx="598727" cy="653038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3" name="Freeform 627">
              <a:extLst>
                <a:ext uri="{FF2B5EF4-FFF2-40B4-BE49-F238E27FC236}">
                  <a16:creationId xmlns:a16="http://schemas.microsoft.com/office/drawing/2014/main" id="{C1FE9B35-ADEF-E6E8-BC24-1B1F8B6DB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441" y="9950508"/>
              <a:ext cx="420383" cy="414121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4" name="Freeform 628">
              <a:extLst>
                <a:ext uri="{FF2B5EF4-FFF2-40B4-BE49-F238E27FC236}">
                  <a16:creationId xmlns:a16="http://schemas.microsoft.com/office/drawing/2014/main" id="{3BCC217A-D03A-0259-7901-EB5D6A15D1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593" y="8800526"/>
              <a:ext cx="1856688" cy="1882659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5" name="Freeform 629">
              <a:extLst>
                <a:ext uri="{FF2B5EF4-FFF2-40B4-BE49-F238E27FC236}">
                  <a16:creationId xmlns:a16="http://schemas.microsoft.com/office/drawing/2014/main" id="{B5ECA121-A749-A128-C044-7EAB5B228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338" y="10485681"/>
              <a:ext cx="251592" cy="261215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6" name="Freeform 630">
              <a:extLst>
                <a:ext uri="{FF2B5EF4-FFF2-40B4-BE49-F238E27FC236}">
                  <a16:creationId xmlns:a16="http://schemas.microsoft.com/office/drawing/2014/main" id="{4926E8DA-D1F6-16E1-BC12-6216F1334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1593" y="10074745"/>
              <a:ext cx="961783" cy="1672412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7" name="Freeform 631">
              <a:extLst>
                <a:ext uri="{FF2B5EF4-FFF2-40B4-BE49-F238E27FC236}">
                  <a16:creationId xmlns:a16="http://schemas.microsoft.com/office/drawing/2014/main" id="{75400766-72F8-2BBA-8719-5C9785914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387" y="8313140"/>
              <a:ext cx="203824" cy="226173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8" name="Freeform 632">
              <a:extLst>
                <a:ext uri="{FF2B5EF4-FFF2-40B4-BE49-F238E27FC236}">
                  <a16:creationId xmlns:a16="http://schemas.microsoft.com/office/drawing/2014/main" id="{1F8F170E-6FA7-4D05-CC92-E3950EDBE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1084" y="8520197"/>
              <a:ext cx="159235" cy="1401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9" name="Freeform 633">
              <a:extLst>
                <a:ext uri="{FF2B5EF4-FFF2-40B4-BE49-F238E27FC236}">
                  <a16:creationId xmlns:a16="http://schemas.microsoft.com/office/drawing/2014/main" id="{9FB2ADE2-E026-6828-1C91-8365E945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737" y="8360921"/>
              <a:ext cx="105096" cy="82827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0" name="Freeform 634">
              <a:extLst>
                <a:ext uri="{FF2B5EF4-FFF2-40B4-BE49-F238E27FC236}">
                  <a16:creationId xmlns:a16="http://schemas.microsoft.com/office/drawing/2014/main" id="{6F953B15-6EA0-6FAC-EBE0-823F36A0A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272" y="8192091"/>
              <a:ext cx="187902" cy="216615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1" name="Freeform 635">
              <a:extLst>
                <a:ext uri="{FF2B5EF4-FFF2-40B4-BE49-F238E27FC236}">
                  <a16:creationId xmlns:a16="http://schemas.microsoft.com/office/drawing/2014/main" id="{02D2BA9C-EAAA-B9C0-7C03-5EF9D7ACD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330" y="7453043"/>
              <a:ext cx="1398093" cy="898324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2" name="Freeform 636">
              <a:extLst>
                <a:ext uri="{FF2B5EF4-FFF2-40B4-BE49-F238E27FC236}">
                  <a16:creationId xmlns:a16="http://schemas.microsoft.com/office/drawing/2014/main" id="{5304BB6B-A698-E364-7E4B-516B2ECA0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402" y="8287656"/>
              <a:ext cx="280256" cy="14972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3" name="Freeform 637">
              <a:extLst>
                <a:ext uri="{FF2B5EF4-FFF2-40B4-BE49-F238E27FC236}">
                  <a16:creationId xmlns:a16="http://schemas.microsoft.com/office/drawing/2014/main" id="{C406D1FD-2923-E01F-3D9A-D7D9CC7EE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402" y="8163419"/>
              <a:ext cx="66879" cy="1401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4" name="Freeform 638">
              <a:extLst>
                <a:ext uri="{FF2B5EF4-FFF2-40B4-BE49-F238E27FC236}">
                  <a16:creationId xmlns:a16="http://schemas.microsoft.com/office/drawing/2014/main" id="{CDFB61ED-C272-B4EB-D440-AA9ACBF0A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035" y="8080592"/>
              <a:ext cx="121018" cy="101936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5" name="Freeform 639">
              <a:extLst>
                <a:ext uri="{FF2B5EF4-FFF2-40B4-BE49-F238E27FC236}">
                  <a16:creationId xmlns:a16="http://schemas.microsoft.com/office/drawing/2014/main" id="{20A1DDD3-296F-DDFE-8339-31DECE695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503" y="8080592"/>
              <a:ext cx="168791" cy="1401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6" name="Freeform 640">
              <a:extLst>
                <a:ext uri="{FF2B5EF4-FFF2-40B4-BE49-F238E27FC236}">
                  <a16:creationId xmlns:a16="http://schemas.microsoft.com/office/drawing/2014/main" id="{FD8E7561-3E85-C948-E144-72780B8D2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499" y="4965129"/>
              <a:ext cx="1812106" cy="1216878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7" name="Freeform 641">
              <a:extLst>
                <a:ext uri="{FF2B5EF4-FFF2-40B4-BE49-F238E27FC236}">
                  <a16:creationId xmlns:a16="http://schemas.microsoft.com/office/drawing/2014/main" id="{12205441-6D62-9470-59D6-D66538863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8086" y="6516489"/>
              <a:ext cx="2697455" cy="1337930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8" name="Freeform 642">
              <a:extLst>
                <a:ext uri="{FF2B5EF4-FFF2-40B4-BE49-F238E27FC236}">
                  <a16:creationId xmlns:a16="http://schemas.microsoft.com/office/drawing/2014/main" id="{E33265E7-B781-684B-3603-ED16C74C3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3309" y="4907791"/>
              <a:ext cx="3984080" cy="2048308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9" name="Freeform 643">
              <a:extLst>
                <a:ext uri="{FF2B5EF4-FFF2-40B4-BE49-F238E27FC236}">
                  <a16:creationId xmlns:a16="http://schemas.microsoft.com/office/drawing/2014/main" id="{414841E1-7323-7BAD-42E9-D13E49060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3512" y="9466307"/>
              <a:ext cx="95541" cy="82827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0" name="Freeform 644">
              <a:extLst>
                <a:ext uri="{FF2B5EF4-FFF2-40B4-BE49-F238E27FC236}">
                  <a16:creationId xmlns:a16="http://schemas.microsoft.com/office/drawing/2014/main" id="{293EA9EC-4FE8-46A6-8CEF-41A14CB20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19944" y="9447193"/>
              <a:ext cx="121018" cy="44598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1" name="Freeform 645">
              <a:extLst>
                <a:ext uri="{FF2B5EF4-FFF2-40B4-BE49-F238E27FC236}">
                  <a16:creationId xmlns:a16="http://schemas.microsoft.com/office/drawing/2014/main" id="{16F3CCC1-EBA8-564E-73FA-A2FA83749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3444" y="6414553"/>
              <a:ext cx="289811" cy="15927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2" name="Freeform 646">
              <a:extLst>
                <a:ext uri="{FF2B5EF4-FFF2-40B4-BE49-F238E27FC236}">
                  <a16:creationId xmlns:a16="http://schemas.microsoft.com/office/drawing/2014/main" id="{DED035A8-12ED-6681-2112-DBFE297FF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42870" y="6545160"/>
              <a:ext cx="347132" cy="14972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3" name="Freeform 647">
              <a:extLst>
                <a:ext uri="{FF2B5EF4-FFF2-40B4-BE49-F238E27FC236}">
                  <a16:creationId xmlns:a16="http://schemas.microsoft.com/office/drawing/2014/main" id="{9AF1EB34-3560-891F-9D70-E14DD3ADA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1850" y="6656654"/>
              <a:ext cx="531848" cy="516057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4" name="Freeform 648">
              <a:extLst>
                <a:ext uri="{FF2B5EF4-FFF2-40B4-BE49-F238E27FC236}">
                  <a16:creationId xmlns:a16="http://schemas.microsoft.com/office/drawing/2014/main" id="{FE2710EE-1552-B8ED-FC97-1292AA2C9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0767" y="6685324"/>
              <a:ext cx="251592" cy="235731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5" name="Freeform 649">
              <a:extLst>
                <a:ext uri="{FF2B5EF4-FFF2-40B4-BE49-F238E27FC236}">
                  <a16:creationId xmlns:a16="http://schemas.microsoft.com/office/drawing/2014/main" id="{E019B45F-A7BE-9DE7-2A18-8613F5D67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0893" y="6414553"/>
              <a:ext cx="617835" cy="531986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6" name="Freeform 650">
              <a:extLst>
                <a:ext uri="{FF2B5EF4-FFF2-40B4-BE49-F238E27FC236}">
                  <a16:creationId xmlns:a16="http://schemas.microsoft.com/office/drawing/2014/main" id="{6C940C09-AECA-DF3A-2C45-1382CF627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3632" y="6621615"/>
              <a:ext cx="207006" cy="1401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7" name="Freeform 651">
              <a:extLst>
                <a:ext uri="{FF2B5EF4-FFF2-40B4-BE49-F238E27FC236}">
                  <a16:creationId xmlns:a16="http://schemas.microsoft.com/office/drawing/2014/main" id="{FD7D3307-BCED-647F-C076-FD745EB0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8475" y="6395439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8" name="Freeform 652">
              <a:extLst>
                <a:ext uri="{FF2B5EF4-FFF2-40B4-BE49-F238E27FC236}">
                  <a16:creationId xmlns:a16="http://schemas.microsoft.com/office/drawing/2014/main" id="{F7FE509C-7C21-C82F-D23B-4062F9CC0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7711" y="6481449"/>
              <a:ext cx="35033" cy="35042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9" name="Freeform 653">
              <a:extLst>
                <a:ext uri="{FF2B5EF4-FFF2-40B4-BE49-F238E27FC236}">
                  <a16:creationId xmlns:a16="http://schemas.microsoft.com/office/drawing/2014/main" id="{38213574-9927-A47E-312A-F9CA214AC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3061" y="6264832"/>
              <a:ext cx="187902" cy="16883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0" name="Freeform 654">
              <a:extLst>
                <a:ext uri="{FF2B5EF4-FFF2-40B4-BE49-F238E27FC236}">
                  <a16:creationId xmlns:a16="http://schemas.microsoft.com/office/drawing/2014/main" id="{80CBE8F7-92CF-8847-6B22-20C38C216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9173" y="5984503"/>
              <a:ext cx="140127" cy="207060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1" name="Freeform 655">
              <a:extLst>
                <a:ext uri="{FF2B5EF4-FFF2-40B4-BE49-F238E27FC236}">
                  <a16:creationId xmlns:a16="http://schemas.microsoft.com/office/drawing/2014/main" id="{0795024D-DCE3-2B72-E52F-E8CEFC066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7264" y="6172454"/>
              <a:ext cx="417198" cy="484203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2" name="Freeform 656">
              <a:extLst>
                <a:ext uri="{FF2B5EF4-FFF2-40B4-BE49-F238E27FC236}">
                  <a16:creationId xmlns:a16="http://schemas.microsoft.com/office/drawing/2014/main" id="{5968E453-DCE3-3A93-1DC8-A0BEAB07F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935" y="6322173"/>
              <a:ext cx="831212" cy="493761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3" name="Freeform 657">
              <a:extLst>
                <a:ext uri="{FF2B5EF4-FFF2-40B4-BE49-F238E27FC236}">
                  <a16:creationId xmlns:a16="http://schemas.microsoft.com/office/drawing/2014/main" id="{93B6756F-5234-DBF7-C40A-85B3B56E9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1788" y="6506933"/>
              <a:ext cx="280256" cy="114679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4" name="Freeform 658">
              <a:extLst>
                <a:ext uri="{FF2B5EF4-FFF2-40B4-BE49-F238E27FC236}">
                  <a16:creationId xmlns:a16="http://schemas.microsoft.com/office/drawing/2014/main" id="{ED921AA1-9804-8A34-08D6-ADDC82117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3" y="6086441"/>
              <a:ext cx="439491" cy="328114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5" name="Freeform 659">
              <a:extLst>
                <a:ext uri="{FF2B5EF4-FFF2-40B4-BE49-F238E27FC236}">
                  <a16:creationId xmlns:a16="http://schemas.microsoft.com/office/drawing/2014/main" id="{18AD56F4-001A-8FB7-38E5-42AB04BC3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8794" y="6067328"/>
              <a:ext cx="270700" cy="178393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6" name="Freeform 660">
              <a:extLst>
                <a:ext uri="{FF2B5EF4-FFF2-40B4-BE49-F238E27FC236}">
                  <a16:creationId xmlns:a16="http://schemas.microsoft.com/office/drawing/2014/main" id="{755E81E4-5F91-79F3-85D7-FA0B5C636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8794" y="5955834"/>
              <a:ext cx="334397" cy="16883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7" name="Freeform 661">
              <a:extLst>
                <a:ext uri="{FF2B5EF4-FFF2-40B4-BE49-F238E27FC236}">
                  <a16:creationId xmlns:a16="http://schemas.microsoft.com/office/drawing/2014/main" id="{25CE45C5-D7C3-2196-9B34-FF5C7AA1F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3" y="5853898"/>
              <a:ext cx="222932" cy="1401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8" name="Freeform 662">
              <a:extLst>
                <a:ext uri="{FF2B5EF4-FFF2-40B4-BE49-F238E27FC236}">
                  <a16:creationId xmlns:a16="http://schemas.microsoft.com/office/drawing/2014/main" id="{54D470AE-4FC7-3647-66A6-710D36B3F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7" y="6143782"/>
              <a:ext cx="149682" cy="73269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9" name="Freeform 663">
              <a:extLst>
                <a:ext uri="{FF2B5EF4-FFF2-40B4-BE49-F238E27FC236}">
                  <a16:creationId xmlns:a16="http://schemas.microsoft.com/office/drawing/2014/main" id="{B6D9670E-DA69-3987-A8E7-55E6A2CA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429" y="6162893"/>
              <a:ext cx="445860" cy="391823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0" name="Freeform 664">
              <a:extLst>
                <a:ext uri="{FF2B5EF4-FFF2-40B4-BE49-F238E27FC236}">
                  <a16:creationId xmlns:a16="http://schemas.microsoft.com/office/drawing/2014/main" id="{88B82641-D043-DC4F-34F7-33191DCA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0129" y="6573832"/>
              <a:ext cx="429938" cy="2803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1" name="Freeform 665">
              <a:extLst>
                <a:ext uri="{FF2B5EF4-FFF2-40B4-BE49-F238E27FC236}">
                  <a16:creationId xmlns:a16="http://schemas.microsoft.com/office/drawing/2014/main" id="{BB64C234-4A31-F5AB-5D3A-77BD69BCB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9494" y="6564274"/>
              <a:ext cx="156051" cy="187951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2" name="Freeform 666">
              <a:extLst>
                <a:ext uri="{FF2B5EF4-FFF2-40B4-BE49-F238E27FC236}">
                  <a16:creationId xmlns:a16="http://schemas.microsoft.com/office/drawing/2014/main" id="{C06A4200-B52F-6040-2686-3830AF6AF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3189" y="6666210"/>
              <a:ext cx="92356" cy="95566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3" name="Freeform 667">
              <a:extLst>
                <a:ext uri="{FF2B5EF4-FFF2-40B4-BE49-F238E27FC236}">
                  <a16:creationId xmlns:a16="http://schemas.microsoft.com/office/drawing/2014/main" id="{D128F876-2038-A73B-920F-79DDFE3B4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935" y="6815931"/>
              <a:ext cx="299364" cy="178393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4" name="Freeform 668">
              <a:extLst>
                <a:ext uri="{FF2B5EF4-FFF2-40B4-BE49-F238E27FC236}">
                  <a16:creationId xmlns:a16="http://schemas.microsoft.com/office/drawing/2014/main" id="{3DDCFC55-D0CD-2E44-258A-3D6C914F9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3124" y="6771334"/>
              <a:ext cx="168791" cy="1401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5" name="Freeform 669">
              <a:extLst>
                <a:ext uri="{FF2B5EF4-FFF2-40B4-BE49-F238E27FC236}">
                  <a16:creationId xmlns:a16="http://schemas.microsoft.com/office/drawing/2014/main" id="{B46418C3-B70F-0061-F1BF-7D6A29B1E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4142" y="6704437"/>
              <a:ext cx="207006" cy="251657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6" name="Freeform 670">
              <a:extLst>
                <a:ext uri="{FF2B5EF4-FFF2-40B4-BE49-F238E27FC236}">
                  <a16:creationId xmlns:a16="http://schemas.microsoft.com/office/drawing/2014/main" id="{11440664-3E1B-09A6-3256-02444D801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2679" y="6554719"/>
              <a:ext cx="328029" cy="178393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7" name="Freeform 671">
              <a:extLst>
                <a:ext uri="{FF2B5EF4-FFF2-40B4-BE49-F238E27FC236}">
                  <a16:creationId xmlns:a16="http://schemas.microsoft.com/office/drawing/2014/main" id="{41028DB3-D8F1-8EAB-15F0-01787FB98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574" y="6956097"/>
              <a:ext cx="289811" cy="299442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8" name="Freeform 672">
              <a:extLst>
                <a:ext uri="{FF2B5EF4-FFF2-40B4-BE49-F238E27FC236}">
                  <a16:creationId xmlns:a16="http://schemas.microsoft.com/office/drawing/2014/main" id="{9933812B-1A66-22A1-2CDC-58516FE40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1724" y="6940166"/>
              <a:ext cx="140127" cy="92380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9" name="Freeform 673">
              <a:extLst>
                <a:ext uri="{FF2B5EF4-FFF2-40B4-BE49-F238E27FC236}">
                  <a16:creationId xmlns:a16="http://schemas.microsoft.com/office/drawing/2014/main" id="{C73240F9-D207-955E-C26B-9D3388A61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2361" y="6911499"/>
              <a:ext cx="82803" cy="16883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0" name="Freeform 674">
              <a:extLst>
                <a:ext uri="{FF2B5EF4-FFF2-40B4-BE49-F238E27FC236}">
                  <a16:creationId xmlns:a16="http://schemas.microsoft.com/office/drawing/2014/main" id="{9A88BB17-494F-3C3C-BE63-252CBDB0C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0129" y="6930613"/>
              <a:ext cx="121018" cy="82827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1" name="Freeform 675">
              <a:extLst>
                <a:ext uri="{FF2B5EF4-FFF2-40B4-BE49-F238E27FC236}">
                  <a16:creationId xmlns:a16="http://schemas.microsoft.com/office/drawing/2014/main" id="{E34C75C2-4D09-5B53-A3F5-3F2325759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5610" y="6984764"/>
              <a:ext cx="178346" cy="14972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2" name="Freeform 676">
              <a:extLst>
                <a:ext uri="{FF2B5EF4-FFF2-40B4-BE49-F238E27FC236}">
                  <a16:creationId xmlns:a16="http://schemas.microsoft.com/office/drawing/2014/main" id="{E101D9B4-AB9F-01CB-377C-E5691B778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2489" y="7061218"/>
              <a:ext cx="923568" cy="783643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3" name="Freeform 677">
              <a:extLst>
                <a:ext uri="{FF2B5EF4-FFF2-40B4-BE49-F238E27FC236}">
                  <a16:creationId xmlns:a16="http://schemas.microsoft.com/office/drawing/2014/main" id="{9B615CFF-AFC1-EA6E-3B29-12724D768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1597" y="7070776"/>
              <a:ext cx="73250" cy="54156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4" name="Freeform 678">
              <a:extLst>
                <a:ext uri="{FF2B5EF4-FFF2-40B4-BE49-F238E27FC236}">
                  <a16:creationId xmlns:a16="http://schemas.microsoft.com/office/drawing/2014/main" id="{79B3319D-86C4-4531-7847-2E6384AB6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25034" y="6844600"/>
              <a:ext cx="328029" cy="16883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5" name="Freeform 679">
              <a:extLst>
                <a:ext uri="{FF2B5EF4-FFF2-40B4-BE49-F238E27FC236}">
                  <a16:creationId xmlns:a16="http://schemas.microsoft.com/office/drawing/2014/main" id="{71450613-79BE-A47F-AF3C-AED20F793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1153" y="6956097"/>
              <a:ext cx="251592" cy="197506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6" name="Freeform 680">
              <a:extLst>
                <a:ext uri="{FF2B5EF4-FFF2-40B4-BE49-F238E27FC236}">
                  <a16:creationId xmlns:a16="http://schemas.microsoft.com/office/drawing/2014/main" id="{52968D14-E7A0-32E2-E86F-9D078245F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3954" y="7574093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7" name="Freeform 681">
              <a:extLst>
                <a:ext uri="{FF2B5EF4-FFF2-40B4-BE49-F238E27FC236}">
                  <a16:creationId xmlns:a16="http://schemas.microsoft.com/office/drawing/2014/main" id="{6B1E86E3-1B65-A685-4583-F045AEC16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1662" y="7220495"/>
              <a:ext cx="324842" cy="251657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8" name="Freeform 682">
              <a:extLst>
                <a:ext uri="{FF2B5EF4-FFF2-40B4-BE49-F238E27FC236}">
                  <a16:creationId xmlns:a16="http://schemas.microsoft.com/office/drawing/2014/main" id="{89E6B861-238F-7D64-0FCF-82B7F8F42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1341" y="7201383"/>
              <a:ext cx="464969" cy="439605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9" name="Freeform 683">
              <a:extLst>
                <a:ext uri="{FF2B5EF4-FFF2-40B4-BE49-F238E27FC236}">
                  <a16:creationId xmlns:a16="http://schemas.microsoft.com/office/drawing/2014/main" id="{C5833D5D-25D9-C25A-8767-D9A792B9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2168" y="6946541"/>
              <a:ext cx="885351" cy="337667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0" name="Freeform 684">
              <a:extLst>
                <a:ext uri="{FF2B5EF4-FFF2-40B4-BE49-F238E27FC236}">
                  <a16:creationId xmlns:a16="http://schemas.microsoft.com/office/drawing/2014/main" id="{106552D6-C061-31F7-5C07-12F40A685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73442" y="7481712"/>
              <a:ext cx="980892" cy="786831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1" name="Freeform 685">
              <a:extLst>
                <a:ext uri="{FF2B5EF4-FFF2-40B4-BE49-F238E27FC236}">
                  <a16:creationId xmlns:a16="http://schemas.microsoft.com/office/drawing/2014/main" id="{104BFFEF-E2F4-A8BF-9DDD-DF62779C5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551" y="7424369"/>
              <a:ext cx="194268" cy="207060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2" name="Freeform 686">
              <a:extLst>
                <a:ext uri="{FF2B5EF4-FFF2-40B4-BE49-F238E27FC236}">
                  <a16:creationId xmlns:a16="http://schemas.microsoft.com/office/drawing/2014/main" id="{E5C99E6B-B504-2FBA-6C86-0B71B9B8A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2106" y="7351105"/>
              <a:ext cx="73250" cy="82827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3" name="Freeform 687">
              <a:extLst>
                <a:ext uri="{FF2B5EF4-FFF2-40B4-BE49-F238E27FC236}">
                  <a16:creationId xmlns:a16="http://schemas.microsoft.com/office/drawing/2014/main" id="{A9F931D6-7891-360E-AE51-A405AD51E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551" y="7462599"/>
              <a:ext cx="28664" cy="66896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4" name="Freeform 688">
              <a:extLst>
                <a:ext uri="{FF2B5EF4-FFF2-40B4-BE49-F238E27FC236}">
                  <a16:creationId xmlns:a16="http://schemas.microsoft.com/office/drawing/2014/main" id="{37FBBA4C-9AD0-1FC3-89A3-ED8C22C9A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4336" y="7424369"/>
              <a:ext cx="76432" cy="245289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5" name="Freeform 689">
              <a:extLst>
                <a:ext uri="{FF2B5EF4-FFF2-40B4-BE49-F238E27FC236}">
                  <a16:creationId xmlns:a16="http://schemas.microsoft.com/office/drawing/2014/main" id="{F99AF8B1-2399-7997-9781-1444DE7B2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28220" y="7790708"/>
              <a:ext cx="47770" cy="73269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6" name="Freeform 690">
              <a:extLst>
                <a:ext uri="{FF2B5EF4-FFF2-40B4-BE49-F238E27FC236}">
                  <a16:creationId xmlns:a16="http://schemas.microsoft.com/office/drawing/2014/main" id="{C942FFEF-533D-0BD4-D461-95348DFFD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6057" y="8137935"/>
              <a:ext cx="496815" cy="315371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7" name="Freeform 691">
              <a:extLst>
                <a:ext uri="{FF2B5EF4-FFF2-40B4-BE49-F238E27FC236}">
                  <a16:creationId xmlns:a16="http://schemas.microsoft.com/office/drawing/2014/main" id="{A12BFD72-FF6E-EF71-1A19-6633844A4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85545" y="7790708"/>
              <a:ext cx="382165" cy="458719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8" name="Freeform 692">
              <a:extLst>
                <a:ext uri="{FF2B5EF4-FFF2-40B4-BE49-F238E27FC236}">
                  <a16:creationId xmlns:a16="http://schemas.microsoft.com/office/drawing/2014/main" id="{8BA940E7-0401-966B-7369-0875B30C9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7646" y="6892386"/>
              <a:ext cx="512741" cy="222990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9" name="Freeform 693">
              <a:extLst>
                <a:ext uri="{FF2B5EF4-FFF2-40B4-BE49-F238E27FC236}">
                  <a16:creationId xmlns:a16="http://schemas.microsoft.com/office/drawing/2014/main" id="{2A9B4E72-5C47-F23A-0F4C-F1D69CF22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445" y="6752222"/>
              <a:ext cx="831212" cy="487388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0" name="Freeform 694">
              <a:extLst>
                <a:ext uri="{FF2B5EF4-FFF2-40B4-BE49-F238E27FC236}">
                  <a16:creationId xmlns:a16="http://schemas.microsoft.com/office/drawing/2014/main" id="{451A26C5-E6F2-DE4A-6A80-A7135748D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25037" y="7293764"/>
              <a:ext cx="0" cy="955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1" name="Freeform 695">
              <a:extLst>
                <a:ext uri="{FF2B5EF4-FFF2-40B4-BE49-F238E27FC236}">
                  <a16:creationId xmlns:a16="http://schemas.microsoft.com/office/drawing/2014/main" id="{26936565-0DB2-4C81-8750-C5E4AD4D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5099" y="6921055"/>
              <a:ext cx="681527" cy="401378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2" name="Freeform 696">
              <a:extLst>
                <a:ext uri="{FF2B5EF4-FFF2-40B4-BE49-F238E27FC236}">
                  <a16:creationId xmlns:a16="http://schemas.microsoft.com/office/drawing/2014/main" id="{10B789B3-71DC-2264-582D-A956A80B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4846" y="7013435"/>
              <a:ext cx="372610" cy="251657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3" name="Freeform 697">
              <a:extLst>
                <a:ext uri="{FF2B5EF4-FFF2-40B4-BE49-F238E27FC236}">
                  <a16:creationId xmlns:a16="http://schemas.microsoft.com/office/drawing/2014/main" id="{89C152EA-87DF-E821-6DF0-8AB203680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5484" y="7230053"/>
              <a:ext cx="773889" cy="691265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4" name="Freeform 698">
              <a:extLst>
                <a:ext uri="{FF2B5EF4-FFF2-40B4-BE49-F238E27FC236}">
                  <a16:creationId xmlns:a16="http://schemas.microsoft.com/office/drawing/2014/main" id="{57E08B58-484A-8A5B-514D-94C3F6E9D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7266" y="7144043"/>
              <a:ext cx="700638" cy="496944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5" name="Freeform 699">
              <a:extLst>
                <a:ext uri="{FF2B5EF4-FFF2-40B4-BE49-F238E27FC236}">
                  <a16:creationId xmlns:a16="http://schemas.microsoft.com/office/drawing/2014/main" id="{958C7770-8690-A429-DEB0-2BAC0FF2A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3572" y="6742664"/>
              <a:ext cx="25477" cy="38227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6" name="Freeform 700">
              <a:extLst>
                <a:ext uri="{FF2B5EF4-FFF2-40B4-BE49-F238E27FC236}">
                  <a16:creationId xmlns:a16="http://schemas.microsoft.com/office/drawing/2014/main" id="{165ED38E-31D9-B87F-2F28-D7085F6E3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24398" y="6153340"/>
              <a:ext cx="1894907" cy="907882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7" name="Freeform 701">
              <a:extLst>
                <a:ext uri="{FF2B5EF4-FFF2-40B4-BE49-F238E27FC236}">
                  <a16:creationId xmlns:a16="http://schemas.microsoft.com/office/drawing/2014/main" id="{66673B4C-DB8E-C335-DD0A-0A4749704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9878" y="7284206"/>
              <a:ext cx="1308918" cy="1395268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8" name="Freeform 702">
              <a:extLst>
                <a:ext uri="{FF2B5EF4-FFF2-40B4-BE49-F238E27FC236}">
                  <a16:creationId xmlns:a16="http://schemas.microsoft.com/office/drawing/2014/main" id="{06B71911-5C5C-1888-A718-8E6A1B355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6311" y="7669658"/>
              <a:ext cx="382165" cy="917438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9" name="Freeform 703">
              <a:extLst>
                <a:ext uri="{FF2B5EF4-FFF2-40B4-BE49-F238E27FC236}">
                  <a16:creationId xmlns:a16="http://schemas.microsoft.com/office/drawing/2014/main" id="{B75A20D5-C7CF-7D77-47C0-744F913E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7967" y="7781150"/>
              <a:ext cx="213379" cy="261215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0" name="Freeform 704">
              <a:extLst>
                <a:ext uri="{FF2B5EF4-FFF2-40B4-BE49-F238E27FC236}">
                  <a16:creationId xmlns:a16="http://schemas.microsoft.com/office/drawing/2014/main" id="{06452B2D-62A4-0695-90C8-9F9EC7CF7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9241" y="8071036"/>
              <a:ext cx="391721" cy="719934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1" name="Freeform 705">
              <a:extLst>
                <a:ext uri="{FF2B5EF4-FFF2-40B4-BE49-F238E27FC236}">
                  <a16:creationId xmlns:a16="http://schemas.microsoft.com/office/drawing/2014/main" id="{B93C8963-52A5-C6C5-2F62-6E8C5590F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2618" y="7921315"/>
              <a:ext cx="356688" cy="72949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2" name="Freeform 706">
              <a:extLst>
                <a:ext uri="{FF2B5EF4-FFF2-40B4-BE49-F238E27FC236}">
                  <a16:creationId xmlns:a16="http://schemas.microsoft.com/office/drawing/2014/main" id="{CFE55234-2E5E-61E7-E068-5388FC155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9815" y="7978656"/>
              <a:ext cx="343950" cy="4204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3" name="Freeform 707">
              <a:extLst>
                <a:ext uri="{FF2B5EF4-FFF2-40B4-BE49-F238E27FC236}">
                  <a16:creationId xmlns:a16="http://schemas.microsoft.com/office/drawing/2014/main" id="{B5901926-2312-6BD3-63C4-FA4497461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54337" y="9119079"/>
              <a:ext cx="420383" cy="356781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4" name="Freeform 708">
              <a:extLst>
                <a:ext uri="{FF2B5EF4-FFF2-40B4-BE49-F238E27FC236}">
                  <a16:creationId xmlns:a16="http://schemas.microsoft.com/office/drawing/2014/main" id="{44DFBBB7-109E-584F-7FC1-1B8BA318D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5166" y="9176423"/>
              <a:ext cx="477708" cy="382265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5" name="Freeform 709">
              <a:extLst>
                <a:ext uri="{FF2B5EF4-FFF2-40B4-BE49-F238E27FC236}">
                  <a16:creationId xmlns:a16="http://schemas.microsoft.com/office/drawing/2014/main" id="{0A81B812-0F0C-0E07-E503-63EE304DF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1089" y="8829198"/>
              <a:ext cx="477708" cy="4204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6" name="Freeform 710">
              <a:extLst>
                <a:ext uri="{FF2B5EF4-FFF2-40B4-BE49-F238E27FC236}">
                  <a16:creationId xmlns:a16="http://schemas.microsoft.com/office/drawing/2014/main" id="{93E1070C-D437-5CA8-279B-000F90E30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09750" y="8717701"/>
              <a:ext cx="458600" cy="299442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7" name="Freeform 711">
              <a:extLst>
                <a:ext uri="{FF2B5EF4-FFF2-40B4-BE49-F238E27FC236}">
                  <a16:creationId xmlns:a16="http://schemas.microsoft.com/office/drawing/2014/main" id="{903646EC-E5B4-3F94-9E2E-FC628CC43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6631" y="7679214"/>
              <a:ext cx="159235" cy="92380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8" name="Freeform 712">
              <a:extLst>
                <a:ext uri="{FF2B5EF4-FFF2-40B4-BE49-F238E27FC236}">
                  <a16:creationId xmlns:a16="http://schemas.microsoft.com/office/drawing/2014/main" id="{F80740B7-5FC8-CFA9-94E7-AD412EE31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0388" y="7574093"/>
              <a:ext cx="347132" cy="216615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9" name="Freeform 713">
              <a:extLst>
                <a:ext uri="{FF2B5EF4-FFF2-40B4-BE49-F238E27FC236}">
                  <a16:creationId xmlns:a16="http://schemas.microsoft.com/office/drawing/2014/main" id="{67D1173F-6C18-AB00-5F28-384D5C16E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2171" y="8360921"/>
              <a:ext cx="261145" cy="216615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0" name="Freeform 714">
              <a:extLst>
                <a:ext uri="{FF2B5EF4-FFF2-40B4-BE49-F238E27FC236}">
                  <a16:creationId xmlns:a16="http://schemas.microsoft.com/office/drawing/2014/main" id="{1C145E1D-DA66-A2C8-88DF-E51E6E960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0259" y="8743185"/>
              <a:ext cx="207006" cy="245289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1" name="Freeform 715">
              <a:extLst>
                <a:ext uri="{FF2B5EF4-FFF2-40B4-BE49-F238E27FC236}">
                  <a16:creationId xmlns:a16="http://schemas.microsoft.com/office/drawing/2014/main" id="{A559955F-4EAA-FDF0-6835-FD32115B0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4655" y="6264832"/>
              <a:ext cx="2799367" cy="1825318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2" name="Freeform 716">
              <a:extLst>
                <a:ext uri="{FF2B5EF4-FFF2-40B4-BE49-F238E27FC236}">
                  <a16:creationId xmlns:a16="http://schemas.microsoft.com/office/drawing/2014/main" id="{9F5CD7D0-F509-AEAB-75F7-6425388AD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7967" y="6357215"/>
              <a:ext cx="1464969" cy="637107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3" name="Freeform 717">
              <a:extLst>
                <a:ext uri="{FF2B5EF4-FFF2-40B4-BE49-F238E27FC236}">
                  <a16:creationId xmlns:a16="http://schemas.microsoft.com/office/drawing/2014/main" id="{31361D04-CA0C-4DA1-561D-CB7DD9F4B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2" y="5133964"/>
              <a:ext cx="585987" cy="100982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4" name="Freeform 718">
              <a:extLst>
                <a:ext uri="{FF2B5EF4-FFF2-40B4-BE49-F238E27FC236}">
                  <a16:creationId xmlns:a16="http://schemas.microsoft.com/office/drawing/2014/main" id="{99B294CE-FE8B-D1D1-DE1A-7DE2D997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49240" y="5057512"/>
              <a:ext cx="503186" cy="786831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5" name="Freeform 719">
              <a:extLst>
                <a:ext uri="{FF2B5EF4-FFF2-40B4-BE49-F238E27FC236}">
                  <a16:creationId xmlns:a16="http://schemas.microsoft.com/office/drawing/2014/main" id="{EAD3575C-9778-9FF7-8945-F3F30D2AD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9493" y="4965129"/>
              <a:ext cx="1194269" cy="100026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6" name="Freeform 720">
              <a:extLst>
                <a:ext uri="{FF2B5EF4-FFF2-40B4-BE49-F238E27FC236}">
                  <a16:creationId xmlns:a16="http://schemas.microsoft.com/office/drawing/2014/main" id="{4CECEA5B-AE06-D369-C448-76BD0CE35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5416" y="4366247"/>
              <a:ext cx="7563702" cy="2637633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7" name="Freeform 721">
              <a:extLst>
                <a:ext uri="{FF2B5EF4-FFF2-40B4-BE49-F238E27FC236}">
                  <a16:creationId xmlns:a16="http://schemas.microsoft.com/office/drawing/2014/main" id="{315EDC0E-2AD8-DDB9-0954-0A554D60D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93828" y="6226607"/>
              <a:ext cx="140127" cy="299442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8" name="Freeform 722">
              <a:extLst>
                <a:ext uri="{FF2B5EF4-FFF2-40B4-BE49-F238E27FC236}">
                  <a16:creationId xmlns:a16="http://schemas.microsoft.com/office/drawing/2014/main" id="{DD206EC6-741B-96A8-DBD3-0054CD75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2490" y="6516489"/>
              <a:ext cx="140127" cy="216615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9" name="Freeform 723">
              <a:extLst>
                <a:ext uri="{FF2B5EF4-FFF2-40B4-BE49-F238E27FC236}">
                  <a16:creationId xmlns:a16="http://schemas.microsoft.com/office/drawing/2014/main" id="{3B6F3B01-065E-CAC7-B28E-8585D78DA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3637" y="7153601"/>
              <a:ext cx="197453" cy="235731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0" name="Freeform 724">
              <a:extLst>
                <a:ext uri="{FF2B5EF4-FFF2-40B4-BE49-F238E27FC236}">
                  <a16:creationId xmlns:a16="http://schemas.microsoft.com/office/drawing/2014/main" id="{E4E3C4D6-F644-66BA-793C-B263EC4A2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0836" y="6901941"/>
              <a:ext cx="299364" cy="289887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1" name="Freeform 725">
              <a:extLst>
                <a:ext uri="{FF2B5EF4-FFF2-40B4-BE49-F238E27FC236}">
                  <a16:creationId xmlns:a16="http://schemas.microsoft.com/office/drawing/2014/main" id="{82DC20F0-EDF1-4D5B-76D3-0E760E466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9749" y="6162893"/>
              <a:ext cx="222932" cy="232543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2" name="Freeform 726">
              <a:extLst>
                <a:ext uri="{FF2B5EF4-FFF2-40B4-BE49-F238E27FC236}">
                  <a16:creationId xmlns:a16="http://schemas.microsoft.com/office/drawing/2014/main" id="{B3B49531-9993-2A93-84E4-74A01F5F2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1211" y="6153340"/>
              <a:ext cx="149682" cy="92380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3" name="Freeform 727">
              <a:extLst>
                <a:ext uri="{FF2B5EF4-FFF2-40B4-BE49-F238E27FC236}">
                  <a16:creationId xmlns:a16="http://schemas.microsoft.com/office/drawing/2014/main" id="{CBCDD975-F4F0-DE8C-CF11-A532C45B7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7072" y="6854158"/>
              <a:ext cx="585987" cy="43005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4" name="Freeform 728">
              <a:extLst>
                <a:ext uri="{FF2B5EF4-FFF2-40B4-BE49-F238E27FC236}">
                  <a16:creationId xmlns:a16="http://schemas.microsoft.com/office/drawing/2014/main" id="{1866E8E6-3733-12E4-3849-78D13459B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7072" y="6946541"/>
              <a:ext cx="149682" cy="283516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5" name="Freeform 729">
              <a:extLst>
                <a:ext uri="{FF2B5EF4-FFF2-40B4-BE49-F238E27FC236}">
                  <a16:creationId xmlns:a16="http://schemas.microsoft.com/office/drawing/2014/main" id="{2965D781-3F7A-DEC3-90CE-AE5B5872D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621" y="9510902"/>
              <a:ext cx="493633" cy="825058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6" name="Freeform 730">
              <a:extLst>
                <a:ext uri="{FF2B5EF4-FFF2-40B4-BE49-F238E27FC236}">
                  <a16:creationId xmlns:a16="http://schemas.microsoft.com/office/drawing/2014/main" id="{68E33788-CD6C-0296-DA8E-69AEBD4C5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1086" y="9485418"/>
              <a:ext cx="149682" cy="353598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7" name="Freeform 731">
              <a:extLst>
                <a:ext uri="{FF2B5EF4-FFF2-40B4-BE49-F238E27FC236}">
                  <a16:creationId xmlns:a16="http://schemas.microsoft.com/office/drawing/2014/main" id="{C98D06B0-995E-2F3E-7E9E-0280379A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715" y="9418522"/>
              <a:ext cx="560509" cy="468277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8" name="Freeform 732">
              <a:extLst>
                <a:ext uri="{FF2B5EF4-FFF2-40B4-BE49-F238E27FC236}">
                  <a16:creationId xmlns:a16="http://schemas.microsoft.com/office/drawing/2014/main" id="{D324FC51-06A9-680E-1BAF-36F35D330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7966" y="9839014"/>
              <a:ext cx="595542" cy="58932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9" name="Freeform 733">
              <a:extLst>
                <a:ext uri="{FF2B5EF4-FFF2-40B4-BE49-F238E27FC236}">
                  <a16:creationId xmlns:a16="http://schemas.microsoft.com/office/drawing/2014/main" id="{5080915A-88CB-C0DB-6C0F-D404B400A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3888" y="8781415"/>
              <a:ext cx="850321" cy="888769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0" name="Freeform 734">
              <a:extLst>
                <a:ext uri="{FF2B5EF4-FFF2-40B4-BE49-F238E27FC236}">
                  <a16:creationId xmlns:a16="http://schemas.microsoft.com/office/drawing/2014/main" id="{093F8470-773A-89AC-F7D3-3CEA4D9FD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4333" y="9307030"/>
              <a:ext cx="525479" cy="58932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1" name="Freeform 735">
              <a:extLst>
                <a:ext uri="{FF2B5EF4-FFF2-40B4-BE49-F238E27FC236}">
                  <a16:creationId xmlns:a16="http://schemas.microsoft.com/office/drawing/2014/main" id="{67050536-025E-4AF1-E7BC-01F88E55E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5" y="9867685"/>
              <a:ext cx="429938" cy="449163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2" name="Freeform 736">
              <a:extLst>
                <a:ext uri="{FF2B5EF4-FFF2-40B4-BE49-F238E27FC236}">
                  <a16:creationId xmlns:a16="http://schemas.microsoft.com/office/drawing/2014/main" id="{9ACF4690-BA4F-A05E-0876-0C2271C62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4398" y="9775302"/>
              <a:ext cx="366243" cy="324926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3" name="Freeform 737">
              <a:extLst>
                <a:ext uri="{FF2B5EF4-FFF2-40B4-BE49-F238E27FC236}">
                  <a16:creationId xmlns:a16="http://schemas.microsoft.com/office/drawing/2014/main" id="{D1475939-0357-8B7D-2062-A16991466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621" y="10259505"/>
              <a:ext cx="92356" cy="105124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4" name="Freeform 738">
              <a:extLst>
                <a:ext uri="{FF2B5EF4-FFF2-40B4-BE49-F238E27FC236}">
                  <a16:creationId xmlns:a16="http://schemas.microsoft.com/office/drawing/2014/main" id="{03B4FA1B-76CB-10F3-3A70-5710D59F4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2232" y="10090673"/>
              <a:ext cx="738853" cy="646665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5" name="Freeform 739">
              <a:extLst>
                <a:ext uri="{FF2B5EF4-FFF2-40B4-BE49-F238E27FC236}">
                  <a16:creationId xmlns:a16="http://schemas.microsoft.com/office/drawing/2014/main" id="{F94D3519-324A-2C73-E903-C9F0D86AB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19938" y="10399671"/>
              <a:ext cx="121018" cy="124237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6" name="Freeform 740">
              <a:extLst>
                <a:ext uri="{FF2B5EF4-FFF2-40B4-BE49-F238E27FC236}">
                  <a16:creationId xmlns:a16="http://schemas.microsoft.com/office/drawing/2014/main" id="{BBDA03E1-F86F-985B-9F05-7EF093896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3888" y="9240129"/>
              <a:ext cx="47770" cy="76452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7" name="Freeform 741">
              <a:extLst>
                <a:ext uri="{FF2B5EF4-FFF2-40B4-BE49-F238E27FC236}">
                  <a16:creationId xmlns:a16="http://schemas.microsoft.com/office/drawing/2014/main" id="{5A5198F6-8E2F-49E2-60BF-9E503D97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0" y="8857867"/>
              <a:ext cx="324842" cy="4204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8" name="Freeform 742">
              <a:extLst>
                <a:ext uri="{FF2B5EF4-FFF2-40B4-BE49-F238E27FC236}">
                  <a16:creationId xmlns:a16="http://schemas.microsoft.com/office/drawing/2014/main" id="{FF6D576A-3AAF-CCB8-88A4-0914CEF6F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429" y="8520197"/>
              <a:ext cx="595542" cy="4204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9" name="Freeform 743">
              <a:extLst>
                <a:ext uri="{FF2B5EF4-FFF2-40B4-BE49-F238E27FC236}">
                  <a16:creationId xmlns:a16="http://schemas.microsoft.com/office/drawing/2014/main" id="{25F4953E-7C28-A9A3-43EF-ED49830C0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7008" y="7921315"/>
              <a:ext cx="1092359" cy="767717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0" name="Freeform 744">
              <a:extLst>
                <a:ext uri="{FF2B5EF4-FFF2-40B4-BE49-F238E27FC236}">
                  <a16:creationId xmlns:a16="http://schemas.microsoft.com/office/drawing/2014/main" id="{5DE123DA-6EE2-E1F8-9576-A1792785C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4268" y="7940429"/>
              <a:ext cx="767517" cy="946107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1" name="Freeform 745">
              <a:extLst>
                <a:ext uri="{FF2B5EF4-FFF2-40B4-BE49-F238E27FC236}">
                  <a16:creationId xmlns:a16="http://schemas.microsoft.com/office/drawing/2014/main" id="{D7D967B2-89AB-FCAE-48CF-611CB65B7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6248" y="8182530"/>
              <a:ext cx="299364" cy="270773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2" name="Freeform 746">
              <a:extLst>
                <a:ext uri="{FF2B5EF4-FFF2-40B4-BE49-F238E27FC236}">
                  <a16:creationId xmlns:a16="http://schemas.microsoft.com/office/drawing/2014/main" id="{630AB04B-1F69-C1EF-7184-76AD1BF6E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0194" y="8313140"/>
              <a:ext cx="691083" cy="573398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3" name="Freeform 747">
              <a:extLst>
                <a:ext uri="{FF2B5EF4-FFF2-40B4-BE49-F238E27FC236}">
                  <a16:creationId xmlns:a16="http://schemas.microsoft.com/office/drawing/2014/main" id="{DC913762-AAF6-6AC7-D3E2-7D0B487BC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5227" y="8481973"/>
              <a:ext cx="812103" cy="777272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4" name="Freeform 748">
              <a:extLst>
                <a:ext uri="{FF2B5EF4-FFF2-40B4-BE49-F238E27FC236}">
                  <a16:creationId xmlns:a16="http://schemas.microsoft.com/office/drawing/2014/main" id="{1746B4A2-12CE-6DAF-C076-13133FFA2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1471" y="8437375"/>
              <a:ext cx="82803" cy="101936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5" name="Freeform 749">
              <a:extLst>
                <a:ext uri="{FF2B5EF4-FFF2-40B4-BE49-F238E27FC236}">
                  <a16:creationId xmlns:a16="http://schemas.microsoft.com/office/drawing/2014/main" id="{65357697-BEBF-EF62-9167-891386E73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0961" y="8848311"/>
              <a:ext cx="242036" cy="261215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6" name="Freeform 750">
              <a:extLst>
                <a:ext uri="{FF2B5EF4-FFF2-40B4-BE49-F238E27FC236}">
                  <a16:creationId xmlns:a16="http://schemas.microsoft.com/office/drawing/2014/main" id="{A9CF77F6-C5FC-142C-A2C6-DC9D68756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2297" y="9147751"/>
              <a:ext cx="92356" cy="92380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7" name="Freeform 751">
              <a:extLst>
                <a:ext uri="{FF2B5EF4-FFF2-40B4-BE49-F238E27FC236}">
                  <a16:creationId xmlns:a16="http://schemas.microsoft.com/office/drawing/2014/main" id="{C5DB11A2-12A4-D4D5-EC64-855E51FD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2297" y="9090413"/>
              <a:ext cx="101909" cy="86010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8" name="Freeform 752">
              <a:extLst>
                <a:ext uri="{FF2B5EF4-FFF2-40B4-BE49-F238E27FC236}">
                  <a16:creationId xmlns:a16="http://schemas.microsoft.com/office/drawing/2014/main" id="{366A9261-4DD6-72B2-2BBD-9333BBB7E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1406" y="9061741"/>
              <a:ext cx="503186" cy="544729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9" name="Freeform 753">
              <a:extLst>
                <a:ext uri="{FF2B5EF4-FFF2-40B4-BE49-F238E27FC236}">
                  <a16:creationId xmlns:a16="http://schemas.microsoft.com/office/drawing/2014/main" id="{BAE16CE0-C6D8-35D2-AB27-5B08ECEB7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7393" y="8931134"/>
              <a:ext cx="251592" cy="289887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0" name="Freeform 754">
              <a:extLst>
                <a:ext uri="{FF2B5EF4-FFF2-40B4-BE49-F238E27FC236}">
                  <a16:creationId xmlns:a16="http://schemas.microsoft.com/office/drawing/2014/main" id="{63442DA6-52DA-98F2-F74D-C48621B2A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3315" y="8931134"/>
              <a:ext cx="105096" cy="66896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1" name="Freeform 755">
              <a:extLst>
                <a:ext uri="{FF2B5EF4-FFF2-40B4-BE49-F238E27FC236}">
                  <a16:creationId xmlns:a16="http://schemas.microsoft.com/office/drawing/2014/main" id="{BA3F8BFB-618B-73C8-8679-9C85D2755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8282" y="8427819"/>
              <a:ext cx="343950" cy="531986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2" name="Freeform 756">
              <a:extLst>
                <a:ext uri="{FF2B5EF4-FFF2-40B4-BE49-F238E27FC236}">
                  <a16:creationId xmlns:a16="http://schemas.microsoft.com/office/drawing/2014/main" id="{71E3E8AE-3592-A9D4-222D-C9C51FA9B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2043" y="8453303"/>
              <a:ext cx="140127" cy="289887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3" name="Freeform 757">
              <a:extLst>
                <a:ext uri="{FF2B5EF4-FFF2-40B4-BE49-F238E27FC236}">
                  <a16:creationId xmlns:a16="http://schemas.microsoft.com/office/drawing/2014/main" id="{FF5CDE12-C76E-A0A8-CD8A-B34FEBB9E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7584" y="8380032"/>
              <a:ext cx="550956" cy="477833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4" name="Freeform 758">
              <a:extLst>
                <a:ext uri="{FF2B5EF4-FFF2-40B4-BE49-F238E27FC236}">
                  <a16:creationId xmlns:a16="http://schemas.microsoft.com/office/drawing/2014/main" id="{A5FBC009-22D4-CE83-E300-8C63A1D93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2679" y="8322691"/>
              <a:ext cx="394905" cy="2803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5" name="Freeform 759">
              <a:extLst>
                <a:ext uri="{FF2B5EF4-FFF2-40B4-BE49-F238E27FC236}">
                  <a16:creationId xmlns:a16="http://schemas.microsoft.com/office/drawing/2014/main" id="{302E0F6F-D4A1-CE29-1CA3-4CD869698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7010" y="8529753"/>
              <a:ext cx="92356" cy="222990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6" name="Freeform 760">
              <a:extLst>
                <a:ext uri="{FF2B5EF4-FFF2-40B4-BE49-F238E27FC236}">
                  <a16:creationId xmlns:a16="http://schemas.microsoft.com/office/drawing/2014/main" id="{FD06E21B-B9F0-24E6-61F0-59C3108D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734" y="8539311"/>
              <a:ext cx="296178" cy="289887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7" name="Freeform 761">
              <a:extLst>
                <a:ext uri="{FF2B5EF4-FFF2-40B4-BE49-F238E27FC236}">
                  <a16:creationId xmlns:a16="http://schemas.microsoft.com/office/drawing/2014/main" id="{95B023A8-09EE-A1AA-73E4-12AFE1507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7328" y="8529753"/>
              <a:ext cx="213379" cy="2803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8" name="Freeform 762">
              <a:extLst>
                <a:ext uri="{FF2B5EF4-FFF2-40B4-BE49-F238E27FC236}">
                  <a16:creationId xmlns:a16="http://schemas.microsoft.com/office/drawing/2014/main" id="{F26F9879-AE5C-CF23-A526-68D1BBD46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9175" y="8558422"/>
              <a:ext cx="140127" cy="168835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9" name="Freeform 763">
              <a:extLst>
                <a:ext uri="{FF2B5EF4-FFF2-40B4-BE49-F238E27FC236}">
                  <a16:creationId xmlns:a16="http://schemas.microsoft.com/office/drawing/2014/main" id="{47CA5348-93FF-464A-1F1B-7182553B8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1976" y="8631691"/>
              <a:ext cx="207006" cy="197506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0" name="Freeform 764">
              <a:extLst>
                <a:ext uri="{FF2B5EF4-FFF2-40B4-BE49-F238E27FC236}">
                  <a16:creationId xmlns:a16="http://schemas.microsoft.com/office/drawing/2014/main" id="{DA24C972-6760-C4A4-0D90-E07E34724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478" y="8443745"/>
              <a:ext cx="324842" cy="273958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1" name="Freeform 765">
              <a:extLst>
                <a:ext uri="{FF2B5EF4-FFF2-40B4-BE49-F238E27FC236}">
                  <a16:creationId xmlns:a16="http://schemas.microsoft.com/office/drawing/2014/main" id="{1B505139-35E9-BBA4-CD9A-B6C0BE239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9493" y="8453303"/>
              <a:ext cx="149682" cy="66896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2" name="Freeform 766">
              <a:extLst>
                <a:ext uri="{FF2B5EF4-FFF2-40B4-BE49-F238E27FC236}">
                  <a16:creationId xmlns:a16="http://schemas.microsoft.com/office/drawing/2014/main" id="{B1C3C924-6387-D585-4DCE-9C941C663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9937" y="8389590"/>
              <a:ext cx="140127" cy="38227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3" name="Freeform 767">
              <a:extLst>
                <a:ext uri="{FF2B5EF4-FFF2-40B4-BE49-F238E27FC236}">
                  <a16:creationId xmlns:a16="http://schemas.microsoft.com/office/drawing/2014/main" id="{42E25C53-1603-3206-2CD3-828462005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0829" y="7733369"/>
              <a:ext cx="560509" cy="637107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4" name="Freeform 768">
              <a:extLst>
                <a:ext uri="{FF2B5EF4-FFF2-40B4-BE49-F238E27FC236}">
                  <a16:creationId xmlns:a16="http://schemas.microsoft.com/office/drawing/2014/main" id="{BED4E3E5-75AF-84C9-BA23-EC3879039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0829" y="8258982"/>
              <a:ext cx="270700" cy="213435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5" name="Freeform 769">
              <a:extLst>
                <a:ext uri="{FF2B5EF4-FFF2-40B4-BE49-F238E27FC236}">
                  <a16:creationId xmlns:a16="http://schemas.microsoft.com/office/drawing/2014/main" id="{4B8A6D0B-5010-7F85-4C73-C40760B52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6499" y="7838490"/>
              <a:ext cx="783439" cy="72949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6" name="Freeform 770">
              <a:extLst>
                <a:ext uri="{FF2B5EF4-FFF2-40B4-BE49-F238E27FC236}">
                  <a16:creationId xmlns:a16="http://schemas.microsoft.com/office/drawing/2014/main" id="{F410B285-0877-DCB0-7F01-FC4119487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4845" y="7500821"/>
              <a:ext cx="515923" cy="503317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7" name="Freeform 771">
              <a:extLst>
                <a:ext uri="{FF2B5EF4-FFF2-40B4-BE49-F238E27FC236}">
                  <a16:creationId xmlns:a16="http://schemas.microsoft.com/office/drawing/2014/main" id="{E456745E-F83E-33DA-D4BE-54CF92069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511" y="7210939"/>
              <a:ext cx="187902" cy="363153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8" name="Freeform 772">
              <a:extLst>
                <a:ext uri="{FF2B5EF4-FFF2-40B4-BE49-F238E27FC236}">
                  <a16:creationId xmlns:a16="http://schemas.microsoft.com/office/drawing/2014/main" id="{1F963E20-32FD-D397-4D3C-9B85EB756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3317" y="7424369"/>
              <a:ext cx="710194" cy="684895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9" name="Freeform 773">
              <a:extLst>
                <a:ext uri="{FF2B5EF4-FFF2-40B4-BE49-F238E27FC236}">
                  <a16:creationId xmlns:a16="http://schemas.microsoft.com/office/drawing/2014/main" id="{3DBE976A-575F-4A1C-5111-3D2354DB7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0384" y="7714256"/>
              <a:ext cx="391721" cy="318556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0" name="Freeform 774">
              <a:extLst>
                <a:ext uri="{FF2B5EF4-FFF2-40B4-BE49-F238E27FC236}">
                  <a16:creationId xmlns:a16="http://schemas.microsoft.com/office/drawing/2014/main" id="{0FCAFD4E-807B-9356-0152-9FBFBBD8A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8281" y="7265092"/>
              <a:ext cx="560509" cy="449163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1" name="Freeform 775">
              <a:extLst>
                <a:ext uri="{FF2B5EF4-FFF2-40B4-BE49-F238E27FC236}">
                  <a16:creationId xmlns:a16="http://schemas.microsoft.com/office/drawing/2014/main" id="{20F0884E-0FF5-C86C-E1DC-E70D6D628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736" y="7220495"/>
              <a:ext cx="968154" cy="923808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2" name="Freeform 776">
              <a:extLst>
                <a:ext uri="{FF2B5EF4-FFF2-40B4-BE49-F238E27FC236}">
                  <a16:creationId xmlns:a16="http://schemas.microsoft.com/office/drawing/2014/main" id="{8373A2AA-1CCE-45E0-5805-91B8AD851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5732" y="3719582"/>
              <a:ext cx="2850322" cy="2124760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3" name="Freeform 777">
              <a:extLst>
                <a:ext uri="{FF2B5EF4-FFF2-40B4-BE49-F238E27FC236}">
                  <a16:creationId xmlns:a16="http://schemas.microsoft.com/office/drawing/2014/main" id="{5FE8AF2E-A21A-75A5-4E8F-6074FA1CD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6497" y="5038398"/>
              <a:ext cx="149682" cy="105124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4" name="Freeform 778">
              <a:extLst>
                <a:ext uri="{FF2B5EF4-FFF2-40B4-BE49-F238E27FC236}">
                  <a16:creationId xmlns:a16="http://schemas.microsoft.com/office/drawing/2014/main" id="{9A850A62-D099-9A5E-88FD-7A207DB18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4270" y="4965129"/>
              <a:ext cx="38217" cy="19114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5" name="Freeform 779">
              <a:extLst>
                <a:ext uri="{FF2B5EF4-FFF2-40B4-BE49-F238E27FC236}">
                  <a16:creationId xmlns:a16="http://schemas.microsoft.com/office/drawing/2014/main" id="{45BED549-7EBB-D347-F68B-CA60EA2CB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2932" y="3859745"/>
              <a:ext cx="101909" cy="57338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6" name="Freeform 780">
              <a:extLst>
                <a:ext uri="{FF2B5EF4-FFF2-40B4-BE49-F238E27FC236}">
                  <a16:creationId xmlns:a16="http://schemas.microsoft.com/office/drawing/2014/main" id="{C321E66A-0D11-DE87-871C-987981D2D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8218" y="3776918"/>
              <a:ext cx="76432" cy="44598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7" name="Freeform 782">
              <a:extLst>
                <a:ext uri="{FF2B5EF4-FFF2-40B4-BE49-F238E27FC236}">
                  <a16:creationId xmlns:a16="http://schemas.microsoft.com/office/drawing/2014/main" id="{EB9DC835-E9F6-CD7D-FD1B-5386B5CDC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5225" y="3897972"/>
              <a:ext cx="54142" cy="38227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8" name="Freeform 783">
              <a:extLst>
                <a:ext uri="{FF2B5EF4-FFF2-40B4-BE49-F238E27FC236}">
                  <a16:creationId xmlns:a16="http://schemas.microsoft.com/office/drawing/2014/main" id="{E5B1C62D-2ABB-2F6F-0DE5-DD300F9F8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475" y="3936197"/>
              <a:ext cx="47770" cy="955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9" name="Freeform 784">
              <a:extLst>
                <a:ext uri="{FF2B5EF4-FFF2-40B4-BE49-F238E27FC236}">
                  <a16:creationId xmlns:a16="http://schemas.microsoft.com/office/drawing/2014/main" id="{B8A87A09-7EB3-298E-5B11-63EADAACB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475" y="4468183"/>
              <a:ext cx="38217" cy="66896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0" name="Freeform 785">
              <a:extLst>
                <a:ext uri="{FF2B5EF4-FFF2-40B4-BE49-F238E27FC236}">
                  <a16:creationId xmlns:a16="http://schemas.microsoft.com/office/drawing/2014/main" id="{41DEBC4D-7BB5-D1B2-27A4-1AAE2FCAA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7583" y="4589232"/>
              <a:ext cx="63695" cy="38227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1" name="Freeform 786">
              <a:extLst>
                <a:ext uri="{FF2B5EF4-FFF2-40B4-BE49-F238E27FC236}">
                  <a16:creationId xmlns:a16="http://schemas.microsoft.com/office/drawing/2014/main" id="{6FE62D74-46A8-6826-65B9-F8B3F0412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6434" y="4796294"/>
              <a:ext cx="159235" cy="92380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2" name="Freeform 787">
              <a:extLst>
                <a:ext uri="{FF2B5EF4-FFF2-40B4-BE49-F238E27FC236}">
                  <a16:creationId xmlns:a16="http://schemas.microsoft.com/office/drawing/2014/main" id="{456E6F03-F69E-46B8-C7B6-F2D28B005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774" y="4777183"/>
              <a:ext cx="82803" cy="28672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3" name="Freeform 788">
              <a:extLst>
                <a:ext uri="{FF2B5EF4-FFF2-40B4-BE49-F238E27FC236}">
                  <a16:creationId xmlns:a16="http://schemas.microsoft.com/office/drawing/2014/main" id="{632C601E-ABDD-D2F7-D669-3C8CA194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7201" y="4974685"/>
              <a:ext cx="121018" cy="63711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4" name="Freeform 789">
              <a:extLst>
                <a:ext uri="{FF2B5EF4-FFF2-40B4-BE49-F238E27FC236}">
                  <a16:creationId xmlns:a16="http://schemas.microsoft.com/office/drawing/2014/main" id="{F38D1D3F-B792-58C0-2674-D7ED19212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5288" y="5067067"/>
              <a:ext cx="38217" cy="57338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5" name="Freeform 790">
              <a:extLst>
                <a:ext uri="{FF2B5EF4-FFF2-40B4-BE49-F238E27FC236}">
                  <a16:creationId xmlns:a16="http://schemas.microsoft.com/office/drawing/2014/main" id="{50F0F0FF-0D1D-F4DC-AF7E-70438D1D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2485" y="4946016"/>
              <a:ext cx="35033" cy="38227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6" name="Freeform 791">
              <a:extLst>
                <a:ext uri="{FF2B5EF4-FFF2-40B4-BE49-F238E27FC236}">
                  <a16:creationId xmlns:a16="http://schemas.microsoft.com/office/drawing/2014/main" id="{1B7CD378-82DC-878E-248F-C4C1646B5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5798" y="4347133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7" name="Freeform 792">
              <a:extLst>
                <a:ext uri="{FF2B5EF4-FFF2-40B4-BE49-F238E27FC236}">
                  <a16:creationId xmlns:a16="http://schemas.microsoft.com/office/drawing/2014/main" id="{BF926A77-4CF1-328E-352F-64534D454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9366" y="4245195"/>
              <a:ext cx="28664" cy="15928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8" name="Freeform 793">
              <a:extLst>
                <a:ext uri="{FF2B5EF4-FFF2-40B4-BE49-F238E27FC236}">
                  <a16:creationId xmlns:a16="http://schemas.microsoft.com/office/drawing/2014/main" id="{53B4D79E-D8AE-E127-B218-011BA4C13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5798" y="4206968"/>
              <a:ext cx="25477" cy="28672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9" name="Freeform 794">
              <a:extLst>
                <a:ext uri="{FF2B5EF4-FFF2-40B4-BE49-F238E27FC236}">
                  <a16:creationId xmlns:a16="http://schemas.microsoft.com/office/drawing/2014/main" id="{AD8DD909-DAE6-428B-B6FD-FE2761156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4841" y="4394916"/>
              <a:ext cx="47770" cy="6370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0" name="Freeform 795">
              <a:extLst>
                <a:ext uri="{FF2B5EF4-FFF2-40B4-BE49-F238E27FC236}">
                  <a16:creationId xmlns:a16="http://schemas.microsoft.com/office/drawing/2014/main" id="{FEF1616A-A94F-C6EF-8C1F-4FD364E12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64" y="4394916"/>
              <a:ext cx="57323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1" name="Freeform 796">
              <a:extLst>
                <a:ext uri="{FF2B5EF4-FFF2-40B4-BE49-F238E27FC236}">
                  <a16:creationId xmlns:a16="http://schemas.microsoft.com/office/drawing/2014/main" id="{36587C3C-6D8B-6E0C-C9F2-2392198E0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5417" y="3802407"/>
              <a:ext cx="38217" cy="19114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2" name="Freeform 797">
              <a:extLst>
                <a:ext uri="{FF2B5EF4-FFF2-40B4-BE49-F238E27FC236}">
                  <a16:creationId xmlns:a16="http://schemas.microsoft.com/office/drawing/2014/main" id="{177EC0AF-C13B-3E6A-2D64-0148F30CD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694" y="6086410"/>
              <a:ext cx="85988" cy="111494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</p:grpSp>
      <p:sp>
        <p:nvSpPr>
          <p:cNvPr id="405" name="Freeform 86">
            <a:extLst>
              <a:ext uri="{FF2B5EF4-FFF2-40B4-BE49-F238E27FC236}">
                <a16:creationId xmlns:a16="http://schemas.microsoft.com/office/drawing/2014/main" id="{72CBB354-173D-8D9C-C06D-F4E2264E4A8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076" y="2503090"/>
            <a:ext cx="532374" cy="532409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06" name="Pie 831">
            <a:extLst>
              <a:ext uri="{FF2B5EF4-FFF2-40B4-BE49-F238E27FC236}">
                <a16:creationId xmlns:a16="http://schemas.microsoft.com/office/drawing/2014/main" id="{1857EBCA-DDE6-043B-9F49-761A4812D588}"/>
              </a:ext>
            </a:extLst>
          </p:cNvPr>
          <p:cNvSpPr>
            <a:spLocks/>
          </p:cNvSpPr>
          <p:nvPr/>
        </p:nvSpPr>
        <p:spPr>
          <a:xfrm>
            <a:off x="1146930" y="2503055"/>
            <a:ext cx="530519" cy="532408"/>
          </a:xfrm>
          <a:prstGeom prst="pie">
            <a:avLst>
              <a:gd name="adj1" fmla="val 16144891"/>
              <a:gd name="adj2" fmla="val 18796925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07" name="Freeform 86">
            <a:extLst>
              <a:ext uri="{FF2B5EF4-FFF2-40B4-BE49-F238E27FC236}">
                <a16:creationId xmlns:a16="http://schemas.microsoft.com/office/drawing/2014/main" id="{37EAB32B-B538-FCB3-D611-F313C5D9D78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80540" y="3645509"/>
            <a:ext cx="532374" cy="532409"/>
          </a:xfrm>
          <a:prstGeom prst="ellipse">
            <a:avLst/>
          </a:prstGeom>
          <a:solidFill>
            <a:schemeClr val="accent2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08" name="Pie 833">
            <a:extLst>
              <a:ext uri="{FF2B5EF4-FFF2-40B4-BE49-F238E27FC236}">
                <a16:creationId xmlns:a16="http://schemas.microsoft.com/office/drawing/2014/main" id="{AA5DBB49-E778-8785-9060-AA9757666C9B}"/>
              </a:ext>
            </a:extLst>
          </p:cNvPr>
          <p:cNvSpPr>
            <a:spLocks/>
          </p:cNvSpPr>
          <p:nvPr/>
        </p:nvSpPr>
        <p:spPr>
          <a:xfrm>
            <a:off x="6082394" y="3645475"/>
            <a:ext cx="530519" cy="532408"/>
          </a:xfrm>
          <a:prstGeom prst="pie">
            <a:avLst>
              <a:gd name="adj1" fmla="val 18174612"/>
              <a:gd name="adj2" fmla="val 161738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09" name="Freeform 86">
            <a:extLst>
              <a:ext uri="{FF2B5EF4-FFF2-40B4-BE49-F238E27FC236}">
                <a16:creationId xmlns:a16="http://schemas.microsoft.com/office/drawing/2014/main" id="{FFF2A373-8721-E814-FB9C-F796A0DFF1C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13639" y="3846892"/>
            <a:ext cx="532374" cy="532409"/>
          </a:xfrm>
          <a:prstGeom prst="ellipse">
            <a:avLst/>
          </a:prstGeom>
          <a:solidFill>
            <a:schemeClr val="accent3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0" name="Pie 835">
            <a:extLst>
              <a:ext uri="{FF2B5EF4-FFF2-40B4-BE49-F238E27FC236}">
                <a16:creationId xmlns:a16="http://schemas.microsoft.com/office/drawing/2014/main" id="{FB4353AC-71C7-9ABF-8E25-6E5A619E9F40}"/>
              </a:ext>
            </a:extLst>
          </p:cNvPr>
          <p:cNvSpPr>
            <a:spLocks/>
          </p:cNvSpPr>
          <p:nvPr/>
        </p:nvSpPr>
        <p:spPr>
          <a:xfrm>
            <a:off x="4115492" y="3846857"/>
            <a:ext cx="530519" cy="532408"/>
          </a:xfrm>
          <a:prstGeom prst="pie">
            <a:avLst>
              <a:gd name="adj1" fmla="val 9134016"/>
              <a:gd name="adj2" fmla="val 16173805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1" name="Freeform 86">
            <a:extLst>
              <a:ext uri="{FF2B5EF4-FFF2-40B4-BE49-F238E27FC236}">
                <a16:creationId xmlns:a16="http://schemas.microsoft.com/office/drawing/2014/main" id="{A87B853E-0147-5046-7AD4-A6A1A93233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711536" y="5200823"/>
            <a:ext cx="532374" cy="532409"/>
          </a:xfrm>
          <a:prstGeom prst="ellipse">
            <a:avLst/>
          </a:prstGeom>
          <a:solidFill>
            <a:schemeClr val="accent4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2" name="Pie 837">
            <a:extLst>
              <a:ext uri="{FF2B5EF4-FFF2-40B4-BE49-F238E27FC236}">
                <a16:creationId xmlns:a16="http://schemas.microsoft.com/office/drawing/2014/main" id="{AA3CEF0D-1736-BBAC-6344-2329506917C0}"/>
              </a:ext>
            </a:extLst>
          </p:cNvPr>
          <p:cNvSpPr>
            <a:spLocks/>
          </p:cNvSpPr>
          <p:nvPr/>
        </p:nvSpPr>
        <p:spPr>
          <a:xfrm>
            <a:off x="2713390" y="5200788"/>
            <a:ext cx="530519" cy="532408"/>
          </a:xfrm>
          <a:prstGeom prst="pie">
            <a:avLst>
              <a:gd name="adj1" fmla="val 16245108"/>
              <a:gd name="adj2" fmla="val 2271406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3" name="Freeform 86">
            <a:extLst>
              <a:ext uri="{FF2B5EF4-FFF2-40B4-BE49-F238E27FC236}">
                <a16:creationId xmlns:a16="http://schemas.microsoft.com/office/drawing/2014/main" id="{A13CEDCE-E69E-89C5-5665-978BD0247B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79162" y="3911748"/>
            <a:ext cx="532374" cy="532409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4" name="Pie 839">
            <a:extLst>
              <a:ext uri="{FF2B5EF4-FFF2-40B4-BE49-F238E27FC236}">
                <a16:creationId xmlns:a16="http://schemas.microsoft.com/office/drawing/2014/main" id="{98342883-9414-7917-5D7F-B353EF3136C6}"/>
              </a:ext>
            </a:extLst>
          </p:cNvPr>
          <p:cNvSpPr>
            <a:spLocks/>
          </p:cNvSpPr>
          <p:nvPr/>
        </p:nvSpPr>
        <p:spPr>
          <a:xfrm>
            <a:off x="2181016" y="3911714"/>
            <a:ext cx="530519" cy="532408"/>
          </a:xfrm>
          <a:prstGeom prst="pie">
            <a:avLst>
              <a:gd name="adj1" fmla="val 5406099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5" name="Freeform 86">
            <a:extLst>
              <a:ext uri="{FF2B5EF4-FFF2-40B4-BE49-F238E27FC236}">
                <a16:creationId xmlns:a16="http://schemas.microsoft.com/office/drawing/2014/main" id="{86DB6392-39F1-8DCD-7C66-FB795FE4FD2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1722" y="2703150"/>
            <a:ext cx="532374" cy="532409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6" name="Pie 842">
            <a:extLst>
              <a:ext uri="{FF2B5EF4-FFF2-40B4-BE49-F238E27FC236}">
                <a16:creationId xmlns:a16="http://schemas.microsoft.com/office/drawing/2014/main" id="{84A17690-0062-D55C-5383-28F06A705D9A}"/>
              </a:ext>
            </a:extLst>
          </p:cNvPr>
          <p:cNvSpPr>
            <a:spLocks/>
          </p:cNvSpPr>
          <p:nvPr/>
        </p:nvSpPr>
        <p:spPr>
          <a:xfrm>
            <a:off x="5253576" y="2703116"/>
            <a:ext cx="530519" cy="532408"/>
          </a:xfrm>
          <a:prstGeom prst="pie">
            <a:avLst>
              <a:gd name="adj1" fmla="val 16166837"/>
              <a:gd name="adj2" fmla="val 5295224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7" name="Freeform 86">
            <a:extLst>
              <a:ext uri="{FF2B5EF4-FFF2-40B4-BE49-F238E27FC236}">
                <a16:creationId xmlns:a16="http://schemas.microsoft.com/office/drawing/2014/main" id="{0BE45CBD-F973-35E0-2E31-796416B79B0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05968" y="2643098"/>
            <a:ext cx="532374" cy="532409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8" name="Pie 844">
            <a:extLst>
              <a:ext uri="{FF2B5EF4-FFF2-40B4-BE49-F238E27FC236}">
                <a16:creationId xmlns:a16="http://schemas.microsoft.com/office/drawing/2014/main" id="{F945C801-9E7A-6840-45E2-DDEE5E0C7318}"/>
              </a:ext>
            </a:extLst>
          </p:cNvPr>
          <p:cNvSpPr>
            <a:spLocks/>
          </p:cNvSpPr>
          <p:nvPr/>
        </p:nvSpPr>
        <p:spPr>
          <a:xfrm>
            <a:off x="6907821" y="2643064"/>
            <a:ext cx="530519" cy="532408"/>
          </a:xfrm>
          <a:prstGeom prst="pie">
            <a:avLst>
              <a:gd name="adj1" fmla="val 13818606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9" name="Freeform 86">
            <a:extLst>
              <a:ext uri="{FF2B5EF4-FFF2-40B4-BE49-F238E27FC236}">
                <a16:creationId xmlns:a16="http://schemas.microsoft.com/office/drawing/2014/main" id="{9718075C-7073-E0A1-9C6E-C97E52631D2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40656" y="4832978"/>
            <a:ext cx="532374" cy="532409"/>
          </a:xfrm>
          <a:prstGeom prst="ellipse">
            <a:avLst/>
          </a:prstGeom>
          <a:solidFill>
            <a:schemeClr val="accent4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0" name="Pie 846">
            <a:extLst>
              <a:ext uri="{FF2B5EF4-FFF2-40B4-BE49-F238E27FC236}">
                <a16:creationId xmlns:a16="http://schemas.microsoft.com/office/drawing/2014/main" id="{F8F4B1F0-80EF-A091-9AF8-17E975868BE8}"/>
              </a:ext>
            </a:extLst>
          </p:cNvPr>
          <p:cNvSpPr>
            <a:spLocks/>
          </p:cNvSpPr>
          <p:nvPr/>
        </p:nvSpPr>
        <p:spPr>
          <a:xfrm>
            <a:off x="7642510" y="4832943"/>
            <a:ext cx="530519" cy="532408"/>
          </a:xfrm>
          <a:prstGeom prst="pie">
            <a:avLst>
              <a:gd name="adj1" fmla="val 16245108"/>
              <a:gd name="adj2" fmla="val 1331460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1" name="TextBox 848">
            <a:extLst>
              <a:ext uri="{FF2B5EF4-FFF2-40B4-BE49-F238E27FC236}">
                <a16:creationId xmlns:a16="http://schemas.microsoft.com/office/drawing/2014/main" id="{0F7F28D5-3124-DAF9-1AB8-9E27B14DF873}"/>
              </a:ext>
            </a:extLst>
          </p:cNvPr>
          <p:cNvSpPr txBox="1"/>
          <p:nvPr/>
        </p:nvSpPr>
        <p:spPr>
          <a:xfrm>
            <a:off x="10013896" y="2432434"/>
            <a:ext cx="16494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endParaRPr lang="en-US" sz="1200" dirty="0"/>
          </a:p>
        </p:txBody>
      </p:sp>
      <p:sp>
        <p:nvSpPr>
          <p:cNvPr id="422" name="TextBox 849">
            <a:extLst>
              <a:ext uri="{FF2B5EF4-FFF2-40B4-BE49-F238E27FC236}">
                <a16:creationId xmlns:a16="http://schemas.microsoft.com/office/drawing/2014/main" id="{072E9E79-1421-0E20-71A7-6F8F91BF8033}"/>
              </a:ext>
            </a:extLst>
          </p:cNvPr>
          <p:cNvSpPr txBox="1"/>
          <p:nvPr/>
        </p:nvSpPr>
        <p:spPr>
          <a:xfrm>
            <a:off x="10013895" y="2004364"/>
            <a:ext cx="1446230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400" dirty="0"/>
              <a:t>Your Title</a:t>
            </a:r>
          </a:p>
        </p:txBody>
      </p:sp>
      <p:sp>
        <p:nvSpPr>
          <p:cNvPr id="423" name="Freeform 86">
            <a:extLst>
              <a:ext uri="{FF2B5EF4-FFF2-40B4-BE49-F238E27FC236}">
                <a16:creationId xmlns:a16="http://schemas.microsoft.com/office/drawing/2014/main" id="{0D04A119-414B-CD2E-C453-BC86481957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37528" y="2130966"/>
            <a:ext cx="530519" cy="530554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4" name="Pie 851">
            <a:extLst>
              <a:ext uri="{FF2B5EF4-FFF2-40B4-BE49-F238E27FC236}">
                <a16:creationId xmlns:a16="http://schemas.microsoft.com/office/drawing/2014/main" id="{3B65DEC6-F97B-D79D-F379-4E8E1D366817}"/>
              </a:ext>
            </a:extLst>
          </p:cNvPr>
          <p:cNvSpPr>
            <a:spLocks/>
          </p:cNvSpPr>
          <p:nvPr/>
        </p:nvSpPr>
        <p:spPr>
          <a:xfrm>
            <a:off x="9339375" y="2130932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5" name="TextBox 853">
            <a:extLst>
              <a:ext uri="{FF2B5EF4-FFF2-40B4-BE49-F238E27FC236}">
                <a16:creationId xmlns:a16="http://schemas.microsoft.com/office/drawing/2014/main" id="{2668182C-E1FC-71F9-0B2C-14CACD97DA37}"/>
              </a:ext>
            </a:extLst>
          </p:cNvPr>
          <p:cNvSpPr txBox="1"/>
          <p:nvPr/>
        </p:nvSpPr>
        <p:spPr>
          <a:xfrm>
            <a:off x="10006708" y="3879591"/>
            <a:ext cx="16319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26" name="TextBox 854">
            <a:extLst>
              <a:ext uri="{FF2B5EF4-FFF2-40B4-BE49-F238E27FC236}">
                <a16:creationId xmlns:a16="http://schemas.microsoft.com/office/drawing/2014/main" id="{F34AD066-830B-5F1C-62CF-EB30CEBFCF0F}"/>
              </a:ext>
            </a:extLst>
          </p:cNvPr>
          <p:cNvSpPr txBox="1"/>
          <p:nvPr/>
        </p:nvSpPr>
        <p:spPr>
          <a:xfrm>
            <a:off x="10006707" y="3499146"/>
            <a:ext cx="1164101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427" name="Freeform 86">
            <a:extLst>
              <a:ext uri="{FF2B5EF4-FFF2-40B4-BE49-F238E27FC236}">
                <a16:creationId xmlns:a16="http://schemas.microsoft.com/office/drawing/2014/main" id="{8726E497-600B-E5ED-668F-3A29BED2CB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30340" y="3578123"/>
            <a:ext cx="530519" cy="530554"/>
          </a:xfrm>
          <a:prstGeom prst="ellipse">
            <a:avLst/>
          </a:prstGeom>
          <a:solidFill>
            <a:schemeClr val="accent2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8" name="Pie 857">
            <a:extLst>
              <a:ext uri="{FF2B5EF4-FFF2-40B4-BE49-F238E27FC236}">
                <a16:creationId xmlns:a16="http://schemas.microsoft.com/office/drawing/2014/main" id="{ECABAE1A-6CE8-4FC9-687F-C828FA05B1FA}"/>
              </a:ext>
            </a:extLst>
          </p:cNvPr>
          <p:cNvSpPr>
            <a:spLocks/>
          </p:cNvSpPr>
          <p:nvPr/>
        </p:nvSpPr>
        <p:spPr>
          <a:xfrm>
            <a:off x="9332188" y="3578089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9" name="TextBox 858">
            <a:extLst>
              <a:ext uri="{FF2B5EF4-FFF2-40B4-BE49-F238E27FC236}">
                <a16:creationId xmlns:a16="http://schemas.microsoft.com/office/drawing/2014/main" id="{927E00CC-6326-0E67-7C38-470EEE31F06A}"/>
              </a:ext>
            </a:extLst>
          </p:cNvPr>
          <p:cNvSpPr txBox="1"/>
          <p:nvPr/>
        </p:nvSpPr>
        <p:spPr>
          <a:xfrm>
            <a:off x="10001639" y="5287405"/>
            <a:ext cx="16494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30" name="TextBox 859">
            <a:extLst>
              <a:ext uri="{FF2B5EF4-FFF2-40B4-BE49-F238E27FC236}">
                <a16:creationId xmlns:a16="http://schemas.microsoft.com/office/drawing/2014/main" id="{F5F0A4F1-1C08-0959-FFDD-9EA89078CAD4}"/>
              </a:ext>
            </a:extLst>
          </p:cNvPr>
          <p:cNvSpPr txBox="1"/>
          <p:nvPr/>
        </p:nvSpPr>
        <p:spPr>
          <a:xfrm>
            <a:off x="10001638" y="4906960"/>
            <a:ext cx="1164101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431" name="Freeform 86">
            <a:extLst>
              <a:ext uri="{FF2B5EF4-FFF2-40B4-BE49-F238E27FC236}">
                <a16:creationId xmlns:a16="http://schemas.microsoft.com/office/drawing/2014/main" id="{B6BEE8BB-D4FD-7108-2D9F-971B3FAEB95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25271" y="4985937"/>
            <a:ext cx="530519" cy="530554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32" name="Pie 862">
            <a:extLst>
              <a:ext uri="{FF2B5EF4-FFF2-40B4-BE49-F238E27FC236}">
                <a16:creationId xmlns:a16="http://schemas.microsoft.com/office/drawing/2014/main" id="{B7D3F76F-4133-24D5-137B-928AE96FA17B}"/>
              </a:ext>
            </a:extLst>
          </p:cNvPr>
          <p:cNvSpPr>
            <a:spLocks/>
          </p:cNvSpPr>
          <p:nvPr/>
        </p:nvSpPr>
        <p:spPr>
          <a:xfrm>
            <a:off x="9327119" y="4985903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grpSp>
        <p:nvGrpSpPr>
          <p:cNvPr id="438" name="Grupo 437">
            <a:extLst>
              <a:ext uri="{FF2B5EF4-FFF2-40B4-BE49-F238E27FC236}">
                <a16:creationId xmlns:a16="http://schemas.microsoft.com/office/drawing/2014/main" id="{8A23DAD0-00C8-3B76-4F98-7AC88A0828BA}"/>
              </a:ext>
            </a:extLst>
          </p:cNvPr>
          <p:cNvGrpSpPr/>
          <p:nvPr/>
        </p:nvGrpSpPr>
        <p:grpSpPr>
          <a:xfrm>
            <a:off x="9339375" y="3205978"/>
            <a:ext cx="2275088" cy="1511246"/>
            <a:chOff x="9339375" y="3205978"/>
            <a:chExt cx="2035629" cy="1511246"/>
          </a:xfrm>
        </p:grpSpPr>
        <p:cxnSp>
          <p:nvCxnSpPr>
            <p:cNvPr id="436" name="Straight Connector 31">
              <a:extLst>
                <a:ext uri="{FF2B5EF4-FFF2-40B4-BE49-F238E27FC236}">
                  <a16:creationId xmlns:a16="http://schemas.microsoft.com/office/drawing/2014/main" id="{53925023-C0C2-EAC3-2206-3E6A425C66AE}"/>
                </a:ext>
              </a:extLst>
            </p:cNvPr>
            <p:cNvCxnSpPr>
              <a:cxnSpLocks/>
            </p:cNvCxnSpPr>
            <p:nvPr/>
          </p:nvCxnSpPr>
          <p:spPr>
            <a:xfrm>
              <a:off x="9339375" y="3205978"/>
              <a:ext cx="203562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31">
              <a:extLst>
                <a:ext uri="{FF2B5EF4-FFF2-40B4-BE49-F238E27FC236}">
                  <a16:creationId xmlns:a16="http://schemas.microsoft.com/office/drawing/2014/main" id="{456F15DC-648C-3219-317E-E860EB5B6F26}"/>
                </a:ext>
              </a:extLst>
            </p:cNvPr>
            <p:cNvCxnSpPr>
              <a:cxnSpLocks/>
            </p:cNvCxnSpPr>
            <p:nvPr/>
          </p:nvCxnSpPr>
          <p:spPr>
            <a:xfrm>
              <a:off x="9339375" y="4717224"/>
              <a:ext cx="203562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046B7F-2504-172C-C293-EC27A918D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931436E8-E15A-1D5A-09CD-C45DCCB33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Map Slide</a:t>
            </a:r>
          </a:p>
        </p:txBody>
      </p:sp>
    </p:spTree>
    <p:extLst>
      <p:ext uri="{BB962C8B-B14F-4D97-AF65-F5344CB8AC3E}">
        <p14:creationId xmlns:p14="http://schemas.microsoft.com/office/powerpoint/2010/main" val="107586907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49FCF0B-6264-34AD-F8F6-122D410D78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9922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49FCF0B-6264-34AD-F8F6-122D410D7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34EFFB-43CC-0236-E4E5-1EF335E53E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B5E2020-9F98-1EC3-D7D3-89D1D3F63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heel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34A159A-561F-7F41-3AE0-2AEC08D45EFC}"/>
              </a:ext>
            </a:extLst>
          </p:cNvPr>
          <p:cNvSpPr>
            <a:spLocks/>
          </p:cNvSpPr>
          <p:nvPr/>
        </p:nvSpPr>
        <p:spPr bwMode="auto">
          <a:xfrm>
            <a:off x="6095999" y="1546718"/>
            <a:ext cx="2383236" cy="2704180"/>
          </a:xfrm>
          <a:custGeom>
            <a:avLst/>
            <a:gdLst>
              <a:gd name="T0" fmla="*/ 2546 w 3154"/>
              <a:gd name="T1" fmla="*/ 3154 h 3580"/>
              <a:gd name="T2" fmla="*/ 3154 w 3154"/>
              <a:gd name="T3" fmla="*/ 3154 h 3580"/>
              <a:gd name="T4" fmla="*/ 2379 w 3154"/>
              <a:gd name="T5" fmla="*/ 1084 h 3580"/>
              <a:gd name="T6" fmla="*/ 2410 w 3154"/>
              <a:gd name="T7" fmla="*/ 1013 h 3580"/>
              <a:gd name="T8" fmla="*/ 2600 w 3154"/>
              <a:gd name="T9" fmla="*/ 929 h 3580"/>
              <a:gd name="T10" fmla="*/ 2600 w 3154"/>
              <a:gd name="T11" fmla="*/ 666 h 3580"/>
              <a:gd name="T12" fmla="*/ 2337 w 3154"/>
              <a:gd name="T13" fmla="*/ 666 h 3580"/>
              <a:gd name="T14" fmla="*/ 2253 w 3154"/>
              <a:gd name="T15" fmla="*/ 856 h 3580"/>
              <a:gd name="T16" fmla="*/ 2191 w 3154"/>
              <a:gd name="T17" fmla="*/ 886 h 3580"/>
              <a:gd name="T18" fmla="*/ 0 w 3154"/>
              <a:gd name="T19" fmla="*/ 0 h 3580"/>
              <a:gd name="T20" fmla="*/ 0 w 3154"/>
              <a:gd name="T21" fmla="*/ 541 h 3580"/>
              <a:gd name="T22" fmla="*/ 70 w 3154"/>
              <a:gd name="T23" fmla="*/ 568 h 3580"/>
              <a:gd name="T24" fmla="*/ 264 w 3154"/>
              <a:gd name="T25" fmla="*/ 493 h 3580"/>
              <a:gd name="T26" fmla="*/ 450 w 3154"/>
              <a:gd name="T27" fmla="*/ 679 h 3580"/>
              <a:gd name="T28" fmla="*/ 264 w 3154"/>
              <a:gd name="T29" fmla="*/ 865 h 3580"/>
              <a:gd name="T30" fmla="*/ 70 w 3154"/>
              <a:gd name="T31" fmla="*/ 789 h 3580"/>
              <a:gd name="T32" fmla="*/ 0 w 3154"/>
              <a:gd name="T33" fmla="*/ 816 h 3580"/>
              <a:gd name="T34" fmla="*/ 0 w 3154"/>
              <a:gd name="T35" fmla="*/ 1375 h 3580"/>
              <a:gd name="T36" fmla="*/ 1779 w 3154"/>
              <a:gd name="T37" fmla="*/ 3154 h 3580"/>
              <a:gd name="T38" fmla="*/ 2303 w 3154"/>
              <a:gd name="T39" fmla="*/ 3154 h 3580"/>
              <a:gd name="T40" fmla="*/ 2314 w 3154"/>
              <a:gd name="T41" fmla="*/ 3200 h 3580"/>
              <a:gd name="T42" fmla="*/ 2239 w 3154"/>
              <a:gd name="T43" fmla="*/ 3394 h 3580"/>
              <a:gd name="T44" fmla="*/ 2425 w 3154"/>
              <a:gd name="T45" fmla="*/ 3580 h 3580"/>
              <a:gd name="T46" fmla="*/ 2611 w 3154"/>
              <a:gd name="T47" fmla="*/ 3394 h 3580"/>
              <a:gd name="T48" fmla="*/ 2535 w 3154"/>
              <a:gd name="T49" fmla="*/ 3200 h 3580"/>
              <a:gd name="T50" fmla="*/ 2546 w 3154"/>
              <a:gd name="T51" fmla="*/ 3154 h 3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154" h="3580">
                <a:moveTo>
                  <a:pt x="2546" y="3154"/>
                </a:moveTo>
                <a:cubicBezTo>
                  <a:pt x="3154" y="3154"/>
                  <a:pt x="3154" y="3154"/>
                  <a:pt x="3154" y="3154"/>
                </a:cubicBezTo>
                <a:cubicBezTo>
                  <a:pt x="3154" y="2362"/>
                  <a:pt x="2861" y="1638"/>
                  <a:pt x="2379" y="1084"/>
                </a:cubicBezTo>
                <a:cubicBezTo>
                  <a:pt x="2380" y="1058"/>
                  <a:pt x="2390" y="1033"/>
                  <a:pt x="2410" y="1013"/>
                </a:cubicBezTo>
                <a:cubicBezTo>
                  <a:pt x="2453" y="970"/>
                  <a:pt x="2531" y="998"/>
                  <a:pt x="2600" y="929"/>
                </a:cubicBezTo>
                <a:cubicBezTo>
                  <a:pt x="2673" y="856"/>
                  <a:pt x="2673" y="739"/>
                  <a:pt x="2600" y="666"/>
                </a:cubicBezTo>
                <a:cubicBezTo>
                  <a:pt x="2527" y="593"/>
                  <a:pt x="2409" y="593"/>
                  <a:pt x="2337" y="666"/>
                </a:cubicBezTo>
                <a:cubicBezTo>
                  <a:pt x="2261" y="742"/>
                  <a:pt x="2306" y="804"/>
                  <a:pt x="2253" y="856"/>
                </a:cubicBezTo>
                <a:cubicBezTo>
                  <a:pt x="2236" y="874"/>
                  <a:pt x="2214" y="884"/>
                  <a:pt x="2191" y="886"/>
                </a:cubicBezTo>
                <a:cubicBezTo>
                  <a:pt x="1624" y="338"/>
                  <a:pt x="851" y="0"/>
                  <a:pt x="0" y="0"/>
                </a:cubicBezTo>
                <a:cubicBezTo>
                  <a:pt x="0" y="541"/>
                  <a:pt x="0" y="541"/>
                  <a:pt x="0" y="541"/>
                </a:cubicBezTo>
                <a:cubicBezTo>
                  <a:pt x="19" y="558"/>
                  <a:pt x="43" y="568"/>
                  <a:pt x="70" y="568"/>
                </a:cubicBezTo>
                <a:cubicBezTo>
                  <a:pt x="144" y="568"/>
                  <a:pt x="156" y="493"/>
                  <a:pt x="264" y="493"/>
                </a:cubicBezTo>
                <a:cubicBezTo>
                  <a:pt x="366" y="493"/>
                  <a:pt x="450" y="576"/>
                  <a:pt x="450" y="679"/>
                </a:cubicBezTo>
                <a:cubicBezTo>
                  <a:pt x="450" y="781"/>
                  <a:pt x="366" y="865"/>
                  <a:pt x="264" y="865"/>
                </a:cubicBezTo>
                <a:cubicBezTo>
                  <a:pt x="166" y="865"/>
                  <a:pt x="131" y="789"/>
                  <a:pt x="70" y="789"/>
                </a:cubicBezTo>
                <a:cubicBezTo>
                  <a:pt x="43" y="789"/>
                  <a:pt x="19" y="800"/>
                  <a:pt x="0" y="816"/>
                </a:cubicBezTo>
                <a:cubicBezTo>
                  <a:pt x="0" y="1375"/>
                  <a:pt x="0" y="1375"/>
                  <a:pt x="0" y="1375"/>
                </a:cubicBezTo>
                <a:cubicBezTo>
                  <a:pt x="983" y="1375"/>
                  <a:pt x="1779" y="2171"/>
                  <a:pt x="1779" y="3154"/>
                </a:cubicBezTo>
                <a:cubicBezTo>
                  <a:pt x="2303" y="3154"/>
                  <a:pt x="2303" y="3154"/>
                  <a:pt x="2303" y="3154"/>
                </a:cubicBezTo>
                <a:cubicBezTo>
                  <a:pt x="2310" y="3168"/>
                  <a:pt x="2314" y="3183"/>
                  <a:pt x="2314" y="3200"/>
                </a:cubicBezTo>
                <a:cubicBezTo>
                  <a:pt x="2314" y="3261"/>
                  <a:pt x="2239" y="3296"/>
                  <a:pt x="2239" y="3394"/>
                </a:cubicBezTo>
                <a:cubicBezTo>
                  <a:pt x="2239" y="3496"/>
                  <a:pt x="2322" y="3580"/>
                  <a:pt x="2425" y="3580"/>
                </a:cubicBezTo>
                <a:cubicBezTo>
                  <a:pt x="2528" y="3580"/>
                  <a:pt x="2611" y="3496"/>
                  <a:pt x="2611" y="3394"/>
                </a:cubicBezTo>
                <a:cubicBezTo>
                  <a:pt x="2611" y="3286"/>
                  <a:pt x="2535" y="3274"/>
                  <a:pt x="2535" y="3200"/>
                </a:cubicBezTo>
                <a:cubicBezTo>
                  <a:pt x="2535" y="3183"/>
                  <a:pt x="2539" y="3168"/>
                  <a:pt x="2546" y="3154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3B1D854B-62B7-64C9-AD5D-542A581549BD}"/>
              </a:ext>
            </a:extLst>
          </p:cNvPr>
          <p:cNvSpPr>
            <a:spLocks/>
          </p:cNvSpPr>
          <p:nvPr/>
        </p:nvSpPr>
        <p:spPr bwMode="auto">
          <a:xfrm>
            <a:off x="5758299" y="3929954"/>
            <a:ext cx="2720936" cy="2381946"/>
          </a:xfrm>
          <a:custGeom>
            <a:avLst/>
            <a:gdLst>
              <a:gd name="T0" fmla="*/ 2857 w 3601"/>
              <a:gd name="T1" fmla="*/ 2137 h 3153"/>
              <a:gd name="T2" fmla="*/ 2826 w 3601"/>
              <a:gd name="T3" fmla="*/ 2070 h 3153"/>
              <a:gd name="T4" fmla="*/ 3601 w 3601"/>
              <a:gd name="T5" fmla="*/ 0 h 3153"/>
              <a:gd name="T6" fmla="*/ 2993 w 3601"/>
              <a:gd name="T7" fmla="*/ 0 h 3153"/>
              <a:gd name="T8" fmla="*/ 2982 w 3601"/>
              <a:gd name="T9" fmla="*/ 46 h 3153"/>
              <a:gd name="T10" fmla="*/ 3058 w 3601"/>
              <a:gd name="T11" fmla="*/ 240 h 3153"/>
              <a:gd name="T12" fmla="*/ 2872 w 3601"/>
              <a:gd name="T13" fmla="*/ 426 h 3153"/>
              <a:gd name="T14" fmla="*/ 2686 w 3601"/>
              <a:gd name="T15" fmla="*/ 240 h 3153"/>
              <a:gd name="T16" fmla="*/ 2761 w 3601"/>
              <a:gd name="T17" fmla="*/ 46 h 3153"/>
              <a:gd name="T18" fmla="*/ 2750 w 3601"/>
              <a:gd name="T19" fmla="*/ 0 h 3153"/>
              <a:gd name="T20" fmla="*/ 2226 w 3601"/>
              <a:gd name="T21" fmla="*/ 0 h 3153"/>
              <a:gd name="T22" fmla="*/ 447 w 3601"/>
              <a:gd name="T23" fmla="*/ 1779 h 3153"/>
              <a:gd name="T24" fmla="*/ 447 w 3601"/>
              <a:gd name="T25" fmla="*/ 2298 h 3153"/>
              <a:gd name="T26" fmla="*/ 380 w 3601"/>
              <a:gd name="T27" fmla="*/ 2322 h 3153"/>
              <a:gd name="T28" fmla="*/ 186 w 3601"/>
              <a:gd name="T29" fmla="*/ 2246 h 3153"/>
              <a:gd name="T30" fmla="*/ 0 w 3601"/>
              <a:gd name="T31" fmla="*/ 2432 h 3153"/>
              <a:gd name="T32" fmla="*/ 186 w 3601"/>
              <a:gd name="T33" fmla="*/ 2618 h 3153"/>
              <a:gd name="T34" fmla="*/ 380 w 3601"/>
              <a:gd name="T35" fmla="*/ 2543 h 3153"/>
              <a:gd name="T36" fmla="*/ 447 w 3601"/>
              <a:gd name="T37" fmla="*/ 2567 h 3153"/>
              <a:gd name="T38" fmla="*/ 447 w 3601"/>
              <a:gd name="T39" fmla="*/ 3153 h 3153"/>
              <a:gd name="T40" fmla="*/ 2642 w 3601"/>
              <a:gd name="T41" fmla="*/ 2264 h 3153"/>
              <a:gd name="T42" fmla="*/ 2700 w 3601"/>
              <a:gd name="T43" fmla="*/ 2293 h 3153"/>
              <a:gd name="T44" fmla="*/ 2784 w 3601"/>
              <a:gd name="T45" fmla="*/ 2483 h 3153"/>
              <a:gd name="T46" fmla="*/ 3047 w 3601"/>
              <a:gd name="T47" fmla="*/ 2483 h 3153"/>
              <a:gd name="T48" fmla="*/ 3047 w 3601"/>
              <a:gd name="T49" fmla="*/ 2220 h 3153"/>
              <a:gd name="T50" fmla="*/ 2857 w 3601"/>
              <a:gd name="T51" fmla="*/ 2137 h 3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601" h="3153">
                <a:moveTo>
                  <a:pt x="2857" y="2137"/>
                </a:moveTo>
                <a:cubicBezTo>
                  <a:pt x="2838" y="2118"/>
                  <a:pt x="2828" y="2094"/>
                  <a:pt x="2826" y="2070"/>
                </a:cubicBezTo>
                <a:cubicBezTo>
                  <a:pt x="3308" y="1516"/>
                  <a:pt x="3601" y="792"/>
                  <a:pt x="3601" y="0"/>
                </a:cubicBezTo>
                <a:cubicBezTo>
                  <a:pt x="2993" y="0"/>
                  <a:pt x="2993" y="0"/>
                  <a:pt x="2993" y="0"/>
                </a:cubicBezTo>
                <a:cubicBezTo>
                  <a:pt x="2986" y="14"/>
                  <a:pt x="2982" y="29"/>
                  <a:pt x="2982" y="46"/>
                </a:cubicBezTo>
                <a:cubicBezTo>
                  <a:pt x="2982" y="120"/>
                  <a:pt x="3058" y="132"/>
                  <a:pt x="3058" y="240"/>
                </a:cubicBezTo>
                <a:cubicBezTo>
                  <a:pt x="3058" y="342"/>
                  <a:pt x="2975" y="426"/>
                  <a:pt x="2872" y="426"/>
                </a:cubicBezTo>
                <a:cubicBezTo>
                  <a:pt x="2769" y="426"/>
                  <a:pt x="2686" y="342"/>
                  <a:pt x="2686" y="240"/>
                </a:cubicBezTo>
                <a:cubicBezTo>
                  <a:pt x="2686" y="142"/>
                  <a:pt x="2761" y="107"/>
                  <a:pt x="2761" y="46"/>
                </a:cubicBezTo>
                <a:cubicBezTo>
                  <a:pt x="2761" y="29"/>
                  <a:pt x="2757" y="14"/>
                  <a:pt x="2750" y="0"/>
                </a:cubicBezTo>
                <a:cubicBezTo>
                  <a:pt x="2226" y="0"/>
                  <a:pt x="2226" y="0"/>
                  <a:pt x="2226" y="0"/>
                </a:cubicBezTo>
                <a:cubicBezTo>
                  <a:pt x="2226" y="983"/>
                  <a:pt x="1430" y="1779"/>
                  <a:pt x="447" y="1779"/>
                </a:cubicBezTo>
                <a:cubicBezTo>
                  <a:pt x="447" y="2298"/>
                  <a:pt x="447" y="2298"/>
                  <a:pt x="447" y="2298"/>
                </a:cubicBezTo>
                <a:cubicBezTo>
                  <a:pt x="429" y="2313"/>
                  <a:pt x="406" y="2322"/>
                  <a:pt x="380" y="2322"/>
                </a:cubicBezTo>
                <a:cubicBezTo>
                  <a:pt x="306" y="2322"/>
                  <a:pt x="294" y="2246"/>
                  <a:pt x="186" y="2246"/>
                </a:cubicBezTo>
                <a:cubicBezTo>
                  <a:pt x="84" y="2246"/>
                  <a:pt x="0" y="2330"/>
                  <a:pt x="0" y="2432"/>
                </a:cubicBezTo>
                <a:cubicBezTo>
                  <a:pt x="0" y="2535"/>
                  <a:pt x="84" y="2618"/>
                  <a:pt x="186" y="2618"/>
                </a:cubicBezTo>
                <a:cubicBezTo>
                  <a:pt x="284" y="2618"/>
                  <a:pt x="319" y="2543"/>
                  <a:pt x="380" y="2543"/>
                </a:cubicBezTo>
                <a:cubicBezTo>
                  <a:pt x="406" y="2543"/>
                  <a:pt x="429" y="2552"/>
                  <a:pt x="447" y="2567"/>
                </a:cubicBezTo>
                <a:cubicBezTo>
                  <a:pt x="447" y="3153"/>
                  <a:pt x="447" y="3153"/>
                  <a:pt x="447" y="3153"/>
                </a:cubicBezTo>
                <a:cubicBezTo>
                  <a:pt x="1300" y="3153"/>
                  <a:pt x="2075" y="2814"/>
                  <a:pt x="2642" y="2264"/>
                </a:cubicBezTo>
                <a:cubicBezTo>
                  <a:pt x="2663" y="2267"/>
                  <a:pt x="2684" y="2277"/>
                  <a:pt x="2700" y="2293"/>
                </a:cubicBezTo>
                <a:cubicBezTo>
                  <a:pt x="2753" y="2346"/>
                  <a:pt x="2708" y="2407"/>
                  <a:pt x="2784" y="2483"/>
                </a:cubicBezTo>
                <a:cubicBezTo>
                  <a:pt x="2856" y="2556"/>
                  <a:pt x="2974" y="2556"/>
                  <a:pt x="3047" y="2483"/>
                </a:cubicBezTo>
                <a:cubicBezTo>
                  <a:pt x="3120" y="2411"/>
                  <a:pt x="3120" y="2293"/>
                  <a:pt x="3047" y="2220"/>
                </a:cubicBezTo>
                <a:cubicBezTo>
                  <a:pt x="2978" y="2151"/>
                  <a:pt x="2900" y="2179"/>
                  <a:pt x="2857" y="2137"/>
                </a:cubicBezTo>
                <a:close/>
              </a:path>
            </a:pathLst>
          </a:custGeom>
          <a:solidFill>
            <a:schemeClr val="accent2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55DAFB92-89FA-FAC2-349A-20074D4F02D7}"/>
              </a:ext>
            </a:extLst>
          </p:cNvPr>
          <p:cNvSpPr>
            <a:spLocks/>
          </p:cNvSpPr>
          <p:nvPr/>
        </p:nvSpPr>
        <p:spPr bwMode="auto">
          <a:xfrm>
            <a:off x="3712764" y="3598698"/>
            <a:ext cx="2383236" cy="2713202"/>
          </a:xfrm>
          <a:custGeom>
            <a:avLst/>
            <a:gdLst>
              <a:gd name="T0" fmla="*/ 2893 w 3154"/>
              <a:gd name="T1" fmla="*/ 2684 h 3591"/>
              <a:gd name="T2" fmla="*/ 3087 w 3154"/>
              <a:gd name="T3" fmla="*/ 2760 h 3591"/>
              <a:gd name="T4" fmla="*/ 3154 w 3154"/>
              <a:gd name="T5" fmla="*/ 2736 h 3591"/>
              <a:gd name="T6" fmla="*/ 3154 w 3154"/>
              <a:gd name="T7" fmla="*/ 2217 h 3591"/>
              <a:gd name="T8" fmla="*/ 3154 w 3154"/>
              <a:gd name="T9" fmla="*/ 2217 h 3591"/>
              <a:gd name="T10" fmla="*/ 1375 w 3154"/>
              <a:gd name="T11" fmla="*/ 438 h 3591"/>
              <a:gd name="T12" fmla="*/ 841 w 3154"/>
              <a:gd name="T13" fmla="*/ 438 h 3591"/>
              <a:gd name="T14" fmla="*/ 824 w 3154"/>
              <a:gd name="T15" fmla="*/ 380 h 3591"/>
              <a:gd name="T16" fmla="*/ 899 w 3154"/>
              <a:gd name="T17" fmla="*/ 186 h 3591"/>
              <a:gd name="T18" fmla="*/ 713 w 3154"/>
              <a:gd name="T19" fmla="*/ 0 h 3591"/>
              <a:gd name="T20" fmla="*/ 527 w 3154"/>
              <a:gd name="T21" fmla="*/ 186 h 3591"/>
              <a:gd name="T22" fmla="*/ 602 w 3154"/>
              <a:gd name="T23" fmla="*/ 380 h 3591"/>
              <a:gd name="T24" fmla="*/ 585 w 3154"/>
              <a:gd name="T25" fmla="*/ 438 h 3591"/>
              <a:gd name="T26" fmla="*/ 0 w 3154"/>
              <a:gd name="T27" fmla="*/ 438 h 3591"/>
              <a:gd name="T28" fmla="*/ 789 w 3154"/>
              <a:gd name="T29" fmla="*/ 2524 h 3591"/>
              <a:gd name="T30" fmla="*/ 761 w 3154"/>
              <a:gd name="T31" fmla="*/ 2575 h 3591"/>
              <a:gd name="T32" fmla="*/ 571 w 3154"/>
              <a:gd name="T33" fmla="*/ 2658 h 3591"/>
              <a:gd name="T34" fmla="*/ 571 w 3154"/>
              <a:gd name="T35" fmla="*/ 2921 h 3591"/>
              <a:gd name="T36" fmla="*/ 834 w 3154"/>
              <a:gd name="T37" fmla="*/ 2921 h 3591"/>
              <a:gd name="T38" fmla="*/ 917 w 3154"/>
              <a:gd name="T39" fmla="*/ 2731 h 3591"/>
              <a:gd name="T40" fmla="*/ 962 w 3154"/>
              <a:gd name="T41" fmla="*/ 2705 h 3591"/>
              <a:gd name="T42" fmla="*/ 3154 w 3154"/>
              <a:gd name="T43" fmla="*/ 3591 h 3591"/>
              <a:gd name="T44" fmla="*/ 3154 w 3154"/>
              <a:gd name="T45" fmla="*/ 3005 h 3591"/>
              <a:gd name="T46" fmla="*/ 3087 w 3154"/>
              <a:gd name="T47" fmla="*/ 2981 h 3591"/>
              <a:gd name="T48" fmla="*/ 2893 w 3154"/>
              <a:gd name="T49" fmla="*/ 3056 h 3591"/>
              <a:gd name="T50" fmla="*/ 2707 w 3154"/>
              <a:gd name="T51" fmla="*/ 2870 h 3591"/>
              <a:gd name="T52" fmla="*/ 2893 w 3154"/>
              <a:gd name="T53" fmla="*/ 2684 h 3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154" h="3591">
                <a:moveTo>
                  <a:pt x="2893" y="2684"/>
                </a:moveTo>
                <a:cubicBezTo>
                  <a:pt x="3001" y="2684"/>
                  <a:pt x="3013" y="2760"/>
                  <a:pt x="3087" y="2760"/>
                </a:cubicBezTo>
                <a:cubicBezTo>
                  <a:pt x="3113" y="2760"/>
                  <a:pt x="3136" y="2751"/>
                  <a:pt x="3154" y="2736"/>
                </a:cubicBezTo>
                <a:cubicBezTo>
                  <a:pt x="3154" y="2217"/>
                  <a:pt x="3154" y="2217"/>
                  <a:pt x="3154" y="2217"/>
                </a:cubicBezTo>
                <a:cubicBezTo>
                  <a:pt x="3154" y="2217"/>
                  <a:pt x="3154" y="2217"/>
                  <a:pt x="3154" y="2217"/>
                </a:cubicBezTo>
                <a:cubicBezTo>
                  <a:pt x="2171" y="2217"/>
                  <a:pt x="1375" y="1421"/>
                  <a:pt x="1375" y="438"/>
                </a:cubicBezTo>
                <a:cubicBezTo>
                  <a:pt x="841" y="438"/>
                  <a:pt x="841" y="438"/>
                  <a:pt x="841" y="438"/>
                </a:cubicBezTo>
                <a:cubicBezTo>
                  <a:pt x="830" y="421"/>
                  <a:pt x="824" y="401"/>
                  <a:pt x="824" y="380"/>
                </a:cubicBezTo>
                <a:cubicBezTo>
                  <a:pt x="824" y="306"/>
                  <a:pt x="899" y="294"/>
                  <a:pt x="899" y="186"/>
                </a:cubicBezTo>
                <a:cubicBezTo>
                  <a:pt x="899" y="83"/>
                  <a:pt x="816" y="0"/>
                  <a:pt x="713" y="0"/>
                </a:cubicBezTo>
                <a:cubicBezTo>
                  <a:pt x="610" y="0"/>
                  <a:pt x="527" y="83"/>
                  <a:pt x="527" y="186"/>
                </a:cubicBezTo>
                <a:cubicBezTo>
                  <a:pt x="527" y="284"/>
                  <a:pt x="602" y="319"/>
                  <a:pt x="602" y="380"/>
                </a:cubicBezTo>
                <a:cubicBezTo>
                  <a:pt x="602" y="401"/>
                  <a:pt x="596" y="421"/>
                  <a:pt x="585" y="438"/>
                </a:cubicBezTo>
                <a:cubicBezTo>
                  <a:pt x="0" y="438"/>
                  <a:pt x="0" y="438"/>
                  <a:pt x="0" y="438"/>
                </a:cubicBezTo>
                <a:cubicBezTo>
                  <a:pt x="0" y="1238"/>
                  <a:pt x="298" y="1968"/>
                  <a:pt x="789" y="2524"/>
                </a:cubicBezTo>
                <a:cubicBezTo>
                  <a:pt x="785" y="2542"/>
                  <a:pt x="775" y="2560"/>
                  <a:pt x="761" y="2575"/>
                </a:cubicBezTo>
                <a:cubicBezTo>
                  <a:pt x="718" y="2617"/>
                  <a:pt x="640" y="2589"/>
                  <a:pt x="571" y="2658"/>
                </a:cubicBezTo>
                <a:cubicBezTo>
                  <a:pt x="498" y="2731"/>
                  <a:pt x="498" y="2849"/>
                  <a:pt x="571" y="2921"/>
                </a:cubicBezTo>
                <a:cubicBezTo>
                  <a:pt x="643" y="2994"/>
                  <a:pt x="761" y="2994"/>
                  <a:pt x="834" y="2921"/>
                </a:cubicBezTo>
                <a:cubicBezTo>
                  <a:pt x="910" y="2845"/>
                  <a:pt x="865" y="2784"/>
                  <a:pt x="917" y="2731"/>
                </a:cubicBezTo>
                <a:cubicBezTo>
                  <a:pt x="930" y="2718"/>
                  <a:pt x="946" y="2709"/>
                  <a:pt x="962" y="2705"/>
                </a:cubicBezTo>
                <a:cubicBezTo>
                  <a:pt x="1529" y="3254"/>
                  <a:pt x="2302" y="3591"/>
                  <a:pt x="3154" y="3591"/>
                </a:cubicBezTo>
                <a:cubicBezTo>
                  <a:pt x="3154" y="3005"/>
                  <a:pt x="3154" y="3005"/>
                  <a:pt x="3154" y="3005"/>
                </a:cubicBezTo>
                <a:cubicBezTo>
                  <a:pt x="3136" y="2990"/>
                  <a:pt x="3113" y="2981"/>
                  <a:pt x="3087" y="2981"/>
                </a:cubicBezTo>
                <a:cubicBezTo>
                  <a:pt x="3026" y="2981"/>
                  <a:pt x="2991" y="3056"/>
                  <a:pt x="2893" y="3056"/>
                </a:cubicBezTo>
                <a:cubicBezTo>
                  <a:pt x="2791" y="3056"/>
                  <a:pt x="2707" y="2973"/>
                  <a:pt x="2707" y="2870"/>
                </a:cubicBezTo>
                <a:cubicBezTo>
                  <a:pt x="2707" y="2768"/>
                  <a:pt x="2791" y="2684"/>
                  <a:pt x="2893" y="2684"/>
                </a:cubicBezTo>
                <a:close/>
              </a:path>
            </a:pathLst>
          </a:custGeom>
          <a:solidFill>
            <a:schemeClr val="accent3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5C04874-1742-DBD1-1970-0960AD585E9C}"/>
              </a:ext>
            </a:extLst>
          </p:cNvPr>
          <p:cNvSpPr>
            <a:spLocks/>
          </p:cNvSpPr>
          <p:nvPr/>
        </p:nvSpPr>
        <p:spPr bwMode="auto">
          <a:xfrm>
            <a:off x="3712764" y="1546718"/>
            <a:ext cx="2723514" cy="2383236"/>
          </a:xfrm>
          <a:custGeom>
            <a:avLst/>
            <a:gdLst>
              <a:gd name="T0" fmla="*/ 3154 w 3604"/>
              <a:gd name="T1" fmla="*/ 1375 h 3154"/>
              <a:gd name="T2" fmla="*/ 3154 w 3604"/>
              <a:gd name="T3" fmla="*/ 1375 h 3154"/>
              <a:gd name="T4" fmla="*/ 3154 w 3604"/>
              <a:gd name="T5" fmla="*/ 816 h 3154"/>
              <a:gd name="T6" fmla="*/ 3224 w 3604"/>
              <a:gd name="T7" fmla="*/ 789 h 3154"/>
              <a:gd name="T8" fmla="*/ 3418 w 3604"/>
              <a:gd name="T9" fmla="*/ 865 h 3154"/>
              <a:gd name="T10" fmla="*/ 3604 w 3604"/>
              <a:gd name="T11" fmla="*/ 679 h 3154"/>
              <a:gd name="T12" fmla="*/ 3418 w 3604"/>
              <a:gd name="T13" fmla="*/ 493 h 3154"/>
              <a:gd name="T14" fmla="*/ 3224 w 3604"/>
              <a:gd name="T15" fmla="*/ 568 h 3154"/>
              <a:gd name="T16" fmla="*/ 3154 w 3604"/>
              <a:gd name="T17" fmla="*/ 541 h 3154"/>
              <a:gd name="T18" fmla="*/ 3154 w 3604"/>
              <a:gd name="T19" fmla="*/ 0 h 3154"/>
              <a:gd name="T20" fmla="*/ 965 w 3604"/>
              <a:gd name="T21" fmla="*/ 884 h 3154"/>
              <a:gd name="T22" fmla="*/ 917 w 3604"/>
              <a:gd name="T23" fmla="*/ 856 h 3154"/>
              <a:gd name="T24" fmla="*/ 834 w 3604"/>
              <a:gd name="T25" fmla="*/ 666 h 3154"/>
              <a:gd name="T26" fmla="*/ 571 w 3604"/>
              <a:gd name="T27" fmla="*/ 666 h 3154"/>
              <a:gd name="T28" fmla="*/ 571 w 3604"/>
              <a:gd name="T29" fmla="*/ 929 h 3154"/>
              <a:gd name="T30" fmla="*/ 761 w 3604"/>
              <a:gd name="T31" fmla="*/ 1013 h 3154"/>
              <a:gd name="T32" fmla="*/ 790 w 3604"/>
              <a:gd name="T33" fmla="*/ 1067 h 3154"/>
              <a:gd name="T34" fmla="*/ 0 w 3604"/>
              <a:gd name="T35" fmla="*/ 3154 h 3154"/>
              <a:gd name="T36" fmla="*/ 585 w 3604"/>
              <a:gd name="T37" fmla="*/ 3154 h 3154"/>
              <a:gd name="T38" fmla="*/ 602 w 3604"/>
              <a:gd name="T39" fmla="*/ 3096 h 3154"/>
              <a:gd name="T40" fmla="*/ 527 w 3604"/>
              <a:gd name="T41" fmla="*/ 2902 h 3154"/>
              <a:gd name="T42" fmla="*/ 713 w 3604"/>
              <a:gd name="T43" fmla="*/ 2716 h 3154"/>
              <a:gd name="T44" fmla="*/ 899 w 3604"/>
              <a:gd name="T45" fmla="*/ 2902 h 3154"/>
              <a:gd name="T46" fmla="*/ 824 w 3604"/>
              <a:gd name="T47" fmla="*/ 3096 h 3154"/>
              <a:gd name="T48" fmla="*/ 841 w 3604"/>
              <a:gd name="T49" fmla="*/ 3154 h 3154"/>
              <a:gd name="T50" fmla="*/ 1375 w 3604"/>
              <a:gd name="T51" fmla="*/ 3154 h 3154"/>
              <a:gd name="T52" fmla="*/ 3154 w 3604"/>
              <a:gd name="T53" fmla="*/ 1375 h 3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604" h="3154">
                <a:moveTo>
                  <a:pt x="3154" y="1375"/>
                </a:moveTo>
                <a:cubicBezTo>
                  <a:pt x="3154" y="1375"/>
                  <a:pt x="3154" y="1375"/>
                  <a:pt x="3154" y="1375"/>
                </a:cubicBezTo>
                <a:cubicBezTo>
                  <a:pt x="3154" y="816"/>
                  <a:pt x="3154" y="816"/>
                  <a:pt x="3154" y="816"/>
                </a:cubicBezTo>
                <a:cubicBezTo>
                  <a:pt x="3173" y="800"/>
                  <a:pt x="3197" y="789"/>
                  <a:pt x="3224" y="789"/>
                </a:cubicBezTo>
                <a:cubicBezTo>
                  <a:pt x="3285" y="789"/>
                  <a:pt x="3320" y="865"/>
                  <a:pt x="3418" y="865"/>
                </a:cubicBezTo>
                <a:cubicBezTo>
                  <a:pt x="3520" y="865"/>
                  <a:pt x="3604" y="781"/>
                  <a:pt x="3604" y="679"/>
                </a:cubicBezTo>
                <a:cubicBezTo>
                  <a:pt x="3604" y="576"/>
                  <a:pt x="3520" y="493"/>
                  <a:pt x="3418" y="493"/>
                </a:cubicBezTo>
                <a:cubicBezTo>
                  <a:pt x="3310" y="493"/>
                  <a:pt x="3298" y="568"/>
                  <a:pt x="3224" y="568"/>
                </a:cubicBezTo>
                <a:cubicBezTo>
                  <a:pt x="3197" y="568"/>
                  <a:pt x="3173" y="558"/>
                  <a:pt x="3154" y="541"/>
                </a:cubicBezTo>
                <a:cubicBezTo>
                  <a:pt x="3154" y="0"/>
                  <a:pt x="3154" y="0"/>
                  <a:pt x="3154" y="0"/>
                </a:cubicBezTo>
                <a:cubicBezTo>
                  <a:pt x="2304" y="0"/>
                  <a:pt x="1532" y="337"/>
                  <a:pt x="965" y="884"/>
                </a:cubicBezTo>
                <a:cubicBezTo>
                  <a:pt x="948" y="879"/>
                  <a:pt x="931" y="870"/>
                  <a:pt x="917" y="856"/>
                </a:cubicBezTo>
                <a:cubicBezTo>
                  <a:pt x="865" y="804"/>
                  <a:pt x="910" y="742"/>
                  <a:pt x="834" y="666"/>
                </a:cubicBezTo>
                <a:cubicBezTo>
                  <a:pt x="761" y="593"/>
                  <a:pt x="643" y="593"/>
                  <a:pt x="571" y="666"/>
                </a:cubicBezTo>
                <a:cubicBezTo>
                  <a:pt x="498" y="739"/>
                  <a:pt x="498" y="856"/>
                  <a:pt x="571" y="929"/>
                </a:cubicBezTo>
                <a:cubicBezTo>
                  <a:pt x="640" y="998"/>
                  <a:pt x="718" y="970"/>
                  <a:pt x="761" y="1013"/>
                </a:cubicBezTo>
                <a:cubicBezTo>
                  <a:pt x="776" y="1028"/>
                  <a:pt x="786" y="1047"/>
                  <a:pt x="790" y="1067"/>
                </a:cubicBezTo>
                <a:cubicBezTo>
                  <a:pt x="299" y="1623"/>
                  <a:pt x="0" y="2354"/>
                  <a:pt x="0" y="3154"/>
                </a:cubicBezTo>
                <a:cubicBezTo>
                  <a:pt x="585" y="3154"/>
                  <a:pt x="585" y="3154"/>
                  <a:pt x="585" y="3154"/>
                </a:cubicBezTo>
                <a:cubicBezTo>
                  <a:pt x="596" y="3137"/>
                  <a:pt x="602" y="3117"/>
                  <a:pt x="602" y="3096"/>
                </a:cubicBezTo>
                <a:cubicBezTo>
                  <a:pt x="602" y="3035"/>
                  <a:pt x="527" y="3000"/>
                  <a:pt x="527" y="2902"/>
                </a:cubicBezTo>
                <a:cubicBezTo>
                  <a:pt x="527" y="2799"/>
                  <a:pt x="610" y="2716"/>
                  <a:pt x="713" y="2716"/>
                </a:cubicBezTo>
                <a:cubicBezTo>
                  <a:pt x="816" y="2716"/>
                  <a:pt x="899" y="2799"/>
                  <a:pt x="899" y="2902"/>
                </a:cubicBezTo>
                <a:cubicBezTo>
                  <a:pt x="899" y="3010"/>
                  <a:pt x="824" y="3022"/>
                  <a:pt x="824" y="3096"/>
                </a:cubicBezTo>
                <a:cubicBezTo>
                  <a:pt x="824" y="3117"/>
                  <a:pt x="830" y="3137"/>
                  <a:pt x="841" y="3154"/>
                </a:cubicBezTo>
                <a:cubicBezTo>
                  <a:pt x="1375" y="3154"/>
                  <a:pt x="1375" y="3154"/>
                  <a:pt x="1375" y="3154"/>
                </a:cubicBezTo>
                <a:cubicBezTo>
                  <a:pt x="1375" y="2171"/>
                  <a:pt x="2171" y="1375"/>
                  <a:pt x="3154" y="1375"/>
                </a:cubicBezTo>
                <a:close/>
              </a:path>
            </a:pathLst>
          </a:custGeom>
          <a:solidFill>
            <a:schemeClr val="tx2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Freeform 17">
            <a:extLst>
              <a:ext uri="{FF2B5EF4-FFF2-40B4-BE49-F238E27FC236}">
                <a16:creationId xmlns:a16="http://schemas.microsoft.com/office/drawing/2014/main" id="{0ED8546A-BFF7-A0C6-E60D-1954CC923AF4}"/>
              </a:ext>
            </a:extLst>
          </p:cNvPr>
          <p:cNvSpPr>
            <a:spLocks noEditPoints="1"/>
          </p:cNvSpPr>
          <p:nvPr/>
        </p:nvSpPr>
        <p:spPr bwMode="auto">
          <a:xfrm>
            <a:off x="6891552" y="5105421"/>
            <a:ext cx="568288" cy="570368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reeform 80">
            <a:extLst>
              <a:ext uri="{FF2B5EF4-FFF2-40B4-BE49-F238E27FC236}">
                <a16:creationId xmlns:a16="http://schemas.microsoft.com/office/drawing/2014/main" id="{394D887F-6985-7939-D1FB-A62783BBB464}"/>
              </a:ext>
            </a:extLst>
          </p:cNvPr>
          <p:cNvSpPr>
            <a:spLocks noEditPoints="1"/>
          </p:cNvSpPr>
          <p:nvPr/>
        </p:nvSpPr>
        <p:spPr bwMode="auto">
          <a:xfrm>
            <a:off x="4424926" y="2401241"/>
            <a:ext cx="566205" cy="566205"/>
          </a:xfrm>
          <a:custGeom>
            <a:avLst/>
            <a:gdLst>
              <a:gd name="T0" fmla="*/ 77 w 353"/>
              <a:gd name="T1" fmla="*/ 238 h 353"/>
              <a:gd name="T2" fmla="*/ 86 w 353"/>
              <a:gd name="T3" fmla="*/ 230 h 353"/>
              <a:gd name="T4" fmla="*/ 88 w 353"/>
              <a:gd name="T5" fmla="*/ 225 h 353"/>
              <a:gd name="T6" fmla="*/ 80 w 353"/>
              <a:gd name="T7" fmla="*/ 217 h 353"/>
              <a:gd name="T8" fmla="*/ 74 w 353"/>
              <a:gd name="T9" fmla="*/ 219 h 353"/>
              <a:gd name="T10" fmla="*/ 66 w 353"/>
              <a:gd name="T11" fmla="*/ 227 h 353"/>
              <a:gd name="T12" fmla="*/ 64 w 353"/>
              <a:gd name="T13" fmla="*/ 233 h 353"/>
              <a:gd name="T14" fmla="*/ 72 w 353"/>
              <a:gd name="T15" fmla="*/ 241 h 353"/>
              <a:gd name="T16" fmla="*/ 77 w 353"/>
              <a:gd name="T17" fmla="*/ 238 h 353"/>
              <a:gd name="T18" fmla="*/ 128 w 353"/>
              <a:gd name="T19" fmla="*/ 233 h 353"/>
              <a:gd name="T20" fmla="*/ 120 w 353"/>
              <a:gd name="T21" fmla="*/ 225 h 353"/>
              <a:gd name="T22" fmla="*/ 114 w 353"/>
              <a:gd name="T23" fmla="*/ 227 h 353"/>
              <a:gd name="T24" fmla="*/ 34 w 353"/>
              <a:gd name="T25" fmla="*/ 307 h 353"/>
              <a:gd name="T26" fmla="*/ 32 w 353"/>
              <a:gd name="T27" fmla="*/ 313 h 353"/>
              <a:gd name="T28" fmla="*/ 40 w 353"/>
              <a:gd name="T29" fmla="*/ 321 h 353"/>
              <a:gd name="T30" fmla="*/ 45 w 353"/>
              <a:gd name="T31" fmla="*/ 319 h 353"/>
              <a:gd name="T32" fmla="*/ 126 w 353"/>
              <a:gd name="T33" fmla="*/ 238 h 353"/>
              <a:gd name="T34" fmla="*/ 128 w 353"/>
              <a:gd name="T35" fmla="*/ 233 h 353"/>
              <a:gd name="T36" fmla="*/ 128 w 353"/>
              <a:gd name="T37" fmla="*/ 265 h 353"/>
              <a:gd name="T38" fmla="*/ 122 w 353"/>
              <a:gd name="T39" fmla="*/ 267 h 353"/>
              <a:gd name="T40" fmla="*/ 98 w 353"/>
              <a:gd name="T41" fmla="*/ 291 h 353"/>
              <a:gd name="T42" fmla="*/ 96 w 353"/>
              <a:gd name="T43" fmla="*/ 297 h 353"/>
              <a:gd name="T44" fmla="*/ 104 w 353"/>
              <a:gd name="T45" fmla="*/ 305 h 353"/>
              <a:gd name="T46" fmla="*/ 110 w 353"/>
              <a:gd name="T47" fmla="*/ 302 h 353"/>
              <a:gd name="T48" fmla="*/ 134 w 353"/>
              <a:gd name="T49" fmla="*/ 278 h 353"/>
              <a:gd name="T50" fmla="*/ 136 w 353"/>
              <a:gd name="T51" fmla="*/ 273 h 353"/>
              <a:gd name="T52" fmla="*/ 128 w 353"/>
              <a:gd name="T53" fmla="*/ 265 h 353"/>
              <a:gd name="T54" fmla="*/ 353 w 353"/>
              <a:gd name="T55" fmla="*/ 8 h 353"/>
              <a:gd name="T56" fmla="*/ 345 w 353"/>
              <a:gd name="T57" fmla="*/ 0 h 353"/>
              <a:gd name="T58" fmla="*/ 341 w 353"/>
              <a:gd name="T59" fmla="*/ 1 h 353"/>
              <a:gd name="T60" fmla="*/ 341 w 353"/>
              <a:gd name="T61" fmla="*/ 1 h 353"/>
              <a:gd name="T62" fmla="*/ 4 w 353"/>
              <a:gd name="T63" fmla="*/ 145 h 353"/>
              <a:gd name="T64" fmla="*/ 4 w 353"/>
              <a:gd name="T65" fmla="*/ 145 h 353"/>
              <a:gd name="T66" fmla="*/ 4 w 353"/>
              <a:gd name="T67" fmla="*/ 145 h 353"/>
              <a:gd name="T68" fmla="*/ 4 w 353"/>
              <a:gd name="T69" fmla="*/ 145 h 353"/>
              <a:gd name="T70" fmla="*/ 0 w 353"/>
              <a:gd name="T71" fmla="*/ 152 h 353"/>
              <a:gd name="T72" fmla="*/ 5 w 353"/>
              <a:gd name="T73" fmla="*/ 160 h 353"/>
              <a:gd name="T74" fmla="*/ 5 w 353"/>
              <a:gd name="T75" fmla="*/ 160 h 353"/>
              <a:gd name="T76" fmla="*/ 138 w 353"/>
              <a:gd name="T77" fmla="*/ 215 h 353"/>
              <a:gd name="T78" fmla="*/ 193 w 353"/>
              <a:gd name="T79" fmla="*/ 347 h 353"/>
              <a:gd name="T80" fmla="*/ 193 w 353"/>
              <a:gd name="T81" fmla="*/ 347 h 353"/>
              <a:gd name="T82" fmla="*/ 200 w 353"/>
              <a:gd name="T83" fmla="*/ 353 h 353"/>
              <a:gd name="T84" fmla="*/ 207 w 353"/>
              <a:gd name="T85" fmla="*/ 348 h 353"/>
              <a:gd name="T86" fmla="*/ 208 w 353"/>
              <a:gd name="T87" fmla="*/ 348 h 353"/>
              <a:gd name="T88" fmla="*/ 208 w 353"/>
              <a:gd name="T89" fmla="*/ 348 h 353"/>
              <a:gd name="T90" fmla="*/ 208 w 353"/>
              <a:gd name="T91" fmla="*/ 348 h 353"/>
              <a:gd name="T92" fmla="*/ 352 w 353"/>
              <a:gd name="T93" fmla="*/ 11 h 353"/>
              <a:gd name="T94" fmla="*/ 352 w 353"/>
              <a:gd name="T95" fmla="*/ 11 h 353"/>
              <a:gd name="T96" fmla="*/ 353 w 353"/>
              <a:gd name="T97" fmla="*/ 8 h 353"/>
              <a:gd name="T98" fmla="*/ 28 w 353"/>
              <a:gd name="T99" fmla="*/ 152 h 353"/>
              <a:gd name="T100" fmla="*/ 310 w 353"/>
              <a:gd name="T101" fmla="*/ 32 h 353"/>
              <a:gd name="T102" fmla="*/ 142 w 353"/>
              <a:gd name="T103" fmla="*/ 199 h 353"/>
              <a:gd name="T104" fmla="*/ 28 w 353"/>
              <a:gd name="T105" fmla="*/ 152 h 353"/>
              <a:gd name="T106" fmla="*/ 200 w 353"/>
              <a:gd name="T107" fmla="*/ 324 h 353"/>
              <a:gd name="T108" fmla="*/ 153 w 353"/>
              <a:gd name="T109" fmla="*/ 210 h 353"/>
              <a:gd name="T110" fmla="*/ 321 w 353"/>
              <a:gd name="T111" fmla="*/ 43 h 353"/>
              <a:gd name="T112" fmla="*/ 200 w 353"/>
              <a:gd name="T113" fmla="*/ 32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53" h="353">
                <a:moveTo>
                  <a:pt x="77" y="238"/>
                </a:moveTo>
                <a:cubicBezTo>
                  <a:pt x="86" y="230"/>
                  <a:pt x="86" y="230"/>
                  <a:pt x="86" y="230"/>
                </a:cubicBezTo>
                <a:cubicBezTo>
                  <a:pt x="87" y="229"/>
                  <a:pt x="88" y="227"/>
                  <a:pt x="88" y="225"/>
                </a:cubicBezTo>
                <a:cubicBezTo>
                  <a:pt x="88" y="220"/>
                  <a:pt x="84" y="217"/>
                  <a:pt x="80" y="217"/>
                </a:cubicBezTo>
                <a:cubicBezTo>
                  <a:pt x="78" y="217"/>
                  <a:pt x="76" y="217"/>
                  <a:pt x="74" y="219"/>
                </a:cubicBezTo>
                <a:cubicBezTo>
                  <a:pt x="66" y="227"/>
                  <a:pt x="66" y="227"/>
                  <a:pt x="66" y="227"/>
                </a:cubicBezTo>
                <a:cubicBezTo>
                  <a:pt x="65" y="228"/>
                  <a:pt x="64" y="230"/>
                  <a:pt x="64" y="233"/>
                </a:cubicBezTo>
                <a:cubicBezTo>
                  <a:pt x="64" y="237"/>
                  <a:pt x="67" y="241"/>
                  <a:pt x="72" y="241"/>
                </a:cubicBezTo>
                <a:cubicBezTo>
                  <a:pt x="74" y="241"/>
                  <a:pt x="76" y="240"/>
                  <a:pt x="77" y="238"/>
                </a:cubicBezTo>
                <a:moveTo>
                  <a:pt x="128" y="233"/>
                </a:moveTo>
                <a:cubicBezTo>
                  <a:pt x="128" y="228"/>
                  <a:pt x="124" y="225"/>
                  <a:pt x="120" y="225"/>
                </a:cubicBezTo>
                <a:cubicBezTo>
                  <a:pt x="118" y="225"/>
                  <a:pt x="116" y="225"/>
                  <a:pt x="114" y="227"/>
                </a:cubicBezTo>
                <a:cubicBezTo>
                  <a:pt x="34" y="307"/>
                  <a:pt x="34" y="307"/>
                  <a:pt x="34" y="307"/>
                </a:cubicBezTo>
                <a:cubicBezTo>
                  <a:pt x="33" y="309"/>
                  <a:pt x="32" y="311"/>
                  <a:pt x="32" y="313"/>
                </a:cubicBezTo>
                <a:cubicBezTo>
                  <a:pt x="32" y="317"/>
                  <a:pt x="35" y="321"/>
                  <a:pt x="40" y="321"/>
                </a:cubicBezTo>
                <a:cubicBezTo>
                  <a:pt x="42" y="321"/>
                  <a:pt x="44" y="320"/>
                  <a:pt x="45" y="319"/>
                </a:cubicBezTo>
                <a:cubicBezTo>
                  <a:pt x="126" y="238"/>
                  <a:pt x="126" y="238"/>
                  <a:pt x="126" y="238"/>
                </a:cubicBezTo>
                <a:cubicBezTo>
                  <a:pt x="127" y="237"/>
                  <a:pt x="128" y="235"/>
                  <a:pt x="128" y="233"/>
                </a:cubicBezTo>
                <a:moveTo>
                  <a:pt x="128" y="265"/>
                </a:moveTo>
                <a:cubicBezTo>
                  <a:pt x="126" y="265"/>
                  <a:pt x="124" y="266"/>
                  <a:pt x="122" y="267"/>
                </a:cubicBezTo>
                <a:cubicBezTo>
                  <a:pt x="98" y="291"/>
                  <a:pt x="98" y="291"/>
                  <a:pt x="98" y="291"/>
                </a:cubicBezTo>
                <a:cubicBezTo>
                  <a:pt x="97" y="293"/>
                  <a:pt x="96" y="295"/>
                  <a:pt x="96" y="297"/>
                </a:cubicBezTo>
                <a:cubicBezTo>
                  <a:pt x="96" y="301"/>
                  <a:pt x="99" y="305"/>
                  <a:pt x="104" y="305"/>
                </a:cubicBezTo>
                <a:cubicBezTo>
                  <a:pt x="106" y="305"/>
                  <a:pt x="108" y="304"/>
                  <a:pt x="110" y="302"/>
                </a:cubicBezTo>
                <a:cubicBezTo>
                  <a:pt x="134" y="278"/>
                  <a:pt x="134" y="278"/>
                  <a:pt x="134" y="278"/>
                </a:cubicBezTo>
                <a:cubicBezTo>
                  <a:pt x="135" y="277"/>
                  <a:pt x="136" y="275"/>
                  <a:pt x="136" y="273"/>
                </a:cubicBezTo>
                <a:cubicBezTo>
                  <a:pt x="136" y="268"/>
                  <a:pt x="132" y="265"/>
                  <a:pt x="128" y="265"/>
                </a:cubicBezTo>
                <a:moveTo>
                  <a:pt x="353" y="8"/>
                </a:moveTo>
                <a:cubicBezTo>
                  <a:pt x="353" y="3"/>
                  <a:pt x="349" y="0"/>
                  <a:pt x="345" y="0"/>
                </a:cubicBezTo>
                <a:cubicBezTo>
                  <a:pt x="344" y="0"/>
                  <a:pt x="342" y="0"/>
                  <a:pt x="341" y="1"/>
                </a:cubicBezTo>
                <a:cubicBezTo>
                  <a:pt x="341" y="1"/>
                  <a:pt x="341" y="1"/>
                  <a:pt x="341" y="1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1" y="146"/>
                  <a:pt x="0" y="149"/>
                  <a:pt x="0" y="152"/>
                </a:cubicBezTo>
                <a:cubicBezTo>
                  <a:pt x="0" y="156"/>
                  <a:pt x="2" y="159"/>
                  <a:pt x="5" y="160"/>
                </a:cubicBezTo>
                <a:cubicBezTo>
                  <a:pt x="5" y="160"/>
                  <a:pt x="5" y="160"/>
                  <a:pt x="5" y="160"/>
                </a:cubicBezTo>
                <a:cubicBezTo>
                  <a:pt x="138" y="215"/>
                  <a:pt x="138" y="215"/>
                  <a:pt x="138" y="215"/>
                </a:cubicBezTo>
                <a:cubicBezTo>
                  <a:pt x="193" y="347"/>
                  <a:pt x="193" y="347"/>
                  <a:pt x="193" y="347"/>
                </a:cubicBezTo>
                <a:cubicBezTo>
                  <a:pt x="193" y="347"/>
                  <a:pt x="193" y="347"/>
                  <a:pt x="193" y="347"/>
                </a:cubicBezTo>
                <a:cubicBezTo>
                  <a:pt x="194" y="351"/>
                  <a:pt x="197" y="353"/>
                  <a:pt x="200" y="353"/>
                </a:cubicBezTo>
                <a:cubicBezTo>
                  <a:pt x="203" y="353"/>
                  <a:pt x="206" y="351"/>
                  <a:pt x="207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352" y="11"/>
                  <a:pt x="352" y="11"/>
                  <a:pt x="352" y="11"/>
                </a:cubicBezTo>
                <a:cubicBezTo>
                  <a:pt x="352" y="11"/>
                  <a:pt x="352" y="11"/>
                  <a:pt x="352" y="11"/>
                </a:cubicBezTo>
                <a:cubicBezTo>
                  <a:pt x="352" y="10"/>
                  <a:pt x="353" y="9"/>
                  <a:pt x="353" y="8"/>
                </a:cubicBezTo>
                <a:moveTo>
                  <a:pt x="28" y="152"/>
                </a:moveTo>
                <a:cubicBezTo>
                  <a:pt x="310" y="32"/>
                  <a:pt x="310" y="32"/>
                  <a:pt x="310" y="32"/>
                </a:cubicBezTo>
                <a:cubicBezTo>
                  <a:pt x="142" y="199"/>
                  <a:pt x="142" y="199"/>
                  <a:pt x="142" y="199"/>
                </a:cubicBezTo>
                <a:lnTo>
                  <a:pt x="28" y="152"/>
                </a:lnTo>
                <a:close/>
                <a:moveTo>
                  <a:pt x="200" y="324"/>
                </a:moveTo>
                <a:cubicBezTo>
                  <a:pt x="153" y="210"/>
                  <a:pt x="153" y="210"/>
                  <a:pt x="153" y="210"/>
                </a:cubicBezTo>
                <a:cubicBezTo>
                  <a:pt x="321" y="43"/>
                  <a:pt x="321" y="43"/>
                  <a:pt x="321" y="43"/>
                </a:cubicBezTo>
                <a:lnTo>
                  <a:pt x="200" y="3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Freeform 85">
            <a:extLst>
              <a:ext uri="{FF2B5EF4-FFF2-40B4-BE49-F238E27FC236}">
                <a16:creationId xmlns:a16="http://schemas.microsoft.com/office/drawing/2014/main" id="{241F1799-6178-5A69-29AE-A29528FEF9CB}"/>
              </a:ext>
            </a:extLst>
          </p:cNvPr>
          <p:cNvSpPr>
            <a:spLocks noEditPoints="1"/>
          </p:cNvSpPr>
          <p:nvPr/>
        </p:nvSpPr>
        <p:spPr bwMode="auto">
          <a:xfrm>
            <a:off x="4508316" y="4837824"/>
            <a:ext cx="566205" cy="566205"/>
          </a:xfrm>
          <a:custGeom>
            <a:avLst/>
            <a:gdLst>
              <a:gd name="T0" fmla="*/ 177 w 353"/>
              <a:gd name="T1" fmla="*/ 273 h 353"/>
              <a:gd name="T2" fmla="*/ 177 w 353"/>
              <a:gd name="T3" fmla="*/ 96 h 353"/>
              <a:gd name="T4" fmla="*/ 177 w 353"/>
              <a:gd name="T5" fmla="*/ 144 h 353"/>
              <a:gd name="T6" fmla="*/ 177 w 353"/>
              <a:gd name="T7" fmla="*/ 96 h 353"/>
              <a:gd name="T8" fmla="*/ 103 w 353"/>
              <a:gd name="T9" fmla="*/ 145 h 353"/>
              <a:gd name="T10" fmla="*/ 169 w 353"/>
              <a:gd name="T11" fmla="*/ 207 h 353"/>
              <a:gd name="T12" fmla="*/ 177 w 353"/>
              <a:gd name="T13" fmla="*/ 160 h 353"/>
              <a:gd name="T14" fmla="*/ 161 w 353"/>
              <a:gd name="T15" fmla="*/ 176 h 353"/>
              <a:gd name="T16" fmla="*/ 185 w 353"/>
              <a:gd name="T17" fmla="*/ 207 h 353"/>
              <a:gd name="T18" fmla="*/ 251 w 353"/>
              <a:gd name="T19" fmla="*/ 145 h 353"/>
              <a:gd name="T20" fmla="*/ 325 w 353"/>
              <a:gd name="T21" fmla="*/ 137 h 353"/>
              <a:gd name="T22" fmla="*/ 318 w 353"/>
              <a:gd name="T23" fmla="*/ 68 h 353"/>
              <a:gd name="T24" fmla="*/ 268 w 353"/>
              <a:gd name="T25" fmla="*/ 35 h 353"/>
              <a:gd name="T26" fmla="*/ 212 w 353"/>
              <a:gd name="T27" fmla="*/ 12 h 353"/>
              <a:gd name="T28" fmla="*/ 142 w 353"/>
              <a:gd name="T29" fmla="*/ 12 h 353"/>
              <a:gd name="T30" fmla="*/ 85 w 353"/>
              <a:gd name="T31" fmla="*/ 35 h 353"/>
              <a:gd name="T32" fmla="*/ 35 w 353"/>
              <a:gd name="T33" fmla="*/ 68 h 353"/>
              <a:gd name="T34" fmla="*/ 29 w 353"/>
              <a:gd name="T35" fmla="*/ 137 h 353"/>
              <a:gd name="T36" fmla="*/ 0 w 353"/>
              <a:gd name="T37" fmla="*/ 200 h 353"/>
              <a:gd name="T38" fmla="*/ 44 w 353"/>
              <a:gd name="T39" fmla="*/ 253 h 353"/>
              <a:gd name="T40" fmla="*/ 69 w 353"/>
              <a:gd name="T41" fmla="*/ 318 h 353"/>
              <a:gd name="T42" fmla="*/ 100 w 353"/>
              <a:gd name="T43" fmla="*/ 309 h 353"/>
              <a:gd name="T44" fmla="*/ 153 w 353"/>
              <a:gd name="T45" fmla="*/ 353 h 353"/>
              <a:gd name="T46" fmla="*/ 216 w 353"/>
              <a:gd name="T47" fmla="*/ 324 h 353"/>
              <a:gd name="T48" fmla="*/ 278 w 353"/>
              <a:gd name="T49" fmla="*/ 321 h 353"/>
              <a:gd name="T50" fmla="*/ 318 w 353"/>
              <a:gd name="T51" fmla="*/ 268 h 353"/>
              <a:gd name="T52" fmla="*/ 342 w 353"/>
              <a:gd name="T53" fmla="*/ 212 h 353"/>
              <a:gd name="T54" fmla="*/ 342 w 353"/>
              <a:gd name="T55" fmla="*/ 141 h 353"/>
              <a:gd name="T56" fmla="*/ 321 w 353"/>
              <a:gd name="T57" fmla="*/ 200 h 353"/>
              <a:gd name="T58" fmla="*/ 296 w 353"/>
              <a:gd name="T59" fmla="*/ 261 h 353"/>
              <a:gd name="T60" fmla="*/ 276 w 353"/>
              <a:gd name="T61" fmla="*/ 304 h 353"/>
              <a:gd name="T62" fmla="*/ 245 w 353"/>
              <a:gd name="T63" fmla="*/ 295 h 353"/>
              <a:gd name="T64" fmla="*/ 197 w 353"/>
              <a:gd name="T65" fmla="*/ 337 h 353"/>
              <a:gd name="T66" fmla="*/ 153 w 353"/>
              <a:gd name="T67" fmla="*/ 320 h 353"/>
              <a:gd name="T68" fmla="*/ 100 w 353"/>
              <a:gd name="T69" fmla="*/ 293 h 353"/>
              <a:gd name="T70" fmla="*/ 77 w 353"/>
              <a:gd name="T71" fmla="*/ 304 h 353"/>
              <a:gd name="T72" fmla="*/ 58 w 353"/>
              <a:gd name="T73" fmla="*/ 245 h 353"/>
              <a:gd name="T74" fmla="*/ 16 w 353"/>
              <a:gd name="T75" fmla="*/ 196 h 353"/>
              <a:gd name="T76" fmla="*/ 33 w 353"/>
              <a:gd name="T77" fmla="*/ 152 h 353"/>
              <a:gd name="T78" fmla="*/ 58 w 353"/>
              <a:gd name="T79" fmla="*/ 92 h 353"/>
              <a:gd name="T80" fmla="*/ 77 w 353"/>
              <a:gd name="T81" fmla="*/ 49 h 353"/>
              <a:gd name="T82" fmla="*/ 108 w 353"/>
              <a:gd name="T83" fmla="*/ 58 h 353"/>
              <a:gd name="T84" fmla="*/ 157 w 353"/>
              <a:gd name="T85" fmla="*/ 16 h 353"/>
              <a:gd name="T86" fmla="*/ 201 w 353"/>
              <a:gd name="T87" fmla="*/ 33 h 353"/>
              <a:gd name="T88" fmla="*/ 253 w 353"/>
              <a:gd name="T89" fmla="*/ 60 h 353"/>
              <a:gd name="T90" fmla="*/ 304 w 353"/>
              <a:gd name="T91" fmla="*/ 77 h 353"/>
              <a:gd name="T92" fmla="*/ 295 w 353"/>
              <a:gd name="T93" fmla="*/ 108 h 353"/>
              <a:gd name="T94" fmla="*/ 337 w 353"/>
              <a:gd name="T95" fmla="*/ 15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3" h="353">
                <a:moveTo>
                  <a:pt x="177" y="80"/>
                </a:moveTo>
                <a:cubicBezTo>
                  <a:pt x="124" y="80"/>
                  <a:pt x="80" y="123"/>
                  <a:pt x="80" y="176"/>
                </a:cubicBezTo>
                <a:cubicBezTo>
                  <a:pt x="80" y="230"/>
                  <a:pt x="124" y="273"/>
                  <a:pt x="177" y="273"/>
                </a:cubicBezTo>
                <a:cubicBezTo>
                  <a:pt x="230" y="273"/>
                  <a:pt x="273" y="230"/>
                  <a:pt x="273" y="176"/>
                </a:cubicBezTo>
                <a:cubicBezTo>
                  <a:pt x="273" y="123"/>
                  <a:pt x="230" y="80"/>
                  <a:pt x="177" y="80"/>
                </a:cubicBezTo>
                <a:moveTo>
                  <a:pt x="177" y="96"/>
                </a:moveTo>
                <a:cubicBezTo>
                  <a:pt x="204" y="96"/>
                  <a:pt x="228" y="110"/>
                  <a:pt x="243" y="131"/>
                </a:cubicBezTo>
                <a:cubicBezTo>
                  <a:pt x="200" y="154"/>
                  <a:pt x="200" y="154"/>
                  <a:pt x="200" y="154"/>
                </a:cubicBezTo>
                <a:cubicBezTo>
                  <a:pt x="194" y="148"/>
                  <a:pt x="186" y="144"/>
                  <a:pt x="177" y="144"/>
                </a:cubicBezTo>
                <a:cubicBezTo>
                  <a:pt x="168" y="144"/>
                  <a:pt x="159" y="148"/>
                  <a:pt x="154" y="154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25" y="110"/>
                  <a:pt x="150" y="96"/>
                  <a:pt x="177" y="96"/>
                </a:cubicBezTo>
                <a:moveTo>
                  <a:pt x="169" y="256"/>
                </a:moveTo>
                <a:cubicBezTo>
                  <a:pt x="128" y="252"/>
                  <a:pt x="97" y="218"/>
                  <a:pt x="97" y="176"/>
                </a:cubicBezTo>
                <a:cubicBezTo>
                  <a:pt x="97" y="165"/>
                  <a:pt x="99" y="154"/>
                  <a:pt x="103" y="145"/>
                </a:cubicBezTo>
                <a:cubicBezTo>
                  <a:pt x="146" y="168"/>
                  <a:pt x="146" y="168"/>
                  <a:pt x="146" y="168"/>
                </a:cubicBezTo>
                <a:cubicBezTo>
                  <a:pt x="145" y="171"/>
                  <a:pt x="145" y="174"/>
                  <a:pt x="145" y="176"/>
                </a:cubicBezTo>
                <a:cubicBezTo>
                  <a:pt x="145" y="191"/>
                  <a:pt x="155" y="204"/>
                  <a:pt x="169" y="207"/>
                </a:cubicBezTo>
                <a:lnTo>
                  <a:pt x="169" y="256"/>
                </a:lnTo>
                <a:close/>
                <a:moveTo>
                  <a:pt x="161" y="176"/>
                </a:moveTo>
                <a:cubicBezTo>
                  <a:pt x="161" y="168"/>
                  <a:pt x="168" y="160"/>
                  <a:pt x="177" y="160"/>
                </a:cubicBezTo>
                <a:cubicBezTo>
                  <a:pt x="186" y="160"/>
                  <a:pt x="193" y="168"/>
                  <a:pt x="193" y="176"/>
                </a:cubicBezTo>
                <a:cubicBezTo>
                  <a:pt x="193" y="185"/>
                  <a:pt x="186" y="192"/>
                  <a:pt x="177" y="192"/>
                </a:cubicBezTo>
                <a:cubicBezTo>
                  <a:pt x="168" y="192"/>
                  <a:pt x="161" y="185"/>
                  <a:pt x="161" y="176"/>
                </a:cubicBezTo>
                <a:moveTo>
                  <a:pt x="257" y="176"/>
                </a:moveTo>
                <a:cubicBezTo>
                  <a:pt x="257" y="218"/>
                  <a:pt x="225" y="252"/>
                  <a:pt x="185" y="256"/>
                </a:cubicBezTo>
                <a:cubicBezTo>
                  <a:pt x="185" y="207"/>
                  <a:pt x="185" y="207"/>
                  <a:pt x="185" y="207"/>
                </a:cubicBezTo>
                <a:cubicBezTo>
                  <a:pt x="199" y="204"/>
                  <a:pt x="209" y="191"/>
                  <a:pt x="209" y="176"/>
                </a:cubicBezTo>
                <a:cubicBezTo>
                  <a:pt x="209" y="174"/>
                  <a:pt x="208" y="171"/>
                  <a:pt x="208" y="168"/>
                </a:cubicBezTo>
                <a:cubicBezTo>
                  <a:pt x="251" y="145"/>
                  <a:pt x="251" y="145"/>
                  <a:pt x="251" y="145"/>
                </a:cubicBezTo>
                <a:cubicBezTo>
                  <a:pt x="255" y="154"/>
                  <a:pt x="257" y="165"/>
                  <a:pt x="257" y="176"/>
                </a:cubicBezTo>
                <a:moveTo>
                  <a:pt x="342" y="141"/>
                </a:moveTo>
                <a:cubicBezTo>
                  <a:pt x="325" y="137"/>
                  <a:pt x="325" y="137"/>
                  <a:pt x="325" y="137"/>
                </a:cubicBezTo>
                <a:cubicBezTo>
                  <a:pt x="321" y="124"/>
                  <a:pt x="316" y="111"/>
                  <a:pt x="309" y="100"/>
                </a:cubicBezTo>
                <a:cubicBezTo>
                  <a:pt x="318" y="85"/>
                  <a:pt x="318" y="85"/>
                  <a:pt x="318" y="85"/>
                </a:cubicBezTo>
                <a:cubicBezTo>
                  <a:pt x="321" y="79"/>
                  <a:pt x="323" y="73"/>
                  <a:pt x="318" y="68"/>
                </a:cubicBezTo>
                <a:cubicBezTo>
                  <a:pt x="285" y="35"/>
                  <a:pt x="285" y="35"/>
                  <a:pt x="285" y="35"/>
                </a:cubicBezTo>
                <a:cubicBezTo>
                  <a:pt x="283" y="33"/>
                  <a:pt x="280" y="32"/>
                  <a:pt x="278" y="32"/>
                </a:cubicBezTo>
                <a:cubicBezTo>
                  <a:pt x="275" y="32"/>
                  <a:pt x="271" y="33"/>
                  <a:pt x="268" y="35"/>
                </a:cubicBezTo>
                <a:cubicBezTo>
                  <a:pt x="253" y="44"/>
                  <a:pt x="253" y="44"/>
                  <a:pt x="253" y="44"/>
                </a:cubicBezTo>
                <a:cubicBezTo>
                  <a:pt x="242" y="37"/>
                  <a:pt x="229" y="32"/>
                  <a:pt x="216" y="29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6"/>
                  <a:pt x="207" y="0"/>
                  <a:pt x="200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47" y="0"/>
                  <a:pt x="143" y="6"/>
                  <a:pt x="142" y="12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24" y="32"/>
                  <a:pt x="112" y="37"/>
                  <a:pt x="100" y="44"/>
                </a:cubicBezTo>
                <a:cubicBezTo>
                  <a:pt x="85" y="35"/>
                  <a:pt x="85" y="35"/>
                  <a:pt x="85" y="35"/>
                </a:cubicBezTo>
                <a:cubicBezTo>
                  <a:pt x="82" y="33"/>
                  <a:pt x="79" y="32"/>
                  <a:pt x="76" y="32"/>
                </a:cubicBezTo>
                <a:cubicBezTo>
                  <a:pt x="73" y="32"/>
                  <a:pt x="71" y="33"/>
                  <a:pt x="69" y="35"/>
                </a:cubicBezTo>
                <a:cubicBezTo>
                  <a:pt x="35" y="68"/>
                  <a:pt x="35" y="68"/>
                  <a:pt x="35" y="68"/>
                </a:cubicBezTo>
                <a:cubicBezTo>
                  <a:pt x="31" y="73"/>
                  <a:pt x="33" y="79"/>
                  <a:pt x="35" y="85"/>
                </a:cubicBezTo>
                <a:cubicBezTo>
                  <a:pt x="44" y="100"/>
                  <a:pt x="44" y="100"/>
                  <a:pt x="44" y="100"/>
                </a:cubicBezTo>
                <a:cubicBezTo>
                  <a:pt x="38" y="111"/>
                  <a:pt x="32" y="124"/>
                  <a:pt x="29" y="137"/>
                </a:cubicBezTo>
                <a:cubicBezTo>
                  <a:pt x="12" y="141"/>
                  <a:pt x="12" y="141"/>
                  <a:pt x="12" y="141"/>
                </a:cubicBezTo>
                <a:cubicBezTo>
                  <a:pt x="6" y="143"/>
                  <a:pt x="0" y="146"/>
                  <a:pt x="0" y="153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06"/>
                  <a:pt x="6" y="210"/>
                  <a:pt x="12" y="212"/>
                </a:cubicBezTo>
                <a:cubicBezTo>
                  <a:pt x="29" y="216"/>
                  <a:pt x="29" y="216"/>
                  <a:pt x="29" y="216"/>
                </a:cubicBezTo>
                <a:cubicBezTo>
                  <a:pt x="32" y="229"/>
                  <a:pt x="38" y="241"/>
                  <a:pt x="44" y="253"/>
                </a:cubicBezTo>
                <a:cubicBezTo>
                  <a:pt x="35" y="268"/>
                  <a:pt x="35" y="268"/>
                  <a:pt x="35" y="268"/>
                </a:cubicBezTo>
                <a:cubicBezTo>
                  <a:pt x="32" y="273"/>
                  <a:pt x="31" y="280"/>
                  <a:pt x="35" y="285"/>
                </a:cubicBezTo>
                <a:cubicBezTo>
                  <a:pt x="69" y="318"/>
                  <a:pt x="69" y="318"/>
                  <a:pt x="69" y="318"/>
                </a:cubicBezTo>
                <a:cubicBezTo>
                  <a:pt x="71" y="320"/>
                  <a:pt x="73" y="321"/>
                  <a:pt x="76" y="321"/>
                </a:cubicBezTo>
                <a:cubicBezTo>
                  <a:pt x="79" y="321"/>
                  <a:pt x="82" y="319"/>
                  <a:pt x="85" y="318"/>
                </a:cubicBezTo>
                <a:cubicBezTo>
                  <a:pt x="100" y="309"/>
                  <a:pt x="100" y="309"/>
                  <a:pt x="100" y="309"/>
                </a:cubicBezTo>
                <a:cubicBezTo>
                  <a:pt x="112" y="315"/>
                  <a:pt x="124" y="321"/>
                  <a:pt x="137" y="324"/>
                </a:cubicBezTo>
                <a:cubicBezTo>
                  <a:pt x="142" y="341"/>
                  <a:pt x="142" y="341"/>
                  <a:pt x="142" y="341"/>
                </a:cubicBezTo>
                <a:cubicBezTo>
                  <a:pt x="143" y="347"/>
                  <a:pt x="147" y="353"/>
                  <a:pt x="153" y="353"/>
                </a:cubicBezTo>
                <a:cubicBezTo>
                  <a:pt x="200" y="353"/>
                  <a:pt x="200" y="353"/>
                  <a:pt x="200" y="353"/>
                </a:cubicBezTo>
                <a:cubicBezTo>
                  <a:pt x="207" y="353"/>
                  <a:pt x="210" y="347"/>
                  <a:pt x="212" y="341"/>
                </a:cubicBezTo>
                <a:cubicBezTo>
                  <a:pt x="216" y="324"/>
                  <a:pt x="216" y="324"/>
                  <a:pt x="216" y="324"/>
                </a:cubicBezTo>
                <a:cubicBezTo>
                  <a:pt x="229" y="321"/>
                  <a:pt x="242" y="315"/>
                  <a:pt x="253" y="309"/>
                </a:cubicBezTo>
                <a:cubicBezTo>
                  <a:pt x="268" y="318"/>
                  <a:pt x="268" y="318"/>
                  <a:pt x="268" y="318"/>
                </a:cubicBezTo>
                <a:cubicBezTo>
                  <a:pt x="271" y="319"/>
                  <a:pt x="275" y="321"/>
                  <a:pt x="278" y="321"/>
                </a:cubicBezTo>
                <a:cubicBezTo>
                  <a:pt x="281" y="321"/>
                  <a:pt x="283" y="320"/>
                  <a:pt x="285" y="318"/>
                </a:cubicBezTo>
                <a:cubicBezTo>
                  <a:pt x="318" y="285"/>
                  <a:pt x="318" y="285"/>
                  <a:pt x="318" y="285"/>
                </a:cubicBezTo>
                <a:cubicBezTo>
                  <a:pt x="323" y="280"/>
                  <a:pt x="321" y="273"/>
                  <a:pt x="318" y="268"/>
                </a:cubicBezTo>
                <a:cubicBezTo>
                  <a:pt x="309" y="253"/>
                  <a:pt x="309" y="253"/>
                  <a:pt x="309" y="253"/>
                </a:cubicBezTo>
                <a:cubicBezTo>
                  <a:pt x="316" y="241"/>
                  <a:pt x="321" y="229"/>
                  <a:pt x="325" y="216"/>
                </a:cubicBezTo>
                <a:cubicBezTo>
                  <a:pt x="342" y="212"/>
                  <a:pt x="342" y="212"/>
                  <a:pt x="342" y="212"/>
                </a:cubicBezTo>
                <a:cubicBezTo>
                  <a:pt x="347" y="210"/>
                  <a:pt x="353" y="206"/>
                  <a:pt x="353" y="200"/>
                </a:cubicBezTo>
                <a:cubicBezTo>
                  <a:pt x="353" y="153"/>
                  <a:pt x="353" y="153"/>
                  <a:pt x="353" y="153"/>
                </a:cubicBezTo>
                <a:cubicBezTo>
                  <a:pt x="353" y="146"/>
                  <a:pt x="347" y="143"/>
                  <a:pt x="342" y="141"/>
                </a:cubicBezTo>
                <a:moveTo>
                  <a:pt x="337" y="196"/>
                </a:moveTo>
                <a:cubicBezTo>
                  <a:pt x="337" y="196"/>
                  <a:pt x="337" y="196"/>
                  <a:pt x="337" y="196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15" y="202"/>
                  <a:pt x="311" y="206"/>
                  <a:pt x="309" y="212"/>
                </a:cubicBezTo>
                <a:cubicBezTo>
                  <a:pt x="306" y="223"/>
                  <a:pt x="301" y="234"/>
                  <a:pt x="295" y="245"/>
                </a:cubicBezTo>
                <a:cubicBezTo>
                  <a:pt x="292" y="250"/>
                  <a:pt x="293" y="256"/>
                  <a:pt x="296" y="261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62" y="295"/>
                  <a:pt x="262" y="295"/>
                  <a:pt x="262" y="295"/>
                </a:cubicBezTo>
                <a:cubicBezTo>
                  <a:pt x="259" y="294"/>
                  <a:pt x="256" y="293"/>
                  <a:pt x="253" y="293"/>
                </a:cubicBezTo>
                <a:cubicBezTo>
                  <a:pt x="250" y="293"/>
                  <a:pt x="248" y="293"/>
                  <a:pt x="245" y="295"/>
                </a:cubicBezTo>
                <a:cubicBezTo>
                  <a:pt x="235" y="301"/>
                  <a:pt x="224" y="305"/>
                  <a:pt x="212" y="309"/>
                </a:cubicBezTo>
                <a:cubicBezTo>
                  <a:pt x="207" y="310"/>
                  <a:pt x="202" y="315"/>
                  <a:pt x="201" y="320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57" y="337"/>
                  <a:pt x="157" y="337"/>
                  <a:pt x="157" y="337"/>
                </a:cubicBezTo>
                <a:cubicBezTo>
                  <a:pt x="153" y="320"/>
                  <a:pt x="153" y="320"/>
                  <a:pt x="153" y="320"/>
                </a:cubicBezTo>
                <a:cubicBezTo>
                  <a:pt x="151" y="315"/>
                  <a:pt x="147" y="310"/>
                  <a:pt x="141" y="309"/>
                </a:cubicBezTo>
                <a:cubicBezTo>
                  <a:pt x="130" y="305"/>
                  <a:pt x="119" y="301"/>
                  <a:pt x="108" y="295"/>
                </a:cubicBezTo>
                <a:cubicBezTo>
                  <a:pt x="106" y="293"/>
                  <a:pt x="103" y="293"/>
                  <a:pt x="100" y="293"/>
                </a:cubicBezTo>
                <a:cubicBezTo>
                  <a:pt x="98" y="293"/>
                  <a:pt x="95" y="294"/>
                  <a:pt x="92" y="295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49" y="276"/>
                  <a:pt x="49" y="276"/>
                  <a:pt x="49" y="276"/>
                </a:cubicBezTo>
                <a:cubicBezTo>
                  <a:pt x="58" y="261"/>
                  <a:pt x="58" y="261"/>
                  <a:pt x="58" y="261"/>
                </a:cubicBezTo>
                <a:cubicBezTo>
                  <a:pt x="61" y="256"/>
                  <a:pt x="61" y="250"/>
                  <a:pt x="58" y="245"/>
                </a:cubicBezTo>
                <a:cubicBezTo>
                  <a:pt x="52" y="234"/>
                  <a:pt x="48" y="223"/>
                  <a:pt x="44" y="212"/>
                </a:cubicBezTo>
                <a:cubicBezTo>
                  <a:pt x="43" y="206"/>
                  <a:pt x="39" y="202"/>
                  <a:pt x="33" y="20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57"/>
                  <a:pt x="16" y="157"/>
                  <a:pt x="16" y="157"/>
                </a:cubicBezTo>
                <a:cubicBezTo>
                  <a:pt x="33" y="152"/>
                  <a:pt x="33" y="152"/>
                  <a:pt x="33" y="152"/>
                </a:cubicBezTo>
                <a:cubicBezTo>
                  <a:pt x="39" y="151"/>
                  <a:pt x="43" y="147"/>
                  <a:pt x="44" y="141"/>
                </a:cubicBezTo>
                <a:cubicBezTo>
                  <a:pt x="48" y="129"/>
                  <a:pt x="52" y="118"/>
                  <a:pt x="58" y="108"/>
                </a:cubicBezTo>
                <a:cubicBezTo>
                  <a:pt x="61" y="103"/>
                  <a:pt x="61" y="97"/>
                  <a:pt x="58" y="92"/>
                </a:cubicBezTo>
                <a:cubicBezTo>
                  <a:pt x="49" y="77"/>
                  <a:pt x="49" y="77"/>
                  <a:pt x="49" y="77"/>
                </a:cubicBezTo>
                <a:cubicBezTo>
                  <a:pt x="49" y="77"/>
                  <a:pt x="49" y="77"/>
                  <a:pt x="49" y="77"/>
                </a:cubicBezTo>
                <a:cubicBezTo>
                  <a:pt x="77" y="49"/>
                  <a:pt x="77" y="49"/>
                  <a:pt x="77" y="49"/>
                </a:cubicBezTo>
                <a:cubicBezTo>
                  <a:pt x="92" y="58"/>
                  <a:pt x="92" y="58"/>
                  <a:pt x="92" y="58"/>
                </a:cubicBezTo>
                <a:cubicBezTo>
                  <a:pt x="95" y="59"/>
                  <a:pt x="98" y="60"/>
                  <a:pt x="100" y="60"/>
                </a:cubicBezTo>
                <a:cubicBezTo>
                  <a:pt x="103" y="60"/>
                  <a:pt x="106" y="59"/>
                  <a:pt x="108" y="58"/>
                </a:cubicBezTo>
                <a:cubicBezTo>
                  <a:pt x="119" y="52"/>
                  <a:pt x="130" y="47"/>
                  <a:pt x="141" y="44"/>
                </a:cubicBezTo>
                <a:cubicBezTo>
                  <a:pt x="147" y="43"/>
                  <a:pt x="151" y="38"/>
                  <a:pt x="153" y="33"/>
                </a:cubicBezTo>
                <a:cubicBezTo>
                  <a:pt x="157" y="16"/>
                  <a:pt x="157" y="16"/>
                  <a:pt x="15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201" y="33"/>
                  <a:pt x="201" y="33"/>
                  <a:pt x="201" y="33"/>
                </a:cubicBezTo>
                <a:cubicBezTo>
                  <a:pt x="202" y="38"/>
                  <a:pt x="207" y="43"/>
                  <a:pt x="212" y="44"/>
                </a:cubicBezTo>
                <a:cubicBezTo>
                  <a:pt x="224" y="47"/>
                  <a:pt x="235" y="52"/>
                  <a:pt x="245" y="58"/>
                </a:cubicBezTo>
                <a:cubicBezTo>
                  <a:pt x="248" y="59"/>
                  <a:pt x="250" y="60"/>
                  <a:pt x="253" y="60"/>
                </a:cubicBezTo>
                <a:cubicBezTo>
                  <a:pt x="256" y="60"/>
                  <a:pt x="259" y="59"/>
                  <a:pt x="262" y="58"/>
                </a:cubicBezTo>
                <a:cubicBezTo>
                  <a:pt x="276" y="49"/>
                  <a:pt x="276" y="49"/>
                  <a:pt x="276" y="49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296" y="92"/>
                  <a:pt x="296" y="92"/>
                  <a:pt x="296" y="92"/>
                </a:cubicBezTo>
                <a:cubicBezTo>
                  <a:pt x="293" y="97"/>
                  <a:pt x="292" y="103"/>
                  <a:pt x="295" y="108"/>
                </a:cubicBezTo>
                <a:cubicBezTo>
                  <a:pt x="301" y="118"/>
                  <a:pt x="306" y="129"/>
                  <a:pt x="309" y="141"/>
                </a:cubicBezTo>
                <a:cubicBezTo>
                  <a:pt x="311" y="147"/>
                  <a:pt x="315" y="151"/>
                  <a:pt x="321" y="152"/>
                </a:cubicBezTo>
                <a:cubicBezTo>
                  <a:pt x="337" y="157"/>
                  <a:pt x="337" y="157"/>
                  <a:pt x="337" y="157"/>
                </a:cubicBezTo>
                <a:lnTo>
                  <a:pt x="337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Freeform 110">
            <a:extLst>
              <a:ext uri="{FF2B5EF4-FFF2-40B4-BE49-F238E27FC236}">
                <a16:creationId xmlns:a16="http://schemas.microsoft.com/office/drawing/2014/main" id="{D7B405FB-7F72-E027-109B-975C8656D8C5}"/>
              </a:ext>
            </a:extLst>
          </p:cNvPr>
          <p:cNvSpPr>
            <a:spLocks noEditPoints="1"/>
          </p:cNvSpPr>
          <p:nvPr/>
        </p:nvSpPr>
        <p:spPr bwMode="auto">
          <a:xfrm>
            <a:off x="7118767" y="2401241"/>
            <a:ext cx="566205" cy="464204"/>
          </a:xfrm>
          <a:custGeom>
            <a:avLst/>
            <a:gdLst>
              <a:gd name="T0" fmla="*/ 68 w 353"/>
              <a:gd name="T1" fmla="*/ 173 h 289"/>
              <a:gd name="T2" fmla="*/ 55 w 353"/>
              <a:gd name="T3" fmla="*/ 131 h 289"/>
              <a:gd name="T4" fmla="*/ 55 w 353"/>
              <a:gd name="T5" fmla="*/ 117 h 289"/>
              <a:gd name="T6" fmla="*/ 49 w 353"/>
              <a:gd name="T7" fmla="*/ 75 h 289"/>
              <a:gd name="T8" fmla="*/ 69 w 353"/>
              <a:gd name="T9" fmla="*/ 52 h 289"/>
              <a:gd name="T10" fmla="*/ 98 w 353"/>
              <a:gd name="T11" fmla="*/ 50 h 289"/>
              <a:gd name="T12" fmla="*/ 103 w 353"/>
              <a:gd name="T13" fmla="*/ 35 h 289"/>
              <a:gd name="T14" fmla="*/ 61 w 353"/>
              <a:gd name="T15" fmla="*/ 39 h 289"/>
              <a:gd name="T16" fmla="*/ 40 w 353"/>
              <a:gd name="T17" fmla="*/ 113 h 289"/>
              <a:gd name="T18" fmla="*/ 52 w 353"/>
              <a:gd name="T19" fmla="*/ 173 h 289"/>
              <a:gd name="T20" fmla="*/ 0 w 353"/>
              <a:gd name="T21" fmla="*/ 249 h 289"/>
              <a:gd name="T22" fmla="*/ 43 w 353"/>
              <a:gd name="T23" fmla="*/ 257 h 289"/>
              <a:gd name="T24" fmla="*/ 16 w 353"/>
              <a:gd name="T25" fmla="*/ 241 h 289"/>
              <a:gd name="T26" fmla="*/ 319 w 353"/>
              <a:gd name="T27" fmla="*/ 201 h 289"/>
              <a:gd name="T28" fmla="*/ 311 w 353"/>
              <a:gd name="T29" fmla="*/ 140 h 289"/>
              <a:gd name="T30" fmla="*/ 318 w 353"/>
              <a:gd name="T31" fmla="*/ 69 h 289"/>
              <a:gd name="T32" fmla="*/ 265 w 353"/>
              <a:gd name="T33" fmla="*/ 32 h 289"/>
              <a:gd name="T34" fmla="*/ 253 w 353"/>
              <a:gd name="T35" fmla="*/ 51 h 289"/>
              <a:gd name="T36" fmla="*/ 265 w 353"/>
              <a:gd name="T37" fmla="*/ 48 h 289"/>
              <a:gd name="T38" fmla="*/ 285 w 353"/>
              <a:gd name="T39" fmla="*/ 53 h 289"/>
              <a:gd name="T40" fmla="*/ 298 w 353"/>
              <a:gd name="T41" fmla="*/ 106 h 289"/>
              <a:gd name="T42" fmla="*/ 298 w 353"/>
              <a:gd name="T43" fmla="*/ 131 h 289"/>
              <a:gd name="T44" fmla="*/ 297 w 353"/>
              <a:gd name="T45" fmla="*/ 132 h 289"/>
              <a:gd name="T46" fmla="*/ 314 w 353"/>
              <a:gd name="T47" fmla="*/ 216 h 289"/>
              <a:gd name="T48" fmla="*/ 301 w 353"/>
              <a:gd name="T49" fmla="*/ 241 h 289"/>
              <a:gd name="T50" fmla="*/ 345 w 353"/>
              <a:gd name="T51" fmla="*/ 257 h 289"/>
              <a:gd name="T52" fmla="*/ 319 w 353"/>
              <a:gd name="T53" fmla="*/ 201 h 289"/>
              <a:gd name="T54" fmla="*/ 211 w 353"/>
              <a:gd name="T55" fmla="*/ 181 h 289"/>
              <a:gd name="T56" fmla="*/ 231 w 353"/>
              <a:gd name="T57" fmla="*/ 105 h 289"/>
              <a:gd name="T58" fmla="*/ 209 w 353"/>
              <a:gd name="T59" fmla="*/ 5 h 289"/>
              <a:gd name="T60" fmla="*/ 152 w 353"/>
              <a:gd name="T61" fmla="*/ 9 h 289"/>
              <a:gd name="T62" fmla="*/ 122 w 353"/>
              <a:gd name="T63" fmla="*/ 104 h 289"/>
              <a:gd name="T64" fmla="*/ 141 w 353"/>
              <a:gd name="T65" fmla="*/ 181 h 289"/>
              <a:gd name="T66" fmla="*/ 56 w 353"/>
              <a:gd name="T67" fmla="*/ 281 h 289"/>
              <a:gd name="T68" fmla="*/ 289 w 353"/>
              <a:gd name="T69" fmla="*/ 289 h 289"/>
              <a:gd name="T70" fmla="*/ 240 w 353"/>
              <a:gd name="T71" fmla="*/ 218 h 289"/>
              <a:gd name="T72" fmla="*/ 116 w 353"/>
              <a:gd name="T73" fmla="*/ 234 h 289"/>
              <a:gd name="T74" fmla="*/ 157 w 353"/>
              <a:gd name="T75" fmla="*/ 181 h 289"/>
              <a:gd name="T76" fmla="*/ 137 w 353"/>
              <a:gd name="T77" fmla="*/ 129 h 289"/>
              <a:gd name="T78" fmla="*/ 137 w 353"/>
              <a:gd name="T79" fmla="*/ 97 h 289"/>
              <a:gd name="T80" fmla="*/ 159 w 353"/>
              <a:gd name="T81" fmla="*/ 23 h 289"/>
              <a:gd name="T82" fmla="*/ 186 w 353"/>
              <a:gd name="T83" fmla="*/ 16 h 289"/>
              <a:gd name="T84" fmla="*/ 217 w 353"/>
              <a:gd name="T85" fmla="*/ 44 h 289"/>
              <a:gd name="T86" fmla="*/ 215 w 353"/>
              <a:gd name="T87" fmla="*/ 108 h 289"/>
              <a:gd name="T88" fmla="*/ 213 w 353"/>
              <a:gd name="T89" fmla="*/ 132 h 289"/>
              <a:gd name="T90" fmla="*/ 235 w 353"/>
              <a:gd name="T91" fmla="*/ 234 h 289"/>
              <a:gd name="T92" fmla="*/ 280 w 353"/>
              <a:gd name="T93" fmla="*/ 27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289">
                <a:moveTo>
                  <a:pt x="38" y="216"/>
                </a:moveTo>
                <a:cubicBezTo>
                  <a:pt x="49" y="213"/>
                  <a:pt x="68" y="201"/>
                  <a:pt x="68" y="173"/>
                </a:cubicBezTo>
                <a:cubicBezTo>
                  <a:pt x="68" y="148"/>
                  <a:pt x="60" y="138"/>
                  <a:pt x="55" y="132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4" y="130"/>
                  <a:pt x="53" y="126"/>
                  <a:pt x="55" y="117"/>
                </a:cubicBezTo>
                <a:cubicBezTo>
                  <a:pt x="56" y="113"/>
                  <a:pt x="56" y="109"/>
                  <a:pt x="54" y="106"/>
                </a:cubicBezTo>
                <a:cubicBezTo>
                  <a:pt x="51" y="99"/>
                  <a:pt x="45" y="85"/>
                  <a:pt x="49" y="75"/>
                </a:cubicBezTo>
                <a:cubicBezTo>
                  <a:pt x="56" y="58"/>
                  <a:pt x="59" y="57"/>
                  <a:pt x="67" y="53"/>
                </a:cubicBezTo>
                <a:cubicBezTo>
                  <a:pt x="68" y="53"/>
                  <a:pt x="69" y="53"/>
                  <a:pt x="69" y="52"/>
                </a:cubicBezTo>
                <a:cubicBezTo>
                  <a:pt x="71" y="51"/>
                  <a:pt x="79" y="48"/>
                  <a:pt x="88" y="48"/>
                </a:cubicBezTo>
                <a:cubicBezTo>
                  <a:pt x="92" y="48"/>
                  <a:pt x="95" y="49"/>
                  <a:pt x="98" y="50"/>
                </a:cubicBezTo>
                <a:cubicBezTo>
                  <a:pt x="98" y="47"/>
                  <a:pt x="99" y="45"/>
                  <a:pt x="100" y="42"/>
                </a:cubicBezTo>
                <a:cubicBezTo>
                  <a:pt x="101" y="39"/>
                  <a:pt x="102" y="37"/>
                  <a:pt x="103" y="35"/>
                </a:cubicBezTo>
                <a:cubicBezTo>
                  <a:pt x="98" y="33"/>
                  <a:pt x="93" y="32"/>
                  <a:pt x="88" y="32"/>
                </a:cubicBezTo>
                <a:cubicBezTo>
                  <a:pt x="76" y="32"/>
                  <a:pt x="65" y="36"/>
                  <a:pt x="61" y="39"/>
                </a:cubicBezTo>
                <a:cubicBezTo>
                  <a:pt x="48" y="44"/>
                  <a:pt x="42" y="50"/>
                  <a:pt x="34" y="69"/>
                </a:cubicBezTo>
                <a:cubicBezTo>
                  <a:pt x="27" y="86"/>
                  <a:pt x="36" y="104"/>
                  <a:pt x="40" y="113"/>
                </a:cubicBezTo>
                <a:cubicBezTo>
                  <a:pt x="35" y="133"/>
                  <a:pt x="42" y="140"/>
                  <a:pt x="42" y="140"/>
                </a:cubicBezTo>
                <a:cubicBezTo>
                  <a:pt x="45" y="145"/>
                  <a:pt x="52" y="153"/>
                  <a:pt x="52" y="173"/>
                </a:cubicBezTo>
                <a:cubicBezTo>
                  <a:pt x="52" y="197"/>
                  <a:pt x="34" y="201"/>
                  <a:pt x="34" y="201"/>
                </a:cubicBezTo>
                <a:cubicBezTo>
                  <a:pt x="19" y="206"/>
                  <a:pt x="0" y="217"/>
                  <a:pt x="0" y="249"/>
                </a:cubicBezTo>
                <a:cubicBezTo>
                  <a:pt x="0" y="249"/>
                  <a:pt x="0" y="257"/>
                  <a:pt x="8" y="257"/>
                </a:cubicBezTo>
                <a:cubicBezTo>
                  <a:pt x="43" y="257"/>
                  <a:pt x="43" y="257"/>
                  <a:pt x="43" y="257"/>
                </a:cubicBezTo>
                <a:cubicBezTo>
                  <a:pt x="45" y="251"/>
                  <a:pt x="48" y="245"/>
                  <a:pt x="51" y="241"/>
                </a:cubicBezTo>
                <a:cubicBezTo>
                  <a:pt x="16" y="241"/>
                  <a:pt x="16" y="241"/>
                  <a:pt x="16" y="241"/>
                </a:cubicBezTo>
                <a:cubicBezTo>
                  <a:pt x="19" y="225"/>
                  <a:pt x="28" y="220"/>
                  <a:pt x="38" y="216"/>
                </a:cubicBezTo>
                <a:moveTo>
                  <a:pt x="319" y="201"/>
                </a:moveTo>
                <a:cubicBezTo>
                  <a:pt x="319" y="201"/>
                  <a:pt x="301" y="197"/>
                  <a:pt x="301" y="173"/>
                </a:cubicBezTo>
                <a:cubicBezTo>
                  <a:pt x="301" y="153"/>
                  <a:pt x="307" y="145"/>
                  <a:pt x="311" y="140"/>
                </a:cubicBezTo>
                <a:cubicBezTo>
                  <a:pt x="311" y="140"/>
                  <a:pt x="318" y="133"/>
                  <a:pt x="312" y="113"/>
                </a:cubicBezTo>
                <a:cubicBezTo>
                  <a:pt x="317" y="104"/>
                  <a:pt x="325" y="86"/>
                  <a:pt x="318" y="69"/>
                </a:cubicBezTo>
                <a:cubicBezTo>
                  <a:pt x="310" y="50"/>
                  <a:pt x="304" y="44"/>
                  <a:pt x="292" y="39"/>
                </a:cubicBezTo>
                <a:cubicBezTo>
                  <a:pt x="287" y="36"/>
                  <a:pt x="276" y="32"/>
                  <a:pt x="265" y="32"/>
                </a:cubicBezTo>
                <a:cubicBezTo>
                  <a:pt x="259" y="32"/>
                  <a:pt x="254" y="33"/>
                  <a:pt x="248" y="35"/>
                </a:cubicBezTo>
                <a:cubicBezTo>
                  <a:pt x="250" y="40"/>
                  <a:pt x="252" y="46"/>
                  <a:pt x="253" y="51"/>
                </a:cubicBezTo>
                <a:cubicBezTo>
                  <a:pt x="254" y="51"/>
                  <a:pt x="254" y="50"/>
                  <a:pt x="254" y="50"/>
                </a:cubicBezTo>
                <a:cubicBezTo>
                  <a:pt x="257" y="49"/>
                  <a:pt x="260" y="48"/>
                  <a:pt x="265" y="48"/>
                </a:cubicBezTo>
                <a:cubicBezTo>
                  <a:pt x="273" y="48"/>
                  <a:pt x="281" y="51"/>
                  <a:pt x="283" y="52"/>
                </a:cubicBezTo>
                <a:cubicBezTo>
                  <a:pt x="284" y="53"/>
                  <a:pt x="284" y="53"/>
                  <a:pt x="285" y="53"/>
                </a:cubicBezTo>
                <a:cubicBezTo>
                  <a:pt x="293" y="57"/>
                  <a:pt x="296" y="58"/>
                  <a:pt x="303" y="75"/>
                </a:cubicBezTo>
                <a:cubicBezTo>
                  <a:pt x="307" y="85"/>
                  <a:pt x="301" y="99"/>
                  <a:pt x="298" y="106"/>
                </a:cubicBezTo>
                <a:cubicBezTo>
                  <a:pt x="297" y="109"/>
                  <a:pt x="296" y="113"/>
                  <a:pt x="297" y="117"/>
                </a:cubicBezTo>
                <a:cubicBezTo>
                  <a:pt x="299" y="126"/>
                  <a:pt x="298" y="130"/>
                  <a:pt x="298" y="131"/>
                </a:cubicBezTo>
                <a:cubicBezTo>
                  <a:pt x="298" y="131"/>
                  <a:pt x="298" y="131"/>
                  <a:pt x="298" y="131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93" y="138"/>
                  <a:pt x="285" y="148"/>
                  <a:pt x="285" y="173"/>
                </a:cubicBezTo>
                <a:cubicBezTo>
                  <a:pt x="285" y="201"/>
                  <a:pt x="303" y="213"/>
                  <a:pt x="314" y="216"/>
                </a:cubicBezTo>
                <a:cubicBezTo>
                  <a:pt x="324" y="220"/>
                  <a:pt x="334" y="225"/>
                  <a:pt x="336" y="241"/>
                </a:cubicBezTo>
                <a:cubicBezTo>
                  <a:pt x="301" y="241"/>
                  <a:pt x="301" y="241"/>
                  <a:pt x="301" y="241"/>
                </a:cubicBezTo>
                <a:cubicBezTo>
                  <a:pt x="304" y="245"/>
                  <a:pt x="307" y="251"/>
                  <a:pt x="309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53" y="257"/>
                  <a:pt x="353" y="249"/>
                  <a:pt x="353" y="249"/>
                </a:cubicBezTo>
                <a:cubicBezTo>
                  <a:pt x="353" y="217"/>
                  <a:pt x="333" y="206"/>
                  <a:pt x="319" y="201"/>
                </a:cubicBezTo>
                <a:moveTo>
                  <a:pt x="240" y="218"/>
                </a:moveTo>
                <a:cubicBezTo>
                  <a:pt x="240" y="218"/>
                  <a:pt x="211" y="211"/>
                  <a:pt x="211" y="181"/>
                </a:cubicBezTo>
                <a:cubicBezTo>
                  <a:pt x="211" y="155"/>
                  <a:pt x="223" y="146"/>
                  <a:pt x="228" y="139"/>
                </a:cubicBezTo>
                <a:cubicBezTo>
                  <a:pt x="228" y="139"/>
                  <a:pt x="237" y="131"/>
                  <a:pt x="231" y="105"/>
                </a:cubicBezTo>
                <a:cubicBezTo>
                  <a:pt x="241" y="90"/>
                  <a:pt x="245" y="66"/>
                  <a:pt x="232" y="37"/>
                </a:cubicBezTo>
                <a:cubicBezTo>
                  <a:pt x="225" y="20"/>
                  <a:pt x="219" y="11"/>
                  <a:pt x="209" y="5"/>
                </a:cubicBezTo>
                <a:cubicBezTo>
                  <a:pt x="202" y="1"/>
                  <a:pt x="194" y="0"/>
                  <a:pt x="186" y="0"/>
                </a:cubicBezTo>
                <a:cubicBezTo>
                  <a:pt x="172" y="0"/>
                  <a:pt x="158" y="5"/>
                  <a:pt x="152" y="9"/>
                </a:cubicBezTo>
                <a:cubicBezTo>
                  <a:pt x="136" y="16"/>
                  <a:pt x="125" y="22"/>
                  <a:pt x="115" y="48"/>
                </a:cubicBezTo>
                <a:cubicBezTo>
                  <a:pt x="107" y="69"/>
                  <a:pt x="117" y="92"/>
                  <a:pt x="122" y="104"/>
                </a:cubicBezTo>
                <a:cubicBezTo>
                  <a:pt x="116" y="130"/>
                  <a:pt x="125" y="139"/>
                  <a:pt x="125" y="139"/>
                </a:cubicBezTo>
                <a:cubicBezTo>
                  <a:pt x="129" y="146"/>
                  <a:pt x="141" y="155"/>
                  <a:pt x="141" y="181"/>
                </a:cubicBezTo>
                <a:cubicBezTo>
                  <a:pt x="141" y="211"/>
                  <a:pt x="112" y="218"/>
                  <a:pt x="112" y="218"/>
                </a:cubicBezTo>
                <a:cubicBezTo>
                  <a:pt x="94" y="225"/>
                  <a:pt x="56" y="238"/>
                  <a:pt x="56" y="281"/>
                </a:cubicBezTo>
                <a:cubicBezTo>
                  <a:pt x="56" y="281"/>
                  <a:pt x="56" y="289"/>
                  <a:pt x="64" y="289"/>
                </a:cubicBezTo>
                <a:cubicBezTo>
                  <a:pt x="289" y="289"/>
                  <a:pt x="289" y="289"/>
                  <a:pt x="289" y="289"/>
                </a:cubicBezTo>
                <a:cubicBezTo>
                  <a:pt x="297" y="289"/>
                  <a:pt x="297" y="281"/>
                  <a:pt x="297" y="281"/>
                </a:cubicBezTo>
                <a:cubicBezTo>
                  <a:pt x="297" y="238"/>
                  <a:pt x="258" y="225"/>
                  <a:pt x="240" y="218"/>
                </a:cubicBezTo>
                <a:moveTo>
                  <a:pt x="72" y="273"/>
                </a:moveTo>
                <a:cubicBezTo>
                  <a:pt x="76" y="250"/>
                  <a:pt x="96" y="241"/>
                  <a:pt x="11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1" y="230"/>
                  <a:pt x="157" y="214"/>
                  <a:pt x="157" y="181"/>
                </a:cubicBezTo>
                <a:cubicBezTo>
                  <a:pt x="157" y="153"/>
                  <a:pt x="146" y="140"/>
                  <a:pt x="140" y="132"/>
                </a:cubicBezTo>
                <a:cubicBezTo>
                  <a:pt x="138" y="131"/>
                  <a:pt x="137" y="129"/>
                  <a:pt x="137" y="129"/>
                </a:cubicBezTo>
                <a:cubicBezTo>
                  <a:pt x="137" y="128"/>
                  <a:pt x="134" y="122"/>
                  <a:pt x="138" y="107"/>
                </a:cubicBezTo>
                <a:cubicBezTo>
                  <a:pt x="139" y="100"/>
                  <a:pt x="137" y="97"/>
                  <a:pt x="137" y="97"/>
                </a:cubicBezTo>
                <a:cubicBezTo>
                  <a:pt x="132" y="87"/>
                  <a:pt x="124" y="69"/>
                  <a:pt x="130" y="54"/>
                </a:cubicBezTo>
                <a:cubicBezTo>
                  <a:pt x="138" y="33"/>
                  <a:pt x="146" y="29"/>
                  <a:pt x="159" y="23"/>
                </a:cubicBezTo>
                <a:cubicBezTo>
                  <a:pt x="160" y="23"/>
                  <a:pt x="160" y="22"/>
                  <a:pt x="161" y="22"/>
                </a:cubicBezTo>
                <a:cubicBezTo>
                  <a:pt x="164" y="20"/>
                  <a:pt x="174" y="16"/>
                  <a:pt x="186" y="16"/>
                </a:cubicBezTo>
                <a:cubicBezTo>
                  <a:pt x="192" y="16"/>
                  <a:pt x="197" y="17"/>
                  <a:pt x="201" y="19"/>
                </a:cubicBezTo>
                <a:cubicBezTo>
                  <a:pt x="206" y="22"/>
                  <a:pt x="210" y="27"/>
                  <a:pt x="217" y="44"/>
                </a:cubicBezTo>
                <a:cubicBezTo>
                  <a:pt x="230" y="73"/>
                  <a:pt x="222" y="89"/>
                  <a:pt x="218" y="95"/>
                </a:cubicBezTo>
                <a:cubicBezTo>
                  <a:pt x="215" y="99"/>
                  <a:pt x="214" y="104"/>
                  <a:pt x="215" y="108"/>
                </a:cubicBezTo>
                <a:cubicBezTo>
                  <a:pt x="218" y="122"/>
                  <a:pt x="216" y="127"/>
                  <a:pt x="216" y="129"/>
                </a:cubicBezTo>
                <a:cubicBezTo>
                  <a:pt x="216" y="129"/>
                  <a:pt x="214" y="131"/>
                  <a:pt x="213" y="132"/>
                </a:cubicBezTo>
                <a:cubicBezTo>
                  <a:pt x="207" y="140"/>
                  <a:pt x="195" y="153"/>
                  <a:pt x="195" y="181"/>
                </a:cubicBezTo>
                <a:cubicBezTo>
                  <a:pt x="195" y="214"/>
                  <a:pt x="221" y="230"/>
                  <a:pt x="235" y="234"/>
                </a:cubicBezTo>
                <a:cubicBezTo>
                  <a:pt x="236" y="234"/>
                  <a:pt x="236" y="234"/>
                  <a:pt x="236" y="234"/>
                </a:cubicBezTo>
                <a:cubicBezTo>
                  <a:pt x="256" y="241"/>
                  <a:pt x="276" y="250"/>
                  <a:pt x="280" y="273"/>
                </a:cubicBezTo>
                <a:lnTo>
                  <a:pt x="72" y="2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A74FF4A3-2902-5785-A447-BB3F35723805}"/>
              </a:ext>
            </a:extLst>
          </p:cNvPr>
          <p:cNvGrpSpPr/>
          <p:nvPr/>
        </p:nvGrpSpPr>
        <p:grpSpPr>
          <a:xfrm>
            <a:off x="8910997" y="2129079"/>
            <a:ext cx="2679490" cy="1081439"/>
            <a:chOff x="8123597" y="1942268"/>
            <a:chExt cx="2679490" cy="1081439"/>
          </a:xfrm>
        </p:grpSpPr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21208C5E-6688-4651-1E02-5F7105D4C4D4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5B849500-0F21-822C-3A94-73AAD988A44F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DB2C50EB-5054-3A6D-BE18-6F243AF2B055}"/>
              </a:ext>
            </a:extLst>
          </p:cNvPr>
          <p:cNvGrpSpPr/>
          <p:nvPr/>
        </p:nvGrpSpPr>
        <p:grpSpPr>
          <a:xfrm>
            <a:off x="8910997" y="4150990"/>
            <a:ext cx="2679490" cy="1081439"/>
            <a:chOff x="8123597" y="1942268"/>
            <a:chExt cx="2679490" cy="1081439"/>
          </a:xfrm>
        </p:grpSpPr>
        <p:sp>
          <p:nvSpPr>
            <p:cNvPr id="18" name="TextBox 24">
              <a:extLst>
                <a:ext uri="{FF2B5EF4-FFF2-40B4-BE49-F238E27FC236}">
                  <a16:creationId xmlns:a16="http://schemas.microsoft.com/office/drawing/2014/main" id="{9E2DC4AF-07F7-2FF5-386D-1BDDD08E36C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9" name="TextBox 25">
              <a:extLst>
                <a:ext uri="{FF2B5EF4-FFF2-40B4-BE49-F238E27FC236}">
                  <a16:creationId xmlns:a16="http://schemas.microsoft.com/office/drawing/2014/main" id="{EE81F313-AB17-5F5B-0744-5819B9E940A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0C2F9B37-ED43-6905-C2E4-0E5751F67A7E}"/>
              </a:ext>
            </a:extLst>
          </p:cNvPr>
          <p:cNvGrpSpPr/>
          <p:nvPr/>
        </p:nvGrpSpPr>
        <p:grpSpPr>
          <a:xfrm>
            <a:off x="612506" y="4150990"/>
            <a:ext cx="2679490" cy="1081439"/>
            <a:chOff x="8123597" y="1942268"/>
            <a:chExt cx="2679490" cy="1081439"/>
          </a:xfrm>
        </p:grpSpPr>
        <p:sp>
          <p:nvSpPr>
            <p:cNvPr id="21" name="TextBox 24">
              <a:extLst>
                <a:ext uri="{FF2B5EF4-FFF2-40B4-BE49-F238E27FC236}">
                  <a16:creationId xmlns:a16="http://schemas.microsoft.com/office/drawing/2014/main" id="{18894707-7089-40FE-B810-2BF26A1D804A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2" name="TextBox 25">
              <a:extLst>
                <a:ext uri="{FF2B5EF4-FFF2-40B4-BE49-F238E27FC236}">
                  <a16:creationId xmlns:a16="http://schemas.microsoft.com/office/drawing/2014/main" id="{A5BAE82A-C581-36FE-923F-0860E08DC295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93D79492-2AFD-EA08-4EDA-38BF98FA20AB}"/>
              </a:ext>
            </a:extLst>
          </p:cNvPr>
          <p:cNvGrpSpPr/>
          <p:nvPr/>
        </p:nvGrpSpPr>
        <p:grpSpPr>
          <a:xfrm>
            <a:off x="612506" y="2153872"/>
            <a:ext cx="2679490" cy="1081439"/>
            <a:chOff x="8123597" y="1942268"/>
            <a:chExt cx="2679490" cy="1081439"/>
          </a:xfrm>
        </p:grpSpPr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6D516B49-5F56-E91C-173B-C0527B718333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C4945531-D7C4-5276-1AF9-C9F4B1706420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0E7977E9-C51D-1386-0086-6629B24793AC}"/>
              </a:ext>
            </a:extLst>
          </p:cNvPr>
          <p:cNvGrpSpPr/>
          <p:nvPr/>
        </p:nvGrpSpPr>
        <p:grpSpPr>
          <a:xfrm>
            <a:off x="5275974" y="3604678"/>
            <a:ext cx="1636874" cy="650552"/>
            <a:chOff x="8123597" y="1942268"/>
            <a:chExt cx="2679490" cy="650552"/>
          </a:xfrm>
        </p:grpSpPr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23E6A66F-51AE-A769-4A80-EF263DAE892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6D98BCB5-BA78-3E24-BC98-81AF5EFDD7F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</p:grp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3D566BC-E7BD-B69F-A252-925D4F7F9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89706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180519918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B687686-E417-69C7-9D53-C623B785C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931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B687686-E417-69C7-9D53-C623B785C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778A-20F4-5DBB-2F23-B700FCF8A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6367DA7-A45A-B629-F23C-D864DB8D7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E6C466-904B-750F-C57D-CE6C13D80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2D2346C6-D058-0702-B0CC-FDCF614090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6210972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5">
            <a:extLst>
              <a:ext uri="{FF2B5EF4-FFF2-40B4-BE49-F238E27FC236}">
                <a16:creationId xmlns:a16="http://schemas.microsoft.com/office/drawing/2014/main" id="{3D6C251F-F648-64C8-1BE8-19E446B744D7}"/>
              </a:ext>
            </a:extLst>
          </p:cNvPr>
          <p:cNvSpPr txBox="1"/>
          <p:nvPr/>
        </p:nvSpPr>
        <p:spPr>
          <a:xfrm>
            <a:off x="5426128" y="332010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0C366D4E-9D4E-79ED-EE40-2E8A47C7E59E}"/>
              </a:ext>
            </a:extLst>
          </p:cNvPr>
          <p:cNvSpPr txBox="1"/>
          <p:nvPr/>
        </p:nvSpPr>
        <p:spPr>
          <a:xfrm>
            <a:off x="5426128" y="514161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028483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B1961E3-8214-8DC6-83FE-43EDFEE66F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02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B1961E3-8214-8DC6-83FE-43EDFEE66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5CF04FE-B67B-5B20-CB63-021D3B45BE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FE17FE-D501-C195-1257-618CB969B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Proportional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86DFD37-BEBE-E04C-8B66-89D7932AA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pSp>
        <p:nvGrpSpPr>
          <p:cNvPr id="2156" name="Group 2155">
            <a:extLst>
              <a:ext uri="{FF2B5EF4-FFF2-40B4-BE49-F238E27FC236}">
                <a16:creationId xmlns:a16="http://schemas.microsoft.com/office/drawing/2014/main" id="{BC47DAFF-753E-92A6-A0B6-2040A4932BB5}"/>
              </a:ext>
            </a:extLst>
          </p:cNvPr>
          <p:cNvGrpSpPr/>
          <p:nvPr/>
        </p:nvGrpSpPr>
        <p:grpSpPr>
          <a:xfrm>
            <a:off x="1915301" y="2285778"/>
            <a:ext cx="2694936" cy="2600969"/>
            <a:chOff x="1837479" y="2155762"/>
            <a:chExt cx="2694936" cy="260096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EC4A6DD-DB73-7F66-B618-A741FEF91AB8}"/>
                </a:ext>
              </a:extLst>
            </p:cNvPr>
            <p:cNvSpPr/>
            <p:nvPr/>
          </p:nvSpPr>
          <p:spPr>
            <a:xfrm>
              <a:off x="1837479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629ED23-EAE3-79BE-7BDD-9C1942D3555B}"/>
                </a:ext>
              </a:extLst>
            </p:cNvPr>
            <p:cNvSpPr/>
            <p:nvPr/>
          </p:nvSpPr>
          <p:spPr>
            <a:xfrm>
              <a:off x="2115467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EB6EF68-735B-6924-1BC9-1CEF4FAEC808}"/>
                </a:ext>
              </a:extLst>
            </p:cNvPr>
            <p:cNvSpPr/>
            <p:nvPr/>
          </p:nvSpPr>
          <p:spPr>
            <a:xfrm>
              <a:off x="239345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ECCB-8BDC-E077-46EF-E20D8F4C319B}"/>
                </a:ext>
              </a:extLst>
            </p:cNvPr>
            <p:cNvSpPr/>
            <p:nvPr/>
          </p:nvSpPr>
          <p:spPr>
            <a:xfrm>
              <a:off x="2671443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832A4B-77CB-00FE-BE9D-CB712FADD321}"/>
                </a:ext>
              </a:extLst>
            </p:cNvPr>
            <p:cNvSpPr/>
            <p:nvPr/>
          </p:nvSpPr>
          <p:spPr>
            <a:xfrm>
              <a:off x="2949431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A9EEB8-6452-23AE-85E4-5678B2F402F7}"/>
                </a:ext>
              </a:extLst>
            </p:cNvPr>
            <p:cNvSpPr/>
            <p:nvPr/>
          </p:nvSpPr>
          <p:spPr>
            <a:xfrm>
              <a:off x="3227419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3FD1E61-F451-47F4-3FFB-8DF3EC02B64E}"/>
                </a:ext>
              </a:extLst>
            </p:cNvPr>
            <p:cNvSpPr/>
            <p:nvPr/>
          </p:nvSpPr>
          <p:spPr>
            <a:xfrm>
              <a:off x="3505407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17D604E-1390-6060-F1A4-5C71590005B7}"/>
                </a:ext>
              </a:extLst>
            </p:cNvPr>
            <p:cNvSpPr/>
            <p:nvPr/>
          </p:nvSpPr>
          <p:spPr>
            <a:xfrm>
              <a:off x="378339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F4FB49B-2DFD-88E7-1002-0FFC4A4A1655}"/>
                </a:ext>
              </a:extLst>
            </p:cNvPr>
            <p:cNvSpPr/>
            <p:nvPr/>
          </p:nvSpPr>
          <p:spPr>
            <a:xfrm>
              <a:off x="4061383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BFF7B5-5155-5267-BBA7-570FCEE1E9FB}"/>
                </a:ext>
              </a:extLst>
            </p:cNvPr>
            <p:cNvSpPr/>
            <p:nvPr/>
          </p:nvSpPr>
          <p:spPr>
            <a:xfrm>
              <a:off x="433937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A945494-C4C7-C4ED-9227-7C95884E3F28}"/>
                </a:ext>
              </a:extLst>
            </p:cNvPr>
            <p:cNvSpPr/>
            <p:nvPr/>
          </p:nvSpPr>
          <p:spPr>
            <a:xfrm>
              <a:off x="1837479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F3B504F-D7EF-E4F0-BF27-3CFEF9AAAF7D}"/>
                </a:ext>
              </a:extLst>
            </p:cNvPr>
            <p:cNvSpPr/>
            <p:nvPr/>
          </p:nvSpPr>
          <p:spPr>
            <a:xfrm>
              <a:off x="2115467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D330BE-8652-5E9E-DE16-71743112213B}"/>
                </a:ext>
              </a:extLst>
            </p:cNvPr>
            <p:cNvSpPr/>
            <p:nvPr/>
          </p:nvSpPr>
          <p:spPr>
            <a:xfrm>
              <a:off x="239345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964676B-2788-33D3-DE21-458D2E220363}"/>
                </a:ext>
              </a:extLst>
            </p:cNvPr>
            <p:cNvSpPr/>
            <p:nvPr/>
          </p:nvSpPr>
          <p:spPr>
            <a:xfrm>
              <a:off x="2671443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8CD3BDD-900A-4A5B-FDF9-DB628ABBF60D}"/>
                </a:ext>
              </a:extLst>
            </p:cNvPr>
            <p:cNvSpPr/>
            <p:nvPr/>
          </p:nvSpPr>
          <p:spPr>
            <a:xfrm>
              <a:off x="2949431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7535780-68F1-F34F-D193-964C121D06C9}"/>
                </a:ext>
              </a:extLst>
            </p:cNvPr>
            <p:cNvSpPr/>
            <p:nvPr/>
          </p:nvSpPr>
          <p:spPr>
            <a:xfrm>
              <a:off x="3227419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E3C6669-5D33-0A33-F62B-B32CD6FD1D05}"/>
                </a:ext>
              </a:extLst>
            </p:cNvPr>
            <p:cNvSpPr/>
            <p:nvPr/>
          </p:nvSpPr>
          <p:spPr>
            <a:xfrm>
              <a:off x="3505407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00CD648-9E69-809E-473F-7DF272587108}"/>
                </a:ext>
              </a:extLst>
            </p:cNvPr>
            <p:cNvSpPr/>
            <p:nvPr/>
          </p:nvSpPr>
          <p:spPr>
            <a:xfrm>
              <a:off x="378339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8F2F40A-9579-3EBE-5209-D0533C5D28B3}"/>
                </a:ext>
              </a:extLst>
            </p:cNvPr>
            <p:cNvSpPr/>
            <p:nvPr/>
          </p:nvSpPr>
          <p:spPr>
            <a:xfrm>
              <a:off x="4061383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C047ABA-E985-86AA-712D-7A7B82F7A19B}"/>
                </a:ext>
              </a:extLst>
            </p:cNvPr>
            <p:cNvSpPr/>
            <p:nvPr/>
          </p:nvSpPr>
          <p:spPr>
            <a:xfrm>
              <a:off x="433937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CD1AD44-B806-1B7B-B5B3-88747DD090AE}"/>
                </a:ext>
              </a:extLst>
            </p:cNvPr>
            <p:cNvSpPr/>
            <p:nvPr/>
          </p:nvSpPr>
          <p:spPr>
            <a:xfrm>
              <a:off x="1837479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174602B-9107-1CB4-90E7-F048DD5BDFAC}"/>
                </a:ext>
              </a:extLst>
            </p:cNvPr>
            <p:cNvSpPr/>
            <p:nvPr/>
          </p:nvSpPr>
          <p:spPr>
            <a:xfrm>
              <a:off x="2115467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7A19E33-9E63-80D7-BA97-9B5ACAD8C50F}"/>
                </a:ext>
              </a:extLst>
            </p:cNvPr>
            <p:cNvSpPr/>
            <p:nvPr/>
          </p:nvSpPr>
          <p:spPr>
            <a:xfrm>
              <a:off x="239345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57F4250-3E74-29A7-8B54-DD240993E327}"/>
                </a:ext>
              </a:extLst>
            </p:cNvPr>
            <p:cNvSpPr/>
            <p:nvPr/>
          </p:nvSpPr>
          <p:spPr>
            <a:xfrm>
              <a:off x="2671443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09517F1-4316-8567-EB22-5A30E9149728}"/>
                </a:ext>
              </a:extLst>
            </p:cNvPr>
            <p:cNvSpPr/>
            <p:nvPr/>
          </p:nvSpPr>
          <p:spPr>
            <a:xfrm>
              <a:off x="2949431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F1E82BB-76A3-89DE-2230-D0E5B422EAE6}"/>
                </a:ext>
              </a:extLst>
            </p:cNvPr>
            <p:cNvSpPr/>
            <p:nvPr/>
          </p:nvSpPr>
          <p:spPr>
            <a:xfrm>
              <a:off x="3227419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A0ED08C-4681-7A0D-3308-0676270CE00A}"/>
                </a:ext>
              </a:extLst>
            </p:cNvPr>
            <p:cNvSpPr/>
            <p:nvPr/>
          </p:nvSpPr>
          <p:spPr>
            <a:xfrm>
              <a:off x="3505407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4A36B6C-5F0D-C422-8B46-CA9DEBEF6E04}"/>
                </a:ext>
              </a:extLst>
            </p:cNvPr>
            <p:cNvSpPr/>
            <p:nvPr/>
          </p:nvSpPr>
          <p:spPr>
            <a:xfrm>
              <a:off x="378339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529BA3B-F399-5535-1DDC-0377B26C69BA}"/>
                </a:ext>
              </a:extLst>
            </p:cNvPr>
            <p:cNvSpPr/>
            <p:nvPr/>
          </p:nvSpPr>
          <p:spPr>
            <a:xfrm>
              <a:off x="4061383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E047C4A-5B5D-4F49-4538-EC1512C40724}"/>
                </a:ext>
              </a:extLst>
            </p:cNvPr>
            <p:cNvSpPr/>
            <p:nvPr/>
          </p:nvSpPr>
          <p:spPr>
            <a:xfrm>
              <a:off x="433937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F0C819A-D762-BC80-4154-2A60937C2F6C}"/>
                </a:ext>
              </a:extLst>
            </p:cNvPr>
            <p:cNvSpPr/>
            <p:nvPr/>
          </p:nvSpPr>
          <p:spPr>
            <a:xfrm>
              <a:off x="1837479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8E9D54-65F9-5448-9192-5F424AF338C6}"/>
                </a:ext>
              </a:extLst>
            </p:cNvPr>
            <p:cNvSpPr/>
            <p:nvPr/>
          </p:nvSpPr>
          <p:spPr>
            <a:xfrm>
              <a:off x="2115467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EAE8549-C1D0-8576-1168-285437255536}"/>
                </a:ext>
              </a:extLst>
            </p:cNvPr>
            <p:cNvSpPr/>
            <p:nvPr/>
          </p:nvSpPr>
          <p:spPr>
            <a:xfrm>
              <a:off x="239345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2F6BC5D-B12A-C4B5-F94B-2EB3E644B4DE}"/>
                </a:ext>
              </a:extLst>
            </p:cNvPr>
            <p:cNvSpPr/>
            <p:nvPr/>
          </p:nvSpPr>
          <p:spPr>
            <a:xfrm>
              <a:off x="2671443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4B05B36-56BB-4DC9-C78B-A8B34F4C4222}"/>
                </a:ext>
              </a:extLst>
            </p:cNvPr>
            <p:cNvSpPr/>
            <p:nvPr/>
          </p:nvSpPr>
          <p:spPr>
            <a:xfrm>
              <a:off x="2949431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0882D1F-1730-02CD-4109-079E4A675AA3}"/>
                </a:ext>
              </a:extLst>
            </p:cNvPr>
            <p:cNvSpPr/>
            <p:nvPr/>
          </p:nvSpPr>
          <p:spPr>
            <a:xfrm>
              <a:off x="3227419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B5DECA7-7A95-2AA9-6466-C007A4488A5A}"/>
                </a:ext>
              </a:extLst>
            </p:cNvPr>
            <p:cNvSpPr/>
            <p:nvPr/>
          </p:nvSpPr>
          <p:spPr>
            <a:xfrm>
              <a:off x="3505407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CB110FD-E9D7-8BD5-B4A9-325651B3C35B}"/>
                </a:ext>
              </a:extLst>
            </p:cNvPr>
            <p:cNvSpPr/>
            <p:nvPr/>
          </p:nvSpPr>
          <p:spPr>
            <a:xfrm>
              <a:off x="378339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68FF918-497C-3C60-98DB-20970EE2C2A7}"/>
                </a:ext>
              </a:extLst>
            </p:cNvPr>
            <p:cNvSpPr/>
            <p:nvPr/>
          </p:nvSpPr>
          <p:spPr>
            <a:xfrm>
              <a:off x="4061383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1FC40EB-AE61-69E3-8574-D3F37D8CAE0A}"/>
                </a:ext>
              </a:extLst>
            </p:cNvPr>
            <p:cNvSpPr/>
            <p:nvPr/>
          </p:nvSpPr>
          <p:spPr>
            <a:xfrm>
              <a:off x="433937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1" name="Rectangle 2090">
              <a:extLst>
                <a:ext uri="{FF2B5EF4-FFF2-40B4-BE49-F238E27FC236}">
                  <a16:creationId xmlns:a16="http://schemas.microsoft.com/office/drawing/2014/main" id="{106F950B-9727-6A68-B744-D571AC63A8CF}"/>
                </a:ext>
              </a:extLst>
            </p:cNvPr>
            <p:cNvSpPr/>
            <p:nvPr/>
          </p:nvSpPr>
          <p:spPr>
            <a:xfrm>
              <a:off x="1837479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2" name="Rectangle 2091">
              <a:extLst>
                <a:ext uri="{FF2B5EF4-FFF2-40B4-BE49-F238E27FC236}">
                  <a16:creationId xmlns:a16="http://schemas.microsoft.com/office/drawing/2014/main" id="{8D19404D-E67C-1215-EDEA-E26D8DC6DBC7}"/>
                </a:ext>
              </a:extLst>
            </p:cNvPr>
            <p:cNvSpPr/>
            <p:nvPr/>
          </p:nvSpPr>
          <p:spPr>
            <a:xfrm>
              <a:off x="2115467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3" name="Rectangle 2092">
              <a:extLst>
                <a:ext uri="{FF2B5EF4-FFF2-40B4-BE49-F238E27FC236}">
                  <a16:creationId xmlns:a16="http://schemas.microsoft.com/office/drawing/2014/main" id="{850E4876-8D7E-174F-388A-F8867B44584E}"/>
                </a:ext>
              </a:extLst>
            </p:cNvPr>
            <p:cNvSpPr/>
            <p:nvPr/>
          </p:nvSpPr>
          <p:spPr>
            <a:xfrm>
              <a:off x="239345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4" name="Rectangle 2093">
              <a:extLst>
                <a:ext uri="{FF2B5EF4-FFF2-40B4-BE49-F238E27FC236}">
                  <a16:creationId xmlns:a16="http://schemas.microsoft.com/office/drawing/2014/main" id="{F22357D0-87BB-2E9D-3552-33615CBD05A9}"/>
                </a:ext>
              </a:extLst>
            </p:cNvPr>
            <p:cNvSpPr/>
            <p:nvPr/>
          </p:nvSpPr>
          <p:spPr>
            <a:xfrm>
              <a:off x="2671443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5" name="Rectangle 2094">
              <a:extLst>
                <a:ext uri="{FF2B5EF4-FFF2-40B4-BE49-F238E27FC236}">
                  <a16:creationId xmlns:a16="http://schemas.microsoft.com/office/drawing/2014/main" id="{492CCFF5-A24D-E646-86C7-C4B1E7FCF581}"/>
                </a:ext>
              </a:extLst>
            </p:cNvPr>
            <p:cNvSpPr/>
            <p:nvPr/>
          </p:nvSpPr>
          <p:spPr>
            <a:xfrm>
              <a:off x="2949431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6" name="Rectangle 2095">
              <a:extLst>
                <a:ext uri="{FF2B5EF4-FFF2-40B4-BE49-F238E27FC236}">
                  <a16:creationId xmlns:a16="http://schemas.microsoft.com/office/drawing/2014/main" id="{FB57F4EF-FE69-4D63-05B1-AB3396CB46F4}"/>
                </a:ext>
              </a:extLst>
            </p:cNvPr>
            <p:cNvSpPr/>
            <p:nvPr/>
          </p:nvSpPr>
          <p:spPr>
            <a:xfrm>
              <a:off x="3227419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7" name="Rectangle 2096">
              <a:extLst>
                <a:ext uri="{FF2B5EF4-FFF2-40B4-BE49-F238E27FC236}">
                  <a16:creationId xmlns:a16="http://schemas.microsoft.com/office/drawing/2014/main" id="{918F1B43-1D29-ED57-901D-5FF8BF6831C6}"/>
                </a:ext>
              </a:extLst>
            </p:cNvPr>
            <p:cNvSpPr/>
            <p:nvPr/>
          </p:nvSpPr>
          <p:spPr>
            <a:xfrm>
              <a:off x="3505407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8" name="Rectangle 2097">
              <a:extLst>
                <a:ext uri="{FF2B5EF4-FFF2-40B4-BE49-F238E27FC236}">
                  <a16:creationId xmlns:a16="http://schemas.microsoft.com/office/drawing/2014/main" id="{88805ADD-3424-E84C-B92C-2FB76E8EA366}"/>
                </a:ext>
              </a:extLst>
            </p:cNvPr>
            <p:cNvSpPr/>
            <p:nvPr/>
          </p:nvSpPr>
          <p:spPr>
            <a:xfrm>
              <a:off x="378339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9" name="Rectangle 2098">
              <a:extLst>
                <a:ext uri="{FF2B5EF4-FFF2-40B4-BE49-F238E27FC236}">
                  <a16:creationId xmlns:a16="http://schemas.microsoft.com/office/drawing/2014/main" id="{42D1B121-D1F7-18B2-6774-78F8809459C6}"/>
                </a:ext>
              </a:extLst>
            </p:cNvPr>
            <p:cNvSpPr/>
            <p:nvPr/>
          </p:nvSpPr>
          <p:spPr>
            <a:xfrm>
              <a:off x="4061383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98BF2ACD-F9F7-E260-D8FD-C279CA11DA3C}"/>
                </a:ext>
              </a:extLst>
            </p:cNvPr>
            <p:cNvSpPr/>
            <p:nvPr/>
          </p:nvSpPr>
          <p:spPr>
            <a:xfrm>
              <a:off x="433937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2" name="Rectangle 2101">
              <a:extLst>
                <a:ext uri="{FF2B5EF4-FFF2-40B4-BE49-F238E27FC236}">
                  <a16:creationId xmlns:a16="http://schemas.microsoft.com/office/drawing/2014/main" id="{154A5A18-82A7-22E9-4DA6-C9357B9B161B}"/>
                </a:ext>
              </a:extLst>
            </p:cNvPr>
            <p:cNvSpPr/>
            <p:nvPr/>
          </p:nvSpPr>
          <p:spPr>
            <a:xfrm>
              <a:off x="1837479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709A7C9B-D8BF-6926-EFDE-3A128C80283D}"/>
                </a:ext>
              </a:extLst>
            </p:cNvPr>
            <p:cNvSpPr/>
            <p:nvPr/>
          </p:nvSpPr>
          <p:spPr>
            <a:xfrm>
              <a:off x="2115467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4" name="Rectangle 2103">
              <a:extLst>
                <a:ext uri="{FF2B5EF4-FFF2-40B4-BE49-F238E27FC236}">
                  <a16:creationId xmlns:a16="http://schemas.microsoft.com/office/drawing/2014/main" id="{940C501C-4E4B-B549-4CB4-08BB952CFD5E}"/>
                </a:ext>
              </a:extLst>
            </p:cNvPr>
            <p:cNvSpPr/>
            <p:nvPr/>
          </p:nvSpPr>
          <p:spPr>
            <a:xfrm>
              <a:off x="2393455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5" name="Rectangle 2104">
              <a:extLst>
                <a:ext uri="{FF2B5EF4-FFF2-40B4-BE49-F238E27FC236}">
                  <a16:creationId xmlns:a16="http://schemas.microsoft.com/office/drawing/2014/main" id="{925C9822-5C16-500D-F4AC-BB04D65781AF}"/>
                </a:ext>
              </a:extLst>
            </p:cNvPr>
            <p:cNvSpPr/>
            <p:nvPr/>
          </p:nvSpPr>
          <p:spPr>
            <a:xfrm>
              <a:off x="2671443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6" name="Rectangle 2105">
              <a:extLst>
                <a:ext uri="{FF2B5EF4-FFF2-40B4-BE49-F238E27FC236}">
                  <a16:creationId xmlns:a16="http://schemas.microsoft.com/office/drawing/2014/main" id="{B92F036B-B986-8E77-96C3-63104113464A}"/>
                </a:ext>
              </a:extLst>
            </p:cNvPr>
            <p:cNvSpPr/>
            <p:nvPr/>
          </p:nvSpPr>
          <p:spPr>
            <a:xfrm>
              <a:off x="2949431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7" name="Rectangle 2106">
              <a:extLst>
                <a:ext uri="{FF2B5EF4-FFF2-40B4-BE49-F238E27FC236}">
                  <a16:creationId xmlns:a16="http://schemas.microsoft.com/office/drawing/2014/main" id="{226805EB-B465-F97D-7CCA-ED7C77D38ED2}"/>
                </a:ext>
              </a:extLst>
            </p:cNvPr>
            <p:cNvSpPr/>
            <p:nvPr/>
          </p:nvSpPr>
          <p:spPr>
            <a:xfrm>
              <a:off x="3227419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8" name="Rectangle 2107">
              <a:extLst>
                <a:ext uri="{FF2B5EF4-FFF2-40B4-BE49-F238E27FC236}">
                  <a16:creationId xmlns:a16="http://schemas.microsoft.com/office/drawing/2014/main" id="{30886372-DBAC-36EA-00A8-0AFCC37E6ED8}"/>
                </a:ext>
              </a:extLst>
            </p:cNvPr>
            <p:cNvSpPr/>
            <p:nvPr/>
          </p:nvSpPr>
          <p:spPr>
            <a:xfrm>
              <a:off x="3505407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9" name="Rectangle 2108">
              <a:extLst>
                <a:ext uri="{FF2B5EF4-FFF2-40B4-BE49-F238E27FC236}">
                  <a16:creationId xmlns:a16="http://schemas.microsoft.com/office/drawing/2014/main" id="{EE83AF3A-EC9F-7F9A-5791-E2A2ECA04C71}"/>
                </a:ext>
              </a:extLst>
            </p:cNvPr>
            <p:cNvSpPr/>
            <p:nvPr/>
          </p:nvSpPr>
          <p:spPr>
            <a:xfrm>
              <a:off x="3783395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4A81E1EB-9F07-D85E-BA30-32B0B565F994}"/>
                </a:ext>
              </a:extLst>
            </p:cNvPr>
            <p:cNvSpPr/>
            <p:nvPr/>
          </p:nvSpPr>
          <p:spPr>
            <a:xfrm>
              <a:off x="4061383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A3751E5C-60B0-5FC5-7CD1-8C5B5F0FA232}"/>
                </a:ext>
              </a:extLst>
            </p:cNvPr>
            <p:cNvSpPr/>
            <p:nvPr/>
          </p:nvSpPr>
          <p:spPr>
            <a:xfrm>
              <a:off x="4339375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3" name="Rectangle 2112">
              <a:extLst>
                <a:ext uri="{FF2B5EF4-FFF2-40B4-BE49-F238E27FC236}">
                  <a16:creationId xmlns:a16="http://schemas.microsoft.com/office/drawing/2014/main" id="{649F9D1B-FCDB-3AA5-023E-CA0F9BC82D4B}"/>
                </a:ext>
              </a:extLst>
            </p:cNvPr>
            <p:cNvSpPr/>
            <p:nvPr/>
          </p:nvSpPr>
          <p:spPr>
            <a:xfrm>
              <a:off x="1837479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3E26F80C-8314-37EC-D758-631035595E92}"/>
                </a:ext>
              </a:extLst>
            </p:cNvPr>
            <p:cNvSpPr/>
            <p:nvPr/>
          </p:nvSpPr>
          <p:spPr>
            <a:xfrm>
              <a:off x="2115467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D8347D7-4CFB-35CB-9FE3-76B68D83C68E}"/>
                </a:ext>
              </a:extLst>
            </p:cNvPr>
            <p:cNvSpPr/>
            <p:nvPr/>
          </p:nvSpPr>
          <p:spPr>
            <a:xfrm>
              <a:off x="239345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4ED04DE7-D8B6-5583-BE30-66C21875DB1C}"/>
                </a:ext>
              </a:extLst>
            </p:cNvPr>
            <p:cNvSpPr/>
            <p:nvPr/>
          </p:nvSpPr>
          <p:spPr>
            <a:xfrm>
              <a:off x="2671443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E0C4E7A2-2DFA-B824-87C2-8E372247EC6C}"/>
                </a:ext>
              </a:extLst>
            </p:cNvPr>
            <p:cNvSpPr/>
            <p:nvPr/>
          </p:nvSpPr>
          <p:spPr>
            <a:xfrm>
              <a:off x="2949431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8" name="Rectangle 2117">
              <a:extLst>
                <a:ext uri="{FF2B5EF4-FFF2-40B4-BE49-F238E27FC236}">
                  <a16:creationId xmlns:a16="http://schemas.microsoft.com/office/drawing/2014/main" id="{0B3A3BFD-F440-E29E-5980-C0BFDBF36C41}"/>
                </a:ext>
              </a:extLst>
            </p:cNvPr>
            <p:cNvSpPr/>
            <p:nvPr/>
          </p:nvSpPr>
          <p:spPr>
            <a:xfrm>
              <a:off x="3227419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9" name="Rectangle 2118">
              <a:extLst>
                <a:ext uri="{FF2B5EF4-FFF2-40B4-BE49-F238E27FC236}">
                  <a16:creationId xmlns:a16="http://schemas.microsoft.com/office/drawing/2014/main" id="{5FD011F0-DE00-6332-720E-6FB1A15A6EE1}"/>
                </a:ext>
              </a:extLst>
            </p:cNvPr>
            <p:cNvSpPr/>
            <p:nvPr/>
          </p:nvSpPr>
          <p:spPr>
            <a:xfrm>
              <a:off x="3505407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0" name="Rectangle 2119">
              <a:extLst>
                <a:ext uri="{FF2B5EF4-FFF2-40B4-BE49-F238E27FC236}">
                  <a16:creationId xmlns:a16="http://schemas.microsoft.com/office/drawing/2014/main" id="{1D5F081B-F376-8039-9E67-9E89883963A1}"/>
                </a:ext>
              </a:extLst>
            </p:cNvPr>
            <p:cNvSpPr/>
            <p:nvPr/>
          </p:nvSpPr>
          <p:spPr>
            <a:xfrm>
              <a:off x="378339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1" name="Rectangle 2120">
              <a:extLst>
                <a:ext uri="{FF2B5EF4-FFF2-40B4-BE49-F238E27FC236}">
                  <a16:creationId xmlns:a16="http://schemas.microsoft.com/office/drawing/2014/main" id="{969CF04A-26EF-5C11-19C2-9202E600B631}"/>
                </a:ext>
              </a:extLst>
            </p:cNvPr>
            <p:cNvSpPr/>
            <p:nvPr/>
          </p:nvSpPr>
          <p:spPr>
            <a:xfrm>
              <a:off x="4061383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2" name="Rectangle 2121">
              <a:extLst>
                <a:ext uri="{FF2B5EF4-FFF2-40B4-BE49-F238E27FC236}">
                  <a16:creationId xmlns:a16="http://schemas.microsoft.com/office/drawing/2014/main" id="{DB935D01-BA38-FB8E-9833-E309193FFB0E}"/>
                </a:ext>
              </a:extLst>
            </p:cNvPr>
            <p:cNvSpPr/>
            <p:nvPr/>
          </p:nvSpPr>
          <p:spPr>
            <a:xfrm>
              <a:off x="433937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4" name="Rectangle 2123">
              <a:extLst>
                <a:ext uri="{FF2B5EF4-FFF2-40B4-BE49-F238E27FC236}">
                  <a16:creationId xmlns:a16="http://schemas.microsoft.com/office/drawing/2014/main" id="{057984CF-BB25-DB1D-B3CD-DB0304D4B95F}"/>
                </a:ext>
              </a:extLst>
            </p:cNvPr>
            <p:cNvSpPr/>
            <p:nvPr/>
          </p:nvSpPr>
          <p:spPr>
            <a:xfrm>
              <a:off x="1837479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5" name="Rectangle 2124">
              <a:extLst>
                <a:ext uri="{FF2B5EF4-FFF2-40B4-BE49-F238E27FC236}">
                  <a16:creationId xmlns:a16="http://schemas.microsoft.com/office/drawing/2014/main" id="{074C7F4A-CFE2-09C3-8AAF-E5A10226C267}"/>
                </a:ext>
              </a:extLst>
            </p:cNvPr>
            <p:cNvSpPr/>
            <p:nvPr/>
          </p:nvSpPr>
          <p:spPr>
            <a:xfrm>
              <a:off x="2115467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6" name="Rectangle 2125">
              <a:extLst>
                <a:ext uri="{FF2B5EF4-FFF2-40B4-BE49-F238E27FC236}">
                  <a16:creationId xmlns:a16="http://schemas.microsoft.com/office/drawing/2014/main" id="{E96BE73D-CF8F-1A37-20B5-E55FCC428FAF}"/>
                </a:ext>
              </a:extLst>
            </p:cNvPr>
            <p:cNvSpPr/>
            <p:nvPr/>
          </p:nvSpPr>
          <p:spPr>
            <a:xfrm>
              <a:off x="239345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7" name="Rectangle 2126">
              <a:extLst>
                <a:ext uri="{FF2B5EF4-FFF2-40B4-BE49-F238E27FC236}">
                  <a16:creationId xmlns:a16="http://schemas.microsoft.com/office/drawing/2014/main" id="{116D76D0-EA73-2190-A9D8-0E7961C87691}"/>
                </a:ext>
              </a:extLst>
            </p:cNvPr>
            <p:cNvSpPr/>
            <p:nvPr/>
          </p:nvSpPr>
          <p:spPr>
            <a:xfrm>
              <a:off x="2671443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8" name="Rectangle 2127">
              <a:extLst>
                <a:ext uri="{FF2B5EF4-FFF2-40B4-BE49-F238E27FC236}">
                  <a16:creationId xmlns:a16="http://schemas.microsoft.com/office/drawing/2014/main" id="{1E1489F0-DD42-C020-A128-B1E21DA8E747}"/>
                </a:ext>
              </a:extLst>
            </p:cNvPr>
            <p:cNvSpPr/>
            <p:nvPr/>
          </p:nvSpPr>
          <p:spPr>
            <a:xfrm>
              <a:off x="2949431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9" name="Rectangle 2128">
              <a:extLst>
                <a:ext uri="{FF2B5EF4-FFF2-40B4-BE49-F238E27FC236}">
                  <a16:creationId xmlns:a16="http://schemas.microsoft.com/office/drawing/2014/main" id="{E163424F-C5FE-0A8C-9C5D-B66787F81DA6}"/>
                </a:ext>
              </a:extLst>
            </p:cNvPr>
            <p:cNvSpPr/>
            <p:nvPr/>
          </p:nvSpPr>
          <p:spPr>
            <a:xfrm>
              <a:off x="3227419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0" name="Rectangle 2129">
              <a:extLst>
                <a:ext uri="{FF2B5EF4-FFF2-40B4-BE49-F238E27FC236}">
                  <a16:creationId xmlns:a16="http://schemas.microsoft.com/office/drawing/2014/main" id="{9DDFF5C4-E4D4-8620-C37B-A11E0D72833E}"/>
                </a:ext>
              </a:extLst>
            </p:cNvPr>
            <p:cNvSpPr/>
            <p:nvPr/>
          </p:nvSpPr>
          <p:spPr>
            <a:xfrm>
              <a:off x="3505407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1" name="Rectangle 2130">
              <a:extLst>
                <a:ext uri="{FF2B5EF4-FFF2-40B4-BE49-F238E27FC236}">
                  <a16:creationId xmlns:a16="http://schemas.microsoft.com/office/drawing/2014/main" id="{D7CBBE60-06AE-D50C-D1E3-6FDBF8892645}"/>
                </a:ext>
              </a:extLst>
            </p:cNvPr>
            <p:cNvSpPr/>
            <p:nvPr/>
          </p:nvSpPr>
          <p:spPr>
            <a:xfrm>
              <a:off x="378339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2" name="Rectangle 2131">
              <a:extLst>
                <a:ext uri="{FF2B5EF4-FFF2-40B4-BE49-F238E27FC236}">
                  <a16:creationId xmlns:a16="http://schemas.microsoft.com/office/drawing/2014/main" id="{F25D62F2-951C-3A32-2783-2EC20E6034F1}"/>
                </a:ext>
              </a:extLst>
            </p:cNvPr>
            <p:cNvSpPr/>
            <p:nvPr/>
          </p:nvSpPr>
          <p:spPr>
            <a:xfrm>
              <a:off x="4061383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3" name="Rectangle 2132">
              <a:extLst>
                <a:ext uri="{FF2B5EF4-FFF2-40B4-BE49-F238E27FC236}">
                  <a16:creationId xmlns:a16="http://schemas.microsoft.com/office/drawing/2014/main" id="{957BCB1F-450E-C5D2-09F1-54107A9EF764}"/>
                </a:ext>
              </a:extLst>
            </p:cNvPr>
            <p:cNvSpPr/>
            <p:nvPr/>
          </p:nvSpPr>
          <p:spPr>
            <a:xfrm>
              <a:off x="433937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5" name="Rectangle 2134">
              <a:extLst>
                <a:ext uri="{FF2B5EF4-FFF2-40B4-BE49-F238E27FC236}">
                  <a16:creationId xmlns:a16="http://schemas.microsoft.com/office/drawing/2014/main" id="{E5FF4310-633A-8320-7D8B-36FE52C4D5D2}"/>
                </a:ext>
              </a:extLst>
            </p:cNvPr>
            <p:cNvSpPr/>
            <p:nvPr/>
          </p:nvSpPr>
          <p:spPr>
            <a:xfrm>
              <a:off x="1837479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6" name="Rectangle 2135">
              <a:extLst>
                <a:ext uri="{FF2B5EF4-FFF2-40B4-BE49-F238E27FC236}">
                  <a16:creationId xmlns:a16="http://schemas.microsoft.com/office/drawing/2014/main" id="{7EA1774C-84F2-D797-3453-68541A4A5511}"/>
                </a:ext>
              </a:extLst>
            </p:cNvPr>
            <p:cNvSpPr/>
            <p:nvPr/>
          </p:nvSpPr>
          <p:spPr>
            <a:xfrm>
              <a:off x="2115467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7" name="Rectangle 2136">
              <a:extLst>
                <a:ext uri="{FF2B5EF4-FFF2-40B4-BE49-F238E27FC236}">
                  <a16:creationId xmlns:a16="http://schemas.microsoft.com/office/drawing/2014/main" id="{9470CFDC-48B4-CD14-A573-89EA32D09B2B}"/>
                </a:ext>
              </a:extLst>
            </p:cNvPr>
            <p:cNvSpPr/>
            <p:nvPr/>
          </p:nvSpPr>
          <p:spPr>
            <a:xfrm>
              <a:off x="239345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8" name="Rectangle 2137">
              <a:extLst>
                <a:ext uri="{FF2B5EF4-FFF2-40B4-BE49-F238E27FC236}">
                  <a16:creationId xmlns:a16="http://schemas.microsoft.com/office/drawing/2014/main" id="{206CA1AE-27CC-88FE-B928-07F2E5E1BA3E}"/>
                </a:ext>
              </a:extLst>
            </p:cNvPr>
            <p:cNvSpPr/>
            <p:nvPr/>
          </p:nvSpPr>
          <p:spPr>
            <a:xfrm>
              <a:off x="2671443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8E0C5F16-1F07-4CA7-4FC4-E3311ED1236A}"/>
                </a:ext>
              </a:extLst>
            </p:cNvPr>
            <p:cNvSpPr/>
            <p:nvPr/>
          </p:nvSpPr>
          <p:spPr>
            <a:xfrm>
              <a:off x="2949431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48C9750F-EB55-CE24-E069-EE8EBB2604C7}"/>
                </a:ext>
              </a:extLst>
            </p:cNvPr>
            <p:cNvSpPr/>
            <p:nvPr/>
          </p:nvSpPr>
          <p:spPr>
            <a:xfrm>
              <a:off x="3227419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783768DE-F45C-D3FA-68C7-23C154B98688}"/>
                </a:ext>
              </a:extLst>
            </p:cNvPr>
            <p:cNvSpPr/>
            <p:nvPr/>
          </p:nvSpPr>
          <p:spPr>
            <a:xfrm>
              <a:off x="3505407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2" name="Rectangle 2141">
              <a:extLst>
                <a:ext uri="{FF2B5EF4-FFF2-40B4-BE49-F238E27FC236}">
                  <a16:creationId xmlns:a16="http://schemas.microsoft.com/office/drawing/2014/main" id="{3FA8CE24-3F9E-EBC3-848E-5DFE3704BC92}"/>
                </a:ext>
              </a:extLst>
            </p:cNvPr>
            <p:cNvSpPr/>
            <p:nvPr/>
          </p:nvSpPr>
          <p:spPr>
            <a:xfrm>
              <a:off x="378339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3" name="Rectangle 2142">
              <a:extLst>
                <a:ext uri="{FF2B5EF4-FFF2-40B4-BE49-F238E27FC236}">
                  <a16:creationId xmlns:a16="http://schemas.microsoft.com/office/drawing/2014/main" id="{C8168677-1391-3610-39BC-8DAB98AB3168}"/>
                </a:ext>
              </a:extLst>
            </p:cNvPr>
            <p:cNvSpPr/>
            <p:nvPr/>
          </p:nvSpPr>
          <p:spPr>
            <a:xfrm>
              <a:off x="4061383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4" name="Rectangle 2143">
              <a:extLst>
                <a:ext uri="{FF2B5EF4-FFF2-40B4-BE49-F238E27FC236}">
                  <a16:creationId xmlns:a16="http://schemas.microsoft.com/office/drawing/2014/main" id="{FB63A775-19F8-77C1-0B9B-28FE2F0AC09F}"/>
                </a:ext>
              </a:extLst>
            </p:cNvPr>
            <p:cNvSpPr/>
            <p:nvPr/>
          </p:nvSpPr>
          <p:spPr>
            <a:xfrm>
              <a:off x="433937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6" name="Rectangle 2145">
              <a:extLst>
                <a:ext uri="{FF2B5EF4-FFF2-40B4-BE49-F238E27FC236}">
                  <a16:creationId xmlns:a16="http://schemas.microsoft.com/office/drawing/2014/main" id="{F3DE8881-C661-D93E-86F5-701F44680459}"/>
                </a:ext>
              </a:extLst>
            </p:cNvPr>
            <p:cNvSpPr/>
            <p:nvPr/>
          </p:nvSpPr>
          <p:spPr>
            <a:xfrm>
              <a:off x="1837479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9037D861-1C5E-6ABB-E352-FB6021823BF9}"/>
                </a:ext>
              </a:extLst>
            </p:cNvPr>
            <p:cNvSpPr/>
            <p:nvPr/>
          </p:nvSpPr>
          <p:spPr>
            <a:xfrm>
              <a:off x="2115467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91E07B4-315A-7F08-659E-BB0BD62912A5}"/>
                </a:ext>
              </a:extLst>
            </p:cNvPr>
            <p:cNvSpPr/>
            <p:nvPr/>
          </p:nvSpPr>
          <p:spPr>
            <a:xfrm>
              <a:off x="239345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9" name="Rectangle 2148">
              <a:extLst>
                <a:ext uri="{FF2B5EF4-FFF2-40B4-BE49-F238E27FC236}">
                  <a16:creationId xmlns:a16="http://schemas.microsoft.com/office/drawing/2014/main" id="{0D445569-8A07-E263-F222-4F192F824AE4}"/>
                </a:ext>
              </a:extLst>
            </p:cNvPr>
            <p:cNvSpPr/>
            <p:nvPr/>
          </p:nvSpPr>
          <p:spPr>
            <a:xfrm>
              <a:off x="2671443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0" name="Rectangle 2149">
              <a:extLst>
                <a:ext uri="{FF2B5EF4-FFF2-40B4-BE49-F238E27FC236}">
                  <a16:creationId xmlns:a16="http://schemas.microsoft.com/office/drawing/2014/main" id="{156FB21C-0153-ACE7-8805-4A6F77F76E14}"/>
                </a:ext>
              </a:extLst>
            </p:cNvPr>
            <p:cNvSpPr/>
            <p:nvPr/>
          </p:nvSpPr>
          <p:spPr>
            <a:xfrm>
              <a:off x="2949431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1" name="Rectangle 2150">
              <a:extLst>
                <a:ext uri="{FF2B5EF4-FFF2-40B4-BE49-F238E27FC236}">
                  <a16:creationId xmlns:a16="http://schemas.microsoft.com/office/drawing/2014/main" id="{0A46BF40-D1EC-E92E-291D-686B2410E3E1}"/>
                </a:ext>
              </a:extLst>
            </p:cNvPr>
            <p:cNvSpPr/>
            <p:nvPr/>
          </p:nvSpPr>
          <p:spPr>
            <a:xfrm>
              <a:off x="3227419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2" name="Rectangle 2151">
              <a:extLst>
                <a:ext uri="{FF2B5EF4-FFF2-40B4-BE49-F238E27FC236}">
                  <a16:creationId xmlns:a16="http://schemas.microsoft.com/office/drawing/2014/main" id="{CBA06F1F-74E7-6CCC-EA43-DF09B0315F04}"/>
                </a:ext>
              </a:extLst>
            </p:cNvPr>
            <p:cNvSpPr/>
            <p:nvPr/>
          </p:nvSpPr>
          <p:spPr>
            <a:xfrm>
              <a:off x="3505407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3" name="Rectangle 2152">
              <a:extLst>
                <a:ext uri="{FF2B5EF4-FFF2-40B4-BE49-F238E27FC236}">
                  <a16:creationId xmlns:a16="http://schemas.microsoft.com/office/drawing/2014/main" id="{18D73BDC-605E-31D7-49C3-67F0D373B5A6}"/>
                </a:ext>
              </a:extLst>
            </p:cNvPr>
            <p:cNvSpPr/>
            <p:nvPr/>
          </p:nvSpPr>
          <p:spPr>
            <a:xfrm>
              <a:off x="378339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4" name="Rectangle 2153">
              <a:extLst>
                <a:ext uri="{FF2B5EF4-FFF2-40B4-BE49-F238E27FC236}">
                  <a16:creationId xmlns:a16="http://schemas.microsoft.com/office/drawing/2014/main" id="{22ECD4F5-DF96-E4B1-137E-61B9FC4ACD25}"/>
                </a:ext>
              </a:extLst>
            </p:cNvPr>
            <p:cNvSpPr/>
            <p:nvPr/>
          </p:nvSpPr>
          <p:spPr>
            <a:xfrm>
              <a:off x="4061383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9B1CC1FF-BE95-0420-1DCF-182AB517696A}"/>
                </a:ext>
              </a:extLst>
            </p:cNvPr>
            <p:cNvSpPr/>
            <p:nvPr/>
          </p:nvSpPr>
          <p:spPr>
            <a:xfrm>
              <a:off x="433937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</p:grpSp>
      <p:sp>
        <p:nvSpPr>
          <p:cNvPr id="2157" name="TextBox 2156">
            <a:extLst>
              <a:ext uri="{FF2B5EF4-FFF2-40B4-BE49-F238E27FC236}">
                <a16:creationId xmlns:a16="http://schemas.microsoft.com/office/drawing/2014/main" id="{FE98C334-1F5D-3062-FA09-29C7759A2C99}"/>
              </a:ext>
            </a:extLst>
          </p:cNvPr>
          <p:cNvSpPr txBox="1"/>
          <p:nvPr/>
        </p:nvSpPr>
        <p:spPr>
          <a:xfrm>
            <a:off x="1520872" y="5184942"/>
            <a:ext cx="1110867" cy="57626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GB" sz="2800" b="1" noProof="0" dirty="0"/>
              <a:t>XX%</a:t>
            </a:r>
          </a:p>
        </p:txBody>
      </p:sp>
      <p:sp>
        <p:nvSpPr>
          <p:cNvPr id="2158" name="Subtitle 2">
            <a:extLst>
              <a:ext uri="{FF2B5EF4-FFF2-40B4-BE49-F238E27FC236}">
                <a16:creationId xmlns:a16="http://schemas.microsoft.com/office/drawing/2014/main" id="{3AB99BA0-B7CC-0575-66BF-D585E30F4B25}"/>
              </a:ext>
            </a:extLst>
          </p:cNvPr>
          <p:cNvSpPr txBox="1">
            <a:spLocks/>
          </p:cNvSpPr>
          <p:nvPr/>
        </p:nvSpPr>
        <p:spPr>
          <a:xfrm>
            <a:off x="2664317" y="5288407"/>
            <a:ext cx="24985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59" name="Rectangle 2158">
            <a:extLst>
              <a:ext uri="{FF2B5EF4-FFF2-40B4-BE49-F238E27FC236}">
                <a16:creationId xmlns:a16="http://schemas.microsoft.com/office/drawing/2014/main" id="{0B167E63-4254-FF7B-DBAB-7D718D9F8A8D}"/>
              </a:ext>
            </a:extLst>
          </p:cNvPr>
          <p:cNvSpPr/>
          <p:nvPr/>
        </p:nvSpPr>
        <p:spPr>
          <a:xfrm>
            <a:off x="7560262" y="2292263"/>
            <a:ext cx="2694936" cy="26009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2160" name="Rectangle 2159">
            <a:extLst>
              <a:ext uri="{FF2B5EF4-FFF2-40B4-BE49-F238E27FC236}">
                <a16:creationId xmlns:a16="http://schemas.microsoft.com/office/drawing/2014/main" id="{5EDF7FB0-D8DA-7E95-B0AF-6C52157D6635}"/>
              </a:ext>
            </a:extLst>
          </p:cNvPr>
          <p:cNvSpPr/>
          <p:nvPr/>
        </p:nvSpPr>
        <p:spPr>
          <a:xfrm>
            <a:off x="7560262" y="2746872"/>
            <a:ext cx="2223904" cy="2146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cxnSp>
        <p:nvCxnSpPr>
          <p:cNvPr id="2162" name="Straight Arrow Connector 2161">
            <a:extLst>
              <a:ext uri="{FF2B5EF4-FFF2-40B4-BE49-F238E27FC236}">
                <a16:creationId xmlns:a16="http://schemas.microsoft.com/office/drawing/2014/main" id="{FCCF1F6B-CB01-D6AA-C17F-DCB3356FB5EB}"/>
              </a:ext>
            </a:extLst>
          </p:cNvPr>
          <p:cNvCxnSpPr>
            <a:cxnSpLocks/>
          </p:cNvCxnSpPr>
          <p:nvPr/>
        </p:nvCxnSpPr>
        <p:spPr>
          <a:xfrm flipH="1">
            <a:off x="9784166" y="2292263"/>
            <a:ext cx="471032" cy="471032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5" name="TextBox 2164">
            <a:extLst>
              <a:ext uri="{FF2B5EF4-FFF2-40B4-BE49-F238E27FC236}">
                <a16:creationId xmlns:a16="http://schemas.microsoft.com/office/drawing/2014/main" id="{E2554C78-6C89-820C-65F0-D314E8C6F307}"/>
              </a:ext>
            </a:extLst>
          </p:cNvPr>
          <p:cNvSpPr txBox="1"/>
          <p:nvPr/>
        </p:nvSpPr>
        <p:spPr>
          <a:xfrm>
            <a:off x="7243102" y="5223079"/>
            <a:ext cx="1110867" cy="57626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GB" sz="2800" b="1" noProof="0" dirty="0"/>
              <a:t>-XX%</a:t>
            </a:r>
          </a:p>
        </p:txBody>
      </p:sp>
      <p:sp>
        <p:nvSpPr>
          <p:cNvPr id="2166" name="Subtitle 2">
            <a:extLst>
              <a:ext uri="{FF2B5EF4-FFF2-40B4-BE49-F238E27FC236}">
                <a16:creationId xmlns:a16="http://schemas.microsoft.com/office/drawing/2014/main" id="{CB061899-47AA-D5C1-49C5-8F7E84D7DAD5}"/>
              </a:ext>
            </a:extLst>
          </p:cNvPr>
          <p:cNvSpPr txBox="1">
            <a:spLocks/>
          </p:cNvSpPr>
          <p:nvPr/>
        </p:nvSpPr>
        <p:spPr>
          <a:xfrm>
            <a:off x="8522738" y="5326544"/>
            <a:ext cx="24985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68" name="TextBox 2167">
            <a:extLst>
              <a:ext uri="{FF2B5EF4-FFF2-40B4-BE49-F238E27FC236}">
                <a16:creationId xmlns:a16="http://schemas.microsoft.com/office/drawing/2014/main" id="{30C87CD6-A963-7092-DC10-4AF0563734B0}"/>
              </a:ext>
            </a:extLst>
          </p:cNvPr>
          <p:cNvSpPr txBox="1"/>
          <p:nvPr/>
        </p:nvSpPr>
        <p:spPr>
          <a:xfrm>
            <a:off x="1915301" y="1696638"/>
            <a:ext cx="269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ym typeface="Verdana" panose="020B0604030504040204" pitchFamily="34" charset="0"/>
              </a:rPr>
              <a:t>Title here</a:t>
            </a:r>
          </a:p>
        </p:txBody>
      </p:sp>
      <p:sp>
        <p:nvSpPr>
          <p:cNvPr id="2169" name="TextBox 2168">
            <a:extLst>
              <a:ext uri="{FF2B5EF4-FFF2-40B4-BE49-F238E27FC236}">
                <a16:creationId xmlns:a16="http://schemas.microsoft.com/office/drawing/2014/main" id="{6B5E80D7-E224-2CB6-52D4-DE1CD3C1CB35}"/>
              </a:ext>
            </a:extLst>
          </p:cNvPr>
          <p:cNvSpPr txBox="1"/>
          <p:nvPr/>
        </p:nvSpPr>
        <p:spPr>
          <a:xfrm>
            <a:off x="7560262" y="1696638"/>
            <a:ext cx="269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ym typeface="Verdana" panose="020B0604030504040204" pitchFamily="34" charset="0"/>
              </a:rPr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15695947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679CC20-22F5-31BF-64A8-74B625A91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69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679CC20-22F5-31BF-64A8-74B625A91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F20531C-B59A-91D2-C7E3-2FC2BBC02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30C38C6-3E4F-5BFB-100C-A1D01F318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ectangle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4D31C74-63E1-8D43-AFC5-707BC9A4E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Gráfico 7">
                <a:extLst>
                  <a:ext uri="{FF2B5EF4-FFF2-40B4-BE49-F238E27FC236}">
                    <a16:creationId xmlns:a16="http://schemas.microsoft.com/office/drawing/2014/main" id="{16459DC3-9695-325D-7C73-4921D8A5AA9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66463577"/>
                  </p:ext>
                </p:extLst>
              </p:nvPr>
            </p:nvGraphicFramePr>
            <p:xfrm>
              <a:off x="2032000" y="1520825"/>
              <a:ext cx="8128000" cy="461750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Gráfico 7">
                <a:extLst>
                  <a:ext uri="{FF2B5EF4-FFF2-40B4-BE49-F238E27FC236}">
                    <a16:creationId xmlns:a16="http://schemas.microsoft.com/office/drawing/2014/main" id="{16459DC3-9695-325D-7C73-4921D8A5AA9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032000" y="1520825"/>
                <a:ext cx="8128000" cy="4617508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25">
            <a:extLst>
              <a:ext uri="{FF2B5EF4-FFF2-40B4-BE49-F238E27FC236}">
                <a16:creationId xmlns:a16="http://schemas.microsoft.com/office/drawing/2014/main" id="{1625104C-98A2-B844-C522-2EAEBBF4435C}"/>
              </a:ext>
            </a:extLst>
          </p:cNvPr>
          <p:cNvSpPr txBox="1"/>
          <p:nvPr/>
        </p:nvSpPr>
        <p:spPr>
          <a:xfrm>
            <a:off x="3331457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E0E6D6C9-4AAE-9FFD-BF33-FE4FC707CC4B}"/>
              </a:ext>
            </a:extLst>
          </p:cNvPr>
          <p:cNvSpPr txBox="1"/>
          <p:nvPr/>
        </p:nvSpPr>
        <p:spPr>
          <a:xfrm>
            <a:off x="6228255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F3371656-4FAA-0EB4-34A6-AD725F2C1ABC}"/>
              </a:ext>
            </a:extLst>
          </p:cNvPr>
          <p:cNvSpPr txBox="1"/>
          <p:nvPr/>
        </p:nvSpPr>
        <p:spPr>
          <a:xfrm>
            <a:off x="8429780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728629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2574686633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1A79E824-8C04-74CE-9B47-F6E8986B01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1A79E824-8C04-74CE-9B47-F6E8986B01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ot Matrix char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0447A674-DD82-6586-38BC-7AEDF748198E}"/>
              </a:ext>
            </a:extLst>
          </p:cNvPr>
          <p:cNvSpPr/>
          <p:nvPr/>
        </p:nvSpPr>
        <p:spPr>
          <a:xfrm>
            <a:off x="3310987" y="1520825"/>
            <a:ext cx="581396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9EC02EC-DFA8-1CBF-2C5F-6C653701131C}"/>
              </a:ext>
            </a:extLst>
          </p:cNvPr>
          <p:cNvSpPr/>
          <p:nvPr/>
        </p:nvSpPr>
        <p:spPr>
          <a:xfrm>
            <a:off x="384174" y="1862117"/>
            <a:ext cx="1254126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%</a:t>
            </a:r>
            <a:endParaRPr kumimoji="0" lang="en-US" sz="3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B1DC537B-0437-5FA8-CE78-BFBC8F55711E}"/>
              </a:ext>
            </a:extLst>
          </p:cNvPr>
          <p:cNvSpPr/>
          <p:nvPr/>
        </p:nvSpPr>
        <p:spPr>
          <a:xfrm>
            <a:off x="384174" y="2522517"/>
            <a:ext cx="364251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86AA2A85-B3DF-D07C-B9C2-60EDDBEBC2FF}"/>
              </a:ext>
            </a:extLst>
          </p:cNvPr>
          <p:cNvSpPr/>
          <p:nvPr/>
        </p:nvSpPr>
        <p:spPr>
          <a:xfrm>
            <a:off x="384174" y="3359288"/>
            <a:ext cx="36425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4C840C46-F33C-2579-AB11-727E2C9CB534}"/>
              </a:ext>
            </a:extLst>
          </p:cNvPr>
          <p:cNvSpPr/>
          <p:nvPr/>
        </p:nvSpPr>
        <p:spPr>
          <a:xfrm>
            <a:off x="4281093" y="3359288"/>
            <a:ext cx="36425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1D34FE7C-8286-411F-F5BC-9FEBCD855CFA}"/>
              </a:ext>
            </a:extLst>
          </p:cNvPr>
          <p:cNvSpPr/>
          <p:nvPr/>
        </p:nvSpPr>
        <p:spPr>
          <a:xfrm>
            <a:off x="8178012" y="3359288"/>
            <a:ext cx="364251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9366B5B1-5CE2-7005-4196-2E7353B777A4}"/>
              </a:ext>
            </a:extLst>
          </p:cNvPr>
          <p:cNvCxnSpPr>
            <a:cxnSpLocks/>
          </p:cNvCxnSpPr>
          <p:nvPr/>
        </p:nvCxnSpPr>
        <p:spPr>
          <a:xfrm>
            <a:off x="384174" y="3215550"/>
            <a:ext cx="3642513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9F9DCEF2-F2CE-7209-407D-C92A225A88A9}"/>
              </a:ext>
            </a:extLst>
          </p:cNvPr>
          <p:cNvCxnSpPr>
            <a:cxnSpLocks/>
          </p:cNvCxnSpPr>
          <p:nvPr/>
        </p:nvCxnSpPr>
        <p:spPr>
          <a:xfrm>
            <a:off x="4281093" y="3215550"/>
            <a:ext cx="3642513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4AE6BDF-4439-3892-048B-A02A2E095911}"/>
              </a:ext>
            </a:extLst>
          </p:cNvPr>
          <p:cNvCxnSpPr>
            <a:cxnSpLocks/>
          </p:cNvCxnSpPr>
          <p:nvPr/>
        </p:nvCxnSpPr>
        <p:spPr>
          <a:xfrm>
            <a:off x="8178012" y="3215550"/>
            <a:ext cx="3642513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26">
            <a:extLst>
              <a:ext uri="{FF2B5EF4-FFF2-40B4-BE49-F238E27FC236}">
                <a16:creationId xmlns:a16="http://schemas.microsoft.com/office/drawing/2014/main" id="{C20DD6DF-0AC5-3C3E-C5A4-B00A3BB19AB0}"/>
              </a:ext>
            </a:extLst>
          </p:cNvPr>
          <p:cNvSpPr/>
          <p:nvPr/>
        </p:nvSpPr>
        <p:spPr>
          <a:xfrm>
            <a:off x="4281093" y="1862117"/>
            <a:ext cx="1254126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%</a:t>
            </a:r>
            <a:endParaRPr kumimoji="0" lang="en-US" sz="3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ACECCE3-554F-366D-CD60-D23CBAB10F0A}"/>
              </a:ext>
            </a:extLst>
          </p:cNvPr>
          <p:cNvSpPr/>
          <p:nvPr/>
        </p:nvSpPr>
        <p:spPr>
          <a:xfrm>
            <a:off x="4281093" y="2522517"/>
            <a:ext cx="364251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6BFAB8C2-4C78-37C6-B831-9A3112F7A512}"/>
              </a:ext>
            </a:extLst>
          </p:cNvPr>
          <p:cNvSpPr/>
          <p:nvPr/>
        </p:nvSpPr>
        <p:spPr>
          <a:xfrm>
            <a:off x="8178012" y="1862117"/>
            <a:ext cx="1254126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%</a:t>
            </a:r>
            <a:endParaRPr kumimoji="0" lang="en-US" sz="3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22D55529-DF4D-1DA8-4E5C-130B0EF83878}"/>
              </a:ext>
            </a:extLst>
          </p:cNvPr>
          <p:cNvSpPr/>
          <p:nvPr/>
        </p:nvSpPr>
        <p:spPr>
          <a:xfrm>
            <a:off x="8178012" y="2522517"/>
            <a:ext cx="364251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17BC1629-20FC-BF43-8716-6396F87A6880}"/>
              </a:ext>
            </a:extLst>
          </p:cNvPr>
          <p:cNvSpPr/>
          <p:nvPr/>
        </p:nvSpPr>
        <p:spPr>
          <a:xfrm>
            <a:off x="384174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2" name="Elipse 3071">
            <a:extLst>
              <a:ext uri="{FF2B5EF4-FFF2-40B4-BE49-F238E27FC236}">
                <a16:creationId xmlns:a16="http://schemas.microsoft.com/office/drawing/2014/main" id="{22FD33B2-BB96-2034-7A89-5D832616D9E8}"/>
              </a:ext>
            </a:extLst>
          </p:cNvPr>
          <p:cNvSpPr/>
          <p:nvPr/>
        </p:nvSpPr>
        <p:spPr>
          <a:xfrm>
            <a:off x="695853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3" name="Elipse 3072">
            <a:extLst>
              <a:ext uri="{FF2B5EF4-FFF2-40B4-BE49-F238E27FC236}">
                <a16:creationId xmlns:a16="http://schemas.microsoft.com/office/drawing/2014/main" id="{4F472124-B3BC-BD91-7B45-0A609A2FE68B}"/>
              </a:ext>
            </a:extLst>
          </p:cNvPr>
          <p:cNvSpPr/>
          <p:nvPr/>
        </p:nvSpPr>
        <p:spPr>
          <a:xfrm>
            <a:off x="1007532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5" name="Elipse 3074">
            <a:extLst>
              <a:ext uri="{FF2B5EF4-FFF2-40B4-BE49-F238E27FC236}">
                <a16:creationId xmlns:a16="http://schemas.microsoft.com/office/drawing/2014/main" id="{AD7D3914-0D60-9F31-6C92-BD9F1600917A}"/>
              </a:ext>
            </a:extLst>
          </p:cNvPr>
          <p:cNvSpPr/>
          <p:nvPr/>
        </p:nvSpPr>
        <p:spPr>
          <a:xfrm>
            <a:off x="1319211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6" name="Elipse 3075">
            <a:extLst>
              <a:ext uri="{FF2B5EF4-FFF2-40B4-BE49-F238E27FC236}">
                <a16:creationId xmlns:a16="http://schemas.microsoft.com/office/drawing/2014/main" id="{5E058AEA-0EE5-9D79-E938-04796951BCC3}"/>
              </a:ext>
            </a:extLst>
          </p:cNvPr>
          <p:cNvSpPr/>
          <p:nvPr/>
        </p:nvSpPr>
        <p:spPr>
          <a:xfrm>
            <a:off x="1630890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7" name="Elipse 3076">
            <a:extLst>
              <a:ext uri="{FF2B5EF4-FFF2-40B4-BE49-F238E27FC236}">
                <a16:creationId xmlns:a16="http://schemas.microsoft.com/office/drawing/2014/main" id="{70E13E33-2F9A-2E7F-7A95-855288FC96C4}"/>
              </a:ext>
            </a:extLst>
          </p:cNvPr>
          <p:cNvSpPr/>
          <p:nvPr/>
        </p:nvSpPr>
        <p:spPr>
          <a:xfrm>
            <a:off x="1942569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8" name="Elipse 3077">
            <a:extLst>
              <a:ext uri="{FF2B5EF4-FFF2-40B4-BE49-F238E27FC236}">
                <a16:creationId xmlns:a16="http://schemas.microsoft.com/office/drawing/2014/main" id="{0B2F4C31-E458-AB4F-8F97-05DF19BA0EDE}"/>
              </a:ext>
            </a:extLst>
          </p:cNvPr>
          <p:cNvSpPr/>
          <p:nvPr/>
        </p:nvSpPr>
        <p:spPr>
          <a:xfrm>
            <a:off x="2254248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9" name="Elipse 3078">
            <a:extLst>
              <a:ext uri="{FF2B5EF4-FFF2-40B4-BE49-F238E27FC236}">
                <a16:creationId xmlns:a16="http://schemas.microsoft.com/office/drawing/2014/main" id="{41BC61CA-87F3-FF3B-1F7D-FFB8A473924B}"/>
              </a:ext>
            </a:extLst>
          </p:cNvPr>
          <p:cNvSpPr/>
          <p:nvPr/>
        </p:nvSpPr>
        <p:spPr>
          <a:xfrm>
            <a:off x="2565927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0" name="Elipse 3079">
            <a:extLst>
              <a:ext uri="{FF2B5EF4-FFF2-40B4-BE49-F238E27FC236}">
                <a16:creationId xmlns:a16="http://schemas.microsoft.com/office/drawing/2014/main" id="{F4CE561E-9A1E-664C-173E-A45A913094DD}"/>
              </a:ext>
            </a:extLst>
          </p:cNvPr>
          <p:cNvSpPr/>
          <p:nvPr/>
        </p:nvSpPr>
        <p:spPr>
          <a:xfrm>
            <a:off x="2877606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1" name="Elipse 3080">
            <a:extLst>
              <a:ext uri="{FF2B5EF4-FFF2-40B4-BE49-F238E27FC236}">
                <a16:creationId xmlns:a16="http://schemas.microsoft.com/office/drawing/2014/main" id="{7A11DB57-D7B3-1D35-FD8D-609FF3CDB046}"/>
              </a:ext>
            </a:extLst>
          </p:cNvPr>
          <p:cNvSpPr/>
          <p:nvPr/>
        </p:nvSpPr>
        <p:spPr>
          <a:xfrm>
            <a:off x="3189285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4" name="Elipse 3083">
            <a:extLst>
              <a:ext uri="{FF2B5EF4-FFF2-40B4-BE49-F238E27FC236}">
                <a16:creationId xmlns:a16="http://schemas.microsoft.com/office/drawing/2014/main" id="{129FFC69-AE72-D87E-AA88-EB3C58D32F0B}"/>
              </a:ext>
            </a:extLst>
          </p:cNvPr>
          <p:cNvSpPr/>
          <p:nvPr/>
        </p:nvSpPr>
        <p:spPr>
          <a:xfrm>
            <a:off x="384174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5" name="Elipse 3084">
            <a:extLst>
              <a:ext uri="{FF2B5EF4-FFF2-40B4-BE49-F238E27FC236}">
                <a16:creationId xmlns:a16="http://schemas.microsoft.com/office/drawing/2014/main" id="{CEAE67E0-1F61-1888-530D-BB54E1653C02}"/>
              </a:ext>
            </a:extLst>
          </p:cNvPr>
          <p:cNvSpPr/>
          <p:nvPr/>
        </p:nvSpPr>
        <p:spPr>
          <a:xfrm>
            <a:off x="695853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6" name="Elipse 3085">
            <a:extLst>
              <a:ext uri="{FF2B5EF4-FFF2-40B4-BE49-F238E27FC236}">
                <a16:creationId xmlns:a16="http://schemas.microsoft.com/office/drawing/2014/main" id="{68307AFF-1477-3816-FA04-5E4655AC60DE}"/>
              </a:ext>
            </a:extLst>
          </p:cNvPr>
          <p:cNvSpPr/>
          <p:nvPr/>
        </p:nvSpPr>
        <p:spPr>
          <a:xfrm>
            <a:off x="1007532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7" name="Elipse 3086">
            <a:extLst>
              <a:ext uri="{FF2B5EF4-FFF2-40B4-BE49-F238E27FC236}">
                <a16:creationId xmlns:a16="http://schemas.microsoft.com/office/drawing/2014/main" id="{065AAE88-365F-72C4-AD12-F29195091D49}"/>
              </a:ext>
            </a:extLst>
          </p:cNvPr>
          <p:cNvSpPr/>
          <p:nvPr/>
        </p:nvSpPr>
        <p:spPr>
          <a:xfrm>
            <a:off x="1319211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8" name="Elipse 3087">
            <a:extLst>
              <a:ext uri="{FF2B5EF4-FFF2-40B4-BE49-F238E27FC236}">
                <a16:creationId xmlns:a16="http://schemas.microsoft.com/office/drawing/2014/main" id="{02C1EBCF-5E43-3651-8E36-42FFD0E8B349}"/>
              </a:ext>
            </a:extLst>
          </p:cNvPr>
          <p:cNvSpPr/>
          <p:nvPr/>
        </p:nvSpPr>
        <p:spPr>
          <a:xfrm>
            <a:off x="1630890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9" name="Elipse 3088">
            <a:extLst>
              <a:ext uri="{FF2B5EF4-FFF2-40B4-BE49-F238E27FC236}">
                <a16:creationId xmlns:a16="http://schemas.microsoft.com/office/drawing/2014/main" id="{76AA697D-00C6-CE90-9501-185082E2653F}"/>
              </a:ext>
            </a:extLst>
          </p:cNvPr>
          <p:cNvSpPr/>
          <p:nvPr/>
        </p:nvSpPr>
        <p:spPr>
          <a:xfrm>
            <a:off x="1942569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0" name="Elipse 3089">
            <a:extLst>
              <a:ext uri="{FF2B5EF4-FFF2-40B4-BE49-F238E27FC236}">
                <a16:creationId xmlns:a16="http://schemas.microsoft.com/office/drawing/2014/main" id="{470E73DF-35AE-DF10-453A-4C8108C118A8}"/>
              </a:ext>
            </a:extLst>
          </p:cNvPr>
          <p:cNvSpPr/>
          <p:nvPr/>
        </p:nvSpPr>
        <p:spPr>
          <a:xfrm>
            <a:off x="2254248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1" name="Elipse 3090">
            <a:extLst>
              <a:ext uri="{FF2B5EF4-FFF2-40B4-BE49-F238E27FC236}">
                <a16:creationId xmlns:a16="http://schemas.microsoft.com/office/drawing/2014/main" id="{C07AF948-B3F6-4CA4-4F2D-0BDA93F98D8C}"/>
              </a:ext>
            </a:extLst>
          </p:cNvPr>
          <p:cNvSpPr/>
          <p:nvPr/>
        </p:nvSpPr>
        <p:spPr>
          <a:xfrm>
            <a:off x="2565927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2" name="Elipse 3091">
            <a:extLst>
              <a:ext uri="{FF2B5EF4-FFF2-40B4-BE49-F238E27FC236}">
                <a16:creationId xmlns:a16="http://schemas.microsoft.com/office/drawing/2014/main" id="{91ED04A5-2AE9-D22E-C21C-C83E4F57100F}"/>
              </a:ext>
            </a:extLst>
          </p:cNvPr>
          <p:cNvSpPr/>
          <p:nvPr/>
        </p:nvSpPr>
        <p:spPr>
          <a:xfrm>
            <a:off x="2877606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3" name="Elipse 3092">
            <a:extLst>
              <a:ext uri="{FF2B5EF4-FFF2-40B4-BE49-F238E27FC236}">
                <a16:creationId xmlns:a16="http://schemas.microsoft.com/office/drawing/2014/main" id="{27A555AA-BE75-070F-5205-66F1C5F41195}"/>
              </a:ext>
            </a:extLst>
          </p:cNvPr>
          <p:cNvSpPr/>
          <p:nvPr/>
        </p:nvSpPr>
        <p:spPr>
          <a:xfrm>
            <a:off x="3189285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5" name="Elipse 3094">
            <a:extLst>
              <a:ext uri="{FF2B5EF4-FFF2-40B4-BE49-F238E27FC236}">
                <a16:creationId xmlns:a16="http://schemas.microsoft.com/office/drawing/2014/main" id="{9E6CA807-52A3-2C72-008A-4AFE904FA460}"/>
              </a:ext>
            </a:extLst>
          </p:cNvPr>
          <p:cNvSpPr/>
          <p:nvPr/>
        </p:nvSpPr>
        <p:spPr>
          <a:xfrm>
            <a:off x="384174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6" name="Elipse 3095">
            <a:extLst>
              <a:ext uri="{FF2B5EF4-FFF2-40B4-BE49-F238E27FC236}">
                <a16:creationId xmlns:a16="http://schemas.microsoft.com/office/drawing/2014/main" id="{8111A734-8DAD-4A7B-0632-99F8BF299535}"/>
              </a:ext>
            </a:extLst>
          </p:cNvPr>
          <p:cNvSpPr/>
          <p:nvPr/>
        </p:nvSpPr>
        <p:spPr>
          <a:xfrm>
            <a:off x="695853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7" name="Elipse 3096">
            <a:extLst>
              <a:ext uri="{FF2B5EF4-FFF2-40B4-BE49-F238E27FC236}">
                <a16:creationId xmlns:a16="http://schemas.microsoft.com/office/drawing/2014/main" id="{5F2318BD-4B91-20D1-C02A-F148EC6AD14C}"/>
              </a:ext>
            </a:extLst>
          </p:cNvPr>
          <p:cNvSpPr/>
          <p:nvPr/>
        </p:nvSpPr>
        <p:spPr>
          <a:xfrm>
            <a:off x="1007532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8" name="Elipse 3097">
            <a:extLst>
              <a:ext uri="{FF2B5EF4-FFF2-40B4-BE49-F238E27FC236}">
                <a16:creationId xmlns:a16="http://schemas.microsoft.com/office/drawing/2014/main" id="{210C262D-0DE9-163F-A234-5048BB64326E}"/>
              </a:ext>
            </a:extLst>
          </p:cNvPr>
          <p:cNvSpPr/>
          <p:nvPr/>
        </p:nvSpPr>
        <p:spPr>
          <a:xfrm>
            <a:off x="1319211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9" name="Elipse 3098">
            <a:extLst>
              <a:ext uri="{FF2B5EF4-FFF2-40B4-BE49-F238E27FC236}">
                <a16:creationId xmlns:a16="http://schemas.microsoft.com/office/drawing/2014/main" id="{33CEFAD9-9541-0054-3A0D-DB24A7C4A909}"/>
              </a:ext>
            </a:extLst>
          </p:cNvPr>
          <p:cNvSpPr/>
          <p:nvPr/>
        </p:nvSpPr>
        <p:spPr>
          <a:xfrm>
            <a:off x="1630890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0" name="Elipse 3099">
            <a:extLst>
              <a:ext uri="{FF2B5EF4-FFF2-40B4-BE49-F238E27FC236}">
                <a16:creationId xmlns:a16="http://schemas.microsoft.com/office/drawing/2014/main" id="{75EF0BE3-2A08-8BC5-6116-E15343C6380A}"/>
              </a:ext>
            </a:extLst>
          </p:cNvPr>
          <p:cNvSpPr/>
          <p:nvPr/>
        </p:nvSpPr>
        <p:spPr>
          <a:xfrm>
            <a:off x="1942569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1" name="Elipse 3100">
            <a:extLst>
              <a:ext uri="{FF2B5EF4-FFF2-40B4-BE49-F238E27FC236}">
                <a16:creationId xmlns:a16="http://schemas.microsoft.com/office/drawing/2014/main" id="{52ECDEB2-82FA-7FAF-428A-A4587F235E25}"/>
              </a:ext>
            </a:extLst>
          </p:cNvPr>
          <p:cNvSpPr/>
          <p:nvPr/>
        </p:nvSpPr>
        <p:spPr>
          <a:xfrm>
            <a:off x="2254248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2" name="Elipse 3101">
            <a:extLst>
              <a:ext uri="{FF2B5EF4-FFF2-40B4-BE49-F238E27FC236}">
                <a16:creationId xmlns:a16="http://schemas.microsoft.com/office/drawing/2014/main" id="{18854839-470B-DED4-97D2-3F942C65BC79}"/>
              </a:ext>
            </a:extLst>
          </p:cNvPr>
          <p:cNvSpPr/>
          <p:nvPr/>
        </p:nvSpPr>
        <p:spPr>
          <a:xfrm>
            <a:off x="2565927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3" name="Elipse 3102">
            <a:extLst>
              <a:ext uri="{FF2B5EF4-FFF2-40B4-BE49-F238E27FC236}">
                <a16:creationId xmlns:a16="http://schemas.microsoft.com/office/drawing/2014/main" id="{067CC72D-E8BF-BEC0-BDEC-9B0EEB97AC5B}"/>
              </a:ext>
            </a:extLst>
          </p:cNvPr>
          <p:cNvSpPr/>
          <p:nvPr/>
        </p:nvSpPr>
        <p:spPr>
          <a:xfrm>
            <a:off x="2877606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4" name="Elipse 3103">
            <a:extLst>
              <a:ext uri="{FF2B5EF4-FFF2-40B4-BE49-F238E27FC236}">
                <a16:creationId xmlns:a16="http://schemas.microsoft.com/office/drawing/2014/main" id="{DD2AC4E8-B0C9-A03A-10B4-83316F192F65}"/>
              </a:ext>
            </a:extLst>
          </p:cNvPr>
          <p:cNvSpPr/>
          <p:nvPr/>
        </p:nvSpPr>
        <p:spPr>
          <a:xfrm>
            <a:off x="3189285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6" name="Elipse 3105">
            <a:extLst>
              <a:ext uri="{FF2B5EF4-FFF2-40B4-BE49-F238E27FC236}">
                <a16:creationId xmlns:a16="http://schemas.microsoft.com/office/drawing/2014/main" id="{D0E08673-3C08-4B13-321D-4B3EA67E9C61}"/>
              </a:ext>
            </a:extLst>
          </p:cNvPr>
          <p:cNvSpPr/>
          <p:nvPr/>
        </p:nvSpPr>
        <p:spPr>
          <a:xfrm>
            <a:off x="384174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7" name="Elipse 3106">
            <a:extLst>
              <a:ext uri="{FF2B5EF4-FFF2-40B4-BE49-F238E27FC236}">
                <a16:creationId xmlns:a16="http://schemas.microsoft.com/office/drawing/2014/main" id="{7D226262-C28E-DA0A-E1EE-3A56EAF38C41}"/>
              </a:ext>
            </a:extLst>
          </p:cNvPr>
          <p:cNvSpPr/>
          <p:nvPr/>
        </p:nvSpPr>
        <p:spPr>
          <a:xfrm>
            <a:off x="695853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8" name="Elipse 3107">
            <a:extLst>
              <a:ext uri="{FF2B5EF4-FFF2-40B4-BE49-F238E27FC236}">
                <a16:creationId xmlns:a16="http://schemas.microsoft.com/office/drawing/2014/main" id="{3DC60074-41C2-32AA-2C1C-4E25BFA11E91}"/>
              </a:ext>
            </a:extLst>
          </p:cNvPr>
          <p:cNvSpPr/>
          <p:nvPr/>
        </p:nvSpPr>
        <p:spPr>
          <a:xfrm>
            <a:off x="1007532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9" name="Elipse 3108">
            <a:extLst>
              <a:ext uri="{FF2B5EF4-FFF2-40B4-BE49-F238E27FC236}">
                <a16:creationId xmlns:a16="http://schemas.microsoft.com/office/drawing/2014/main" id="{2E4F0C93-9B21-64A4-D71E-43818707BA10}"/>
              </a:ext>
            </a:extLst>
          </p:cNvPr>
          <p:cNvSpPr/>
          <p:nvPr/>
        </p:nvSpPr>
        <p:spPr>
          <a:xfrm>
            <a:off x="1319211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0" name="Elipse 3109">
            <a:extLst>
              <a:ext uri="{FF2B5EF4-FFF2-40B4-BE49-F238E27FC236}">
                <a16:creationId xmlns:a16="http://schemas.microsoft.com/office/drawing/2014/main" id="{05C1FFD3-3D21-6D8E-E24B-8E8E2DAEC1F2}"/>
              </a:ext>
            </a:extLst>
          </p:cNvPr>
          <p:cNvSpPr/>
          <p:nvPr/>
        </p:nvSpPr>
        <p:spPr>
          <a:xfrm>
            <a:off x="1630890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1" name="Elipse 3110">
            <a:extLst>
              <a:ext uri="{FF2B5EF4-FFF2-40B4-BE49-F238E27FC236}">
                <a16:creationId xmlns:a16="http://schemas.microsoft.com/office/drawing/2014/main" id="{9359EDB1-FFDF-34A6-A28B-E0866E83BDAD}"/>
              </a:ext>
            </a:extLst>
          </p:cNvPr>
          <p:cNvSpPr/>
          <p:nvPr/>
        </p:nvSpPr>
        <p:spPr>
          <a:xfrm>
            <a:off x="1942569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2" name="Elipse 3111">
            <a:extLst>
              <a:ext uri="{FF2B5EF4-FFF2-40B4-BE49-F238E27FC236}">
                <a16:creationId xmlns:a16="http://schemas.microsoft.com/office/drawing/2014/main" id="{AE3A5B7C-4982-1B7F-DF38-D3702F793AF7}"/>
              </a:ext>
            </a:extLst>
          </p:cNvPr>
          <p:cNvSpPr/>
          <p:nvPr/>
        </p:nvSpPr>
        <p:spPr>
          <a:xfrm>
            <a:off x="2254248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3" name="Elipse 3112">
            <a:extLst>
              <a:ext uri="{FF2B5EF4-FFF2-40B4-BE49-F238E27FC236}">
                <a16:creationId xmlns:a16="http://schemas.microsoft.com/office/drawing/2014/main" id="{A666D38C-3290-1590-F7D2-267DECEA5873}"/>
              </a:ext>
            </a:extLst>
          </p:cNvPr>
          <p:cNvSpPr/>
          <p:nvPr/>
        </p:nvSpPr>
        <p:spPr>
          <a:xfrm>
            <a:off x="2565927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4" name="Elipse 3113">
            <a:extLst>
              <a:ext uri="{FF2B5EF4-FFF2-40B4-BE49-F238E27FC236}">
                <a16:creationId xmlns:a16="http://schemas.microsoft.com/office/drawing/2014/main" id="{DD0EC3B4-B538-756F-96A8-D9BA0246E667}"/>
              </a:ext>
            </a:extLst>
          </p:cNvPr>
          <p:cNvSpPr/>
          <p:nvPr/>
        </p:nvSpPr>
        <p:spPr>
          <a:xfrm>
            <a:off x="2877606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5" name="Elipse 3114">
            <a:extLst>
              <a:ext uri="{FF2B5EF4-FFF2-40B4-BE49-F238E27FC236}">
                <a16:creationId xmlns:a16="http://schemas.microsoft.com/office/drawing/2014/main" id="{F4B3506B-B3C6-72DF-DBEF-D267304EF5A5}"/>
              </a:ext>
            </a:extLst>
          </p:cNvPr>
          <p:cNvSpPr/>
          <p:nvPr/>
        </p:nvSpPr>
        <p:spPr>
          <a:xfrm>
            <a:off x="3189285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7" name="Elipse 3116">
            <a:extLst>
              <a:ext uri="{FF2B5EF4-FFF2-40B4-BE49-F238E27FC236}">
                <a16:creationId xmlns:a16="http://schemas.microsoft.com/office/drawing/2014/main" id="{3CCB342D-7843-D57A-79A5-1D020E98AD29}"/>
              </a:ext>
            </a:extLst>
          </p:cNvPr>
          <p:cNvSpPr/>
          <p:nvPr/>
        </p:nvSpPr>
        <p:spPr>
          <a:xfrm>
            <a:off x="384174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8" name="Elipse 3117">
            <a:extLst>
              <a:ext uri="{FF2B5EF4-FFF2-40B4-BE49-F238E27FC236}">
                <a16:creationId xmlns:a16="http://schemas.microsoft.com/office/drawing/2014/main" id="{6DA38483-3B70-2BCF-ECD6-7D5876C56DFA}"/>
              </a:ext>
            </a:extLst>
          </p:cNvPr>
          <p:cNvSpPr/>
          <p:nvPr/>
        </p:nvSpPr>
        <p:spPr>
          <a:xfrm>
            <a:off x="695853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9" name="Elipse 3118">
            <a:extLst>
              <a:ext uri="{FF2B5EF4-FFF2-40B4-BE49-F238E27FC236}">
                <a16:creationId xmlns:a16="http://schemas.microsoft.com/office/drawing/2014/main" id="{EA295125-4FE8-B5BB-976B-010BB9AB0F8C}"/>
              </a:ext>
            </a:extLst>
          </p:cNvPr>
          <p:cNvSpPr/>
          <p:nvPr/>
        </p:nvSpPr>
        <p:spPr>
          <a:xfrm>
            <a:off x="1007532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0" name="Elipse 3119">
            <a:extLst>
              <a:ext uri="{FF2B5EF4-FFF2-40B4-BE49-F238E27FC236}">
                <a16:creationId xmlns:a16="http://schemas.microsoft.com/office/drawing/2014/main" id="{77388733-5A38-D938-226C-CE8EABE801CB}"/>
              </a:ext>
            </a:extLst>
          </p:cNvPr>
          <p:cNvSpPr/>
          <p:nvPr/>
        </p:nvSpPr>
        <p:spPr>
          <a:xfrm>
            <a:off x="1319211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1" name="Elipse 3120">
            <a:extLst>
              <a:ext uri="{FF2B5EF4-FFF2-40B4-BE49-F238E27FC236}">
                <a16:creationId xmlns:a16="http://schemas.microsoft.com/office/drawing/2014/main" id="{8E58F4EB-AD07-E103-CB6B-E68BB387CB19}"/>
              </a:ext>
            </a:extLst>
          </p:cNvPr>
          <p:cNvSpPr/>
          <p:nvPr/>
        </p:nvSpPr>
        <p:spPr>
          <a:xfrm>
            <a:off x="1630890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2" name="Elipse 3121">
            <a:extLst>
              <a:ext uri="{FF2B5EF4-FFF2-40B4-BE49-F238E27FC236}">
                <a16:creationId xmlns:a16="http://schemas.microsoft.com/office/drawing/2014/main" id="{9D4A231C-A3F4-C562-A290-15BEABDFA4E2}"/>
              </a:ext>
            </a:extLst>
          </p:cNvPr>
          <p:cNvSpPr/>
          <p:nvPr/>
        </p:nvSpPr>
        <p:spPr>
          <a:xfrm>
            <a:off x="1942569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3" name="Elipse 3122">
            <a:extLst>
              <a:ext uri="{FF2B5EF4-FFF2-40B4-BE49-F238E27FC236}">
                <a16:creationId xmlns:a16="http://schemas.microsoft.com/office/drawing/2014/main" id="{AD9A08F9-C55D-B2E4-4CEF-E905087D3AA5}"/>
              </a:ext>
            </a:extLst>
          </p:cNvPr>
          <p:cNvSpPr/>
          <p:nvPr/>
        </p:nvSpPr>
        <p:spPr>
          <a:xfrm>
            <a:off x="2254248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4" name="Elipse 3123">
            <a:extLst>
              <a:ext uri="{FF2B5EF4-FFF2-40B4-BE49-F238E27FC236}">
                <a16:creationId xmlns:a16="http://schemas.microsoft.com/office/drawing/2014/main" id="{F4A6B4DA-A7C2-B26D-100D-BE12AF0291FD}"/>
              </a:ext>
            </a:extLst>
          </p:cNvPr>
          <p:cNvSpPr/>
          <p:nvPr/>
        </p:nvSpPr>
        <p:spPr>
          <a:xfrm>
            <a:off x="2565927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5" name="Elipse 3124">
            <a:extLst>
              <a:ext uri="{FF2B5EF4-FFF2-40B4-BE49-F238E27FC236}">
                <a16:creationId xmlns:a16="http://schemas.microsoft.com/office/drawing/2014/main" id="{78F29CAD-C938-1D45-5B83-906270CD60E4}"/>
              </a:ext>
            </a:extLst>
          </p:cNvPr>
          <p:cNvSpPr/>
          <p:nvPr/>
        </p:nvSpPr>
        <p:spPr>
          <a:xfrm>
            <a:off x="2877606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6" name="Elipse 3125">
            <a:extLst>
              <a:ext uri="{FF2B5EF4-FFF2-40B4-BE49-F238E27FC236}">
                <a16:creationId xmlns:a16="http://schemas.microsoft.com/office/drawing/2014/main" id="{74AF9A17-A31A-1514-3BEC-5D3F34A68DD0}"/>
              </a:ext>
            </a:extLst>
          </p:cNvPr>
          <p:cNvSpPr/>
          <p:nvPr/>
        </p:nvSpPr>
        <p:spPr>
          <a:xfrm>
            <a:off x="3189285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9" name="Elipse 3228">
            <a:extLst>
              <a:ext uri="{FF2B5EF4-FFF2-40B4-BE49-F238E27FC236}">
                <a16:creationId xmlns:a16="http://schemas.microsoft.com/office/drawing/2014/main" id="{3EFF1008-DE34-F4B6-E86F-C173FA509200}"/>
              </a:ext>
            </a:extLst>
          </p:cNvPr>
          <p:cNvSpPr/>
          <p:nvPr/>
        </p:nvSpPr>
        <p:spPr>
          <a:xfrm>
            <a:off x="4281093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0" name="Elipse 3229">
            <a:extLst>
              <a:ext uri="{FF2B5EF4-FFF2-40B4-BE49-F238E27FC236}">
                <a16:creationId xmlns:a16="http://schemas.microsoft.com/office/drawing/2014/main" id="{18033C60-C62E-EDFC-708A-776315F0ACF1}"/>
              </a:ext>
            </a:extLst>
          </p:cNvPr>
          <p:cNvSpPr/>
          <p:nvPr/>
        </p:nvSpPr>
        <p:spPr>
          <a:xfrm>
            <a:off x="4592772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1" name="Elipse 3230">
            <a:extLst>
              <a:ext uri="{FF2B5EF4-FFF2-40B4-BE49-F238E27FC236}">
                <a16:creationId xmlns:a16="http://schemas.microsoft.com/office/drawing/2014/main" id="{49679E4A-0232-AEA9-89F4-B2495B1A6788}"/>
              </a:ext>
            </a:extLst>
          </p:cNvPr>
          <p:cNvSpPr/>
          <p:nvPr/>
        </p:nvSpPr>
        <p:spPr>
          <a:xfrm>
            <a:off x="4904451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2" name="Elipse 3231">
            <a:extLst>
              <a:ext uri="{FF2B5EF4-FFF2-40B4-BE49-F238E27FC236}">
                <a16:creationId xmlns:a16="http://schemas.microsoft.com/office/drawing/2014/main" id="{B7239ABE-66C7-6A1D-5A86-DBC54EB12AE2}"/>
              </a:ext>
            </a:extLst>
          </p:cNvPr>
          <p:cNvSpPr/>
          <p:nvPr/>
        </p:nvSpPr>
        <p:spPr>
          <a:xfrm>
            <a:off x="5216130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3" name="Elipse 3232">
            <a:extLst>
              <a:ext uri="{FF2B5EF4-FFF2-40B4-BE49-F238E27FC236}">
                <a16:creationId xmlns:a16="http://schemas.microsoft.com/office/drawing/2014/main" id="{76892E3D-0095-170E-F59A-34C94247220E}"/>
              </a:ext>
            </a:extLst>
          </p:cNvPr>
          <p:cNvSpPr/>
          <p:nvPr/>
        </p:nvSpPr>
        <p:spPr>
          <a:xfrm>
            <a:off x="5527809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4" name="Elipse 3233">
            <a:extLst>
              <a:ext uri="{FF2B5EF4-FFF2-40B4-BE49-F238E27FC236}">
                <a16:creationId xmlns:a16="http://schemas.microsoft.com/office/drawing/2014/main" id="{7D98E208-8CA0-95C4-F365-9F21974D9C9D}"/>
              </a:ext>
            </a:extLst>
          </p:cNvPr>
          <p:cNvSpPr/>
          <p:nvPr/>
        </p:nvSpPr>
        <p:spPr>
          <a:xfrm>
            <a:off x="5839488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5" name="Elipse 3234">
            <a:extLst>
              <a:ext uri="{FF2B5EF4-FFF2-40B4-BE49-F238E27FC236}">
                <a16:creationId xmlns:a16="http://schemas.microsoft.com/office/drawing/2014/main" id="{B6B6ED8B-D5A4-7061-4D77-68F48FAAD0E2}"/>
              </a:ext>
            </a:extLst>
          </p:cNvPr>
          <p:cNvSpPr/>
          <p:nvPr/>
        </p:nvSpPr>
        <p:spPr>
          <a:xfrm>
            <a:off x="6151167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6" name="Elipse 3235">
            <a:extLst>
              <a:ext uri="{FF2B5EF4-FFF2-40B4-BE49-F238E27FC236}">
                <a16:creationId xmlns:a16="http://schemas.microsoft.com/office/drawing/2014/main" id="{53FACE46-1D0B-4039-4891-778E1A5DB783}"/>
              </a:ext>
            </a:extLst>
          </p:cNvPr>
          <p:cNvSpPr/>
          <p:nvPr/>
        </p:nvSpPr>
        <p:spPr>
          <a:xfrm>
            <a:off x="6462846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7" name="Elipse 3236">
            <a:extLst>
              <a:ext uri="{FF2B5EF4-FFF2-40B4-BE49-F238E27FC236}">
                <a16:creationId xmlns:a16="http://schemas.microsoft.com/office/drawing/2014/main" id="{08F2B416-8A00-39AC-21C8-12AE963793C9}"/>
              </a:ext>
            </a:extLst>
          </p:cNvPr>
          <p:cNvSpPr/>
          <p:nvPr/>
        </p:nvSpPr>
        <p:spPr>
          <a:xfrm>
            <a:off x="6774525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8" name="Elipse 3237">
            <a:extLst>
              <a:ext uri="{FF2B5EF4-FFF2-40B4-BE49-F238E27FC236}">
                <a16:creationId xmlns:a16="http://schemas.microsoft.com/office/drawing/2014/main" id="{35DF5F6B-296D-2C38-2DFB-8D6A75DF03DF}"/>
              </a:ext>
            </a:extLst>
          </p:cNvPr>
          <p:cNvSpPr/>
          <p:nvPr/>
        </p:nvSpPr>
        <p:spPr>
          <a:xfrm>
            <a:off x="7086204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9" name="Elipse 3218">
            <a:extLst>
              <a:ext uri="{FF2B5EF4-FFF2-40B4-BE49-F238E27FC236}">
                <a16:creationId xmlns:a16="http://schemas.microsoft.com/office/drawing/2014/main" id="{A049083D-2F7B-A4AF-4B7F-644207987B05}"/>
              </a:ext>
            </a:extLst>
          </p:cNvPr>
          <p:cNvSpPr/>
          <p:nvPr/>
        </p:nvSpPr>
        <p:spPr>
          <a:xfrm>
            <a:off x="4281093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0" name="Elipse 3219">
            <a:extLst>
              <a:ext uri="{FF2B5EF4-FFF2-40B4-BE49-F238E27FC236}">
                <a16:creationId xmlns:a16="http://schemas.microsoft.com/office/drawing/2014/main" id="{A6B19DF5-1F47-0F51-876E-64E0D58E7427}"/>
              </a:ext>
            </a:extLst>
          </p:cNvPr>
          <p:cNvSpPr/>
          <p:nvPr/>
        </p:nvSpPr>
        <p:spPr>
          <a:xfrm>
            <a:off x="4592772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1" name="Elipse 3220">
            <a:extLst>
              <a:ext uri="{FF2B5EF4-FFF2-40B4-BE49-F238E27FC236}">
                <a16:creationId xmlns:a16="http://schemas.microsoft.com/office/drawing/2014/main" id="{92251BDE-FBA9-3836-EFD0-63E4C0840C3C}"/>
              </a:ext>
            </a:extLst>
          </p:cNvPr>
          <p:cNvSpPr/>
          <p:nvPr/>
        </p:nvSpPr>
        <p:spPr>
          <a:xfrm>
            <a:off x="4904451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2" name="Elipse 3221">
            <a:extLst>
              <a:ext uri="{FF2B5EF4-FFF2-40B4-BE49-F238E27FC236}">
                <a16:creationId xmlns:a16="http://schemas.microsoft.com/office/drawing/2014/main" id="{3EABF4B1-92AA-6F16-6885-FD7D138EBB66}"/>
              </a:ext>
            </a:extLst>
          </p:cNvPr>
          <p:cNvSpPr/>
          <p:nvPr/>
        </p:nvSpPr>
        <p:spPr>
          <a:xfrm>
            <a:off x="5216130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3" name="Elipse 3222">
            <a:extLst>
              <a:ext uri="{FF2B5EF4-FFF2-40B4-BE49-F238E27FC236}">
                <a16:creationId xmlns:a16="http://schemas.microsoft.com/office/drawing/2014/main" id="{14EC4130-E3A4-7AE4-6731-E6B333ADD4C8}"/>
              </a:ext>
            </a:extLst>
          </p:cNvPr>
          <p:cNvSpPr/>
          <p:nvPr/>
        </p:nvSpPr>
        <p:spPr>
          <a:xfrm>
            <a:off x="5527809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4" name="Elipse 3223">
            <a:extLst>
              <a:ext uri="{FF2B5EF4-FFF2-40B4-BE49-F238E27FC236}">
                <a16:creationId xmlns:a16="http://schemas.microsoft.com/office/drawing/2014/main" id="{DD98AF0C-86A4-9920-B70F-9EE0885C620E}"/>
              </a:ext>
            </a:extLst>
          </p:cNvPr>
          <p:cNvSpPr/>
          <p:nvPr/>
        </p:nvSpPr>
        <p:spPr>
          <a:xfrm>
            <a:off x="5839488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5" name="Elipse 3224">
            <a:extLst>
              <a:ext uri="{FF2B5EF4-FFF2-40B4-BE49-F238E27FC236}">
                <a16:creationId xmlns:a16="http://schemas.microsoft.com/office/drawing/2014/main" id="{8DB67471-657C-3891-26C0-52D9ED42EB1A}"/>
              </a:ext>
            </a:extLst>
          </p:cNvPr>
          <p:cNvSpPr/>
          <p:nvPr/>
        </p:nvSpPr>
        <p:spPr>
          <a:xfrm>
            <a:off x="6151167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6" name="Elipse 3225">
            <a:extLst>
              <a:ext uri="{FF2B5EF4-FFF2-40B4-BE49-F238E27FC236}">
                <a16:creationId xmlns:a16="http://schemas.microsoft.com/office/drawing/2014/main" id="{405EC8DE-9EF3-DA86-92FA-BB30E11E3566}"/>
              </a:ext>
            </a:extLst>
          </p:cNvPr>
          <p:cNvSpPr/>
          <p:nvPr/>
        </p:nvSpPr>
        <p:spPr>
          <a:xfrm>
            <a:off x="6462846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7" name="Elipse 3226">
            <a:extLst>
              <a:ext uri="{FF2B5EF4-FFF2-40B4-BE49-F238E27FC236}">
                <a16:creationId xmlns:a16="http://schemas.microsoft.com/office/drawing/2014/main" id="{8D440C2C-2B26-6984-E1C3-B34AA9910F20}"/>
              </a:ext>
            </a:extLst>
          </p:cNvPr>
          <p:cNvSpPr/>
          <p:nvPr/>
        </p:nvSpPr>
        <p:spPr>
          <a:xfrm>
            <a:off x="6774525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8" name="Elipse 3227">
            <a:extLst>
              <a:ext uri="{FF2B5EF4-FFF2-40B4-BE49-F238E27FC236}">
                <a16:creationId xmlns:a16="http://schemas.microsoft.com/office/drawing/2014/main" id="{C60347D7-E8DB-98A6-1347-BA37B64AA790}"/>
              </a:ext>
            </a:extLst>
          </p:cNvPr>
          <p:cNvSpPr/>
          <p:nvPr/>
        </p:nvSpPr>
        <p:spPr>
          <a:xfrm>
            <a:off x="7086204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9" name="Elipse 3208">
            <a:extLst>
              <a:ext uri="{FF2B5EF4-FFF2-40B4-BE49-F238E27FC236}">
                <a16:creationId xmlns:a16="http://schemas.microsoft.com/office/drawing/2014/main" id="{990C0185-6262-BCB0-548F-87CB324F9931}"/>
              </a:ext>
            </a:extLst>
          </p:cNvPr>
          <p:cNvSpPr/>
          <p:nvPr/>
        </p:nvSpPr>
        <p:spPr>
          <a:xfrm>
            <a:off x="4281093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0" name="Elipse 3209">
            <a:extLst>
              <a:ext uri="{FF2B5EF4-FFF2-40B4-BE49-F238E27FC236}">
                <a16:creationId xmlns:a16="http://schemas.microsoft.com/office/drawing/2014/main" id="{B0649161-20B0-14F0-C904-EE82936D83AC}"/>
              </a:ext>
            </a:extLst>
          </p:cNvPr>
          <p:cNvSpPr/>
          <p:nvPr/>
        </p:nvSpPr>
        <p:spPr>
          <a:xfrm>
            <a:off x="4592772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1" name="Elipse 3210">
            <a:extLst>
              <a:ext uri="{FF2B5EF4-FFF2-40B4-BE49-F238E27FC236}">
                <a16:creationId xmlns:a16="http://schemas.microsoft.com/office/drawing/2014/main" id="{BDA6D483-2C9A-E824-30E9-645E55538A2D}"/>
              </a:ext>
            </a:extLst>
          </p:cNvPr>
          <p:cNvSpPr/>
          <p:nvPr/>
        </p:nvSpPr>
        <p:spPr>
          <a:xfrm>
            <a:off x="4904451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2" name="Elipse 3211">
            <a:extLst>
              <a:ext uri="{FF2B5EF4-FFF2-40B4-BE49-F238E27FC236}">
                <a16:creationId xmlns:a16="http://schemas.microsoft.com/office/drawing/2014/main" id="{C9D17BC7-E6E1-9BC9-CB07-ED6C1871827C}"/>
              </a:ext>
            </a:extLst>
          </p:cNvPr>
          <p:cNvSpPr/>
          <p:nvPr/>
        </p:nvSpPr>
        <p:spPr>
          <a:xfrm>
            <a:off x="5216130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3" name="Elipse 3212">
            <a:extLst>
              <a:ext uri="{FF2B5EF4-FFF2-40B4-BE49-F238E27FC236}">
                <a16:creationId xmlns:a16="http://schemas.microsoft.com/office/drawing/2014/main" id="{5E87357D-154D-5389-3E1F-7430F5A23CD0}"/>
              </a:ext>
            </a:extLst>
          </p:cNvPr>
          <p:cNvSpPr/>
          <p:nvPr/>
        </p:nvSpPr>
        <p:spPr>
          <a:xfrm>
            <a:off x="5527809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4" name="Elipse 3213">
            <a:extLst>
              <a:ext uri="{FF2B5EF4-FFF2-40B4-BE49-F238E27FC236}">
                <a16:creationId xmlns:a16="http://schemas.microsoft.com/office/drawing/2014/main" id="{7BBFBA7B-75DE-D23E-F2EB-D88BF725F94D}"/>
              </a:ext>
            </a:extLst>
          </p:cNvPr>
          <p:cNvSpPr/>
          <p:nvPr/>
        </p:nvSpPr>
        <p:spPr>
          <a:xfrm>
            <a:off x="5839488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5" name="Elipse 3214">
            <a:extLst>
              <a:ext uri="{FF2B5EF4-FFF2-40B4-BE49-F238E27FC236}">
                <a16:creationId xmlns:a16="http://schemas.microsoft.com/office/drawing/2014/main" id="{5634CCB0-C154-C17A-E365-7AF6CB8BFFF8}"/>
              </a:ext>
            </a:extLst>
          </p:cNvPr>
          <p:cNvSpPr/>
          <p:nvPr/>
        </p:nvSpPr>
        <p:spPr>
          <a:xfrm>
            <a:off x="6151167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6" name="Elipse 3215">
            <a:extLst>
              <a:ext uri="{FF2B5EF4-FFF2-40B4-BE49-F238E27FC236}">
                <a16:creationId xmlns:a16="http://schemas.microsoft.com/office/drawing/2014/main" id="{44FF248F-8374-B0CB-FA95-B73D039F0740}"/>
              </a:ext>
            </a:extLst>
          </p:cNvPr>
          <p:cNvSpPr/>
          <p:nvPr/>
        </p:nvSpPr>
        <p:spPr>
          <a:xfrm>
            <a:off x="6462846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7" name="Elipse 3216">
            <a:extLst>
              <a:ext uri="{FF2B5EF4-FFF2-40B4-BE49-F238E27FC236}">
                <a16:creationId xmlns:a16="http://schemas.microsoft.com/office/drawing/2014/main" id="{28E0E22B-98B0-0334-ED92-938C9307F6C1}"/>
              </a:ext>
            </a:extLst>
          </p:cNvPr>
          <p:cNvSpPr/>
          <p:nvPr/>
        </p:nvSpPr>
        <p:spPr>
          <a:xfrm>
            <a:off x="6774525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8" name="Elipse 3217">
            <a:extLst>
              <a:ext uri="{FF2B5EF4-FFF2-40B4-BE49-F238E27FC236}">
                <a16:creationId xmlns:a16="http://schemas.microsoft.com/office/drawing/2014/main" id="{35700B9F-10D3-BFEB-468C-7FBD909A3AEA}"/>
              </a:ext>
            </a:extLst>
          </p:cNvPr>
          <p:cNvSpPr/>
          <p:nvPr/>
        </p:nvSpPr>
        <p:spPr>
          <a:xfrm>
            <a:off x="7086204" y="5196654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9" name="Elipse 3198">
            <a:extLst>
              <a:ext uri="{FF2B5EF4-FFF2-40B4-BE49-F238E27FC236}">
                <a16:creationId xmlns:a16="http://schemas.microsoft.com/office/drawing/2014/main" id="{86743A4A-D435-81A8-962D-1D0C7032B11D}"/>
              </a:ext>
            </a:extLst>
          </p:cNvPr>
          <p:cNvSpPr/>
          <p:nvPr/>
        </p:nvSpPr>
        <p:spPr>
          <a:xfrm>
            <a:off x="4281093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0" name="Elipse 3199">
            <a:extLst>
              <a:ext uri="{FF2B5EF4-FFF2-40B4-BE49-F238E27FC236}">
                <a16:creationId xmlns:a16="http://schemas.microsoft.com/office/drawing/2014/main" id="{823B43DE-47C0-B982-0768-5D0B3549014A}"/>
              </a:ext>
            </a:extLst>
          </p:cNvPr>
          <p:cNvSpPr/>
          <p:nvPr/>
        </p:nvSpPr>
        <p:spPr>
          <a:xfrm>
            <a:off x="4592772" y="5637342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1" name="Elipse 3200">
            <a:extLst>
              <a:ext uri="{FF2B5EF4-FFF2-40B4-BE49-F238E27FC236}">
                <a16:creationId xmlns:a16="http://schemas.microsoft.com/office/drawing/2014/main" id="{30D8ED27-29EF-DB9B-655B-E851C0B299F1}"/>
              </a:ext>
            </a:extLst>
          </p:cNvPr>
          <p:cNvSpPr/>
          <p:nvPr/>
        </p:nvSpPr>
        <p:spPr>
          <a:xfrm>
            <a:off x="4904451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2" name="Elipse 3201">
            <a:extLst>
              <a:ext uri="{FF2B5EF4-FFF2-40B4-BE49-F238E27FC236}">
                <a16:creationId xmlns:a16="http://schemas.microsoft.com/office/drawing/2014/main" id="{8FC3EFBD-C881-F351-A47D-9D7FE5BCEF16}"/>
              </a:ext>
            </a:extLst>
          </p:cNvPr>
          <p:cNvSpPr/>
          <p:nvPr/>
        </p:nvSpPr>
        <p:spPr>
          <a:xfrm>
            <a:off x="5216130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3" name="Elipse 3202">
            <a:extLst>
              <a:ext uri="{FF2B5EF4-FFF2-40B4-BE49-F238E27FC236}">
                <a16:creationId xmlns:a16="http://schemas.microsoft.com/office/drawing/2014/main" id="{1EE78D3E-09A0-1D0D-1BC3-11CE27AAB87C}"/>
              </a:ext>
            </a:extLst>
          </p:cNvPr>
          <p:cNvSpPr/>
          <p:nvPr/>
        </p:nvSpPr>
        <p:spPr>
          <a:xfrm>
            <a:off x="5527809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4" name="Elipse 3203">
            <a:extLst>
              <a:ext uri="{FF2B5EF4-FFF2-40B4-BE49-F238E27FC236}">
                <a16:creationId xmlns:a16="http://schemas.microsoft.com/office/drawing/2014/main" id="{E79FDBBE-3916-4A05-CA0D-A98A19AB7C30}"/>
              </a:ext>
            </a:extLst>
          </p:cNvPr>
          <p:cNvSpPr/>
          <p:nvPr/>
        </p:nvSpPr>
        <p:spPr>
          <a:xfrm>
            <a:off x="5839488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5" name="Elipse 3204">
            <a:extLst>
              <a:ext uri="{FF2B5EF4-FFF2-40B4-BE49-F238E27FC236}">
                <a16:creationId xmlns:a16="http://schemas.microsoft.com/office/drawing/2014/main" id="{98553DBB-05A0-02C3-DB14-93EAF7C40E8A}"/>
              </a:ext>
            </a:extLst>
          </p:cNvPr>
          <p:cNvSpPr/>
          <p:nvPr/>
        </p:nvSpPr>
        <p:spPr>
          <a:xfrm>
            <a:off x="6151167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6" name="Elipse 3205">
            <a:extLst>
              <a:ext uri="{FF2B5EF4-FFF2-40B4-BE49-F238E27FC236}">
                <a16:creationId xmlns:a16="http://schemas.microsoft.com/office/drawing/2014/main" id="{B83A9274-7DE1-CB30-DB7F-86422F36C381}"/>
              </a:ext>
            </a:extLst>
          </p:cNvPr>
          <p:cNvSpPr/>
          <p:nvPr/>
        </p:nvSpPr>
        <p:spPr>
          <a:xfrm>
            <a:off x="6462846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7" name="Elipse 3206">
            <a:extLst>
              <a:ext uri="{FF2B5EF4-FFF2-40B4-BE49-F238E27FC236}">
                <a16:creationId xmlns:a16="http://schemas.microsoft.com/office/drawing/2014/main" id="{A0824F0D-A306-EA97-011D-65CCB88D7B78}"/>
              </a:ext>
            </a:extLst>
          </p:cNvPr>
          <p:cNvSpPr/>
          <p:nvPr/>
        </p:nvSpPr>
        <p:spPr>
          <a:xfrm>
            <a:off x="6774525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8" name="Elipse 3207">
            <a:extLst>
              <a:ext uri="{FF2B5EF4-FFF2-40B4-BE49-F238E27FC236}">
                <a16:creationId xmlns:a16="http://schemas.microsoft.com/office/drawing/2014/main" id="{60020A04-9141-28A9-CC81-4817D7E9F7CE}"/>
              </a:ext>
            </a:extLst>
          </p:cNvPr>
          <p:cNvSpPr/>
          <p:nvPr/>
        </p:nvSpPr>
        <p:spPr>
          <a:xfrm>
            <a:off x="7086204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89" name="Elipse 3188">
            <a:extLst>
              <a:ext uri="{FF2B5EF4-FFF2-40B4-BE49-F238E27FC236}">
                <a16:creationId xmlns:a16="http://schemas.microsoft.com/office/drawing/2014/main" id="{BD5B6925-43C4-D2A7-71D7-27149AD1EEC5}"/>
              </a:ext>
            </a:extLst>
          </p:cNvPr>
          <p:cNvSpPr/>
          <p:nvPr/>
        </p:nvSpPr>
        <p:spPr>
          <a:xfrm>
            <a:off x="4281093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0" name="Elipse 3189">
            <a:extLst>
              <a:ext uri="{FF2B5EF4-FFF2-40B4-BE49-F238E27FC236}">
                <a16:creationId xmlns:a16="http://schemas.microsoft.com/office/drawing/2014/main" id="{9780A49B-3A2E-7969-E0A0-FF0F4748A918}"/>
              </a:ext>
            </a:extLst>
          </p:cNvPr>
          <p:cNvSpPr/>
          <p:nvPr/>
        </p:nvSpPr>
        <p:spPr>
          <a:xfrm>
            <a:off x="4592772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1" name="Elipse 3190">
            <a:extLst>
              <a:ext uri="{FF2B5EF4-FFF2-40B4-BE49-F238E27FC236}">
                <a16:creationId xmlns:a16="http://schemas.microsoft.com/office/drawing/2014/main" id="{E1DFA315-CE09-718C-8ABF-8F3B96AFB4B1}"/>
              </a:ext>
            </a:extLst>
          </p:cNvPr>
          <p:cNvSpPr/>
          <p:nvPr/>
        </p:nvSpPr>
        <p:spPr>
          <a:xfrm>
            <a:off x="4904451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2" name="Elipse 3191">
            <a:extLst>
              <a:ext uri="{FF2B5EF4-FFF2-40B4-BE49-F238E27FC236}">
                <a16:creationId xmlns:a16="http://schemas.microsoft.com/office/drawing/2014/main" id="{7250D62A-F260-80C5-AE6E-5D843A9CFDDB}"/>
              </a:ext>
            </a:extLst>
          </p:cNvPr>
          <p:cNvSpPr/>
          <p:nvPr/>
        </p:nvSpPr>
        <p:spPr>
          <a:xfrm>
            <a:off x="5216130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3" name="Elipse 3192">
            <a:extLst>
              <a:ext uri="{FF2B5EF4-FFF2-40B4-BE49-F238E27FC236}">
                <a16:creationId xmlns:a16="http://schemas.microsoft.com/office/drawing/2014/main" id="{24C60BB2-1931-1E81-3C66-21B38CAEF562}"/>
              </a:ext>
            </a:extLst>
          </p:cNvPr>
          <p:cNvSpPr/>
          <p:nvPr/>
        </p:nvSpPr>
        <p:spPr>
          <a:xfrm>
            <a:off x="5527809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4" name="Elipse 3193">
            <a:extLst>
              <a:ext uri="{FF2B5EF4-FFF2-40B4-BE49-F238E27FC236}">
                <a16:creationId xmlns:a16="http://schemas.microsoft.com/office/drawing/2014/main" id="{A5AEF5D6-3BBC-88FA-5D28-415DFC1E1F62}"/>
              </a:ext>
            </a:extLst>
          </p:cNvPr>
          <p:cNvSpPr/>
          <p:nvPr/>
        </p:nvSpPr>
        <p:spPr>
          <a:xfrm>
            <a:off x="5839488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5" name="Elipse 3194">
            <a:extLst>
              <a:ext uri="{FF2B5EF4-FFF2-40B4-BE49-F238E27FC236}">
                <a16:creationId xmlns:a16="http://schemas.microsoft.com/office/drawing/2014/main" id="{4E300089-6234-AFF4-7D56-08DC4378F45C}"/>
              </a:ext>
            </a:extLst>
          </p:cNvPr>
          <p:cNvSpPr/>
          <p:nvPr/>
        </p:nvSpPr>
        <p:spPr>
          <a:xfrm>
            <a:off x="6151167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6" name="Elipse 3195">
            <a:extLst>
              <a:ext uri="{FF2B5EF4-FFF2-40B4-BE49-F238E27FC236}">
                <a16:creationId xmlns:a16="http://schemas.microsoft.com/office/drawing/2014/main" id="{4F13A969-4AA6-AD45-EBBF-140299673ED0}"/>
              </a:ext>
            </a:extLst>
          </p:cNvPr>
          <p:cNvSpPr/>
          <p:nvPr/>
        </p:nvSpPr>
        <p:spPr>
          <a:xfrm>
            <a:off x="6462846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7" name="Elipse 3196">
            <a:extLst>
              <a:ext uri="{FF2B5EF4-FFF2-40B4-BE49-F238E27FC236}">
                <a16:creationId xmlns:a16="http://schemas.microsoft.com/office/drawing/2014/main" id="{7D42BA88-238D-17F9-F5E2-66E2CADE1954}"/>
              </a:ext>
            </a:extLst>
          </p:cNvPr>
          <p:cNvSpPr/>
          <p:nvPr/>
        </p:nvSpPr>
        <p:spPr>
          <a:xfrm>
            <a:off x="6774525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8" name="Elipse 3197">
            <a:extLst>
              <a:ext uri="{FF2B5EF4-FFF2-40B4-BE49-F238E27FC236}">
                <a16:creationId xmlns:a16="http://schemas.microsoft.com/office/drawing/2014/main" id="{E0C0ADF3-A6A2-2687-4A18-3FB7CAA68F97}"/>
              </a:ext>
            </a:extLst>
          </p:cNvPr>
          <p:cNvSpPr/>
          <p:nvPr/>
        </p:nvSpPr>
        <p:spPr>
          <a:xfrm>
            <a:off x="7086204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5" name="Elipse 3284">
            <a:extLst>
              <a:ext uri="{FF2B5EF4-FFF2-40B4-BE49-F238E27FC236}">
                <a16:creationId xmlns:a16="http://schemas.microsoft.com/office/drawing/2014/main" id="{BC99C828-52D6-DC60-6774-CD1A17CE3423}"/>
              </a:ext>
            </a:extLst>
          </p:cNvPr>
          <p:cNvSpPr/>
          <p:nvPr/>
        </p:nvSpPr>
        <p:spPr>
          <a:xfrm>
            <a:off x="8178012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6" name="Elipse 3285">
            <a:extLst>
              <a:ext uri="{FF2B5EF4-FFF2-40B4-BE49-F238E27FC236}">
                <a16:creationId xmlns:a16="http://schemas.microsoft.com/office/drawing/2014/main" id="{74A9C71B-9F82-CE47-360E-E1A2814A26ED}"/>
              </a:ext>
            </a:extLst>
          </p:cNvPr>
          <p:cNvSpPr/>
          <p:nvPr/>
        </p:nvSpPr>
        <p:spPr>
          <a:xfrm>
            <a:off x="8489691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7" name="Elipse 3286">
            <a:extLst>
              <a:ext uri="{FF2B5EF4-FFF2-40B4-BE49-F238E27FC236}">
                <a16:creationId xmlns:a16="http://schemas.microsoft.com/office/drawing/2014/main" id="{30651006-52DF-D8D1-8D9B-1E5B1FD8668B}"/>
              </a:ext>
            </a:extLst>
          </p:cNvPr>
          <p:cNvSpPr/>
          <p:nvPr/>
        </p:nvSpPr>
        <p:spPr>
          <a:xfrm>
            <a:off x="8801370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8" name="Elipse 3287">
            <a:extLst>
              <a:ext uri="{FF2B5EF4-FFF2-40B4-BE49-F238E27FC236}">
                <a16:creationId xmlns:a16="http://schemas.microsoft.com/office/drawing/2014/main" id="{DC2913B8-8F28-47EA-3768-ABE60B17D256}"/>
              </a:ext>
            </a:extLst>
          </p:cNvPr>
          <p:cNvSpPr/>
          <p:nvPr/>
        </p:nvSpPr>
        <p:spPr>
          <a:xfrm>
            <a:off x="9113049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9" name="Elipse 3288">
            <a:extLst>
              <a:ext uri="{FF2B5EF4-FFF2-40B4-BE49-F238E27FC236}">
                <a16:creationId xmlns:a16="http://schemas.microsoft.com/office/drawing/2014/main" id="{D1EC9FDC-52F6-E9DB-591B-F220FBFE7BE2}"/>
              </a:ext>
            </a:extLst>
          </p:cNvPr>
          <p:cNvSpPr/>
          <p:nvPr/>
        </p:nvSpPr>
        <p:spPr>
          <a:xfrm>
            <a:off x="9424728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0" name="Elipse 3289">
            <a:extLst>
              <a:ext uri="{FF2B5EF4-FFF2-40B4-BE49-F238E27FC236}">
                <a16:creationId xmlns:a16="http://schemas.microsoft.com/office/drawing/2014/main" id="{BDB9C26F-E96A-4F55-F971-8C8CE70E77A9}"/>
              </a:ext>
            </a:extLst>
          </p:cNvPr>
          <p:cNvSpPr/>
          <p:nvPr/>
        </p:nvSpPr>
        <p:spPr>
          <a:xfrm>
            <a:off x="9736407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1" name="Elipse 3290">
            <a:extLst>
              <a:ext uri="{FF2B5EF4-FFF2-40B4-BE49-F238E27FC236}">
                <a16:creationId xmlns:a16="http://schemas.microsoft.com/office/drawing/2014/main" id="{9EAD49A4-9842-4AE5-218A-63C771FC2E3A}"/>
              </a:ext>
            </a:extLst>
          </p:cNvPr>
          <p:cNvSpPr/>
          <p:nvPr/>
        </p:nvSpPr>
        <p:spPr>
          <a:xfrm>
            <a:off x="10048086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2" name="Elipse 3291">
            <a:extLst>
              <a:ext uri="{FF2B5EF4-FFF2-40B4-BE49-F238E27FC236}">
                <a16:creationId xmlns:a16="http://schemas.microsoft.com/office/drawing/2014/main" id="{F6497773-A210-7418-1A10-DD1852F9E3FC}"/>
              </a:ext>
            </a:extLst>
          </p:cNvPr>
          <p:cNvSpPr/>
          <p:nvPr/>
        </p:nvSpPr>
        <p:spPr>
          <a:xfrm>
            <a:off x="10359765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3" name="Elipse 3292">
            <a:extLst>
              <a:ext uri="{FF2B5EF4-FFF2-40B4-BE49-F238E27FC236}">
                <a16:creationId xmlns:a16="http://schemas.microsoft.com/office/drawing/2014/main" id="{44BF08FC-F204-B931-BBAF-48A04B461B41}"/>
              </a:ext>
            </a:extLst>
          </p:cNvPr>
          <p:cNvSpPr/>
          <p:nvPr/>
        </p:nvSpPr>
        <p:spPr>
          <a:xfrm>
            <a:off x="10671444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4" name="Elipse 3293">
            <a:extLst>
              <a:ext uri="{FF2B5EF4-FFF2-40B4-BE49-F238E27FC236}">
                <a16:creationId xmlns:a16="http://schemas.microsoft.com/office/drawing/2014/main" id="{76AF2984-2EE1-1033-F642-03F2C61236F6}"/>
              </a:ext>
            </a:extLst>
          </p:cNvPr>
          <p:cNvSpPr/>
          <p:nvPr/>
        </p:nvSpPr>
        <p:spPr>
          <a:xfrm>
            <a:off x="10983123" y="4315278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5" name="Elipse 3274">
            <a:extLst>
              <a:ext uri="{FF2B5EF4-FFF2-40B4-BE49-F238E27FC236}">
                <a16:creationId xmlns:a16="http://schemas.microsoft.com/office/drawing/2014/main" id="{9B94A3BE-C132-12F6-ACB0-C31AD31546A4}"/>
              </a:ext>
            </a:extLst>
          </p:cNvPr>
          <p:cNvSpPr/>
          <p:nvPr/>
        </p:nvSpPr>
        <p:spPr>
          <a:xfrm>
            <a:off x="8178012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6" name="Elipse 3275">
            <a:extLst>
              <a:ext uri="{FF2B5EF4-FFF2-40B4-BE49-F238E27FC236}">
                <a16:creationId xmlns:a16="http://schemas.microsoft.com/office/drawing/2014/main" id="{548B6655-5331-9A77-0F81-0148B5FFBA84}"/>
              </a:ext>
            </a:extLst>
          </p:cNvPr>
          <p:cNvSpPr/>
          <p:nvPr/>
        </p:nvSpPr>
        <p:spPr>
          <a:xfrm>
            <a:off x="8489691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7" name="Elipse 3276">
            <a:extLst>
              <a:ext uri="{FF2B5EF4-FFF2-40B4-BE49-F238E27FC236}">
                <a16:creationId xmlns:a16="http://schemas.microsoft.com/office/drawing/2014/main" id="{6EF15BF4-508A-830A-9CD4-73F55A7E2443}"/>
              </a:ext>
            </a:extLst>
          </p:cNvPr>
          <p:cNvSpPr/>
          <p:nvPr/>
        </p:nvSpPr>
        <p:spPr>
          <a:xfrm>
            <a:off x="8801370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8" name="Elipse 3277">
            <a:extLst>
              <a:ext uri="{FF2B5EF4-FFF2-40B4-BE49-F238E27FC236}">
                <a16:creationId xmlns:a16="http://schemas.microsoft.com/office/drawing/2014/main" id="{5C208200-B8F3-3959-0425-D05A796ED11C}"/>
              </a:ext>
            </a:extLst>
          </p:cNvPr>
          <p:cNvSpPr/>
          <p:nvPr/>
        </p:nvSpPr>
        <p:spPr>
          <a:xfrm>
            <a:off x="9113049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9" name="Elipse 3278">
            <a:extLst>
              <a:ext uri="{FF2B5EF4-FFF2-40B4-BE49-F238E27FC236}">
                <a16:creationId xmlns:a16="http://schemas.microsoft.com/office/drawing/2014/main" id="{35725A6F-2BFB-8A6D-E21F-C740497ACF6E}"/>
              </a:ext>
            </a:extLst>
          </p:cNvPr>
          <p:cNvSpPr/>
          <p:nvPr/>
        </p:nvSpPr>
        <p:spPr>
          <a:xfrm>
            <a:off x="9424728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0" name="Elipse 3279">
            <a:extLst>
              <a:ext uri="{FF2B5EF4-FFF2-40B4-BE49-F238E27FC236}">
                <a16:creationId xmlns:a16="http://schemas.microsoft.com/office/drawing/2014/main" id="{40DCECA3-79E7-DEB8-E6B3-821579073A2E}"/>
              </a:ext>
            </a:extLst>
          </p:cNvPr>
          <p:cNvSpPr/>
          <p:nvPr/>
        </p:nvSpPr>
        <p:spPr>
          <a:xfrm>
            <a:off x="9736407" y="4755966"/>
            <a:ext cx="215445" cy="21544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1" name="Elipse 3280">
            <a:extLst>
              <a:ext uri="{FF2B5EF4-FFF2-40B4-BE49-F238E27FC236}">
                <a16:creationId xmlns:a16="http://schemas.microsoft.com/office/drawing/2014/main" id="{16D5629F-7DA8-EE71-3FA3-9BA47632AEE3}"/>
              </a:ext>
            </a:extLst>
          </p:cNvPr>
          <p:cNvSpPr/>
          <p:nvPr/>
        </p:nvSpPr>
        <p:spPr>
          <a:xfrm>
            <a:off x="10048086" y="4755966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2" name="Elipse 3281">
            <a:extLst>
              <a:ext uri="{FF2B5EF4-FFF2-40B4-BE49-F238E27FC236}">
                <a16:creationId xmlns:a16="http://schemas.microsoft.com/office/drawing/2014/main" id="{EB020D94-EF65-9909-130E-0FDD7A05893F}"/>
              </a:ext>
            </a:extLst>
          </p:cNvPr>
          <p:cNvSpPr/>
          <p:nvPr/>
        </p:nvSpPr>
        <p:spPr>
          <a:xfrm>
            <a:off x="10359765" y="4755966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3" name="Elipse 3282">
            <a:extLst>
              <a:ext uri="{FF2B5EF4-FFF2-40B4-BE49-F238E27FC236}">
                <a16:creationId xmlns:a16="http://schemas.microsoft.com/office/drawing/2014/main" id="{5929DD54-BF39-4FBA-09ED-B7427A730B81}"/>
              </a:ext>
            </a:extLst>
          </p:cNvPr>
          <p:cNvSpPr/>
          <p:nvPr/>
        </p:nvSpPr>
        <p:spPr>
          <a:xfrm>
            <a:off x="10671444" y="4755966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4" name="Elipse 3283">
            <a:extLst>
              <a:ext uri="{FF2B5EF4-FFF2-40B4-BE49-F238E27FC236}">
                <a16:creationId xmlns:a16="http://schemas.microsoft.com/office/drawing/2014/main" id="{14B4AB09-789E-652B-575B-9E0179BB985C}"/>
              </a:ext>
            </a:extLst>
          </p:cNvPr>
          <p:cNvSpPr/>
          <p:nvPr/>
        </p:nvSpPr>
        <p:spPr>
          <a:xfrm>
            <a:off x="10983123" y="4755966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5" name="Elipse 3264">
            <a:extLst>
              <a:ext uri="{FF2B5EF4-FFF2-40B4-BE49-F238E27FC236}">
                <a16:creationId xmlns:a16="http://schemas.microsoft.com/office/drawing/2014/main" id="{D6CE4BC2-C2E7-F855-C835-7AE6B4A58AA9}"/>
              </a:ext>
            </a:extLst>
          </p:cNvPr>
          <p:cNvSpPr/>
          <p:nvPr/>
        </p:nvSpPr>
        <p:spPr>
          <a:xfrm>
            <a:off x="8178012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6" name="Elipse 3265">
            <a:extLst>
              <a:ext uri="{FF2B5EF4-FFF2-40B4-BE49-F238E27FC236}">
                <a16:creationId xmlns:a16="http://schemas.microsoft.com/office/drawing/2014/main" id="{56C4F654-AC84-07BB-314E-854FB5AE7193}"/>
              </a:ext>
            </a:extLst>
          </p:cNvPr>
          <p:cNvSpPr/>
          <p:nvPr/>
        </p:nvSpPr>
        <p:spPr>
          <a:xfrm>
            <a:off x="8489691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7" name="Elipse 3266">
            <a:extLst>
              <a:ext uri="{FF2B5EF4-FFF2-40B4-BE49-F238E27FC236}">
                <a16:creationId xmlns:a16="http://schemas.microsoft.com/office/drawing/2014/main" id="{9612956E-4439-5D78-5D28-627E6729DC3C}"/>
              </a:ext>
            </a:extLst>
          </p:cNvPr>
          <p:cNvSpPr/>
          <p:nvPr/>
        </p:nvSpPr>
        <p:spPr>
          <a:xfrm>
            <a:off x="8801370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8" name="Elipse 3267">
            <a:extLst>
              <a:ext uri="{FF2B5EF4-FFF2-40B4-BE49-F238E27FC236}">
                <a16:creationId xmlns:a16="http://schemas.microsoft.com/office/drawing/2014/main" id="{84AEB16F-1AD0-7668-20A7-21EECACC8A4C}"/>
              </a:ext>
            </a:extLst>
          </p:cNvPr>
          <p:cNvSpPr/>
          <p:nvPr/>
        </p:nvSpPr>
        <p:spPr>
          <a:xfrm>
            <a:off x="9113049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9" name="Elipse 3268">
            <a:extLst>
              <a:ext uri="{FF2B5EF4-FFF2-40B4-BE49-F238E27FC236}">
                <a16:creationId xmlns:a16="http://schemas.microsoft.com/office/drawing/2014/main" id="{4F511F0A-CC13-3E45-5D39-8C2BE8EC5EB3}"/>
              </a:ext>
            </a:extLst>
          </p:cNvPr>
          <p:cNvSpPr/>
          <p:nvPr/>
        </p:nvSpPr>
        <p:spPr>
          <a:xfrm>
            <a:off x="9424728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0" name="Elipse 3269">
            <a:extLst>
              <a:ext uri="{FF2B5EF4-FFF2-40B4-BE49-F238E27FC236}">
                <a16:creationId xmlns:a16="http://schemas.microsoft.com/office/drawing/2014/main" id="{E3595826-E041-6BB2-13A0-80304B5FFC38}"/>
              </a:ext>
            </a:extLst>
          </p:cNvPr>
          <p:cNvSpPr/>
          <p:nvPr/>
        </p:nvSpPr>
        <p:spPr>
          <a:xfrm>
            <a:off x="9736407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1" name="Elipse 3270">
            <a:extLst>
              <a:ext uri="{FF2B5EF4-FFF2-40B4-BE49-F238E27FC236}">
                <a16:creationId xmlns:a16="http://schemas.microsoft.com/office/drawing/2014/main" id="{F908E77A-2FF8-D767-3A58-7613B6F23685}"/>
              </a:ext>
            </a:extLst>
          </p:cNvPr>
          <p:cNvSpPr/>
          <p:nvPr/>
        </p:nvSpPr>
        <p:spPr>
          <a:xfrm>
            <a:off x="10048086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2" name="Elipse 3271">
            <a:extLst>
              <a:ext uri="{FF2B5EF4-FFF2-40B4-BE49-F238E27FC236}">
                <a16:creationId xmlns:a16="http://schemas.microsoft.com/office/drawing/2014/main" id="{A112EE05-723C-2499-EF66-926E101DC2E5}"/>
              </a:ext>
            </a:extLst>
          </p:cNvPr>
          <p:cNvSpPr/>
          <p:nvPr/>
        </p:nvSpPr>
        <p:spPr>
          <a:xfrm>
            <a:off x="10359765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3" name="Elipse 3272">
            <a:extLst>
              <a:ext uri="{FF2B5EF4-FFF2-40B4-BE49-F238E27FC236}">
                <a16:creationId xmlns:a16="http://schemas.microsoft.com/office/drawing/2014/main" id="{8257BF79-1116-2789-78C9-377B861A00F8}"/>
              </a:ext>
            </a:extLst>
          </p:cNvPr>
          <p:cNvSpPr/>
          <p:nvPr/>
        </p:nvSpPr>
        <p:spPr>
          <a:xfrm>
            <a:off x="10671444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4" name="Elipse 3273">
            <a:extLst>
              <a:ext uri="{FF2B5EF4-FFF2-40B4-BE49-F238E27FC236}">
                <a16:creationId xmlns:a16="http://schemas.microsoft.com/office/drawing/2014/main" id="{4938525F-07FD-DD4D-AE0F-83A18F527EC9}"/>
              </a:ext>
            </a:extLst>
          </p:cNvPr>
          <p:cNvSpPr/>
          <p:nvPr/>
        </p:nvSpPr>
        <p:spPr>
          <a:xfrm>
            <a:off x="10983123" y="5196654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5" name="Elipse 3254">
            <a:extLst>
              <a:ext uri="{FF2B5EF4-FFF2-40B4-BE49-F238E27FC236}">
                <a16:creationId xmlns:a16="http://schemas.microsoft.com/office/drawing/2014/main" id="{37051D6D-F2FE-BE1A-1A02-308A91838B14}"/>
              </a:ext>
            </a:extLst>
          </p:cNvPr>
          <p:cNvSpPr/>
          <p:nvPr/>
        </p:nvSpPr>
        <p:spPr>
          <a:xfrm>
            <a:off x="8178012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6" name="Elipse 3255">
            <a:extLst>
              <a:ext uri="{FF2B5EF4-FFF2-40B4-BE49-F238E27FC236}">
                <a16:creationId xmlns:a16="http://schemas.microsoft.com/office/drawing/2014/main" id="{7E1195BC-BF47-3206-0164-82E8C8E8A546}"/>
              </a:ext>
            </a:extLst>
          </p:cNvPr>
          <p:cNvSpPr/>
          <p:nvPr/>
        </p:nvSpPr>
        <p:spPr>
          <a:xfrm>
            <a:off x="8489691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7" name="Elipse 3256">
            <a:extLst>
              <a:ext uri="{FF2B5EF4-FFF2-40B4-BE49-F238E27FC236}">
                <a16:creationId xmlns:a16="http://schemas.microsoft.com/office/drawing/2014/main" id="{F1AF1D5B-CD1B-6005-CB6B-7692E20B98DB}"/>
              </a:ext>
            </a:extLst>
          </p:cNvPr>
          <p:cNvSpPr/>
          <p:nvPr/>
        </p:nvSpPr>
        <p:spPr>
          <a:xfrm>
            <a:off x="8801370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8" name="Elipse 3257">
            <a:extLst>
              <a:ext uri="{FF2B5EF4-FFF2-40B4-BE49-F238E27FC236}">
                <a16:creationId xmlns:a16="http://schemas.microsoft.com/office/drawing/2014/main" id="{3D0A8929-DA6C-DE62-6AC8-0B868F972BC9}"/>
              </a:ext>
            </a:extLst>
          </p:cNvPr>
          <p:cNvSpPr/>
          <p:nvPr/>
        </p:nvSpPr>
        <p:spPr>
          <a:xfrm>
            <a:off x="9113049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9" name="Elipse 3258">
            <a:extLst>
              <a:ext uri="{FF2B5EF4-FFF2-40B4-BE49-F238E27FC236}">
                <a16:creationId xmlns:a16="http://schemas.microsoft.com/office/drawing/2014/main" id="{5577ED64-9355-EA1F-4361-4E75B11E3C3B}"/>
              </a:ext>
            </a:extLst>
          </p:cNvPr>
          <p:cNvSpPr/>
          <p:nvPr/>
        </p:nvSpPr>
        <p:spPr>
          <a:xfrm>
            <a:off x="9424728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0" name="Elipse 3259">
            <a:extLst>
              <a:ext uri="{FF2B5EF4-FFF2-40B4-BE49-F238E27FC236}">
                <a16:creationId xmlns:a16="http://schemas.microsoft.com/office/drawing/2014/main" id="{86C9CAEE-11C2-162D-F304-EC06D42934B5}"/>
              </a:ext>
            </a:extLst>
          </p:cNvPr>
          <p:cNvSpPr/>
          <p:nvPr/>
        </p:nvSpPr>
        <p:spPr>
          <a:xfrm>
            <a:off x="9736407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1" name="Elipse 3260">
            <a:extLst>
              <a:ext uri="{FF2B5EF4-FFF2-40B4-BE49-F238E27FC236}">
                <a16:creationId xmlns:a16="http://schemas.microsoft.com/office/drawing/2014/main" id="{AD8D6793-24F3-548F-7F1C-1BCF575A9B54}"/>
              </a:ext>
            </a:extLst>
          </p:cNvPr>
          <p:cNvSpPr/>
          <p:nvPr/>
        </p:nvSpPr>
        <p:spPr>
          <a:xfrm>
            <a:off x="10048086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2" name="Elipse 3261">
            <a:extLst>
              <a:ext uri="{FF2B5EF4-FFF2-40B4-BE49-F238E27FC236}">
                <a16:creationId xmlns:a16="http://schemas.microsoft.com/office/drawing/2014/main" id="{05B8B05B-6265-04AF-E063-6C5AB6BC037E}"/>
              </a:ext>
            </a:extLst>
          </p:cNvPr>
          <p:cNvSpPr/>
          <p:nvPr/>
        </p:nvSpPr>
        <p:spPr>
          <a:xfrm>
            <a:off x="10359765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3" name="Elipse 3262">
            <a:extLst>
              <a:ext uri="{FF2B5EF4-FFF2-40B4-BE49-F238E27FC236}">
                <a16:creationId xmlns:a16="http://schemas.microsoft.com/office/drawing/2014/main" id="{54650675-989B-C978-55FD-6E55F014647D}"/>
              </a:ext>
            </a:extLst>
          </p:cNvPr>
          <p:cNvSpPr/>
          <p:nvPr/>
        </p:nvSpPr>
        <p:spPr>
          <a:xfrm>
            <a:off x="10671444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4" name="Elipse 3263">
            <a:extLst>
              <a:ext uri="{FF2B5EF4-FFF2-40B4-BE49-F238E27FC236}">
                <a16:creationId xmlns:a16="http://schemas.microsoft.com/office/drawing/2014/main" id="{4B24AD7F-97B0-E8BA-5898-C181F3B4A485}"/>
              </a:ext>
            </a:extLst>
          </p:cNvPr>
          <p:cNvSpPr/>
          <p:nvPr/>
        </p:nvSpPr>
        <p:spPr>
          <a:xfrm>
            <a:off x="10983123" y="563734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5" name="Elipse 3244">
            <a:extLst>
              <a:ext uri="{FF2B5EF4-FFF2-40B4-BE49-F238E27FC236}">
                <a16:creationId xmlns:a16="http://schemas.microsoft.com/office/drawing/2014/main" id="{C6D71EB3-2D9B-6C87-FAB6-0DA614E08E15}"/>
              </a:ext>
            </a:extLst>
          </p:cNvPr>
          <p:cNvSpPr/>
          <p:nvPr/>
        </p:nvSpPr>
        <p:spPr>
          <a:xfrm>
            <a:off x="8178012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6" name="Elipse 3245">
            <a:extLst>
              <a:ext uri="{FF2B5EF4-FFF2-40B4-BE49-F238E27FC236}">
                <a16:creationId xmlns:a16="http://schemas.microsoft.com/office/drawing/2014/main" id="{C661B552-26CE-216B-C1EA-26531187B56D}"/>
              </a:ext>
            </a:extLst>
          </p:cNvPr>
          <p:cNvSpPr/>
          <p:nvPr/>
        </p:nvSpPr>
        <p:spPr>
          <a:xfrm>
            <a:off x="8489691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7" name="Elipse 3246">
            <a:extLst>
              <a:ext uri="{FF2B5EF4-FFF2-40B4-BE49-F238E27FC236}">
                <a16:creationId xmlns:a16="http://schemas.microsoft.com/office/drawing/2014/main" id="{582C9139-A937-7B82-8061-C9E52148322F}"/>
              </a:ext>
            </a:extLst>
          </p:cNvPr>
          <p:cNvSpPr/>
          <p:nvPr/>
        </p:nvSpPr>
        <p:spPr>
          <a:xfrm>
            <a:off x="8801370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8" name="Elipse 3247">
            <a:extLst>
              <a:ext uri="{FF2B5EF4-FFF2-40B4-BE49-F238E27FC236}">
                <a16:creationId xmlns:a16="http://schemas.microsoft.com/office/drawing/2014/main" id="{D5CE062D-89DE-F475-3B28-6FD6AF6DDBD6}"/>
              </a:ext>
            </a:extLst>
          </p:cNvPr>
          <p:cNvSpPr/>
          <p:nvPr/>
        </p:nvSpPr>
        <p:spPr>
          <a:xfrm>
            <a:off x="9113049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9" name="Elipse 3248">
            <a:extLst>
              <a:ext uri="{FF2B5EF4-FFF2-40B4-BE49-F238E27FC236}">
                <a16:creationId xmlns:a16="http://schemas.microsoft.com/office/drawing/2014/main" id="{9460CBAF-A542-5937-30BD-B5FB3A8680C7}"/>
              </a:ext>
            </a:extLst>
          </p:cNvPr>
          <p:cNvSpPr/>
          <p:nvPr/>
        </p:nvSpPr>
        <p:spPr>
          <a:xfrm>
            <a:off x="9424728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0" name="Elipse 3249">
            <a:extLst>
              <a:ext uri="{FF2B5EF4-FFF2-40B4-BE49-F238E27FC236}">
                <a16:creationId xmlns:a16="http://schemas.microsoft.com/office/drawing/2014/main" id="{6E87CA42-A812-8CBB-8482-3912840AD2D3}"/>
              </a:ext>
            </a:extLst>
          </p:cNvPr>
          <p:cNvSpPr/>
          <p:nvPr/>
        </p:nvSpPr>
        <p:spPr>
          <a:xfrm>
            <a:off x="9736407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1" name="Elipse 3250">
            <a:extLst>
              <a:ext uri="{FF2B5EF4-FFF2-40B4-BE49-F238E27FC236}">
                <a16:creationId xmlns:a16="http://schemas.microsoft.com/office/drawing/2014/main" id="{3FCB9D04-3F65-ACF2-99FC-ECD58256918C}"/>
              </a:ext>
            </a:extLst>
          </p:cNvPr>
          <p:cNvSpPr/>
          <p:nvPr/>
        </p:nvSpPr>
        <p:spPr>
          <a:xfrm>
            <a:off x="10048086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2" name="Elipse 3251">
            <a:extLst>
              <a:ext uri="{FF2B5EF4-FFF2-40B4-BE49-F238E27FC236}">
                <a16:creationId xmlns:a16="http://schemas.microsoft.com/office/drawing/2014/main" id="{39402B25-0E01-6F0B-DA0C-44BB6121F918}"/>
              </a:ext>
            </a:extLst>
          </p:cNvPr>
          <p:cNvSpPr/>
          <p:nvPr/>
        </p:nvSpPr>
        <p:spPr>
          <a:xfrm>
            <a:off x="10359765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3" name="Elipse 3252">
            <a:extLst>
              <a:ext uri="{FF2B5EF4-FFF2-40B4-BE49-F238E27FC236}">
                <a16:creationId xmlns:a16="http://schemas.microsoft.com/office/drawing/2014/main" id="{843A16CD-3D3B-0931-BE60-E33FADA9CB1B}"/>
              </a:ext>
            </a:extLst>
          </p:cNvPr>
          <p:cNvSpPr/>
          <p:nvPr/>
        </p:nvSpPr>
        <p:spPr>
          <a:xfrm>
            <a:off x="10671444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4" name="Elipse 3253">
            <a:extLst>
              <a:ext uri="{FF2B5EF4-FFF2-40B4-BE49-F238E27FC236}">
                <a16:creationId xmlns:a16="http://schemas.microsoft.com/office/drawing/2014/main" id="{FABC0ED3-8B33-5FB5-7E5C-7AEA01227B07}"/>
              </a:ext>
            </a:extLst>
          </p:cNvPr>
          <p:cNvSpPr/>
          <p:nvPr/>
        </p:nvSpPr>
        <p:spPr>
          <a:xfrm>
            <a:off x="10983123" y="6078032"/>
            <a:ext cx="215445" cy="2154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488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217908A6-B554-106D-5A79-472829C977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217908A6-B554-106D-5A79-472829C977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>
            <a:extLst>
              <a:ext uri="{FF2B5EF4-FFF2-40B4-BE49-F238E27FC236}">
                <a16:creationId xmlns:a16="http://schemas.microsoft.com/office/drawing/2014/main" id="{1A1C8E4D-2A64-E885-F82C-23CC38561BAF}"/>
              </a:ext>
            </a:extLst>
          </p:cNvPr>
          <p:cNvSpPr/>
          <p:nvPr/>
        </p:nvSpPr>
        <p:spPr>
          <a:xfrm>
            <a:off x="371474" y="1520825"/>
            <a:ext cx="11449051" cy="4787899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DB6E595-15D9-453D-A1DF-3E8CBAA07B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6980238" cy="576263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Independent consultants available where you need them – in every global region</a:t>
            </a:r>
          </a:p>
          <a:p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7435808-EB66-DC46-966C-AB37B3127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're global and local - </a:t>
            </a:r>
            <a:r>
              <a:rPr lang="en-US" dirty="0" err="1"/>
              <a:t>Umbrex</a:t>
            </a:r>
            <a:r>
              <a:rPr lang="en-US" dirty="0"/>
              <a:t> is, too</a:t>
            </a:r>
          </a:p>
        </p:txBody>
      </p:sp>
      <p:pic>
        <p:nvPicPr>
          <p:cNvPr id="9" name="Imagen 8" descr="Mapa&#10;&#10;Descripción generada automáticamente">
            <a:extLst>
              <a:ext uri="{FF2B5EF4-FFF2-40B4-BE49-F238E27FC236}">
                <a16:creationId xmlns:a16="http://schemas.microsoft.com/office/drawing/2014/main" id="{A028C2B8-2E99-9346-E132-D879F7C935D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938" b="5673"/>
          <a:stretch/>
        </p:blipFill>
        <p:spPr>
          <a:xfrm>
            <a:off x="2273022" y="2119156"/>
            <a:ext cx="7645954" cy="4029224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A5ADC04-3293-4F41-9ED2-543D5D684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DDDB86A-7A0A-0DEB-519A-AB0C162CB898}"/>
              </a:ext>
            </a:extLst>
          </p:cNvPr>
          <p:cNvSpPr/>
          <p:nvPr/>
        </p:nvSpPr>
        <p:spPr>
          <a:xfrm>
            <a:off x="121919" y="6400800"/>
            <a:ext cx="1796527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2481A89-A3D4-AD12-1202-DBFE441565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1">
            <a:extLst>
              <a:ext uri="{FF2B5EF4-FFF2-40B4-BE49-F238E27FC236}">
                <a16:creationId xmlns:a16="http://schemas.microsoft.com/office/drawing/2014/main" id="{0F6FE987-1D97-FC43-B093-9F60F4C3AE5A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887591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ECCC7593-EB62-232E-62CF-4CEEBE7A40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ECCC7593-EB62-232E-62CF-4CEEBE7A4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Radar char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C224BEFF-A53D-E814-08B0-8615FD0DEA0D}"/>
              </a:ext>
            </a:extLst>
          </p:cNvPr>
          <p:cNvGraphicFramePr/>
          <p:nvPr/>
        </p:nvGraphicFramePr>
        <p:xfrm>
          <a:off x="2032000" y="1606550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1" name="Grupo 20">
            <a:extLst>
              <a:ext uri="{FF2B5EF4-FFF2-40B4-BE49-F238E27FC236}">
                <a16:creationId xmlns:a16="http://schemas.microsoft.com/office/drawing/2014/main" id="{9278EFB8-7BBD-E41C-16C6-16A3900C2AF6}"/>
              </a:ext>
            </a:extLst>
          </p:cNvPr>
          <p:cNvGrpSpPr/>
          <p:nvPr/>
        </p:nvGrpSpPr>
        <p:grpSpPr>
          <a:xfrm>
            <a:off x="3740788" y="1520825"/>
            <a:ext cx="4707246" cy="4483090"/>
            <a:chOff x="3804129" y="1581150"/>
            <a:chExt cx="4580564" cy="4362440"/>
          </a:xfrm>
        </p:grpSpPr>
        <p:cxnSp>
          <p:nvCxnSpPr>
            <p:cNvPr id="11" name="Conector recto 10">
              <a:extLst>
                <a:ext uri="{FF2B5EF4-FFF2-40B4-BE49-F238E27FC236}">
                  <a16:creationId xmlns:a16="http://schemas.microsoft.com/office/drawing/2014/main" id="{2CCBC098-2BAF-73B5-9E7C-F82B5C0FFC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09883" y="3247454"/>
              <a:ext cx="874810" cy="2696136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370A1DA9-2B9A-D000-937D-0EA7C7754D15}"/>
                </a:ext>
              </a:extLst>
            </p:cNvPr>
            <p:cNvCxnSpPr>
              <a:cxnSpLocks/>
            </p:cNvCxnSpPr>
            <p:nvPr/>
          </p:nvCxnSpPr>
          <p:spPr>
            <a:xfrm>
              <a:off x="6094411" y="1581150"/>
              <a:ext cx="2290282" cy="1666304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C962DC14-E6A2-0897-4FD7-E7B427BE02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04129" y="1581150"/>
              <a:ext cx="2290282" cy="1666304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A455EB99-F4DF-FCC6-8353-1D899AA49B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04129" y="3247454"/>
              <a:ext cx="874810" cy="2696136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cto 14">
              <a:extLst>
                <a:ext uri="{FF2B5EF4-FFF2-40B4-BE49-F238E27FC236}">
                  <a16:creationId xmlns:a16="http://schemas.microsoft.com/office/drawing/2014/main" id="{95132306-EA9C-19AD-2140-6933DDCBB3A9}"/>
                </a:ext>
              </a:extLst>
            </p:cNvPr>
            <p:cNvCxnSpPr>
              <a:cxnSpLocks/>
            </p:cNvCxnSpPr>
            <p:nvPr/>
          </p:nvCxnSpPr>
          <p:spPr>
            <a:xfrm>
              <a:off x="4678939" y="5943590"/>
              <a:ext cx="2830943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7717CE95-0883-29FD-F856-6A89D87526B2}"/>
              </a:ext>
            </a:extLst>
          </p:cNvPr>
          <p:cNvSpPr/>
          <p:nvPr/>
        </p:nvSpPr>
        <p:spPr>
          <a:xfrm>
            <a:off x="7357712" y="2134614"/>
            <a:ext cx="170246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7E5B30A0-F396-6CA9-B54C-B6BE69D69C2E}"/>
              </a:ext>
            </a:extLst>
          </p:cNvPr>
          <p:cNvSpPr/>
          <p:nvPr/>
        </p:nvSpPr>
        <p:spPr>
          <a:xfrm>
            <a:off x="8097698" y="4620897"/>
            <a:ext cx="170246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D44B6E0-CDB7-31C9-976E-FC5AA53B0DB4}"/>
              </a:ext>
            </a:extLst>
          </p:cNvPr>
          <p:cNvSpPr/>
          <p:nvPr/>
        </p:nvSpPr>
        <p:spPr>
          <a:xfrm>
            <a:off x="2388657" y="4620897"/>
            <a:ext cx="170246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60637657-93D5-2E3B-6ECF-6AD358DF8FAC}"/>
              </a:ext>
            </a:extLst>
          </p:cNvPr>
          <p:cNvSpPr/>
          <p:nvPr/>
        </p:nvSpPr>
        <p:spPr>
          <a:xfrm>
            <a:off x="3178596" y="2134614"/>
            <a:ext cx="170246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C759D167-A8CA-B07E-43F7-3878FDDFB715}"/>
              </a:ext>
            </a:extLst>
          </p:cNvPr>
          <p:cNvSpPr/>
          <p:nvPr/>
        </p:nvSpPr>
        <p:spPr>
          <a:xfrm>
            <a:off x="5270484" y="6075858"/>
            <a:ext cx="170246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652449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738BFCE-7606-233C-22D0-B9FF4C21C2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09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738BFCE-7606-233C-22D0-B9FF4C21C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659606C-726F-A9BB-CF11-DD41BC313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84B775-3974-6055-02ED-A0E3600F4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Scatter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916C403-4E7D-299B-4056-47B9DC8008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23C6ECA2-4100-EE4F-F76D-7BDC664DDC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2451818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9690813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2E83919-C11D-775E-854E-1B91D6521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3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2E83919-C11D-775E-854E-1B91D6521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2B334259-4235-F1E0-E6A7-C4DA4EC2F3E9}"/>
              </a:ext>
            </a:extLst>
          </p:cNvPr>
          <p:cNvSpPr/>
          <p:nvPr/>
        </p:nvSpPr>
        <p:spPr>
          <a:xfrm>
            <a:off x="2513011" y="1676399"/>
            <a:ext cx="2482851" cy="3044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51B7C592-D2A5-AB2D-E975-9E10912DD172}"/>
              </a:ext>
            </a:extLst>
          </p:cNvPr>
          <p:cNvSpPr/>
          <p:nvPr/>
        </p:nvSpPr>
        <p:spPr>
          <a:xfrm>
            <a:off x="4995861" y="1676399"/>
            <a:ext cx="4976813" cy="304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AE52D81-8DD8-C238-19DE-1F0FA29A5003}"/>
              </a:ext>
            </a:extLst>
          </p:cNvPr>
          <p:cNvSpPr/>
          <p:nvPr/>
        </p:nvSpPr>
        <p:spPr>
          <a:xfrm>
            <a:off x="2513011" y="4721225"/>
            <a:ext cx="2482851" cy="1215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27F06412-FECE-E3C2-705A-92CAEF5A725D}"/>
              </a:ext>
            </a:extLst>
          </p:cNvPr>
          <p:cNvSpPr/>
          <p:nvPr/>
        </p:nvSpPr>
        <p:spPr>
          <a:xfrm>
            <a:off x="4995861" y="4721225"/>
            <a:ext cx="4976813" cy="12152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595D338-CEC8-FBC8-C674-B7E6DB484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89F967-A112-8FC4-44F3-8FEAE2EF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catter chart with four quadrants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F1692FA-E02D-50F2-0CC9-4DBD5D9CDC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42AE247-3CAE-55D3-391D-5E9E906E6C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321007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25">
            <a:extLst>
              <a:ext uri="{FF2B5EF4-FFF2-40B4-BE49-F238E27FC236}">
                <a16:creationId xmlns:a16="http://schemas.microsoft.com/office/drawing/2014/main" id="{A736B307-0040-C38A-4BC6-21B53567F14C}"/>
              </a:ext>
            </a:extLst>
          </p:cNvPr>
          <p:cNvSpPr txBox="1"/>
          <p:nvPr/>
        </p:nvSpPr>
        <p:spPr>
          <a:xfrm>
            <a:off x="2585912" y="173905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FA6E4D84-0D4D-0FF0-A0DB-0AE651B1A03A}"/>
              </a:ext>
            </a:extLst>
          </p:cNvPr>
          <p:cNvSpPr txBox="1"/>
          <p:nvPr/>
        </p:nvSpPr>
        <p:spPr>
          <a:xfrm>
            <a:off x="2585912" y="48004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0482A8A8-4D28-4976-37FB-633F9AF298AF}"/>
              </a:ext>
            </a:extLst>
          </p:cNvPr>
          <p:cNvSpPr txBox="1"/>
          <p:nvPr/>
        </p:nvSpPr>
        <p:spPr>
          <a:xfrm>
            <a:off x="5048137" y="173905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10D5FCF1-27BB-2CD1-7D7D-19039A2FAA75}"/>
              </a:ext>
            </a:extLst>
          </p:cNvPr>
          <p:cNvSpPr txBox="1"/>
          <p:nvPr/>
        </p:nvSpPr>
        <p:spPr>
          <a:xfrm>
            <a:off x="5048137" y="48004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7143190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DA6A834-5DEA-3D3A-98E0-3C0683A5F4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93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DA6A834-5DEA-3D3A-98E0-3C0683A5F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556EFF-8110-6581-1344-BD4294521A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29DB6B8-76BB-D8A4-829F-C7282AFA5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Scatter chart with segmentation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FE87874-48CE-76D2-4743-F04BF4AF2A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82FB31A-C3C3-88A5-4826-DF8F04872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112684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ángulo 9">
            <a:extLst>
              <a:ext uri="{FF2B5EF4-FFF2-40B4-BE49-F238E27FC236}">
                <a16:creationId xmlns:a16="http://schemas.microsoft.com/office/drawing/2014/main" id="{C65C8D40-CEB5-1A3B-3205-CB90FF3F7A34}"/>
              </a:ext>
            </a:extLst>
          </p:cNvPr>
          <p:cNvSpPr/>
          <p:nvPr/>
        </p:nvSpPr>
        <p:spPr>
          <a:xfrm>
            <a:off x="6219827" y="1673226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D0023D4-2AA9-62B4-0BE6-03849BFF09E9}"/>
              </a:ext>
            </a:extLst>
          </p:cNvPr>
          <p:cNvSpPr/>
          <p:nvPr/>
        </p:nvSpPr>
        <p:spPr>
          <a:xfrm>
            <a:off x="3627437" y="2282826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60DF876-7DEE-AE45-7B15-328262448D40}"/>
              </a:ext>
            </a:extLst>
          </p:cNvPr>
          <p:cNvSpPr/>
          <p:nvPr/>
        </p:nvSpPr>
        <p:spPr>
          <a:xfrm>
            <a:off x="8256587" y="4559301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1043508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20B74FE-6EC9-5B21-2B07-2CCA60B2B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9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20B74FE-6EC9-5B21-2B07-2CCA60B2B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63612A5-4266-EB65-6034-0F185B770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400E79B3-DC90-B57E-785C-6C71D4312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XY Bubbl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FC93C5F-C54A-C4C7-66D5-9F223EF6E6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5B60A400-3DD2-99E3-D95D-E4328A6000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9570599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824BF7AD-3F0D-1174-CB54-A385FAF171E5}"/>
              </a:ext>
            </a:extLst>
          </p:cNvPr>
          <p:cNvSpPr txBox="1"/>
          <p:nvPr/>
        </p:nvSpPr>
        <p:spPr>
          <a:xfrm>
            <a:off x="6789931" y="2451363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A263A498-103C-4B55-DEEB-6A0540AEE441}"/>
              </a:ext>
            </a:extLst>
          </p:cNvPr>
          <p:cNvSpPr txBox="1"/>
          <p:nvPr/>
        </p:nvSpPr>
        <p:spPr>
          <a:xfrm>
            <a:off x="8602963" y="500537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92DD86F6-FEDE-1B33-ACD9-9586115976C7}"/>
              </a:ext>
            </a:extLst>
          </p:cNvPr>
          <p:cNvSpPr txBox="1"/>
          <p:nvPr/>
        </p:nvSpPr>
        <p:spPr>
          <a:xfrm>
            <a:off x="4635893" y="2987391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649187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392478447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182A15C-98BF-23F1-FEAE-C90AA22608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368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182A15C-98BF-23F1-FEAE-C90AA2260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6A50A60-CA52-55DB-7605-02824992C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A9E9421-1CE8-C1FF-4319-D83DB6342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Flow chart 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DBC27E0-04E3-6986-16AA-2DEEDE526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1ADDE8E-1F72-8EBE-81C6-5DD48E7BE179}"/>
              </a:ext>
            </a:extLst>
          </p:cNvPr>
          <p:cNvSpPr txBox="1">
            <a:spLocks/>
          </p:cNvSpPr>
          <p:nvPr/>
        </p:nvSpPr>
        <p:spPr>
          <a:xfrm>
            <a:off x="6720521" y="1726424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97CCE33-726A-6E5A-1A4E-5782A60EE71C}"/>
              </a:ext>
            </a:extLst>
          </p:cNvPr>
          <p:cNvSpPr txBox="1">
            <a:spLocks/>
          </p:cNvSpPr>
          <p:nvPr/>
        </p:nvSpPr>
        <p:spPr>
          <a:xfrm>
            <a:off x="8350683" y="2844449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7802C4-5B8F-59FD-E277-EDABA1E71786}"/>
              </a:ext>
            </a:extLst>
          </p:cNvPr>
          <p:cNvSpPr txBox="1">
            <a:spLocks/>
          </p:cNvSpPr>
          <p:nvPr/>
        </p:nvSpPr>
        <p:spPr>
          <a:xfrm>
            <a:off x="8350683" y="4805600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D4B53DE-5D0E-B42E-713D-020FA457310D}"/>
              </a:ext>
            </a:extLst>
          </p:cNvPr>
          <p:cNvSpPr txBox="1">
            <a:spLocks/>
          </p:cNvSpPr>
          <p:nvPr/>
        </p:nvSpPr>
        <p:spPr>
          <a:xfrm>
            <a:off x="6641680" y="6015195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69EDBC-1643-1A41-314D-D113E2551BD8}"/>
              </a:ext>
            </a:extLst>
          </p:cNvPr>
          <p:cNvSpPr txBox="1">
            <a:spLocks/>
          </p:cNvSpPr>
          <p:nvPr/>
        </p:nvSpPr>
        <p:spPr>
          <a:xfrm>
            <a:off x="385763" y="2845612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3F75D8B-8B93-1EFA-AD2C-65502ACBDA75}"/>
              </a:ext>
            </a:extLst>
          </p:cNvPr>
          <p:cNvSpPr txBox="1">
            <a:spLocks/>
          </p:cNvSpPr>
          <p:nvPr/>
        </p:nvSpPr>
        <p:spPr>
          <a:xfrm>
            <a:off x="385763" y="4800685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grpSp>
        <p:nvGrpSpPr>
          <p:cNvPr id="5131" name="Grupo 5130">
            <a:extLst>
              <a:ext uri="{FF2B5EF4-FFF2-40B4-BE49-F238E27FC236}">
                <a16:creationId xmlns:a16="http://schemas.microsoft.com/office/drawing/2014/main" id="{4E56E47C-3FCE-DABC-F281-989A913F421D}"/>
              </a:ext>
            </a:extLst>
          </p:cNvPr>
          <p:cNvGrpSpPr/>
          <p:nvPr/>
        </p:nvGrpSpPr>
        <p:grpSpPr>
          <a:xfrm>
            <a:off x="3971966" y="1520825"/>
            <a:ext cx="4244890" cy="4787899"/>
            <a:chOff x="4022471" y="1520825"/>
            <a:chExt cx="4244890" cy="4787899"/>
          </a:xfrm>
        </p:grpSpPr>
        <p:sp>
          <p:nvSpPr>
            <p:cNvPr id="5129" name="Elipse 5128">
              <a:extLst>
                <a:ext uri="{FF2B5EF4-FFF2-40B4-BE49-F238E27FC236}">
                  <a16:creationId xmlns:a16="http://schemas.microsoft.com/office/drawing/2014/main" id="{1E1159C1-F020-FB0D-B326-AF0A63B59043}"/>
                </a:ext>
              </a:extLst>
            </p:cNvPr>
            <p:cNvSpPr/>
            <p:nvPr/>
          </p:nvSpPr>
          <p:spPr>
            <a:xfrm>
              <a:off x="4206430" y="1976784"/>
              <a:ext cx="3875984" cy="3875980"/>
            </a:xfrm>
            <a:prstGeom prst="ellipse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07120DB6-B669-35EA-9112-59B04B39BE8A}"/>
                </a:ext>
              </a:extLst>
            </p:cNvPr>
            <p:cNvSpPr/>
            <p:nvPr/>
          </p:nvSpPr>
          <p:spPr>
            <a:xfrm>
              <a:off x="4823846" y="2594201"/>
              <a:ext cx="2641152" cy="264114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911C8A0E-72FE-76E0-517D-023775314DC0}"/>
                </a:ext>
              </a:extLst>
            </p:cNvPr>
            <p:cNvSpPr/>
            <p:nvPr/>
          </p:nvSpPr>
          <p:spPr>
            <a:xfrm>
              <a:off x="5703408" y="1520825"/>
              <a:ext cx="882028" cy="88202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B9796A65-05B9-ACBB-294F-9FDC543E2B08}"/>
                </a:ext>
              </a:extLst>
            </p:cNvPr>
            <p:cNvSpPr/>
            <p:nvPr/>
          </p:nvSpPr>
          <p:spPr>
            <a:xfrm>
              <a:off x="7385333" y="2504322"/>
              <a:ext cx="882028" cy="8820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89CA7B9E-AC9C-AC45-CFA4-D23F82783ECC}"/>
                </a:ext>
              </a:extLst>
            </p:cNvPr>
            <p:cNvSpPr/>
            <p:nvPr/>
          </p:nvSpPr>
          <p:spPr>
            <a:xfrm>
              <a:off x="7385333" y="4438511"/>
              <a:ext cx="882028" cy="8820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2191A454-0896-95E8-CE4D-3CA48BEB2C1C}"/>
                </a:ext>
              </a:extLst>
            </p:cNvPr>
            <p:cNvSpPr/>
            <p:nvPr/>
          </p:nvSpPr>
          <p:spPr>
            <a:xfrm>
              <a:off x="5703408" y="5426696"/>
              <a:ext cx="882028" cy="8820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3361C09C-DF2D-33AC-E8B8-552EAC811A0C}"/>
                </a:ext>
              </a:extLst>
            </p:cNvPr>
            <p:cNvSpPr/>
            <p:nvPr/>
          </p:nvSpPr>
          <p:spPr>
            <a:xfrm>
              <a:off x="4022471" y="4446118"/>
              <a:ext cx="882028" cy="88202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B7E92987-C190-162C-7532-FFA6D3FD19FF}"/>
                </a:ext>
              </a:extLst>
            </p:cNvPr>
            <p:cNvSpPr/>
            <p:nvPr/>
          </p:nvSpPr>
          <p:spPr>
            <a:xfrm>
              <a:off x="4022471" y="2500574"/>
              <a:ext cx="882028" cy="88202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cxnSp>
          <p:nvCxnSpPr>
            <p:cNvPr id="22" name="Conector recto 21">
              <a:extLst>
                <a:ext uri="{FF2B5EF4-FFF2-40B4-BE49-F238E27FC236}">
                  <a16:creationId xmlns:a16="http://schemas.microsoft.com/office/drawing/2014/main" id="{9DDAAD6C-E900-3AC1-9EDE-87A90767E4E7}"/>
                </a:ext>
              </a:extLst>
            </p:cNvPr>
            <p:cNvCxnSpPr>
              <a:cxnSpLocks/>
              <a:stCxn id="8" idx="4"/>
              <a:endCxn id="8" idx="0"/>
            </p:cNvCxnSpPr>
            <p:nvPr/>
          </p:nvCxnSpPr>
          <p:spPr>
            <a:xfrm flipV="1">
              <a:off x="6144422" y="2594201"/>
              <a:ext cx="0" cy="264114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8F45D382-EDD2-96B6-5D91-DF9EBF571B1B}"/>
                </a:ext>
              </a:extLst>
            </p:cNvPr>
            <p:cNvCxnSpPr>
              <a:cxnSpLocks/>
              <a:stCxn id="8" idx="6"/>
              <a:endCxn id="8" idx="2"/>
            </p:cNvCxnSpPr>
            <p:nvPr/>
          </p:nvCxnSpPr>
          <p:spPr>
            <a:xfrm flipH="1">
              <a:off x="4823846" y="3914775"/>
              <a:ext cx="264115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21" name="Subtitle 2">
              <a:extLst>
                <a:ext uri="{FF2B5EF4-FFF2-40B4-BE49-F238E27FC236}">
                  <a16:creationId xmlns:a16="http://schemas.microsoft.com/office/drawing/2014/main" id="{5BDF04B4-3871-CFF0-92F1-55FD5C60BFA9}"/>
                </a:ext>
              </a:extLst>
            </p:cNvPr>
            <p:cNvSpPr txBox="1">
              <a:spLocks/>
            </p:cNvSpPr>
            <p:nvPr/>
          </p:nvSpPr>
          <p:spPr>
            <a:xfrm>
              <a:off x="6252830" y="3202701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3" name="Subtitle 2">
              <a:extLst>
                <a:ext uri="{FF2B5EF4-FFF2-40B4-BE49-F238E27FC236}">
                  <a16:creationId xmlns:a16="http://schemas.microsoft.com/office/drawing/2014/main" id="{DCFA0236-D005-048D-F52D-804B914A44FF}"/>
                </a:ext>
              </a:extLst>
            </p:cNvPr>
            <p:cNvSpPr txBox="1">
              <a:spLocks/>
            </p:cNvSpPr>
            <p:nvPr/>
          </p:nvSpPr>
          <p:spPr>
            <a:xfrm>
              <a:off x="5165083" y="3202701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4" name="Subtitle 2">
              <a:extLst>
                <a:ext uri="{FF2B5EF4-FFF2-40B4-BE49-F238E27FC236}">
                  <a16:creationId xmlns:a16="http://schemas.microsoft.com/office/drawing/2014/main" id="{0D77483F-4E56-9656-A91A-8B827E5F665D}"/>
                </a:ext>
              </a:extLst>
            </p:cNvPr>
            <p:cNvSpPr txBox="1">
              <a:spLocks/>
            </p:cNvSpPr>
            <p:nvPr/>
          </p:nvSpPr>
          <p:spPr>
            <a:xfrm>
              <a:off x="6252830" y="4405668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5" name="Subtitle 2">
              <a:extLst>
                <a:ext uri="{FF2B5EF4-FFF2-40B4-BE49-F238E27FC236}">
                  <a16:creationId xmlns:a16="http://schemas.microsoft.com/office/drawing/2014/main" id="{DA149AA2-885D-38D3-74B8-549272C21506}"/>
                </a:ext>
              </a:extLst>
            </p:cNvPr>
            <p:cNvSpPr txBox="1">
              <a:spLocks/>
            </p:cNvSpPr>
            <p:nvPr/>
          </p:nvSpPr>
          <p:spPr>
            <a:xfrm>
              <a:off x="5165083" y="4405668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9753558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3DCD289-2D75-8FF2-5095-6598D1FD27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05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3DCD289-2D75-8FF2-5095-6598D1FD2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7CFD663-43B3-9D3D-938F-204E6828CC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6E44B68-E1A3-B2E2-DEB7-485F14392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epeating proces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896D963-4B4D-9AA4-427E-3A4124ED8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3018535C-6916-FA61-049F-86541C4CF274}"/>
              </a:ext>
            </a:extLst>
          </p:cNvPr>
          <p:cNvSpPr/>
          <p:nvPr/>
        </p:nvSpPr>
        <p:spPr>
          <a:xfrm>
            <a:off x="4624387" y="1520825"/>
            <a:ext cx="342089" cy="34208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1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6F130D2-8F0A-7E64-1CBE-707D3CE0A127}"/>
              </a:ext>
            </a:extLst>
          </p:cNvPr>
          <p:cNvSpPr txBox="1">
            <a:spLocks/>
          </p:cNvSpPr>
          <p:nvPr/>
        </p:nvSpPr>
        <p:spPr>
          <a:xfrm>
            <a:off x="5055779" y="1599536"/>
            <a:ext cx="318906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A3177C37-6045-373B-1982-368A61C41B28}"/>
              </a:ext>
            </a:extLst>
          </p:cNvPr>
          <p:cNvSpPr/>
          <p:nvPr/>
        </p:nvSpPr>
        <p:spPr>
          <a:xfrm>
            <a:off x="6537711" y="3458614"/>
            <a:ext cx="342089" cy="34208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3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BDC0668-AC59-A6A6-5EA2-D2CDD6FDD6BD}"/>
              </a:ext>
            </a:extLst>
          </p:cNvPr>
          <p:cNvSpPr txBox="1">
            <a:spLocks/>
          </p:cNvSpPr>
          <p:nvPr/>
        </p:nvSpPr>
        <p:spPr>
          <a:xfrm>
            <a:off x="6969102" y="3537325"/>
            <a:ext cx="221526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60E75A95-F87A-36C8-25CE-56C8522727DD}"/>
              </a:ext>
            </a:extLst>
          </p:cNvPr>
          <p:cNvSpPr/>
          <p:nvPr/>
        </p:nvSpPr>
        <p:spPr>
          <a:xfrm>
            <a:off x="3330175" y="3458614"/>
            <a:ext cx="342089" cy="34208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2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3A3089B-A523-44EE-382F-D4A7C10A7A66}"/>
              </a:ext>
            </a:extLst>
          </p:cNvPr>
          <p:cNvSpPr txBox="1">
            <a:spLocks/>
          </p:cNvSpPr>
          <p:nvPr/>
        </p:nvSpPr>
        <p:spPr>
          <a:xfrm>
            <a:off x="3761566" y="3537325"/>
            <a:ext cx="221526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4" name="Arco 13">
            <a:extLst>
              <a:ext uri="{FF2B5EF4-FFF2-40B4-BE49-F238E27FC236}">
                <a16:creationId xmlns:a16="http://schemas.microsoft.com/office/drawing/2014/main" id="{5C142DF2-C201-26C9-8D1E-95C17098BF68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8033615"/>
              <a:gd name="adj2" fmla="val 13308993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co 14">
            <a:extLst>
              <a:ext uri="{FF2B5EF4-FFF2-40B4-BE49-F238E27FC236}">
                <a16:creationId xmlns:a16="http://schemas.microsoft.com/office/drawing/2014/main" id="{ED52F14F-8E17-184C-BCD8-FA791577E884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13478639"/>
              <a:gd name="adj2" fmla="val 18494728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Arco 15">
            <a:extLst>
              <a:ext uri="{FF2B5EF4-FFF2-40B4-BE49-F238E27FC236}">
                <a16:creationId xmlns:a16="http://schemas.microsoft.com/office/drawing/2014/main" id="{DADADB62-31BE-7A08-7CEB-A58EAF9890C1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18611249"/>
              <a:gd name="adj2" fmla="val 2723927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Arco 16">
            <a:extLst>
              <a:ext uri="{FF2B5EF4-FFF2-40B4-BE49-F238E27FC236}">
                <a16:creationId xmlns:a16="http://schemas.microsoft.com/office/drawing/2014/main" id="{FD307375-F64E-BD1B-E0CD-0719B0214EFC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2887736"/>
              <a:gd name="adj2" fmla="val 7886298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Arco 23">
            <a:extLst>
              <a:ext uri="{FF2B5EF4-FFF2-40B4-BE49-F238E27FC236}">
                <a16:creationId xmlns:a16="http://schemas.microsoft.com/office/drawing/2014/main" id="{900615F6-DB8F-D2C0-1DB7-5CF7CD4BBDB0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8033615"/>
              <a:gd name="adj2" fmla="val 13308993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484C1EC8-3D5D-AB60-4091-795169C20797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13478639"/>
              <a:gd name="adj2" fmla="val 18494728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Arco 25">
            <a:extLst>
              <a:ext uri="{FF2B5EF4-FFF2-40B4-BE49-F238E27FC236}">
                <a16:creationId xmlns:a16="http://schemas.microsoft.com/office/drawing/2014/main" id="{9FF457B1-7F71-BB4F-4A4D-3893705AC614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18611249"/>
              <a:gd name="adj2" fmla="val 2723927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Arco 26">
            <a:extLst>
              <a:ext uri="{FF2B5EF4-FFF2-40B4-BE49-F238E27FC236}">
                <a16:creationId xmlns:a16="http://schemas.microsoft.com/office/drawing/2014/main" id="{2C6BA874-251F-B0D5-B482-E87AFA343316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2887736"/>
              <a:gd name="adj2" fmla="val 7886298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Arco 27">
            <a:extLst>
              <a:ext uri="{FF2B5EF4-FFF2-40B4-BE49-F238E27FC236}">
                <a16:creationId xmlns:a16="http://schemas.microsoft.com/office/drawing/2014/main" id="{433EA86F-48F7-1817-89DF-64647948DB8A}"/>
              </a:ext>
            </a:extLst>
          </p:cNvPr>
          <p:cNvSpPr/>
          <p:nvPr/>
        </p:nvSpPr>
        <p:spPr>
          <a:xfrm>
            <a:off x="2535933" y="2457449"/>
            <a:ext cx="3851275" cy="3851275"/>
          </a:xfrm>
          <a:prstGeom prst="arc">
            <a:avLst>
              <a:gd name="adj1" fmla="val 5398875"/>
              <a:gd name="adj2" fmla="val 16180728"/>
            </a:avLst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D8E3D946-D310-405A-798B-1E4261E6BD98}"/>
              </a:ext>
            </a:extLst>
          </p:cNvPr>
          <p:cNvCxnSpPr>
            <a:cxnSpLocks/>
          </p:cNvCxnSpPr>
          <p:nvPr/>
        </p:nvCxnSpPr>
        <p:spPr>
          <a:xfrm>
            <a:off x="4497311" y="2457449"/>
            <a:ext cx="1557128" cy="0"/>
          </a:xfrm>
          <a:prstGeom prst="straightConnector1">
            <a:avLst/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4" name="Conector recto de flecha 6143">
            <a:extLst>
              <a:ext uri="{FF2B5EF4-FFF2-40B4-BE49-F238E27FC236}">
                <a16:creationId xmlns:a16="http://schemas.microsoft.com/office/drawing/2014/main" id="{1224483C-E423-AF4D-B386-9738370D5021}"/>
              </a:ext>
            </a:extLst>
          </p:cNvPr>
          <p:cNvCxnSpPr>
            <a:cxnSpLocks/>
          </p:cNvCxnSpPr>
          <p:nvPr/>
        </p:nvCxnSpPr>
        <p:spPr>
          <a:xfrm>
            <a:off x="6156149" y="2457449"/>
            <a:ext cx="157110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5" name="Conector recto de flecha 6144">
            <a:extLst>
              <a:ext uri="{FF2B5EF4-FFF2-40B4-BE49-F238E27FC236}">
                <a16:creationId xmlns:a16="http://schemas.microsoft.com/office/drawing/2014/main" id="{EE9C13AF-FBC1-F4CD-F915-20C5FE6C9332}"/>
              </a:ext>
            </a:extLst>
          </p:cNvPr>
          <p:cNvCxnSpPr>
            <a:cxnSpLocks/>
          </p:cNvCxnSpPr>
          <p:nvPr/>
        </p:nvCxnSpPr>
        <p:spPr>
          <a:xfrm flipH="1">
            <a:off x="4512379" y="6308724"/>
            <a:ext cx="321487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2" name="Arco 6151">
            <a:extLst>
              <a:ext uri="{FF2B5EF4-FFF2-40B4-BE49-F238E27FC236}">
                <a16:creationId xmlns:a16="http://schemas.microsoft.com/office/drawing/2014/main" id="{3BDCCF9B-2852-0691-3F50-B271230BA32C}"/>
              </a:ext>
            </a:extLst>
          </p:cNvPr>
          <p:cNvSpPr/>
          <p:nvPr/>
        </p:nvSpPr>
        <p:spPr>
          <a:xfrm flipH="1">
            <a:off x="5801614" y="2457449"/>
            <a:ext cx="3851275" cy="3851275"/>
          </a:xfrm>
          <a:prstGeom prst="arc">
            <a:avLst>
              <a:gd name="adj1" fmla="val 5516318"/>
              <a:gd name="adj2" fmla="val 16215582"/>
            </a:avLst>
          </a:prstGeom>
          <a:ln w="28575">
            <a:solidFill>
              <a:schemeClr val="accent6"/>
            </a:solidFill>
            <a:headEnd type="arrow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8542738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A5A2CDE-F516-E2B2-0C61-0345D49A2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122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A5A2CDE-F516-E2B2-0C61-0345D49A2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E48BB1B-A17D-E9AB-7609-DC278E074D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6D713C4-61E9-8514-FC7C-99EB9DF0F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Timeline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F951E11-6F34-B97C-E160-5E658A264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C1C9D04-B96F-4BA9-0FC3-B834FF807252}"/>
              </a:ext>
            </a:extLst>
          </p:cNvPr>
          <p:cNvSpPr txBox="1">
            <a:spLocks/>
          </p:cNvSpPr>
          <p:nvPr/>
        </p:nvSpPr>
        <p:spPr>
          <a:xfrm>
            <a:off x="384174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2012AEE7-565D-4808-EFFE-12CF21971ABB}"/>
              </a:ext>
            </a:extLst>
          </p:cNvPr>
          <p:cNvSpPr/>
          <p:nvPr/>
        </p:nvSpPr>
        <p:spPr>
          <a:xfrm>
            <a:off x="384174" y="2912131"/>
            <a:ext cx="609600" cy="6096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1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E8620D18-9F9B-19DB-DE81-7FBF76DFEFB9}"/>
              </a:ext>
            </a:extLst>
          </p:cNvPr>
          <p:cNvSpPr/>
          <p:nvPr/>
        </p:nvSpPr>
        <p:spPr>
          <a:xfrm>
            <a:off x="4336642" y="2912131"/>
            <a:ext cx="609600" cy="609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2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BCAA987C-C193-9905-16D5-A2CF46BFC75E}"/>
              </a:ext>
            </a:extLst>
          </p:cNvPr>
          <p:cNvSpPr/>
          <p:nvPr/>
        </p:nvSpPr>
        <p:spPr>
          <a:xfrm>
            <a:off x="8289109" y="2912131"/>
            <a:ext cx="609600" cy="6096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3</a:t>
            </a:r>
          </a:p>
        </p:txBody>
      </p:sp>
      <p:grpSp>
        <p:nvGrpSpPr>
          <p:cNvPr id="4101" name="Grupo 4100">
            <a:extLst>
              <a:ext uri="{FF2B5EF4-FFF2-40B4-BE49-F238E27FC236}">
                <a16:creationId xmlns:a16="http://schemas.microsoft.com/office/drawing/2014/main" id="{25145286-E8EC-47C4-A72C-227663DFD981}"/>
              </a:ext>
            </a:extLst>
          </p:cNvPr>
          <p:cNvGrpSpPr/>
          <p:nvPr/>
        </p:nvGrpSpPr>
        <p:grpSpPr>
          <a:xfrm>
            <a:off x="400051" y="1747157"/>
            <a:ext cx="11420475" cy="0"/>
            <a:chOff x="400051" y="2699657"/>
            <a:chExt cx="11420475" cy="0"/>
          </a:xfrm>
        </p:grpSpPr>
        <p:cxnSp>
          <p:nvCxnSpPr>
            <p:cNvPr id="12" name="Conector recto de flecha 11">
              <a:extLst>
                <a:ext uri="{FF2B5EF4-FFF2-40B4-BE49-F238E27FC236}">
                  <a16:creationId xmlns:a16="http://schemas.microsoft.com/office/drawing/2014/main" id="{B55316B0-DB1F-B3A9-E088-17652CF86109}"/>
                </a:ext>
              </a:extLst>
            </p:cNvPr>
            <p:cNvCxnSpPr>
              <a:cxnSpLocks/>
            </p:cNvCxnSpPr>
            <p:nvPr/>
          </p:nvCxnSpPr>
          <p:spPr>
            <a:xfrm>
              <a:off x="10947855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cto de flecha 21">
              <a:extLst>
                <a:ext uri="{FF2B5EF4-FFF2-40B4-BE49-F238E27FC236}">
                  <a16:creationId xmlns:a16="http://schemas.microsoft.com/office/drawing/2014/main" id="{092F9846-3E5E-1011-7D1A-CD4655D1BB5F}"/>
                </a:ext>
              </a:extLst>
            </p:cNvPr>
            <p:cNvCxnSpPr>
              <a:cxnSpLocks/>
            </p:cNvCxnSpPr>
            <p:nvPr/>
          </p:nvCxnSpPr>
          <p:spPr>
            <a:xfrm>
              <a:off x="9988963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>
              <a:extLst>
                <a:ext uri="{FF2B5EF4-FFF2-40B4-BE49-F238E27FC236}">
                  <a16:creationId xmlns:a16="http://schemas.microsoft.com/office/drawing/2014/main" id="{091D3510-838E-6756-7AB6-E084E32CF84A}"/>
                </a:ext>
              </a:extLst>
            </p:cNvPr>
            <p:cNvCxnSpPr>
              <a:cxnSpLocks/>
            </p:cNvCxnSpPr>
            <p:nvPr/>
          </p:nvCxnSpPr>
          <p:spPr>
            <a:xfrm>
              <a:off x="9030072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cto de flecha 23">
              <a:extLst>
                <a:ext uri="{FF2B5EF4-FFF2-40B4-BE49-F238E27FC236}">
                  <a16:creationId xmlns:a16="http://schemas.microsoft.com/office/drawing/2014/main" id="{D1A503BC-17F2-41F4-994E-D127F7331E64}"/>
                </a:ext>
              </a:extLst>
            </p:cNvPr>
            <p:cNvCxnSpPr>
              <a:cxnSpLocks/>
            </p:cNvCxnSpPr>
            <p:nvPr/>
          </p:nvCxnSpPr>
          <p:spPr>
            <a:xfrm>
              <a:off x="8071181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cto de flecha 24">
              <a:extLst>
                <a:ext uri="{FF2B5EF4-FFF2-40B4-BE49-F238E27FC236}">
                  <a16:creationId xmlns:a16="http://schemas.microsoft.com/office/drawing/2014/main" id="{299C22D7-6591-CDF1-2EA7-5C90F124FA06}"/>
                </a:ext>
              </a:extLst>
            </p:cNvPr>
            <p:cNvCxnSpPr>
              <a:cxnSpLocks/>
            </p:cNvCxnSpPr>
            <p:nvPr/>
          </p:nvCxnSpPr>
          <p:spPr>
            <a:xfrm>
              <a:off x="7112290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cto de flecha 25">
              <a:extLst>
                <a:ext uri="{FF2B5EF4-FFF2-40B4-BE49-F238E27FC236}">
                  <a16:creationId xmlns:a16="http://schemas.microsoft.com/office/drawing/2014/main" id="{FF3CDBAB-E15A-C4D1-3269-339C58F68650}"/>
                </a:ext>
              </a:extLst>
            </p:cNvPr>
            <p:cNvCxnSpPr>
              <a:cxnSpLocks/>
            </p:cNvCxnSpPr>
            <p:nvPr/>
          </p:nvCxnSpPr>
          <p:spPr>
            <a:xfrm>
              <a:off x="6153398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cto de flecha 26">
              <a:extLst>
                <a:ext uri="{FF2B5EF4-FFF2-40B4-BE49-F238E27FC236}">
                  <a16:creationId xmlns:a16="http://schemas.microsoft.com/office/drawing/2014/main" id="{677AEEC4-4F86-E570-7DD0-36C95B31E444}"/>
                </a:ext>
              </a:extLst>
            </p:cNvPr>
            <p:cNvCxnSpPr>
              <a:cxnSpLocks/>
            </p:cNvCxnSpPr>
            <p:nvPr/>
          </p:nvCxnSpPr>
          <p:spPr>
            <a:xfrm>
              <a:off x="5194507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de flecha 27">
              <a:extLst>
                <a:ext uri="{FF2B5EF4-FFF2-40B4-BE49-F238E27FC236}">
                  <a16:creationId xmlns:a16="http://schemas.microsoft.com/office/drawing/2014/main" id="{B2F16733-EF8D-6EE9-5C3C-2D71FD109FD7}"/>
                </a:ext>
              </a:extLst>
            </p:cNvPr>
            <p:cNvCxnSpPr>
              <a:cxnSpLocks/>
            </p:cNvCxnSpPr>
            <p:nvPr/>
          </p:nvCxnSpPr>
          <p:spPr>
            <a:xfrm>
              <a:off x="4235616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de flecha 28">
              <a:extLst>
                <a:ext uri="{FF2B5EF4-FFF2-40B4-BE49-F238E27FC236}">
                  <a16:creationId xmlns:a16="http://schemas.microsoft.com/office/drawing/2014/main" id="{11DC9902-B63F-851A-24BE-9ACB2BDD3DE6}"/>
                </a:ext>
              </a:extLst>
            </p:cNvPr>
            <p:cNvCxnSpPr>
              <a:cxnSpLocks/>
            </p:cNvCxnSpPr>
            <p:nvPr/>
          </p:nvCxnSpPr>
          <p:spPr>
            <a:xfrm>
              <a:off x="3276725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de flecha 29">
              <a:extLst>
                <a:ext uri="{FF2B5EF4-FFF2-40B4-BE49-F238E27FC236}">
                  <a16:creationId xmlns:a16="http://schemas.microsoft.com/office/drawing/2014/main" id="{FC22049D-9AEF-389D-D838-F107AC8D3E7A}"/>
                </a:ext>
              </a:extLst>
            </p:cNvPr>
            <p:cNvCxnSpPr>
              <a:cxnSpLocks/>
            </p:cNvCxnSpPr>
            <p:nvPr/>
          </p:nvCxnSpPr>
          <p:spPr>
            <a:xfrm>
              <a:off x="2317833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de flecha 30">
              <a:extLst>
                <a:ext uri="{FF2B5EF4-FFF2-40B4-BE49-F238E27FC236}">
                  <a16:creationId xmlns:a16="http://schemas.microsoft.com/office/drawing/2014/main" id="{4093090B-2C2F-691C-33B0-CA632983C1C7}"/>
                </a:ext>
              </a:extLst>
            </p:cNvPr>
            <p:cNvCxnSpPr>
              <a:cxnSpLocks/>
            </p:cNvCxnSpPr>
            <p:nvPr/>
          </p:nvCxnSpPr>
          <p:spPr>
            <a:xfrm>
              <a:off x="1358942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6" name="Conector recto de flecha 4095">
              <a:extLst>
                <a:ext uri="{FF2B5EF4-FFF2-40B4-BE49-F238E27FC236}">
                  <a16:creationId xmlns:a16="http://schemas.microsoft.com/office/drawing/2014/main" id="{2B116B16-38CB-023C-4407-6CC707AE68E7}"/>
                </a:ext>
              </a:extLst>
            </p:cNvPr>
            <p:cNvCxnSpPr>
              <a:cxnSpLocks/>
            </p:cNvCxnSpPr>
            <p:nvPr/>
          </p:nvCxnSpPr>
          <p:spPr>
            <a:xfrm>
              <a:off x="400051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02" name="Cerrar llave 4101">
            <a:extLst>
              <a:ext uri="{FF2B5EF4-FFF2-40B4-BE49-F238E27FC236}">
                <a16:creationId xmlns:a16="http://schemas.microsoft.com/office/drawing/2014/main" id="{962A6BD8-CF89-CDA8-FC41-1FA03D625066}"/>
              </a:ext>
            </a:extLst>
          </p:cNvPr>
          <p:cNvSpPr/>
          <p:nvPr/>
        </p:nvSpPr>
        <p:spPr>
          <a:xfrm rot="5400000">
            <a:off x="8887948" y="-801070"/>
            <a:ext cx="182149" cy="5651251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03" name="Cerrar llave 4102">
            <a:extLst>
              <a:ext uri="{FF2B5EF4-FFF2-40B4-BE49-F238E27FC236}">
                <a16:creationId xmlns:a16="http://schemas.microsoft.com/office/drawing/2014/main" id="{5149B48F-3CFC-7E93-9FF6-306A63127148}"/>
              </a:ext>
            </a:extLst>
          </p:cNvPr>
          <p:cNvSpPr/>
          <p:nvPr/>
        </p:nvSpPr>
        <p:spPr>
          <a:xfrm rot="5400000">
            <a:off x="1704201" y="629330"/>
            <a:ext cx="182151" cy="2790453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04" name="Cerrar llave 4103">
            <a:extLst>
              <a:ext uri="{FF2B5EF4-FFF2-40B4-BE49-F238E27FC236}">
                <a16:creationId xmlns:a16="http://schemas.microsoft.com/office/drawing/2014/main" id="{450B21F5-8711-90A3-3CCA-F99731F2B356}"/>
              </a:ext>
            </a:extLst>
          </p:cNvPr>
          <p:cNvSpPr/>
          <p:nvPr/>
        </p:nvSpPr>
        <p:spPr>
          <a:xfrm rot="5400000">
            <a:off x="4595288" y="614919"/>
            <a:ext cx="182150" cy="2819275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14" name="Subtitle 2">
            <a:extLst>
              <a:ext uri="{FF2B5EF4-FFF2-40B4-BE49-F238E27FC236}">
                <a16:creationId xmlns:a16="http://schemas.microsoft.com/office/drawing/2014/main" id="{0EEDD65D-E0EA-43AE-D46F-8D1195B5F648}"/>
              </a:ext>
            </a:extLst>
          </p:cNvPr>
          <p:cNvSpPr txBox="1">
            <a:spLocks/>
          </p:cNvSpPr>
          <p:nvPr/>
        </p:nvSpPr>
        <p:spPr>
          <a:xfrm>
            <a:off x="4336642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sp>
        <p:nvSpPr>
          <p:cNvPr id="4115" name="Subtitle 2">
            <a:extLst>
              <a:ext uri="{FF2B5EF4-FFF2-40B4-BE49-F238E27FC236}">
                <a16:creationId xmlns:a16="http://schemas.microsoft.com/office/drawing/2014/main" id="{CB0603EB-93EE-D2FB-CB25-A97D8C7F50C2}"/>
              </a:ext>
            </a:extLst>
          </p:cNvPr>
          <p:cNvSpPr txBox="1">
            <a:spLocks/>
          </p:cNvSpPr>
          <p:nvPr/>
        </p:nvSpPr>
        <p:spPr>
          <a:xfrm>
            <a:off x="8289109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cxnSp>
        <p:nvCxnSpPr>
          <p:cNvPr id="4120" name="Conector: angular 4119">
            <a:extLst>
              <a:ext uri="{FF2B5EF4-FFF2-40B4-BE49-F238E27FC236}">
                <a16:creationId xmlns:a16="http://schemas.microsoft.com/office/drawing/2014/main" id="{4DF526BB-28A0-1D45-AD97-5718886F6C09}"/>
              </a:ext>
            </a:extLst>
          </p:cNvPr>
          <p:cNvCxnSpPr>
            <a:cxnSpLocks/>
            <a:stCxn id="14" idx="0"/>
            <a:endCxn id="4103" idx="1"/>
          </p:cNvCxnSpPr>
          <p:nvPr/>
        </p:nvCxnSpPr>
        <p:spPr>
          <a:xfrm rot="5400000" flipH="1" flipV="1">
            <a:off x="843876" y="1960731"/>
            <a:ext cx="796499" cy="1106302"/>
          </a:xfrm>
          <a:prstGeom prst="bentConnector3">
            <a:avLst>
              <a:gd name="adj1" fmla="val 45838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4" name="Conector: angular 4123">
            <a:extLst>
              <a:ext uri="{FF2B5EF4-FFF2-40B4-BE49-F238E27FC236}">
                <a16:creationId xmlns:a16="http://schemas.microsoft.com/office/drawing/2014/main" id="{6B5B12F5-B3FD-91F0-FE10-3FFE5B755A99}"/>
              </a:ext>
            </a:extLst>
          </p:cNvPr>
          <p:cNvCxnSpPr>
            <a:cxnSpLocks/>
            <a:stCxn id="15" idx="0"/>
            <a:endCxn id="4104" idx="1"/>
          </p:cNvCxnSpPr>
          <p:nvPr/>
        </p:nvCxnSpPr>
        <p:spPr>
          <a:xfrm rot="5400000" flipH="1" flipV="1">
            <a:off x="4265653" y="2491422"/>
            <a:ext cx="796499" cy="44921"/>
          </a:xfrm>
          <a:prstGeom prst="bentConnector3">
            <a:avLst>
              <a:gd name="adj1" fmla="val 44458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8" name="Conector: angular 4127">
            <a:extLst>
              <a:ext uri="{FF2B5EF4-FFF2-40B4-BE49-F238E27FC236}">
                <a16:creationId xmlns:a16="http://schemas.microsoft.com/office/drawing/2014/main" id="{E1EFF074-800C-9CD4-D01A-8EC5905088AA}"/>
              </a:ext>
            </a:extLst>
          </p:cNvPr>
          <p:cNvCxnSpPr>
            <a:cxnSpLocks/>
            <a:stCxn id="16" idx="0"/>
            <a:endCxn id="4102" idx="1"/>
          </p:cNvCxnSpPr>
          <p:nvPr/>
        </p:nvCxnSpPr>
        <p:spPr>
          <a:xfrm rot="5400000" flipH="1" flipV="1">
            <a:off x="8388215" y="2321325"/>
            <a:ext cx="796501" cy="385113"/>
          </a:xfrm>
          <a:prstGeom prst="bentConnector3">
            <a:avLst>
              <a:gd name="adj1" fmla="val 40465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907423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9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84174" y="1520825"/>
            <a:ext cx="2656142" cy="2609742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2579227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4774280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6969333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164383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84174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5642" y="1689970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34980" y="1689971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413958" y="1689971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3" name="Freeform 987">
            <a:extLst>
              <a:ext uri="{FF2B5EF4-FFF2-40B4-BE49-F238E27FC236}">
                <a16:creationId xmlns:a16="http://schemas.microsoft.com/office/drawing/2014/main" id="{AE36FB29-7CEF-066B-FE41-6634519C37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00792" y="1689971"/>
            <a:ext cx="482398" cy="48239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4" name="Freeform 988">
            <a:extLst>
              <a:ext uri="{FF2B5EF4-FFF2-40B4-BE49-F238E27FC236}">
                <a16:creationId xmlns:a16="http://schemas.microsoft.com/office/drawing/2014/main" id="{F0FB45C9-9BC2-5010-305F-2CA6F69DDF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40162" y="1689971"/>
            <a:ext cx="482398" cy="48239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2579227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4774280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6969333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164383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7968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9F7B1401-5724-33A7-1E2C-50D196A6C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9F7B1401-5724-33A7-1E2C-50D196A6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7D54399B-1119-17D7-3AAB-9D207264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Umbrex thought leadership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DE999187-725F-4C30-BA96-0AAC01383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ángulo 9">
            <a:extLst>
              <a:ext uri="{FF2B5EF4-FFF2-40B4-BE49-F238E27FC236}">
                <a16:creationId xmlns:a16="http://schemas.microsoft.com/office/drawing/2014/main" id="{D4925962-25FE-49FC-8F0E-BACABCC6D490}"/>
              </a:ext>
            </a:extLst>
          </p:cNvPr>
          <p:cNvSpPr/>
          <p:nvPr/>
        </p:nvSpPr>
        <p:spPr>
          <a:xfrm>
            <a:off x="371475" y="1217098"/>
            <a:ext cx="11449050" cy="42465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2699F08-A27F-4795-8111-661B24A7B3D6}"/>
              </a:ext>
            </a:extLst>
          </p:cNvPr>
          <p:cNvSpPr txBox="1"/>
          <p:nvPr/>
        </p:nvSpPr>
        <p:spPr>
          <a:xfrm>
            <a:off x="936625" y="2837968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duc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nleashed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leading podcast on how to thrive as an independent profession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ABDDE02-5E14-4F1C-9515-E3E49EE9D197}"/>
              </a:ext>
            </a:extLst>
          </p:cNvPr>
          <p:cNvSpPr txBox="1"/>
          <p:nvPr/>
        </p:nvSpPr>
        <p:spPr>
          <a:xfrm>
            <a:off x="6942138" y="4535751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aging Partner Will Bachman recognized as a “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Player Consulting”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y Business Insi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3F0597-CE6E-4BC7-BB85-4B795C2315CB}"/>
              </a:ext>
            </a:extLst>
          </p:cNvPr>
          <p:cNvSpPr txBox="1"/>
          <p:nvPr/>
        </p:nvSpPr>
        <p:spPr>
          <a:xfrm>
            <a:off x="2668588" y="4535751"/>
            <a:ext cx="333692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vited speake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 independent consulting at business schools including Harvard, Wharton, Columbia, an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ellon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A1A4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D7B445-11A4-40A2-9F9E-A57EED6917D1}"/>
              </a:ext>
            </a:extLst>
          </p:cNvPr>
          <p:cNvSpPr txBox="1"/>
          <p:nvPr/>
        </p:nvSpPr>
        <p:spPr>
          <a:xfrm>
            <a:off x="8394700" y="2837968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ver 1,000 consultants have used ou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deo guid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 set up their own practi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E3A791-5677-4DAC-93C3-C177BFB75D23}"/>
              </a:ext>
            </a:extLst>
          </p:cNvPr>
          <p:cNvSpPr txBox="1"/>
          <p:nvPr/>
        </p:nvSpPr>
        <p:spPr>
          <a:xfrm>
            <a:off x="4876800" y="2837968"/>
            <a:ext cx="258127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e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ver 300 eve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 independent consultant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877BFC94-609E-45DD-A1BA-BBA263CCA8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2176"/>
          <a:stretch/>
        </p:blipFill>
        <p:spPr>
          <a:xfrm>
            <a:off x="1764894" y="1970134"/>
            <a:ext cx="924736" cy="719667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6F53778-E291-4550-B9D9-813F2C3BA48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66871" y="2064765"/>
            <a:ext cx="601133" cy="601133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EA79DB0-87D8-4011-94C7-F628378009A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25324"/>
          <a:stretch/>
        </p:blipFill>
        <p:spPr>
          <a:xfrm>
            <a:off x="9181802" y="1988562"/>
            <a:ext cx="1007070" cy="752039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E2132D6-2194-468C-BA72-B9A58055DFC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b="22176"/>
          <a:stretch/>
        </p:blipFill>
        <p:spPr>
          <a:xfrm>
            <a:off x="3749289" y="3545150"/>
            <a:ext cx="1175522" cy="914839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B72F5EBD-46EA-4911-9318-3EB6EDBBEB5D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b="21398"/>
          <a:stretch/>
        </p:blipFill>
        <p:spPr>
          <a:xfrm>
            <a:off x="7715779" y="3651880"/>
            <a:ext cx="1033992" cy="8127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DD745F9-3C2A-9646-68A9-656633F40A7E}"/>
              </a:ext>
            </a:extLst>
          </p:cNvPr>
          <p:cNvSpPr/>
          <p:nvPr/>
        </p:nvSpPr>
        <p:spPr>
          <a:xfrm>
            <a:off x="121919" y="6400800"/>
            <a:ext cx="1823421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E955129-F747-4D4A-D9B8-596C9816B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: Rounded Corners 11">
            <a:extLst>
              <a:ext uri="{FF2B5EF4-FFF2-40B4-BE49-F238E27FC236}">
                <a16:creationId xmlns:a16="http://schemas.microsoft.com/office/drawing/2014/main" id="{44C12A30-2BB2-1CBD-E6B8-69BF5CDEAB22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309750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86863" y="2121877"/>
            <a:ext cx="2266594" cy="973015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2678630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4970397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7262164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553931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 horizontal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84174" y="3264650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475" y="1520825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800813" y="1520826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79791" y="1520826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3" name="Freeform 987">
            <a:extLst>
              <a:ext uri="{FF2B5EF4-FFF2-40B4-BE49-F238E27FC236}">
                <a16:creationId xmlns:a16="http://schemas.microsoft.com/office/drawing/2014/main" id="{AE36FB29-7CEF-066B-FE41-6634519C37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25240" y="1520826"/>
            <a:ext cx="482398" cy="48239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4" name="Freeform 988">
            <a:extLst>
              <a:ext uri="{FF2B5EF4-FFF2-40B4-BE49-F238E27FC236}">
                <a16:creationId xmlns:a16="http://schemas.microsoft.com/office/drawing/2014/main" id="{F0FB45C9-9BC2-5010-305F-2CA6F69DDF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593563" y="1520826"/>
            <a:ext cx="482398" cy="48239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2719753" y="3264650"/>
            <a:ext cx="215704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4994030" y="3264650"/>
            <a:ext cx="203981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7268307" y="3264650"/>
            <a:ext cx="20515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566030" y="3264650"/>
            <a:ext cx="20632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509216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2318941" y="1537871"/>
            <a:ext cx="2026802" cy="811823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4187636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6056332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7925027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793723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2318941" y="2550266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4365433" y="2550266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6175054" y="25502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8063442" y="25502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951829" y="2550266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8A46C5F-C717-4C04-7742-4E9DC81CCD5F}"/>
              </a:ext>
            </a:extLst>
          </p:cNvPr>
          <p:cNvSpPr txBox="1">
            <a:spLocks/>
          </p:cNvSpPr>
          <p:nvPr/>
        </p:nvSpPr>
        <p:spPr>
          <a:xfrm>
            <a:off x="371475" y="2550264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1327D7F-A874-C5C2-BE9D-9C68EDBF4698}"/>
              </a:ext>
            </a:extLst>
          </p:cNvPr>
          <p:cNvSpPr txBox="1">
            <a:spLocks/>
          </p:cNvSpPr>
          <p:nvPr/>
        </p:nvSpPr>
        <p:spPr>
          <a:xfrm>
            <a:off x="2334817" y="3516499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9938668-50CC-9FCF-470A-6C220FC37743}"/>
              </a:ext>
            </a:extLst>
          </p:cNvPr>
          <p:cNvSpPr txBox="1">
            <a:spLocks/>
          </p:cNvSpPr>
          <p:nvPr/>
        </p:nvSpPr>
        <p:spPr>
          <a:xfrm>
            <a:off x="4381309" y="3516499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9407011-6276-5C92-1A3A-335ACED71229}"/>
              </a:ext>
            </a:extLst>
          </p:cNvPr>
          <p:cNvSpPr txBox="1">
            <a:spLocks/>
          </p:cNvSpPr>
          <p:nvPr/>
        </p:nvSpPr>
        <p:spPr>
          <a:xfrm>
            <a:off x="6190930" y="3516499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460DCD0-BA52-B7BB-86E2-68FD65A55C8A}"/>
              </a:ext>
            </a:extLst>
          </p:cNvPr>
          <p:cNvSpPr txBox="1">
            <a:spLocks/>
          </p:cNvSpPr>
          <p:nvPr/>
        </p:nvSpPr>
        <p:spPr>
          <a:xfrm>
            <a:off x="8079318" y="3516499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5DE170C-FCF5-D970-88DA-44A886CF3515}"/>
              </a:ext>
            </a:extLst>
          </p:cNvPr>
          <p:cNvSpPr txBox="1">
            <a:spLocks/>
          </p:cNvSpPr>
          <p:nvPr/>
        </p:nvSpPr>
        <p:spPr>
          <a:xfrm>
            <a:off x="9967705" y="3516499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D582307-BCA9-E4BB-D683-ECFF36B22B44}"/>
              </a:ext>
            </a:extLst>
          </p:cNvPr>
          <p:cNvSpPr txBox="1">
            <a:spLocks/>
          </p:cNvSpPr>
          <p:nvPr/>
        </p:nvSpPr>
        <p:spPr>
          <a:xfrm>
            <a:off x="387351" y="3516497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36ED257-5FA4-B50C-30CF-53DAE2F8AF4C}"/>
              </a:ext>
            </a:extLst>
          </p:cNvPr>
          <p:cNvSpPr txBox="1">
            <a:spLocks/>
          </p:cNvSpPr>
          <p:nvPr/>
        </p:nvSpPr>
        <p:spPr>
          <a:xfrm>
            <a:off x="2318941" y="4482732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1BBD3D0-C703-F8D9-07D2-453946A20DAE}"/>
              </a:ext>
            </a:extLst>
          </p:cNvPr>
          <p:cNvSpPr txBox="1">
            <a:spLocks/>
          </p:cNvSpPr>
          <p:nvPr/>
        </p:nvSpPr>
        <p:spPr>
          <a:xfrm>
            <a:off x="4365433" y="4482732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186E0CC1-D8D9-1655-DD36-44633983D66A}"/>
              </a:ext>
            </a:extLst>
          </p:cNvPr>
          <p:cNvSpPr txBox="1">
            <a:spLocks/>
          </p:cNvSpPr>
          <p:nvPr/>
        </p:nvSpPr>
        <p:spPr>
          <a:xfrm>
            <a:off x="6175054" y="4482732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A9663FB-F092-2060-8AA4-419D9E865B83}"/>
              </a:ext>
            </a:extLst>
          </p:cNvPr>
          <p:cNvSpPr txBox="1">
            <a:spLocks/>
          </p:cNvSpPr>
          <p:nvPr/>
        </p:nvSpPr>
        <p:spPr>
          <a:xfrm>
            <a:off x="8063442" y="4482732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04D5EF0-5586-0E58-0AB2-D99967A88B9C}"/>
              </a:ext>
            </a:extLst>
          </p:cNvPr>
          <p:cNvSpPr txBox="1">
            <a:spLocks/>
          </p:cNvSpPr>
          <p:nvPr/>
        </p:nvSpPr>
        <p:spPr>
          <a:xfrm>
            <a:off x="9951829" y="4482732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A9E2B074-AE84-1251-917D-F5F69F1359EC}"/>
              </a:ext>
            </a:extLst>
          </p:cNvPr>
          <p:cNvSpPr txBox="1">
            <a:spLocks/>
          </p:cNvSpPr>
          <p:nvPr/>
        </p:nvSpPr>
        <p:spPr>
          <a:xfrm>
            <a:off x="371475" y="4482730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E30677A-1016-AF6F-1D48-ADD994957C00}"/>
              </a:ext>
            </a:extLst>
          </p:cNvPr>
          <p:cNvSpPr txBox="1">
            <a:spLocks/>
          </p:cNvSpPr>
          <p:nvPr/>
        </p:nvSpPr>
        <p:spPr>
          <a:xfrm>
            <a:off x="2334817" y="5448966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0B7DEC76-9204-25B5-590D-64C05BE4C6E1}"/>
              </a:ext>
            </a:extLst>
          </p:cNvPr>
          <p:cNvSpPr txBox="1">
            <a:spLocks/>
          </p:cNvSpPr>
          <p:nvPr/>
        </p:nvSpPr>
        <p:spPr>
          <a:xfrm>
            <a:off x="4381309" y="5448966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1692248-5246-2B0C-099B-29C9397D67D7}"/>
              </a:ext>
            </a:extLst>
          </p:cNvPr>
          <p:cNvSpPr txBox="1">
            <a:spLocks/>
          </p:cNvSpPr>
          <p:nvPr/>
        </p:nvSpPr>
        <p:spPr>
          <a:xfrm>
            <a:off x="6190930" y="54489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2F2FFC23-9AD1-3A31-6505-FC25B4CEFBA3}"/>
              </a:ext>
            </a:extLst>
          </p:cNvPr>
          <p:cNvSpPr txBox="1">
            <a:spLocks/>
          </p:cNvSpPr>
          <p:nvPr/>
        </p:nvSpPr>
        <p:spPr>
          <a:xfrm>
            <a:off x="8079318" y="54489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9AAB75AB-E264-3B95-A74E-3C8FD3082A9A}"/>
              </a:ext>
            </a:extLst>
          </p:cNvPr>
          <p:cNvSpPr txBox="1">
            <a:spLocks/>
          </p:cNvSpPr>
          <p:nvPr/>
        </p:nvSpPr>
        <p:spPr>
          <a:xfrm>
            <a:off x="9967705" y="5448966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4EDEC88B-4596-B585-41C9-289623CE670D}"/>
              </a:ext>
            </a:extLst>
          </p:cNvPr>
          <p:cNvSpPr txBox="1">
            <a:spLocks/>
          </p:cNvSpPr>
          <p:nvPr/>
        </p:nvSpPr>
        <p:spPr>
          <a:xfrm>
            <a:off x="387351" y="5448964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3265800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024555" y="2127739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8AF0A32-7B6C-9782-6618-D53D6B289FC1}"/>
              </a:ext>
            </a:extLst>
          </p:cNvPr>
          <p:cNvSpPr txBox="1">
            <a:spLocks/>
          </p:cNvSpPr>
          <p:nvPr/>
        </p:nvSpPr>
        <p:spPr>
          <a:xfrm>
            <a:off x="3024556" y="3385038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3F7F036-E53D-686A-6A14-1C8DF5BA8FFA}"/>
              </a:ext>
            </a:extLst>
          </p:cNvPr>
          <p:cNvSpPr txBox="1">
            <a:spLocks/>
          </p:cNvSpPr>
          <p:nvPr/>
        </p:nvSpPr>
        <p:spPr>
          <a:xfrm>
            <a:off x="3024555" y="4618892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79168" y="2127739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 vertical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864A34D-5E84-79E4-8212-8B6B24612D30}"/>
              </a:ext>
            </a:extLst>
          </p:cNvPr>
          <p:cNvSpPr txBox="1">
            <a:spLocks/>
          </p:cNvSpPr>
          <p:nvPr/>
        </p:nvSpPr>
        <p:spPr>
          <a:xfrm>
            <a:off x="379168" y="3385038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50D9B3-375E-F51D-C691-4659D065DB8F}"/>
              </a:ext>
            </a:extLst>
          </p:cNvPr>
          <p:cNvSpPr txBox="1">
            <a:spLocks/>
          </p:cNvSpPr>
          <p:nvPr/>
        </p:nvSpPr>
        <p:spPr>
          <a:xfrm>
            <a:off x="379168" y="4618892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9952" y="2364886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3642703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4873625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380594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9ADBB69-F75B-DB83-E284-6CC1F4398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9ADBB69-F75B-DB83-E284-6CC1F4398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47E5E23-F41A-B094-CC59-9C8CD0FE6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17EB9F5-F498-6B3A-152A-6F8014726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From-to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4CFC2A5-D270-E420-E2F9-E44625586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0" name="Tabla 10">
            <a:extLst>
              <a:ext uri="{FF2B5EF4-FFF2-40B4-BE49-F238E27FC236}">
                <a16:creationId xmlns:a16="http://schemas.microsoft.com/office/drawing/2014/main" id="{CC131254-09E1-4CDC-2A5E-263CFE5F521A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2177143"/>
          <a:ext cx="11436351" cy="4131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2117">
                  <a:extLst>
                    <a:ext uri="{9D8B030D-6E8A-4147-A177-3AD203B41FA5}">
                      <a16:colId xmlns:a16="http://schemas.microsoft.com/office/drawing/2014/main" val="33592840"/>
                    </a:ext>
                  </a:extLst>
                </a:gridCol>
                <a:gridCol w="3812117">
                  <a:extLst>
                    <a:ext uri="{9D8B030D-6E8A-4147-A177-3AD203B41FA5}">
                      <a16:colId xmlns:a16="http://schemas.microsoft.com/office/drawing/2014/main" val="3139504981"/>
                    </a:ext>
                  </a:extLst>
                </a:gridCol>
                <a:gridCol w="3812117">
                  <a:extLst>
                    <a:ext uri="{9D8B030D-6E8A-4147-A177-3AD203B41FA5}">
                      <a16:colId xmlns:a16="http://schemas.microsoft.com/office/drawing/2014/main" val="557228131"/>
                    </a:ext>
                  </a:extLst>
                </a:gridCol>
              </a:tblGrid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730151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450350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78634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837876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4013441"/>
                  </a:ext>
                </a:extLst>
              </a:tr>
            </a:tbl>
          </a:graphicData>
        </a:graphic>
      </p:graphicFrame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10E0F8BA-29FE-8B7E-EA33-1A72DF4DA51A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4422321" y="1774888"/>
            <a:ext cx="3355525" cy="0"/>
          </a:xfrm>
          <a:prstGeom prst="straightConnector1">
            <a:avLst/>
          </a:prstGeom>
          <a:ln w="57150" cap="flat">
            <a:gradFill flip="none" rotWithShape="1">
              <a:gsLst>
                <a:gs pos="0">
                  <a:schemeClr val="accent3"/>
                </a:gs>
                <a:gs pos="100000">
                  <a:schemeClr val="tx2"/>
                </a:gs>
              </a:gsLst>
              <a:lin ang="0" scaled="1"/>
              <a:tileRect/>
            </a:gradFill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2">
            <a:extLst>
              <a:ext uri="{FF2B5EF4-FFF2-40B4-BE49-F238E27FC236}">
                <a16:creationId xmlns:a16="http://schemas.microsoft.com/office/drawing/2014/main" id="{F1956BA5-08FB-5B71-0F90-1274920B7AED}"/>
              </a:ext>
            </a:extLst>
          </p:cNvPr>
          <p:cNvSpPr/>
          <p:nvPr/>
        </p:nvSpPr>
        <p:spPr>
          <a:xfrm>
            <a:off x="3937736" y="1520825"/>
            <a:ext cx="508058" cy="508126"/>
          </a:xfrm>
          <a:prstGeom prst="ellipse">
            <a:avLst/>
          </a:prstGeom>
          <a:solidFill>
            <a:schemeClr val="accent3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2">
            <a:extLst>
              <a:ext uri="{FF2B5EF4-FFF2-40B4-BE49-F238E27FC236}">
                <a16:creationId xmlns:a16="http://schemas.microsoft.com/office/drawing/2014/main" id="{0FFC5B99-BCD8-0AD5-6CBB-F02CB6CC94B1}"/>
              </a:ext>
            </a:extLst>
          </p:cNvPr>
          <p:cNvSpPr/>
          <p:nvPr/>
        </p:nvSpPr>
        <p:spPr>
          <a:xfrm>
            <a:off x="3961209" y="1667166"/>
            <a:ext cx="461112" cy="21544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om</a:t>
            </a:r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33CD30B1-86FA-128C-2475-C8A0FF598F3B}"/>
              </a:ext>
            </a:extLst>
          </p:cNvPr>
          <p:cNvSpPr/>
          <p:nvPr/>
        </p:nvSpPr>
        <p:spPr>
          <a:xfrm>
            <a:off x="7754373" y="1520825"/>
            <a:ext cx="508058" cy="508126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Oval 22">
            <a:extLst>
              <a:ext uri="{FF2B5EF4-FFF2-40B4-BE49-F238E27FC236}">
                <a16:creationId xmlns:a16="http://schemas.microsoft.com/office/drawing/2014/main" id="{681E442C-9734-685E-149D-149887D3F50D}"/>
              </a:ext>
            </a:extLst>
          </p:cNvPr>
          <p:cNvSpPr/>
          <p:nvPr/>
        </p:nvSpPr>
        <p:spPr>
          <a:xfrm>
            <a:off x="7777846" y="1667166"/>
            <a:ext cx="461112" cy="21544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3685536865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72F6B3F9-87BB-3BBB-1758-A07C21999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887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72F6B3F9-87BB-3BBB-1758-A07C21999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0D4829B-8C92-3FA2-DE43-5F5347100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599F91-69C7-074B-6093-F8C7CC8F0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758" y="352710"/>
            <a:ext cx="11420475" cy="485775"/>
          </a:xfrm>
        </p:spPr>
        <p:txBody>
          <a:bodyPr vert="horz"/>
          <a:lstStyle/>
          <a:p>
            <a:r>
              <a:rPr lang="en-US" dirty="0"/>
              <a:t>Template - Circular proces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41022785-DF0E-8BE7-A3FE-9033D0BFBD9D}"/>
              </a:ext>
            </a:extLst>
          </p:cNvPr>
          <p:cNvSpPr/>
          <p:nvPr/>
        </p:nvSpPr>
        <p:spPr>
          <a:xfrm>
            <a:off x="5019339" y="2694595"/>
            <a:ext cx="2164316" cy="216431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D6E904DC-1369-D039-B9F9-1A9DFB774341}"/>
              </a:ext>
            </a:extLst>
          </p:cNvPr>
          <p:cNvSpPr/>
          <p:nvPr/>
        </p:nvSpPr>
        <p:spPr>
          <a:xfrm>
            <a:off x="4311416" y="1986671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3E34636-AD9F-07F0-2EA9-602921213614}"/>
              </a:ext>
            </a:extLst>
          </p:cNvPr>
          <p:cNvSpPr/>
          <p:nvPr/>
        </p:nvSpPr>
        <p:spPr>
          <a:xfrm>
            <a:off x="6475733" y="1986670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000930B7-915D-C5B2-A010-40A6A986BF54}"/>
              </a:ext>
            </a:extLst>
          </p:cNvPr>
          <p:cNvSpPr/>
          <p:nvPr/>
        </p:nvSpPr>
        <p:spPr>
          <a:xfrm>
            <a:off x="4311415" y="4150990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FA7F2C5B-0E37-C1C4-0B20-3694C5809D53}"/>
              </a:ext>
            </a:extLst>
          </p:cNvPr>
          <p:cNvSpPr/>
          <p:nvPr/>
        </p:nvSpPr>
        <p:spPr>
          <a:xfrm>
            <a:off x="6475733" y="4110439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A21A04-1378-71D6-ACA3-756369FAA680}"/>
              </a:ext>
            </a:extLst>
          </p:cNvPr>
          <p:cNvGrpSpPr/>
          <p:nvPr/>
        </p:nvGrpSpPr>
        <p:grpSpPr>
          <a:xfrm>
            <a:off x="8123597" y="2129079"/>
            <a:ext cx="2679490" cy="989106"/>
            <a:chOff x="8123597" y="1942268"/>
            <a:chExt cx="2679490" cy="989106"/>
          </a:xfrm>
        </p:grpSpPr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D720FE4B-A8E2-E166-2C79-8D2354D48CC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7656AA2E-60EB-4ED3-BEBB-DC449E56BA38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592884-1A7F-40C0-B571-A0C05731329B}"/>
              </a:ext>
            </a:extLst>
          </p:cNvPr>
          <p:cNvGrpSpPr/>
          <p:nvPr/>
        </p:nvGrpSpPr>
        <p:grpSpPr>
          <a:xfrm>
            <a:off x="8123597" y="4150990"/>
            <a:ext cx="2679490" cy="989106"/>
            <a:chOff x="8123597" y="1942268"/>
            <a:chExt cx="2679490" cy="989106"/>
          </a:xfrm>
        </p:grpSpPr>
        <p:sp>
          <p:nvSpPr>
            <p:cNvPr id="17" name="TextBox 24">
              <a:extLst>
                <a:ext uri="{FF2B5EF4-FFF2-40B4-BE49-F238E27FC236}">
                  <a16:creationId xmlns:a16="http://schemas.microsoft.com/office/drawing/2014/main" id="{B1ACD3E2-7953-84D9-B934-CB3244D6D7B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0C417A1-0024-0A24-8885-98995459783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D32D5CDD-51D2-D98D-98CD-0C4F442EF115}"/>
              </a:ext>
            </a:extLst>
          </p:cNvPr>
          <p:cNvGrpSpPr/>
          <p:nvPr/>
        </p:nvGrpSpPr>
        <p:grpSpPr>
          <a:xfrm>
            <a:off x="1399906" y="4150990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E8BB330-02F7-8F80-D652-AC1BD2A4282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062B836-6800-2B6F-5094-A1D2C1D46C3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F2E758D4-EA48-8B97-6DEB-5D7EE7B2C87A}"/>
              </a:ext>
            </a:extLst>
          </p:cNvPr>
          <p:cNvGrpSpPr/>
          <p:nvPr/>
        </p:nvGrpSpPr>
        <p:grpSpPr>
          <a:xfrm>
            <a:off x="1399906" y="2153872"/>
            <a:ext cx="2679490" cy="989106"/>
            <a:chOff x="8123597" y="1942268"/>
            <a:chExt cx="2679490" cy="989106"/>
          </a:xfrm>
        </p:grpSpPr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32A005E2-F78E-710B-E4B2-30058A2212A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1E1450EA-EEF5-FC61-05F2-E8201970001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EAC50760-ECF1-A5A6-0219-1138BD393EF7}"/>
              </a:ext>
            </a:extLst>
          </p:cNvPr>
          <p:cNvGrpSpPr/>
          <p:nvPr/>
        </p:nvGrpSpPr>
        <p:grpSpPr>
          <a:xfrm>
            <a:off x="5954805" y="2224103"/>
            <a:ext cx="293384" cy="34693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F772D5A-4538-0BFC-72AD-05BD556944E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B198E558-DF1C-C615-1396-6AA6029B6DE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6F3BE98D-9386-255E-12E4-493FA1FEFC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26EC4FD9-0206-9B84-E50E-5F25A8BF2A3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42">
            <a:extLst>
              <a:ext uri="{FF2B5EF4-FFF2-40B4-BE49-F238E27FC236}">
                <a16:creationId xmlns:a16="http://schemas.microsoft.com/office/drawing/2014/main" id="{2728E3E8-A929-F528-E1C9-7669A052EF9A}"/>
              </a:ext>
            </a:extLst>
          </p:cNvPr>
          <p:cNvGrpSpPr/>
          <p:nvPr/>
        </p:nvGrpSpPr>
        <p:grpSpPr>
          <a:xfrm rot="5400000">
            <a:off x="7389689" y="3575571"/>
            <a:ext cx="293384" cy="346931"/>
            <a:chOff x="3657318" y="2960019"/>
            <a:chExt cx="428407" cy="506598"/>
          </a:xfrm>
        </p:grpSpPr>
        <p:grpSp>
          <p:nvGrpSpPr>
            <p:cNvPr id="34" name="Grupo 43">
              <a:extLst>
                <a:ext uri="{FF2B5EF4-FFF2-40B4-BE49-F238E27FC236}">
                  <a16:creationId xmlns:a16="http://schemas.microsoft.com/office/drawing/2014/main" id="{BECE3CFA-7B6A-A58A-8716-527BFA6A85F1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6" name="Conector recto 45">
                <a:extLst>
                  <a:ext uri="{FF2B5EF4-FFF2-40B4-BE49-F238E27FC236}">
                    <a16:creationId xmlns:a16="http://schemas.microsoft.com/office/drawing/2014/main" id="{FA5308D1-2E36-6B95-396E-A03E8666794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cto 46">
                <a:extLst>
                  <a:ext uri="{FF2B5EF4-FFF2-40B4-BE49-F238E27FC236}">
                    <a16:creationId xmlns:a16="http://schemas.microsoft.com/office/drawing/2014/main" id="{3C361247-081F-18A2-7157-C3F94F2454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5" name="Conector recto 44">
              <a:extLst>
                <a:ext uri="{FF2B5EF4-FFF2-40B4-BE49-F238E27FC236}">
                  <a16:creationId xmlns:a16="http://schemas.microsoft.com/office/drawing/2014/main" id="{3CF6049C-55C5-44B8-9A69-778B50667CB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o 42">
            <a:extLst>
              <a:ext uri="{FF2B5EF4-FFF2-40B4-BE49-F238E27FC236}">
                <a16:creationId xmlns:a16="http://schemas.microsoft.com/office/drawing/2014/main" id="{CEE4D417-FE7B-3DA9-76BF-008B4B0DD64E}"/>
              </a:ext>
            </a:extLst>
          </p:cNvPr>
          <p:cNvGrpSpPr/>
          <p:nvPr/>
        </p:nvGrpSpPr>
        <p:grpSpPr>
          <a:xfrm rot="16200000" flipV="1">
            <a:off x="4518685" y="3634222"/>
            <a:ext cx="293384" cy="346931"/>
            <a:chOff x="3657318" y="2960019"/>
            <a:chExt cx="428407" cy="506598"/>
          </a:xfrm>
        </p:grpSpPr>
        <p:grpSp>
          <p:nvGrpSpPr>
            <p:cNvPr id="39" name="Grupo 43">
              <a:extLst>
                <a:ext uri="{FF2B5EF4-FFF2-40B4-BE49-F238E27FC236}">
                  <a16:creationId xmlns:a16="http://schemas.microsoft.com/office/drawing/2014/main" id="{DC8C8F6D-1DAA-D7E9-7482-851BC25C7DB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1" name="Conector recto 45">
                <a:extLst>
                  <a:ext uri="{FF2B5EF4-FFF2-40B4-BE49-F238E27FC236}">
                    <a16:creationId xmlns:a16="http://schemas.microsoft.com/office/drawing/2014/main" id="{6CDD3705-8913-310D-F5A0-534F737A9F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cto 46">
                <a:extLst>
                  <a:ext uri="{FF2B5EF4-FFF2-40B4-BE49-F238E27FC236}">
                    <a16:creationId xmlns:a16="http://schemas.microsoft.com/office/drawing/2014/main" id="{4CD99913-EDAB-3D0E-A11B-D6C41503D1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Conector recto 44">
              <a:extLst>
                <a:ext uri="{FF2B5EF4-FFF2-40B4-BE49-F238E27FC236}">
                  <a16:creationId xmlns:a16="http://schemas.microsoft.com/office/drawing/2014/main" id="{54524E90-1381-9930-EC28-65F7C5EDE8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70CA818F-6C55-3F83-C646-ADB7F3BB6FA9}"/>
              </a:ext>
            </a:extLst>
          </p:cNvPr>
          <p:cNvGrpSpPr/>
          <p:nvPr/>
        </p:nvGrpSpPr>
        <p:grpSpPr>
          <a:xfrm flipH="1">
            <a:off x="5919648" y="5131313"/>
            <a:ext cx="293384" cy="346931"/>
            <a:chOff x="3657318" y="2960019"/>
            <a:chExt cx="428407" cy="506598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63084CD0-4DD4-6B23-4C25-6C77DC8CB86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55247FC-4EC5-F4B7-D271-A531EAA8060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cto 46">
                <a:extLst>
                  <a:ext uri="{FF2B5EF4-FFF2-40B4-BE49-F238E27FC236}">
                    <a16:creationId xmlns:a16="http://schemas.microsoft.com/office/drawing/2014/main" id="{426BD83D-9154-DA9E-FA4E-C86662A663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5D8CC7B8-412E-F14F-7086-1D46C060A76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24">
            <a:extLst>
              <a:ext uri="{FF2B5EF4-FFF2-40B4-BE49-F238E27FC236}">
                <a16:creationId xmlns:a16="http://schemas.microsoft.com/office/drawing/2014/main" id="{C937991D-1D56-48AE-376C-BC277A42FFBD}"/>
              </a:ext>
            </a:extLst>
          </p:cNvPr>
          <p:cNvSpPr txBox="1"/>
          <p:nvPr/>
        </p:nvSpPr>
        <p:spPr>
          <a:xfrm>
            <a:off x="5016730" y="3592087"/>
            <a:ext cx="216431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71FA06-F6F2-4A4B-B9B2-D60ABBD228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661641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72F6B3F9-87BB-3BBB-1758-A07C21999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691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72F6B3F9-87BB-3BBB-1758-A07C21999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0D4829B-8C92-3FA2-DE43-5F5347100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599F91-69C7-074B-6093-F8C7CC8F0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ircular proces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41022785-DF0E-8BE7-A3FE-9033D0BFBD9D}"/>
              </a:ext>
            </a:extLst>
          </p:cNvPr>
          <p:cNvSpPr/>
          <p:nvPr/>
        </p:nvSpPr>
        <p:spPr>
          <a:xfrm>
            <a:off x="5019339" y="2694595"/>
            <a:ext cx="2164316" cy="216431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6E904DC-1369-D039-B9F9-1A9DFB774341}"/>
              </a:ext>
            </a:extLst>
          </p:cNvPr>
          <p:cNvSpPr/>
          <p:nvPr/>
        </p:nvSpPr>
        <p:spPr>
          <a:xfrm>
            <a:off x="4311416" y="1986671"/>
            <a:ext cx="1415845" cy="1415845"/>
          </a:xfrm>
          <a:prstGeom prst="rect">
            <a:avLst/>
          </a:prstGeom>
          <a:solidFill>
            <a:schemeClr val="tx2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3E34636-AD9F-07F0-2EA9-602921213614}"/>
              </a:ext>
            </a:extLst>
          </p:cNvPr>
          <p:cNvSpPr/>
          <p:nvPr/>
        </p:nvSpPr>
        <p:spPr>
          <a:xfrm>
            <a:off x="6475733" y="1986670"/>
            <a:ext cx="1415845" cy="14158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00930B7-915D-C5B2-A010-40A6A986BF54}"/>
              </a:ext>
            </a:extLst>
          </p:cNvPr>
          <p:cNvSpPr/>
          <p:nvPr/>
        </p:nvSpPr>
        <p:spPr>
          <a:xfrm>
            <a:off x="4311415" y="4150990"/>
            <a:ext cx="1415845" cy="1415845"/>
          </a:xfrm>
          <a:prstGeom prst="rect">
            <a:avLst/>
          </a:prstGeom>
          <a:solidFill>
            <a:schemeClr val="accent3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A7F2C5B-0E37-C1C4-0B20-3694C5809D53}"/>
              </a:ext>
            </a:extLst>
          </p:cNvPr>
          <p:cNvSpPr/>
          <p:nvPr/>
        </p:nvSpPr>
        <p:spPr>
          <a:xfrm>
            <a:off x="6475733" y="4110439"/>
            <a:ext cx="1415845" cy="1415845"/>
          </a:xfrm>
          <a:prstGeom prst="rect">
            <a:avLst/>
          </a:prstGeom>
          <a:solidFill>
            <a:schemeClr val="accent2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A21A04-1378-71D6-ACA3-756369FAA680}"/>
              </a:ext>
            </a:extLst>
          </p:cNvPr>
          <p:cNvGrpSpPr/>
          <p:nvPr/>
        </p:nvGrpSpPr>
        <p:grpSpPr>
          <a:xfrm>
            <a:off x="8123597" y="2129079"/>
            <a:ext cx="2679490" cy="989106"/>
            <a:chOff x="8123597" y="1942268"/>
            <a:chExt cx="2679490" cy="989106"/>
          </a:xfrm>
        </p:grpSpPr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D720FE4B-A8E2-E166-2C79-8D2354D48CC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7656AA2E-60EB-4ED3-BEBB-DC449E56BA38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592884-1A7F-40C0-B571-A0C05731329B}"/>
              </a:ext>
            </a:extLst>
          </p:cNvPr>
          <p:cNvGrpSpPr/>
          <p:nvPr/>
        </p:nvGrpSpPr>
        <p:grpSpPr>
          <a:xfrm>
            <a:off x="8123597" y="4150990"/>
            <a:ext cx="2679490" cy="989106"/>
            <a:chOff x="8123597" y="1942268"/>
            <a:chExt cx="2679490" cy="989106"/>
          </a:xfrm>
        </p:grpSpPr>
        <p:sp>
          <p:nvSpPr>
            <p:cNvPr id="17" name="TextBox 24">
              <a:extLst>
                <a:ext uri="{FF2B5EF4-FFF2-40B4-BE49-F238E27FC236}">
                  <a16:creationId xmlns:a16="http://schemas.microsoft.com/office/drawing/2014/main" id="{B1ACD3E2-7953-84D9-B934-CB3244D6D7B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0C417A1-0024-0A24-8885-98995459783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D32D5CDD-51D2-D98D-98CD-0C4F442EF115}"/>
              </a:ext>
            </a:extLst>
          </p:cNvPr>
          <p:cNvGrpSpPr/>
          <p:nvPr/>
        </p:nvGrpSpPr>
        <p:grpSpPr>
          <a:xfrm>
            <a:off x="1399906" y="4150990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E8BB330-02F7-8F80-D652-AC1BD2A4282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062B836-6800-2B6F-5094-A1D2C1D46C3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F2E758D4-EA48-8B97-6DEB-5D7EE7B2C87A}"/>
              </a:ext>
            </a:extLst>
          </p:cNvPr>
          <p:cNvGrpSpPr/>
          <p:nvPr/>
        </p:nvGrpSpPr>
        <p:grpSpPr>
          <a:xfrm>
            <a:off x="1399906" y="2153872"/>
            <a:ext cx="2679490" cy="989106"/>
            <a:chOff x="8123597" y="1942268"/>
            <a:chExt cx="2679490" cy="989106"/>
          </a:xfrm>
        </p:grpSpPr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32A005E2-F78E-710B-E4B2-30058A2212A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1E1450EA-EEF5-FC61-05F2-E8201970001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EAC50760-ECF1-A5A6-0219-1138BD393EF7}"/>
              </a:ext>
            </a:extLst>
          </p:cNvPr>
          <p:cNvGrpSpPr/>
          <p:nvPr/>
        </p:nvGrpSpPr>
        <p:grpSpPr>
          <a:xfrm>
            <a:off x="5954805" y="2224103"/>
            <a:ext cx="293384" cy="34693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F772D5A-4538-0BFC-72AD-05BD556944E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B198E558-DF1C-C615-1396-6AA6029B6DE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6F3BE98D-9386-255E-12E4-493FA1FEFC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26EC4FD9-0206-9B84-E50E-5F25A8BF2A3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42">
            <a:extLst>
              <a:ext uri="{FF2B5EF4-FFF2-40B4-BE49-F238E27FC236}">
                <a16:creationId xmlns:a16="http://schemas.microsoft.com/office/drawing/2014/main" id="{2728E3E8-A929-F528-E1C9-7669A052EF9A}"/>
              </a:ext>
            </a:extLst>
          </p:cNvPr>
          <p:cNvGrpSpPr/>
          <p:nvPr/>
        </p:nvGrpSpPr>
        <p:grpSpPr>
          <a:xfrm rot="5400000">
            <a:off x="7389689" y="3575571"/>
            <a:ext cx="293384" cy="346931"/>
            <a:chOff x="3657318" y="2960019"/>
            <a:chExt cx="428407" cy="506598"/>
          </a:xfrm>
        </p:grpSpPr>
        <p:grpSp>
          <p:nvGrpSpPr>
            <p:cNvPr id="34" name="Grupo 43">
              <a:extLst>
                <a:ext uri="{FF2B5EF4-FFF2-40B4-BE49-F238E27FC236}">
                  <a16:creationId xmlns:a16="http://schemas.microsoft.com/office/drawing/2014/main" id="{BECE3CFA-7B6A-A58A-8716-527BFA6A85F1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6" name="Conector recto 45">
                <a:extLst>
                  <a:ext uri="{FF2B5EF4-FFF2-40B4-BE49-F238E27FC236}">
                    <a16:creationId xmlns:a16="http://schemas.microsoft.com/office/drawing/2014/main" id="{FA5308D1-2E36-6B95-396E-A03E8666794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cto 46">
                <a:extLst>
                  <a:ext uri="{FF2B5EF4-FFF2-40B4-BE49-F238E27FC236}">
                    <a16:creationId xmlns:a16="http://schemas.microsoft.com/office/drawing/2014/main" id="{3C361247-081F-18A2-7157-C3F94F2454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5" name="Conector recto 44">
              <a:extLst>
                <a:ext uri="{FF2B5EF4-FFF2-40B4-BE49-F238E27FC236}">
                  <a16:creationId xmlns:a16="http://schemas.microsoft.com/office/drawing/2014/main" id="{3CF6049C-55C5-44B8-9A69-778B50667CB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o 42">
            <a:extLst>
              <a:ext uri="{FF2B5EF4-FFF2-40B4-BE49-F238E27FC236}">
                <a16:creationId xmlns:a16="http://schemas.microsoft.com/office/drawing/2014/main" id="{CEE4D417-FE7B-3DA9-76BF-008B4B0DD64E}"/>
              </a:ext>
            </a:extLst>
          </p:cNvPr>
          <p:cNvGrpSpPr/>
          <p:nvPr/>
        </p:nvGrpSpPr>
        <p:grpSpPr>
          <a:xfrm rot="16200000" flipV="1">
            <a:off x="4518685" y="3634222"/>
            <a:ext cx="293384" cy="346931"/>
            <a:chOff x="3657318" y="2960019"/>
            <a:chExt cx="428407" cy="506598"/>
          </a:xfrm>
        </p:grpSpPr>
        <p:grpSp>
          <p:nvGrpSpPr>
            <p:cNvPr id="39" name="Grupo 43">
              <a:extLst>
                <a:ext uri="{FF2B5EF4-FFF2-40B4-BE49-F238E27FC236}">
                  <a16:creationId xmlns:a16="http://schemas.microsoft.com/office/drawing/2014/main" id="{DC8C8F6D-1DAA-D7E9-7482-851BC25C7DB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1" name="Conector recto 45">
                <a:extLst>
                  <a:ext uri="{FF2B5EF4-FFF2-40B4-BE49-F238E27FC236}">
                    <a16:creationId xmlns:a16="http://schemas.microsoft.com/office/drawing/2014/main" id="{6CDD3705-8913-310D-F5A0-534F737A9F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cto 46">
                <a:extLst>
                  <a:ext uri="{FF2B5EF4-FFF2-40B4-BE49-F238E27FC236}">
                    <a16:creationId xmlns:a16="http://schemas.microsoft.com/office/drawing/2014/main" id="{4CD99913-EDAB-3D0E-A11B-D6C41503D1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Conector recto 44">
              <a:extLst>
                <a:ext uri="{FF2B5EF4-FFF2-40B4-BE49-F238E27FC236}">
                  <a16:creationId xmlns:a16="http://schemas.microsoft.com/office/drawing/2014/main" id="{54524E90-1381-9930-EC28-65F7C5EDE8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70CA818F-6C55-3F83-C646-ADB7F3BB6FA9}"/>
              </a:ext>
            </a:extLst>
          </p:cNvPr>
          <p:cNvGrpSpPr/>
          <p:nvPr/>
        </p:nvGrpSpPr>
        <p:grpSpPr>
          <a:xfrm flipH="1">
            <a:off x="5919648" y="5131313"/>
            <a:ext cx="293384" cy="346931"/>
            <a:chOff x="3657318" y="2960019"/>
            <a:chExt cx="428407" cy="506598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63084CD0-4DD4-6B23-4C25-6C77DC8CB86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55247FC-4EC5-F4B7-D271-A531EAA8060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cto 46">
                <a:extLst>
                  <a:ext uri="{FF2B5EF4-FFF2-40B4-BE49-F238E27FC236}">
                    <a16:creationId xmlns:a16="http://schemas.microsoft.com/office/drawing/2014/main" id="{426BD83D-9154-DA9E-FA4E-C86662A663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5D8CC7B8-412E-F14F-7086-1D46C060A76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24">
            <a:extLst>
              <a:ext uri="{FF2B5EF4-FFF2-40B4-BE49-F238E27FC236}">
                <a16:creationId xmlns:a16="http://schemas.microsoft.com/office/drawing/2014/main" id="{A4FFD342-268D-EFE8-DF73-2D20FE49CE9F}"/>
              </a:ext>
            </a:extLst>
          </p:cNvPr>
          <p:cNvSpPr txBox="1"/>
          <p:nvPr/>
        </p:nvSpPr>
        <p:spPr>
          <a:xfrm>
            <a:off x="5016730" y="3592087"/>
            <a:ext cx="216431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3AA45-DCFB-6DEF-010F-953B0B676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0693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>
            <a:extLst>
              <a:ext uri="{FF2B5EF4-FFF2-40B4-BE49-F238E27FC236}">
                <a16:creationId xmlns:a16="http://schemas.microsoft.com/office/drawing/2014/main" id="{FFF9AD64-446D-6883-2F34-23BE29779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02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6" name="Objeto 25" hidden="1">
                        <a:extLst>
                          <a:ext uri="{FF2B5EF4-FFF2-40B4-BE49-F238E27FC236}">
                            <a16:creationId xmlns:a16="http://schemas.microsoft.com/office/drawing/2014/main" id="{FFF9AD64-446D-6883-2F34-23BE29779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C029F0D-5344-C1A7-E0DB-0E6D0F3CC2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9AB166E-02F7-9C83-240C-3BBCE19E5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Journey Slide</a:t>
            </a:r>
            <a:endParaRPr lang="en-GB" dirty="0"/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065F132-F4A0-4772-A176-BB475E8C79EC}"/>
              </a:ext>
            </a:extLst>
          </p:cNvPr>
          <p:cNvSpPr/>
          <p:nvPr/>
        </p:nvSpPr>
        <p:spPr>
          <a:xfrm>
            <a:off x="8977945" y="1520824"/>
            <a:ext cx="2826769" cy="2636780"/>
          </a:xfrm>
          <a:custGeom>
            <a:avLst/>
            <a:gdLst>
              <a:gd name="connsiteX0" fmla="*/ 2354192 w 5008036"/>
              <a:gd name="connsiteY0" fmla="*/ 0 h 4671442"/>
              <a:gd name="connsiteX1" fmla="*/ 2360338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8 h 4671442"/>
              <a:gd name="connsiteX4" fmla="*/ 2589872 w 5008036"/>
              <a:gd name="connsiteY4" fmla="*/ 11902 h 4671442"/>
              <a:gd name="connsiteX5" fmla="*/ 4704228 w 5008036"/>
              <a:gd name="connsiteY5" fmla="*/ 2139724 h 4671442"/>
              <a:gd name="connsiteX6" fmla="*/ 4714380 w 5008036"/>
              <a:gd name="connsiteY6" fmla="*/ 2354125 h 4671442"/>
              <a:gd name="connsiteX7" fmla="*/ 4714684 w 5008036"/>
              <a:gd name="connsiteY7" fmla="*/ 2354125 h 4671442"/>
              <a:gd name="connsiteX8" fmla="*/ 4714684 w 5008036"/>
              <a:gd name="connsiteY8" fmla="*/ 2360565 h 4671442"/>
              <a:gd name="connsiteX9" fmla="*/ 4714980 w 5008036"/>
              <a:gd name="connsiteY9" fmla="*/ 2366816 h 4671442"/>
              <a:gd name="connsiteX10" fmla="*/ 4714684 w 5008036"/>
              <a:gd name="connsiteY10" fmla="*/ 2366816 h 4671442"/>
              <a:gd name="connsiteX11" fmla="*/ 4714684 w 5008036"/>
              <a:gd name="connsiteY11" fmla="*/ 3928679 h 4671442"/>
              <a:gd name="connsiteX12" fmla="*/ 5008036 w 5008036"/>
              <a:gd name="connsiteY12" fmla="*/ 3928679 h 4671442"/>
              <a:gd name="connsiteX13" fmla="*/ 4265272 w 5008036"/>
              <a:gd name="connsiteY13" fmla="*/ 4671442 h 4671442"/>
              <a:gd name="connsiteX14" fmla="*/ 3522508 w 5008036"/>
              <a:gd name="connsiteY14" fmla="*/ 3928679 h 4671442"/>
              <a:gd name="connsiteX15" fmla="*/ 3803212 w 5008036"/>
              <a:gd name="connsiteY15" fmla="*/ 3928679 h 4671442"/>
              <a:gd name="connsiteX16" fmla="*/ 3803212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4 w 5008036"/>
              <a:gd name="connsiteY19" fmla="*/ 921037 h 4671442"/>
              <a:gd name="connsiteX20" fmla="*/ 2360358 w 5008036"/>
              <a:gd name="connsiteY20" fmla="*/ 914166 h 4671442"/>
              <a:gd name="connsiteX21" fmla="*/ 2227396 w 5008036"/>
              <a:gd name="connsiteY21" fmla="*/ 920461 h 4671442"/>
              <a:gd name="connsiteX22" fmla="*/ 921038 w 5008036"/>
              <a:gd name="connsiteY22" fmla="*/ 2218552 h 4671442"/>
              <a:gd name="connsiteX23" fmla="*/ 913856 w 5008036"/>
              <a:gd name="connsiteY23" fmla="*/ 2360795 h 4671442"/>
              <a:gd name="connsiteX24" fmla="*/ 911470 w 5008036"/>
              <a:gd name="connsiteY24" fmla="*/ 2360795 h 4671442"/>
              <a:gd name="connsiteX25" fmla="*/ 911470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38 w 5008036"/>
              <a:gd name="connsiteY28" fmla="*/ 2354123 h 4671442"/>
              <a:gd name="connsiteX29" fmla="*/ 11904 w 5008036"/>
              <a:gd name="connsiteY29" fmla="*/ 2125114 h 4671442"/>
              <a:gd name="connsiteX30" fmla="*/ 2139726 w 5008036"/>
              <a:gd name="connsiteY30" fmla="*/ 10756 h 4671442"/>
              <a:gd name="connsiteX31" fmla="*/ 2354192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2" y="0"/>
                </a:moveTo>
                <a:lnTo>
                  <a:pt x="2360338" y="310"/>
                </a:lnTo>
                <a:lnTo>
                  <a:pt x="2366818" y="3"/>
                </a:lnTo>
                <a:lnTo>
                  <a:pt x="2366818" y="638"/>
                </a:lnTo>
                <a:lnTo>
                  <a:pt x="2589872" y="11902"/>
                </a:lnTo>
                <a:cubicBezTo>
                  <a:pt x="3708912" y="125546"/>
                  <a:pt x="4597522" y="1018647"/>
                  <a:pt x="4704228" y="2139724"/>
                </a:cubicBezTo>
                <a:lnTo>
                  <a:pt x="4714380" y="2354125"/>
                </a:lnTo>
                <a:lnTo>
                  <a:pt x="4714684" y="2354125"/>
                </a:lnTo>
                <a:lnTo>
                  <a:pt x="4714684" y="2360565"/>
                </a:lnTo>
                <a:lnTo>
                  <a:pt x="4714980" y="2366816"/>
                </a:lnTo>
                <a:lnTo>
                  <a:pt x="4714684" y="2366816"/>
                </a:lnTo>
                <a:lnTo>
                  <a:pt x="4714684" y="3928679"/>
                </a:lnTo>
                <a:lnTo>
                  <a:pt x="5008036" y="3928679"/>
                </a:lnTo>
                <a:lnTo>
                  <a:pt x="4265272" y="4671442"/>
                </a:lnTo>
                <a:lnTo>
                  <a:pt x="3522508" y="3928679"/>
                </a:lnTo>
                <a:lnTo>
                  <a:pt x="3803212" y="3928679"/>
                </a:lnTo>
                <a:lnTo>
                  <a:pt x="3803212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0" y="995460"/>
                  <a:pt x="2496434" y="921037"/>
                </a:cubicBezTo>
                <a:lnTo>
                  <a:pt x="2360358" y="914166"/>
                </a:lnTo>
                <a:lnTo>
                  <a:pt x="2227396" y="920461"/>
                </a:lnTo>
                <a:cubicBezTo>
                  <a:pt x="1539122" y="985972"/>
                  <a:pt x="990810" y="1531527"/>
                  <a:pt x="921038" y="2218552"/>
                </a:cubicBezTo>
                <a:lnTo>
                  <a:pt x="913856" y="2360795"/>
                </a:lnTo>
                <a:lnTo>
                  <a:pt x="911470" y="2360795"/>
                </a:lnTo>
                <a:lnTo>
                  <a:pt x="911470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38" y="2354123"/>
                </a:lnTo>
                <a:lnTo>
                  <a:pt x="11904" y="2125114"/>
                </a:lnTo>
                <a:cubicBezTo>
                  <a:pt x="125548" y="1006074"/>
                  <a:pt x="1018650" y="117461"/>
                  <a:pt x="2139726" y="10756"/>
                </a:cubicBezTo>
                <a:lnTo>
                  <a:pt x="2354192" y="60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5" name="Freeform 65">
            <a:extLst>
              <a:ext uri="{FF2B5EF4-FFF2-40B4-BE49-F238E27FC236}">
                <a16:creationId xmlns:a16="http://schemas.microsoft.com/office/drawing/2014/main" id="{4477A733-3871-FBEC-3836-0A76447641BA}"/>
              </a:ext>
            </a:extLst>
          </p:cNvPr>
          <p:cNvSpPr/>
          <p:nvPr/>
        </p:nvSpPr>
        <p:spPr>
          <a:xfrm rot="10800000" flipH="1">
            <a:off x="6821566" y="3590399"/>
            <a:ext cx="2825741" cy="2636780"/>
          </a:xfrm>
          <a:custGeom>
            <a:avLst/>
            <a:gdLst>
              <a:gd name="connsiteX0" fmla="*/ 4263450 w 5006214"/>
              <a:gd name="connsiteY0" fmla="*/ 4671443 h 4671443"/>
              <a:gd name="connsiteX1" fmla="*/ 5006214 w 5006214"/>
              <a:gd name="connsiteY1" fmla="*/ 3928679 h 4671443"/>
              <a:gd name="connsiteX2" fmla="*/ 4712860 w 5006214"/>
              <a:gd name="connsiteY2" fmla="*/ 3928679 h 4671443"/>
              <a:gd name="connsiteX3" fmla="*/ 4712860 w 5006214"/>
              <a:gd name="connsiteY3" fmla="*/ 2366816 h 4671443"/>
              <a:gd name="connsiteX4" fmla="*/ 4713158 w 5006214"/>
              <a:gd name="connsiteY4" fmla="*/ 2366816 h 4671443"/>
              <a:gd name="connsiteX5" fmla="*/ 4712860 w 5006214"/>
              <a:gd name="connsiteY5" fmla="*/ 2360522 h 4671443"/>
              <a:gd name="connsiteX6" fmla="*/ 4712860 w 5006214"/>
              <a:gd name="connsiteY6" fmla="*/ 2354127 h 4671443"/>
              <a:gd name="connsiteX7" fmla="*/ 4712558 w 5006214"/>
              <a:gd name="connsiteY7" fmla="*/ 2354127 h 4671443"/>
              <a:gd name="connsiteX8" fmla="*/ 4702406 w 5006214"/>
              <a:gd name="connsiteY8" fmla="*/ 2139724 h 4671443"/>
              <a:gd name="connsiteX9" fmla="*/ 2588047 w 5006214"/>
              <a:gd name="connsiteY9" fmla="*/ 11902 h 4671443"/>
              <a:gd name="connsiteX10" fmla="*/ 2366820 w 5006214"/>
              <a:gd name="connsiteY10" fmla="*/ 730 h 4671443"/>
              <a:gd name="connsiteX11" fmla="*/ 2366820 w 5006214"/>
              <a:gd name="connsiteY11" fmla="*/ 3 h 4671443"/>
              <a:gd name="connsiteX12" fmla="*/ 2359391 w 5006214"/>
              <a:gd name="connsiteY12" fmla="*/ 355 h 4671443"/>
              <a:gd name="connsiteX13" fmla="*/ 2352367 w 5006214"/>
              <a:gd name="connsiteY13" fmla="*/ 0 h 4671443"/>
              <a:gd name="connsiteX14" fmla="*/ 2352367 w 5006214"/>
              <a:gd name="connsiteY14" fmla="*/ 687 h 4671443"/>
              <a:gd name="connsiteX15" fmla="*/ 2139728 w 5006214"/>
              <a:gd name="connsiteY15" fmla="*/ 10755 h 4671443"/>
              <a:gd name="connsiteX16" fmla="*/ 11905 w 5006214"/>
              <a:gd name="connsiteY16" fmla="*/ 2125115 h 4671443"/>
              <a:gd name="connsiteX17" fmla="*/ 341 w 5006214"/>
              <a:gd name="connsiteY17" fmla="*/ 2354124 h 4671443"/>
              <a:gd name="connsiteX18" fmla="*/ 0 w 5006214"/>
              <a:gd name="connsiteY18" fmla="*/ 2354124 h 4671443"/>
              <a:gd name="connsiteX19" fmla="*/ 0 w 5006214"/>
              <a:gd name="connsiteY19" fmla="*/ 4192353 h 4671443"/>
              <a:gd name="connsiteX20" fmla="*/ 911470 w 5006214"/>
              <a:gd name="connsiteY20" fmla="*/ 4192353 h 4671443"/>
              <a:gd name="connsiteX21" fmla="*/ 911470 w 5006214"/>
              <a:gd name="connsiteY21" fmla="*/ 2360795 h 4671443"/>
              <a:gd name="connsiteX22" fmla="*/ 913858 w 5006214"/>
              <a:gd name="connsiteY22" fmla="*/ 2360795 h 4671443"/>
              <a:gd name="connsiteX23" fmla="*/ 921041 w 5006214"/>
              <a:gd name="connsiteY23" fmla="*/ 2218552 h 4671443"/>
              <a:gd name="connsiteX24" fmla="*/ 2227397 w 5006214"/>
              <a:gd name="connsiteY24" fmla="*/ 920461 h 4671443"/>
              <a:gd name="connsiteX25" fmla="*/ 2359421 w 5006214"/>
              <a:gd name="connsiteY25" fmla="*/ 914210 h 4671443"/>
              <a:gd name="connsiteX26" fmla="*/ 2494610 w 5006214"/>
              <a:gd name="connsiteY26" fmla="*/ 921037 h 4671443"/>
              <a:gd name="connsiteX27" fmla="*/ 3799302 w 5006214"/>
              <a:gd name="connsiteY27" fmla="*/ 2366815 h 4671443"/>
              <a:gd name="connsiteX28" fmla="*/ 3799302 w 5006214"/>
              <a:gd name="connsiteY28" fmla="*/ 2366816 h 4671443"/>
              <a:gd name="connsiteX29" fmla="*/ 3801392 w 5006214"/>
              <a:gd name="connsiteY29" fmla="*/ 2366816 h 4671443"/>
              <a:gd name="connsiteX30" fmla="*/ 3801392 w 5006214"/>
              <a:gd name="connsiteY30" fmla="*/ 3928679 h 4671443"/>
              <a:gd name="connsiteX31" fmla="*/ 3520686 w 5006214"/>
              <a:gd name="connsiteY31" fmla="*/ 3928679 h 467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6214" h="4671443">
                <a:moveTo>
                  <a:pt x="4263450" y="4671443"/>
                </a:moveTo>
                <a:lnTo>
                  <a:pt x="5006214" y="3928679"/>
                </a:lnTo>
                <a:lnTo>
                  <a:pt x="4712860" y="3928679"/>
                </a:lnTo>
                <a:lnTo>
                  <a:pt x="4712860" y="2366816"/>
                </a:lnTo>
                <a:lnTo>
                  <a:pt x="4713158" y="2366816"/>
                </a:lnTo>
                <a:lnTo>
                  <a:pt x="4712860" y="2360522"/>
                </a:lnTo>
                <a:lnTo>
                  <a:pt x="4712860" y="2354127"/>
                </a:lnTo>
                <a:lnTo>
                  <a:pt x="4712558" y="2354127"/>
                </a:lnTo>
                <a:lnTo>
                  <a:pt x="4702406" y="2139724"/>
                </a:lnTo>
                <a:cubicBezTo>
                  <a:pt x="4595700" y="1018648"/>
                  <a:pt x="3707088" y="125546"/>
                  <a:pt x="2588047" y="11902"/>
                </a:cubicBezTo>
                <a:lnTo>
                  <a:pt x="2366820" y="730"/>
                </a:lnTo>
                <a:lnTo>
                  <a:pt x="2366820" y="3"/>
                </a:lnTo>
                <a:lnTo>
                  <a:pt x="2359391" y="355"/>
                </a:lnTo>
                <a:lnTo>
                  <a:pt x="2352367" y="0"/>
                </a:lnTo>
                <a:lnTo>
                  <a:pt x="2352367" y="687"/>
                </a:lnTo>
                <a:lnTo>
                  <a:pt x="2139728" y="10755"/>
                </a:lnTo>
                <a:cubicBezTo>
                  <a:pt x="1018651" y="117461"/>
                  <a:pt x="125550" y="1006074"/>
                  <a:pt x="11905" y="2125115"/>
                </a:cubicBezTo>
                <a:lnTo>
                  <a:pt x="341" y="2354124"/>
                </a:lnTo>
                <a:lnTo>
                  <a:pt x="0" y="2354124"/>
                </a:lnTo>
                <a:lnTo>
                  <a:pt x="0" y="4192353"/>
                </a:lnTo>
                <a:lnTo>
                  <a:pt x="911470" y="4192353"/>
                </a:lnTo>
                <a:lnTo>
                  <a:pt x="911470" y="2360795"/>
                </a:lnTo>
                <a:lnTo>
                  <a:pt x="913858" y="2360795"/>
                </a:lnTo>
                <a:lnTo>
                  <a:pt x="921041" y="2218552"/>
                </a:lnTo>
                <a:cubicBezTo>
                  <a:pt x="990813" y="1531528"/>
                  <a:pt x="1539123" y="985972"/>
                  <a:pt x="2227397" y="920461"/>
                </a:cubicBezTo>
                <a:lnTo>
                  <a:pt x="2359421" y="914210"/>
                </a:lnTo>
                <a:lnTo>
                  <a:pt x="2494610" y="921037"/>
                </a:lnTo>
                <a:cubicBezTo>
                  <a:pt x="3227436" y="995460"/>
                  <a:pt x="3799302" y="1614355"/>
                  <a:pt x="3799302" y="2366815"/>
                </a:cubicBezTo>
                <a:lnTo>
                  <a:pt x="3799302" y="2366816"/>
                </a:lnTo>
                <a:lnTo>
                  <a:pt x="3801392" y="2366816"/>
                </a:lnTo>
                <a:lnTo>
                  <a:pt x="3801392" y="3928679"/>
                </a:lnTo>
                <a:lnTo>
                  <a:pt x="3520686" y="39286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6" name="Freeform 64">
            <a:extLst>
              <a:ext uri="{FF2B5EF4-FFF2-40B4-BE49-F238E27FC236}">
                <a16:creationId xmlns:a16="http://schemas.microsoft.com/office/drawing/2014/main" id="{87D99230-24DF-AB90-5BD3-68C84252C680}"/>
              </a:ext>
            </a:extLst>
          </p:cNvPr>
          <p:cNvSpPr/>
          <p:nvPr/>
        </p:nvSpPr>
        <p:spPr>
          <a:xfrm>
            <a:off x="4674853" y="1520824"/>
            <a:ext cx="2826769" cy="2636780"/>
          </a:xfrm>
          <a:custGeom>
            <a:avLst/>
            <a:gdLst>
              <a:gd name="connsiteX0" fmla="*/ 2354193 w 5008036"/>
              <a:gd name="connsiteY0" fmla="*/ 0 h 4671442"/>
              <a:gd name="connsiteX1" fmla="*/ 2360333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7 h 4671442"/>
              <a:gd name="connsiteX4" fmla="*/ 2589873 w 5008036"/>
              <a:gd name="connsiteY4" fmla="*/ 11902 h 4671442"/>
              <a:gd name="connsiteX5" fmla="*/ 4704230 w 5008036"/>
              <a:gd name="connsiteY5" fmla="*/ 2139724 h 4671442"/>
              <a:gd name="connsiteX6" fmla="*/ 4714381 w 5008036"/>
              <a:gd name="connsiteY6" fmla="*/ 2354125 h 4671442"/>
              <a:gd name="connsiteX7" fmla="*/ 4714686 w 5008036"/>
              <a:gd name="connsiteY7" fmla="*/ 2354125 h 4671442"/>
              <a:gd name="connsiteX8" fmla="*/ 4714686 w 5008036"/>
              <a:gd name="connsiteY8" fmla="*/ 2360565 h 4671442"/>
              <a:gd name="connsiteX9" fmla="*/ 4714982 w 5008036"/>
              <a:gd name="connsiteY9" fmla="*/ 2366816 h 4671442"/>
              <a:gd name="connsiteX10" fmla="*/ 4714686 w 5008036"/>
              <a:gd name="connsiteY10" fmla="*/ 2366816 h 4671442"/>
              <a:gd name="connsiteX11" fmla="*/ 4714686 w 5008036"/>
              <a:gd name="connsiteY11" fmla="*/ 3928679 h 4671442"/>
              <a:gd name="connsiteX12" fmla="*/ 5008036 w 5008036"/>
              <a:gd name="connsiteY12" fmla="*/ 3928679 h 4671442"/>
              <a:gd name="connsiteX13" fmla="*/ 4265273 w 5008036"/>
              <a:gd name="connsiteY13" fmla="*/ 4671442 h 4671442"/>
              <a:gd name="connsiteX14" fmla="*/ 3522510 w 5008036"/>
              <a:gd name="connsiteY14" fmla="*/ 3928679 h 4671442"/>
              <a:gd name="connsiteX15" fmla="*/ 3803215 w 5008036"/>
              <a:gd name="connsiteY15" fmla="*/ 3928679 h 4671442"/>
              <a:gd name="connsiteX16" fmla="*/ 3803215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5 w 5008036"/>
              <a:gd name="connsiteY19" fmla="*/ 921037 h 4671442"/>
              <a:gd name="connsiteX20" fmla="*/ 2360353 w 5008036"/>
              <a:gd name="connsiteY20" fmla="*/ 914165 h 4671442"/>
              <a:gd name="connsiteX21" fmla="*/ 2227396 w 5008036"/>
              <a:gd name="connsiteY21" fmla="*/ 920461 h 4671442"/>
              <a:gd name="connsiteX22" fmla="*/ 921040 w 5008036"/>
              <a:gd name="connsiteY22" fmla="*/ 2218551 h 4671442"/>
              <a:gd name="connsiteX23" fmla="*/ 913857 w 5008036"/>
              <a:gd name="connsiteY23" fmla="*/ 2360794 h 4671442"/>
              <a:gd name="connsiteX24" fmla="*/ 911471 w 5008036"/>
              <a:gd name="connsiteY24" fmla="*/ 2360794 h 4671442"/>
              <a:gd name="connsiteX25" fmla="*/ 911471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40 w 5008036"/>
              <a:gd name="connsiteY28" fmla="*/ 2354123 h 4671442"/>
              <a:gd name="connsiteX29" fmla="*/ 11905 w 5008036"/>
              <a:gd name="connsiteY29" fmla="*/ 2125114 h 4671442"/>
              <a:gd name="connsiteX30" fmla="*/ 2139726 w 5008036"/>
              <a:gd name="connsiteY30" fmla="*/ 10755 h 4671442"/>
              <a:gd name="connsiteX31" fmla="*/ 2354193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3" y="0"/>
                </a:moveTo>
                <a:lnTo>
                  <a:pt x="2360333" y="310"/>
                </a:lnTo>
                <a:lnTo>
                  <a:pt x="2366818" y="3"/>
                </a:lnTo>
                <a:lnTo>
                  <a:pt x="2366818" y="637"/>
                </a:lnTo>
                <a:lnTo>
                  <a:pt x="2589873" y="11902"/>
                </a:lnTo>
                <a:cubicBezTo>
                  <a:pt x="3708912" y="125546"/>
                  <a:pt x="4597525" y="1018647"/>
                  <a:pt x="4704230" y="2139724"/>
                </a:cubicBezTo>
                <a:lnTo>
                  <a:pt x="4714381" y="2354125"/>
                </a:lnTo>
                <a:lnTo>
                  <a:pt x="4714686" y="2354125"/>
                </a:lnTo>
                <a:lnTo>
                  <a:pt x="4714686" y="2360565"/>
                </a:lnTo>
                <a:lnTo>
                  <a:pt x="4714982" y="2366816"/>
                </a:lnTo>
                <a:lnTo>
                  <a:pt x="4714686" y="2366816"/>
                </a:lnTo>
                <a:lnTo>
                  <a:pt x="4714686" y="3928679"/>
                </a:lnTo>
                <a:lnTo>
                  <a:pt x="5008036" y="3928679"/>
                </a:lnTo>
                <a:lnTo>
                  <a:pt x="4265273" y="4671442"/>
                </a:lnTo>
                <a:lnTo>
                  <a:pt x="3522510" y="3928679"/>
                </a:lnTo>
                <a:lnTo>
                  <a:pt x="3803215" y="3928679"/>
                </a:lnTo>
                <a:lnTo>
                  <a:pt x="3803215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1" y="995460"/>
                  <a:pt x="2496435" y="921037"/>
                </a:cubicBezTo>
                <a:lnTo>
                  <a:pt x="2360353" y="914165"/>
                </a:lnTo>
                <a:lnTo>
                  <a:pt x="2227396" y="920461"/>
                </a:lnTo>
                <a:cubicBezTo>
                  <a:pt x="1539122" y="985971"/>
                  <a:pt x="990812" y="1531526"/>
                  <a:pt x="921040" y="2218551"/>
                </a:cubicBezTo>
                <a:lnTo>
                  <a:pt x="913857" y="2360794"/>
                </a:lnTo>
                <a:lnTo>
                  <a:pt x="911471" y="2360794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4"/>
                </a:lnTo>
                <a:cubicBezTo>
                  <a:pt x="125549" y="1006073"/>
                  <a:pt x="1018650" y="117461"/>
                  <a:pt x="2139726" y="10755"/>
                </a:cubicBezTo>
                <a:lnTo>
                  <a:pt x="2354193" y="6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7" name="Freeform 63">
            <a:extLst>
              <a:ext uri="{FF2B5EF4-FFF2-40B4-BE49-F238E27FC236}">
                <a16:creationId xmlns:a16="http://schemas.microsoft.com/office/drawing/2014/main" id="{D3F66CCA-605E-4DD8-36CC-0084B21E5111}"/>
              </a:ext>
            </a:extLst>
          </p:cNvPr>
          <p:cNvSpPr/>
          <p:nvPr/>
        </p:nvSpPr>
        <p:spPr>
          <a:xfrm rot="16200000" flipH="1">
            <a:off x="2625364" y="3495919"/>
            <a:ext cx="2636780" cy="2825741"/>
          </a:xfrm>
          <a:custGeom>
            <a:avLst/>
            <a:gdLst>
              <a:gd name="connsiteX0" fmla="*/ 0 w 4671443"/>
              <a:gd name="connsiteY0" fmla="*/ 4263451 h 5006214"/>
              <a:gd name="connsiteX1" fmla="*/ 742763 w 4671443"/>
              <a:gd name="connsiteY1" fmla="*/ 5006214 h 5006214"/>
              <a:gd name="connsiteX2" fmla="*/ 742763 w 4671443"/>
              <a:gd name="connsiteY2" fmla="*/ 4712862 h 5006214"/>
              <a:gd name="connsiteX3" fmla="*/ 2304626 w 4671443"/>
              <a:gd name="connsiteY3" fmla="*/ 4712862 h 5006214"/>
              <a:gd name="connsiteX4" fmla="*/ 2304626 w 4671443"/>
              <a:gd name="connsiteY4" fmla="*/ 4713159 h 5006214"/>
              <a:gd name="connsiteX5" fmla="*/ 2310900 w 4671443"/>
              <a:gd name="connsiteY5" fmla="*/ 4712862 h 5006214"/>
              <a:gd name="connsiteX6" fmla="*/ 2317316 w 4671443"/>
              <a:gd name="connsiteY6" fmla="*/ 4712862 h 5006214"/>
              <a:gd name="connsiteX7" fmla="*/ 2317316 w 4671443"/>
              <a:gd name="connsiteY7" fmla="*/ 4712558 h 5006214"/>
              <a:gd name="connsiteX8" fmla="*/ 2531719 w 4671443"/>
              <a:gd name="connsiteY8" fmla="*/ 4702407 h 5006214"/>
              <a:gd name="connsiteX9" fmla="*/ 4659541 w 4671443"/>
              <a:gd name="connsiteY9" fmla="*/ 2588048 h 5006214"/>
              <a:gd name="connsiteX10" fmla="*/ 4670713 w 4671443"/>
              <a:gd name="connsiteY10" fmla="*/ 2366820 h 5006214"/>
              <a:gd name="connsiteX11" fmla="*/ 4671440 w 4671443"/>
              <a:gd name="connsiteY11" fmla="*/ 2366820 h 5006214"/>
              <a:gd name="connsiteX12" fmla="*/ 4671088 w 4671443"/>
              <a:gd name="connsiteY12" fmla="*/ 2359392 h 5006214"/>
              <a:gd name="connsiteX13" fmla="*/ 4671443 w 4671443"/>
              <a:gd name="connsiteY13" fmla="*/ 2352368 h 5006214"/>
              <a:gd name="connsiteX14" fmla="*/ 4670756 w 4671443"/>
              <a:gd name="connsiteY14" fmla="*/ 2352368 h 5006214"/>
              <a:gd name="connsiteX15" fmla="*/ 4660688 w 4671443"/>
              <a:gd name="connsiteY15" fmla="*/ 2139729 h 5006214"/>
              <a:gd name="connsiteX16" fmla="*/ 2546328 w 4671443"/>
              <a:gd name="connsiteY16" fmla="*/ 11906 h 5006214"/>
              <a:gd name="connsiteX17" fmla="*/ 2317319 w 4671443"/>
              <a:gd name="connsiteY17" fmla="*/ 341 h 5006214"/>
              <a:gd name="connsiteX18" fmla="*/ 2317319 w 4671443"/>
              <a:gd name="connsiteY18" fmla="*/ 0 h 5006214"/>
              <a:gd name="connsiteX19" fmla="*/ 479089 w 4671443"/>
              <a:gd name="connsiteY19" fmla="*/ 0 h 5006214"/>
              <a:gd name="connsiteX20" fmla="*/ 479089 w 4671443"/>
              <a:gd name="connsiteY20" fmla="*/ 911471 h 5006214"/>
              <a:gd name="connsiteX21" fmla="*/ 2310647 w 4671443"/>
              <a:gd name="connsiteY21" fmla="*/ 911471 h 5006214"/>
              <a:gd name="connsiteX22" fmla="*/ 2310647 w 4671443"/>
              <a:gd name="connsiteY22" fmla="*/ 913859 h 5006214"/>
              <a:gd name="connsiteX23" fmla="*/ 2452891 w 4671443"/>
              <a:gd name="connsiteY23" fmla="*/ 921041 h 5006214"/>
              <a:gd name="connsiteX24" fmla="*/ 3750982 w 4671443"/>
              <a:gd name="connsiteY24" fmla="*/ 2227398 h 5006214"/>
              <a:gd name="connsiteX25" fmla="*/ 3757233 w 4671443"/>
              <a:gd name="connsiteY25" fmla="*/ 2359422 h 5006214"/>
              <a:gd name="connsiteX26" fmla="*/ 3750406 w 4671443"/>
              <a:gd name="connsiteY26" fmla="*/ 2494611 h 5006214"/>
              <a:gd name="connsiteX27" fmla="*/ 2304627 w 4671443"/>
              <a:gd name="connsiteY27" fmla="*/ 3799303 h 5006214"/>
              <a:gd name="connsiteX28" fmla="*/ 2304626 w 4671443"/>
              <a:gd name="connsiteY28" fmla="*/ 3799303 h 5006214"/>
              <a:gd name="connsiteX29" fmla="*/ 2304626 w 4671443"/>
              <a:gd name="connsiteY29" fmla="*/ 3801392 h 5006214"/>
              <a:gd name="connsiteX30" fmla="*/ 742763 w 4671443"/>
              <a:gd name="connsiteY30" fmla="*/ 3801392 h 5006214"/>
              <a:gd name="connsiteX31" fmla="*/ 742763 w 4671443"/>
              <a:gd name="connsiteY31" fmla="*/ 3520688 h 5006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671443" h="5006214">
                <a:moveTo>
                  <a:pt x="0" y="4263451"/>
                </a:moveTo>
                <a:lnTo>
                  <a:pt x="742763" y="5006214"/>
                </a:lnTo>
                <a:lnTo>
                  <a:pt x="742763" y="4712862"/>
                </a:lnTo>
                <a:lnTo>
                  <a:pt x="2304626" y="4712862"/>
                </a:lnTo>
                <a:lnTo>
                  <a:pt x="2304626" y="4713159"/>
                </a:lnTo>
                <a:lnTo>
                  <a:pt x="2310900" y="4712862"/>
                </a:lnTo>
                <a:lnTo>
                  <a:pt x="2317316" y="4712862"/>
                </a:lnTo>
                <a:lnTo>
                  <a:pt x="2317316" y="4712558"/>
                </a:lnTo>
                <a:lnTo>
                  <a:pt x="2531719" y="4702407"/>
                </a:lnTo>
                <a:cubicBezTo>
                  <a:pt x="3652795" y="4595701"/>
                  <a:pt x="4545897" y="3707088"/>
                  <a:pt x="4659541" y="2588048"/>
                </a:cubicBezTo>
                <a:lnTo>
                  <a:pt x="4670713" y="2366820"/>
                </a:lnTo>
                <a:lnTo>
                  <a:pt x="4671440" y="2366820"/>
                </a:lnTo>
                <a:lnTo>
                  <a:pt x="4671088" y="2359392"/>
                </a:lnTo>
                <a:lnTo>
                  <a:pt x="4671443" y="2352368"/>
                </a:lnTo>
                <a:lnTo>
                  <a:pt x="4670756" y="2352368"/>
                </a:lnTo>
                <a:lnTo>
                  <a:pt x="4660688" y="2139729"/>
                </a:lnTo>
                <a:cubicBezTo>
                  <a:pt x="4553982" y="1018652"/>
                  <a:pt x="3665369" y="125551"/>
                  <a:pt x="2546328" y="11906"/>
                </a:cubicBezTo>
                <a:lnTo>
                  <a:pt x="2317319" y="341"/>
                </a:lnTo>
                <a:lnTo>
                  <a:pt x="2317319" y="0"/>
                </a:lnTo>
                <a:lnTo>
                  <a:pt x="479089" y="0"/>
                </a:lnTo>
                <a:lnTo>
                  <a:pt x="479089" y="911471"/>
                </a:lnTo>
                <a:lnTo>
                  <a:pt x="2310647" y="911471"/>
                </a:lnTo>
                <a:lnTo>
                  <a:pt x="2310647" y="913859"/>
                </a:lnTo>
                <a:lnTo>
                  <a:pt x="2452891" y="921041"/>
                </a:lnTo>
                <a:cubicBezTo>
                  <a:pt x="3139915" y="990813"/>
                  <a:pt x="3685471" y="1539124"/>
                  <a:pt x="3750982" y="2227398"/>
                </a:cubicBezTo>
                <a:lnTo>
                  <a:pt x="3757233" y="2359422"/>
                </a:lnTo>
                <a:lnTo>
                  <a:pt x="3750406" y="2494611"/>
                </a:lnTo>
                <a:cubicBezTo>
                  <a:pt x="3675983" y="3227437"/>
                  <a:pt x="3057088" y="3799303"/>
                  <a:pt x="2304627" y="3799303"/>
                </a:cubicBezTo>
                <a:lnTo>
                  <a:pt x="2304626" y="3799303"/>
                </a:lnTo>
                <a:lnTo>
                  <a:pt x="2304626" y="3801392"/>
                </a:lnTo>
                <a:lnTo>
                  <a:pt x="742763" y="3801392"/>
                </a:lnTo>
                <a:lnTo>
                  <a:pt x="742763" y="35206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8" name="Freeform 62">
            <a:extLst>
              <a:ext uri="{FF2B5EF4-FFF2-40B4-BE49-F238E27FC236}">
                <a16:creationId xmlns:a16="http://schemas.microsoft.com/office/drawing/2014/main" id="{A541B054-E005-DED0-D76D-89608E552E85}"/>
              </a:ext>
            </a:extLst>
          </p:cNvPr>
          <p:cNvSpPr/>
          <p:nvPr/>
        </p:nvSpPr>
        <p:spPr>
          <a:xfrm>
            <a:off x="384174" y="1520824"/>
            <a:ext cx="2826772" cy="2636781"/>
          </a:xfrm>
          <a:custGeom>
            <a:avLst/>
            <a:gdLst>
              <a:gd name="connsiteX0" fmla="*/ 2354193 w 5008041"/>
              <a:gd name="connsiteY0" fmla="*/ 0 h 4671444"/>
              <a:gd name="connsiteX1" fmla="*/ 2360354 w 5008041"/>
              <a:gd name="connsiteY1" fmla="*/ 311 h 4671444"/>
              <a:gd name="connsiteX2" fmla="*/ 2366818 w 5008041"/>
              <a:gd name="connsiteY2" fmla="*/ 5 h 4671444"/>
              <a:gd name="connsiteX3" fmla="*/ 2366818 w 5008041"/>
              <a:gd name="connsiteY3" fmla="*/ 638 h 4671444"/>
              <a:gd name="connsiteX4" fmla="*/ 2589873 w 5008041"/>
              <a:gd name="connsiteY4" fmla="*/ 11902 h 4671444"/>
              <a:gd name="connsiteX5" fmla="*/ 4704230 w 5008041"/>
              <a:gd name="connsiteY5" fmla="*/ 2139725 h 4671444"/>
              <a:gd name="connsiteX6" fmla="*/ 4714381 w 5008041"/>
              <a:gd name="connsiteY6" fmla="*/ 2354123 h 4671444"/>
              <a:gd name="connsiteX7" fmla="*/ 4714684 w 5008041"/>
              <a:gd name="connsiteY7" fmla="*/ 2354123 h 4671444"/>
              <a:gd name="connsiteX8" fmla="*/ 4714684 w 5008041"/>
              <a:gd name="connsiteY8" fmla="*/ 2360523 h 4671444"/>
              <a:gd name="connsiteX9" fmla="*/ 4714982 w 5008041"/>
              <a:gd name="connsiteY9" fmla="*/ 2366816 h 4671444"/>
              <a:gd name="connsiteX10" fmla="*/ 4714684 w 5008041"/>
              <a:gd name="connsiteY10" fmla="*/ 2366816 h 4671444"/>
              <a:gd name="connsiteX11" fmla="*/ 4714684 w 5008041"/>
              <a:gd name="connsiteY11" fmla="*/ 3928681 h 4671444"/>
              <a:gd name="connsiteX12" fmla="*/ 5008041 w 5008041"/>
              <a:gd name="connsiteY12" fmla="*/ 3928681 h 4671444"/>
              <a:gd name="connsiteX13" fmla="*/ 4265277 w 5008041"/>
              <a:gd name="connsiteY13" fmla="*/ 4671444 h 4671444"/>
              <a:gd name="connsiteX14" fmla="*/ 3522514 w 5008041"/>
              <a:gd name="connsiteY14" fmla="*/ 3928681 h 4671444"/>
              <a:gd name="connsiteX15" fmla="*/ 3803213 w 5008041"/>
              <a:gd name="connsiteY15" fmla="*/ 3928681 h 4671444"/>
              <a:gd name="connsiteX16" fmla="*/ 3803213 w 5008041"/>
              <a:gd name="connsiteY16" fmla="*/ 2366816 h 4671444"/>
              <a:gd name="connsiteX17" fmla="*/ 3801127 w 5008041"/>
              <a:gd name="connsiteY17" fmla="*/ 2366816 h 4671444"/>
              <a:gd name="connsiteX18" fmla="*/ 3801127 w 5008041"/>
              <a:gd name="connsiteY18" fmla="*/ 2366815 h 4671444"/>
              <a:gd name="connsiteX19" fmla="*/ 2496436 w 5008041"/>
              <a:gd name="connsiteY19" fmla="*/ 921037 h 4671444"/>
              <a:gd name="connsiteX20" fmla="*/ 2360374 w 5008041"/>
              <a:gd name="connsiteY20" fmla="*/ 914167 h 4671444"/>
              <a:gd name="connsiteX21" fmla="*/ 2227396 w 5008041"/>
              <a:gd name="connsiteY21" fmla="*/ 920463 h 4671444"/>
              <a:gd name="connsiteX22" fmla="*/ 921040 w 5008041"/>
              <a:gd name="connsiteY22" fmla="*/ 2218554 h 4671444"/>
              <a:gd name="connsiteX23" fmla="*/ 913857 w 5008041"/>
              <a:gd name="connsiteY23" fmla="*/ 2360796 h 4671444"/>
              <a:gd name="connsiteX24" fmla="*/ 911471 w 5008041"/>
              <a:gd name="connsiteY24" fmla="*/ 2360796 h 4671444"/>
              <a:gd name="connsiteX25" fmla="*/ 911471 w 5008041"/>
              <a:gd name="connsiteY25" fmla="*/ 4192352 h 4671444"/>
              <a:gd name="connsiteX26" fmla="*/ 0 w 5008041"/>
              <a:gd name="connsiteY26" fmla="*/ 4192352 h 4671444"/>
              <a:gd name="connsiteX27" fmla="*/ 0 w 5008041"/>
              <a:gd name="connsiteY27" fmla="*/ 2354123 h 4671444"/>
              <a:gd name="connsiteX28" fmla="*/ 340 w 5008041"/>
              <a:gd name="connsiteY28" fmla="*/ 2354123 h 4671444"/>
              <a:gd name="connsiteX29" fmla="*/ 11905 w 5008041"/>
              <a:gd name="connsiteY29" fmla="*/ 2125116 h 4671444"/>
              <a:gd name="connsiteX30" fmla="*/ 2139726 w 5008041"/>
              <a:gd name="connsiteY30" fmla="*/ 10757 h 4671444"/>
              <a:gd name="connsiteX31" fmla="*/ 2354193 w 5008041"/>
              <a:gd name="connsiteY31" fmla="*/ 603 h 4671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41" h="4671444">
                <a:moveTo>
                  <a:pt x="2354193" y="0"/>
                </a:moveTo>
                <a:lnTo>
                  <a:pt x="2360354" y="311"/>
                </a:lnTo>
                <a:lnTo>
                  <a:pt x="2366818" y="5"/>
                </a:lnTo>
                <a:lnTo>
                  <a:pt x="2366818" y="638"/>
                </a:lnTo>
                <a:lnTo>
                  <a:pt x="2589873" y="11902"/>
                </a:lnTo>
                <a:cubicBezTo>
                  <a:pt x="3708913" y="125546"/>
                  <a:pt x="4597525" y="1018648"/>
                  <a:pt x="4704230" y="2139725"/>
                </a:cubicBezTo>
                <a:lnTo>
                  <a:pt x="4714381" y="2354123"/>
                </a:lnTo>
                <a:lnTo>
                  <a:pt x="4714684" y="2354123"/>
                </a:lnTo>
                <a:lnTo>
                  <a:pt x="4714684" y="2360523"/>
                </a:lnTo>
                <a:lnTo>
                  <a:pt x="4714982" y="2366816"/>
                </a:lnTo>
                <a:lnTo>
                  <a:pt x="4714684" y="2366816"/>
                </a:lnTo>
                <a:lnTo>
                  <a:pt x="4714684" y="3928681"/>
                </a:lnTo>
                <a:lnTo>
                  <a:pt x="5008041" y="3928681"/>
                </a:lnTo>
                <a:lnTo>
                  <a:pt x="4265277" y="4671444"/>
                </a:lnTo>
                <a:lnTo>
                  <a:pt x="3522514" y="3928681"/>
                </a:lnTo>
                <a:lnTo>
                  <a:pt x="3803213" y="3928681"/>
                </a:lnTo>
                <a:lnTo>
                  <a:pt x="3803213" y="2366816"/>
                </a:lnTo>
                <a:lnTo>
                  <a:pt x="3801127" y="2366816"/>
                </a:lnTo>
                <a:lnTo>
                  <a:pt x="3801127" y="2366815"/>
                </a:lnTo>
                <a:cubicBezTo>
                  <a:pt x="3801127" y="1614355"/>
                  <a:pt x="3229261" y="995460"/>
                  <a:pt x="2496436" y="921037"/>
                </a:cubicBezTo>
                <a:lnTo>
                  <a:pt x="2360374" y="914167"/>
                </a:lnTo>
                <a:lnTo>
                  <a:pt x="2227396" y="920463"/>
                </a:lnTo>
                <a:cubicBezTo>
                  <a:pt x="1539122" y="985974"/>
                  <a:pt x="990811" y="1531529"/>
                  <a:pt x="921040" y="2218554"/>
                </a:cubicBezTo>
                <a:lnTo>
                  <a:pt x="913857" y="2360796"/>
                </a:lnTo>
                <a:lnTo>
                  <a:pt x="911471" y="2360796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6"/>
                </a:lnTo>
                <a:cubicBezTo>
                  <a:pt x="125549" y="1006076"/>
                  <a:pt x="1018650" y="117463"/>
                  <a:pt x="2139726" y="10757"/>
                </a:cubicBezTo>
                <a:lnTo>
                  <a:pt x="2354193" y="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E618E375-6072-17C8-BE59-F53E279572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10354" y="3368955"/>
            <a:ext cx="450142" cy="591428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7F15DA6F-5407-1F67-4C71-15E342D185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0215" y="3368954"/>
            <a:ext cx="591432" cy="59143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0F0C55E7-55F4-0F0A-C95F-2C14FEAF2A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08974" y="3368954"/>
            <a:ext cx="591432" cy="59143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5095D311-0DDA-26F4-65A8-A50112D14F5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64577" y="3368954"/>
            <a:ext cx="591432" cy="59143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D5A8F165-6E78-27FB-0B44-D430454BE20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17301" y="3368954"/>
            <a:ext cx="591432" cy="59143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4" name="TextBox 74">
            <a:extLst>
              <a:ext uri="{FF2B5EF4-FFF2-40B4-BE49-F238E27FC236}">
                <a16:creationId xmlns:a16="http://schemas.microsoft.com/office/drawing/2014/main" id="{0771551C-2672-4411-D7A0-D2FD2D5005E4}"/>
              </a:ext>
            </a:extLst>
          </p:cNvPr>
          <p:cNvSpPr txBox="1"/>
          <p:nvPr/>
        </p:nvSpPr>
        <p:spPr>
          <a:xfrm>
            <a:off x="1215958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5D0B00D-1541-93B2-A23F-6F0D61D79CA4}"/>
              </a:ext>
            </a:extLst>
          </p:cNvPr>
          <p:cNvSpPr txBox="1">
            <a:spLocks/>
          </p:cNvSpPr>
          <p:nvPr/>
        </p:nvSpPr>
        <p:spPr>
          <a:xfrm>
            <a:off x="1215958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6" name="TextBox 77">
            <a:extLst>
              <a:ext uri="{FF2B5EF4-FFF2-40B4-BE49-F238E27FC236}">
                <a16:creationId xmlns:a16="http://schemas.microsoft.com/office/drawing/2014/main" id="{D8149F31-BB3F-6A16-8A0D-429E1EE048AB}"/>
              </a:ext>
            </a:extLst>
          </p:cNvPr>
          <p:cNvSpPr txBox="1"/>
          <p:nvPr/>
        </p:nvSpPr>
        <p:spPr>
          <a:xfrm>
            <a:off x="5534889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FD26C69-6929-D25A-E5B1-10AABA02B3BD}"/>
              </a:ext>
            </a:extLst>
          </p:cNvPr>
          <p:cNvSpPr txBox="1">
            <a:spLocks/>
          </p:cNvSpPr>
          <p:nvPr/>
        </p:nvSpPr>
        <p:spPr>
          <a:xfrm>
            <a:off x="5505735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8" name="TextBox 79">
            <a:extLst>
              <a:ext uri="{FF2B5EF4-FFF2-40B4-BE49-F238E27FC236}">
                <a16:creationId xmlns:a16="http://schemas.microsoft.com/office/drawing/2014/main" id="{11DF0662-4ABF-6595-525F-02416FE6A6C6}"/>
              </a:ext>
            </a:extLst>
          </p:cNvPr>
          <p:cNvSpPr txBox="1"/>
          <p:nvPr/>
        </p:nvSpPr>
        <p:spPr>
          <a:xfrm>
            <a:off x="9839455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244A4AA-C6B6-E2C8-2A89-1AAB816271F0}"/>
              </a:ext>
            </a:extLst>
          </p:cNvPr>
          <p:cNvSpPr txBox="1">
            <a:spLocks/>
          </p:cNvSpPr>
          <p:nvPr/>
        </p:nvSpPr>
        <p:spPr>
          <a:xfrm>
            <a:off x="9810301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TextBox 81">
            <a:extLst>
              <a:ext uri="{FF2B5EF4-FFF2-40B4-BE49-F238E27FC236}">
                <a16:creationId xmlns:a16="http://schemas.microsoft.com/office/drawing/2014/main" id="{667C3244-7F89-D570-0707-E8E88084FA7B}"/>
              </a:ext>
            </a:extLst>
          </p:cNvPr>
          <p:cNvSpPr txBox="1"/>
          <p:nvPr/>
        </p:nvSpPr>
        <p:spPr>
          <a:xfrm>
            <a:off x="3389665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A5DE56E0-59AB-B60E-B23E-B18C488BB28F}"/>
              </a:ext>
            </a:extLst>
          </p:cNvPr>
          <p:cNvSpPr txBox="1">
            <a:spLocks/>
          </p:cNvSpPr>
          <p:nvPr/>
        </p:nvSpPr>
        <p:spPr>
          <a:xfrm>
            <a:off x="3360510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TextBox 83">
            <a:extLst>
              <a:ext uri="{FF2B5EF4-FFF2-40B4-BE49-F238E27FC236}">
                <a16:creationId xmlns:a16="http://schemas.microsoft.com/office/drawing/2014/main" id="{025FAD5D-0395-6B79-69C7-6CBFCA401BA2}"/>
              </a:ext>
            </a:extLst>
          </p:cNvPr>
          <p:cNvSpPr txBox="1"/>
          <p:nvPr/>
        </p:nvSpPr>
        <p:spPr>
          <a:xfrm>
            <a:off x="7694459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44A6F9F-61E3-6B4A-7CD9-E3D47FBB9A7B}"/>
              </a:ext>
            </a:extLst>
          </p:cNvPr>
          <p:cNvSpPr txBox="1">
            <a:spLocks/>
          </p:cNvSpPr>
          <p:nvPr/>
        </p:nvSpPr>
        <p:spPr>
          <a:xfrm>
            <a:off x="7665304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5E2C9CA-23B0-B1C2-82F4-78622EECC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821574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8E8925FC-8B12-87D6-9CA9-79952157F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0307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8E8925FC-8B12-87D6-9CA9-79952157F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E1E2AB5-FFBC-86DA-B96D-4B5E280BC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46C73B-893C-AB05-54FF-C7E19F905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ar Proces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A4BE251-D533-CD8C-EDE9-0467E9449479}"/>
              </a:ext>
            </a:extLst>
          </p:cNvPr>
          <p:cNvSpPr txBox="1">
            <a:spLocks/>
          </p:cNvSpPr>
          <p:nvPr/>
        </p:nvSpPr>
        <p:spPr>
          <a:xfrm>
            <a:off x="525215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286C679E-963C-433E-4F66-F051094624F9}"/>
              </a:ext>
            </a:extLst>
          </p:cNvPr>
          <p:cNvSpPr txBox="1">
            <a:spLocks/>
          </p:cNvSpPr>
          <p:nvPr/>
        </p:nvSpPr>
        <p:spPr>
          <a:xfrm>
            <a:off x="2816633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E1B3FD20-3F71-F6CD-2C25-0BC8204B1178}"/>
              </a:ext>
            </a:extLst>
          </p:cNvPr>
          <p:cNvSpPr txBox="1">
            <a:spLocks/>
          </p:cNvSpPr>
          <p:nvPr/>
        </p:nvSpPr>
        <p:spPr>
          <a:xfrm>
            <a:off x="5108051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5AB885F5-9170-5B16-534A-975AE25B3C45}"/>
              </a:ext>
            </a:extLst>
          </p:cNvPr>
          <p:cNvSpPr txBox="1">
            <a:spLocks/>
          </p:cNvSpPr>
          <p:nvPr/>
        </p:nvSpPr>
        <p:spPr>
          <a:xfrm>
            <a:off x="7399469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4A258877-C4B6-D54B-5E81-13D0BC7DCB77}"/>
              </a:ext>
            </a:extLst>
          </p:cNvPr>
          <p:cNvSpPr txBox="1">
            <a:spLocks/>
          </p:cNvSpPr>
          <p:nvPr/>
        </p:nvSpPr>
        <p:spPr>
          <a:xfrm>
            <a:off x="9690886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00C5059-DDC7-FE5D-89B6-719EAF3C7F1B}"/>
              </a:ext>
            </a:extLst>
          </p:cNvPr>
          <p:cNvGrpSpPr/>
          <p:nvPr/>
        </p:nvGrpSpPr>
        <p:grpSpPr>
          <a:xfrm>
            <a:off x="7306962" y="2231929"/>
            <a:ext cx="2224641" cy="2387441"/>
            <a:chOff x="7306962" y="2231929"/>
            <a:chExt cx="2224641" cy="2387441"/>
          </a:xfrm>
          <a:effectLst/>
        </p:grpSpPr>
        <p:sp>
          <p:nvSpPr>
            <p:cNvPr id="5" name="Side 1">
              <a:extLst>
                <a:ext uri="{FF2B5EF4-FFF2-40B4-BE49-F238E27FC236}">
                  <a16:creationId xmlns:a16="http://schemas.microsoft.com/office/drawing/2014/main" id="{1CEDC1C9-F41E-250D-A8F6-E3D9B817325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94565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6" name="Side 2">
              <a:extLst>
                <a:ext uri="{FF2B5EF4-FFF2-40B4-BE49-F238E27FC236}">
                  <a16:creationId xmlns:a16="http://schemas.microsoft.com/office/drawing/2014/main" id="{5D26D32D-05A1-1562-D3D1-30EE08F0C8E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895102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4" name="Line 1">
              <a:extLst>
                <a:ext uri="{FF2B5EF4-FFF2-40B4-BE49-F238E27FC236}">
                  <a16:creationId xmlns:a16="http://schemas.microsoft.com/office/drawing/2014/main" id="{1B2CE785-853C-8874-1503-065ABBB41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962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T TITLE</a:t>
              </a:r>
            </a:p>
          </p:txBody>
        </p:sp>
      </p:grpSp>
      <p:sp>
        <p:nvSpPr>
          <p:cNvPr id="7" name="Oval 1">
            <a:extLst>
              <a:ext uri="{FF2B5EF4-FFF2-40B4-BE49-F238E27FC236}">
                <a16:creationId xmlns:a16="http://schemas.microsoft.com/office/drawing/2014/main" id="{443AEDA3-0885-1FF2-AC48-6519C0F9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792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4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3440B9-4D5E-4003-1A54-6A0BDC49AC89}"/>
              </a:ext>
            </a:extLst>
          </p:cNvPr>
          <p:cNvGrpSpPr/>
          <p:nvPr/>
        </p:nvGrpSpPr>
        <p:grpSpPr>
          <a:xfrm>
            <a:off x="5005463" y="2231929"/>
            <a:ext cx="2224641" cy="2387441"/>
            <a:chOff x="5005463" y="2231929"/>
            <a:chExt cx="2224641" cy="2387441"/>
          </a:xfrm>
          <a:effectLst/>
        </p:grpSpPr>
        <p:sp>
          <p:nvSpPr>
            <p:cNvPr id="9" name="Side 1">
              <a:extLst>
                <a:ext uri="{FF2B5EF4-FFF2-40B4-BE49-F238E27FC236}">
                  <a16:creationId xmlns:a16="http://schemas.microsoft.com/office/drawing/2014/main" id="{0A6579F2-734E-9DA3-7A5D-3BA12D91939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593067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0" name="Side 2">
              <a:extLst>
                <a:ext uri="{FF2B5EF4-FFF2-40B4-BE49-F238E27FC236}">
                  <a16:creationId xmlns:a16="http://schemas.microsoft.com/office/drawing/2014/main" id="{EBB1E644-EEAC-EEBE-B63E-4D3BC07500E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593603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8" name="Line 1">
              <a:extLst>
                <a:ext uri="{FF2B5EF4-FFF2-40B4-BE49-F238E27FC236}">
                  <a16:creationId xmlns:a16="http://schemas.microsoft.com/office/drawing/2014/main" id="{7F3A8063-0E6E-DCBA-1C6D-D00BE7D6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463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1" name="Oval 1">
            <a:extLst>
              <a:ext uri="{FF2B5EF4-FFF2-40B4-BE49-F238E27FC236}">
                <a16:creationId xmlns:a16="http://schemas.microsoft.com/office/drawing/2014/main" id="{459AC308-A02F-0D32-3D04-795E63FA6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6293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3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262915A-B25A-25ED-C148-488DE8EE7FB3}"/>
              </a:ext>
            </a:extLst>
          </p:cNvPr>
          <p:cNvGrpSpPr/>
          <p:nvPr/>
        </p:nvGrpSpPr>
        <p:grpSpPr>
          <a:xfrm>
            <a:off x="2691771" y="2231929"/>
            <a:ext cx="2224642" cy="2387441"/>
            <a:chOff x="2691771" y="2231929"/>
            <a:chExt cx="2224642" cy="2387441"/>
          </a:xfrm>
          <a:effectLst/>
        </p:grpSpPr>
        <p:sp>
          <p:nvSpPr>
            <p:cNvPr id="13" name="Side 1">
              <a:extLst>
                <a:ext uri="{FF2B5EF4-FFF2-40B4-BE49-F238E27FC236}">
                  <a16:creationId xmlns:a16="http://schemas.microsoft.com/office/drawing/2014/main" id="{9EE46325-1BFD-8EF1-95FE-AD9FADCF94A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279374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4" name="Side 2">
              <a:extLst>
                <a:ext uri="{FF2B5EF4-FFF2-40B4-BE49-F238E27FC236}">
                  <a16:creationId xmlns:a16="http://schemas.microsoft.com/office/drawing/2014/main" id="{E1536E55-966A-5823-6B43-DE1107B5794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279912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2" name="Line 1">
              <a:extLst>
                <a:ext uri="{FF2B5EF4-FFF2-40B4-BE49-F238E27FC236}">
                  <a16:creationId xmlns:a16="http://schemas.microsoft.com/office/drawing/2014/main" id="{10D08093-7BCE-CF79-B9AE-FE4EF1AA6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1771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5" name="Oval 1">
            <a:extLst>
              <a:ext uri="{FF2B5EF4-FFF2-40B4-BE49-F238E27FC236}">
                <a16:creationId xmlns:a16="http://schemas.microsoft.com/office/drawing/2014/main" id="{8CE4F839-F4FC-BEF8-31F1-B6739640DC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602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2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929D02-2610-919A-AD67-9FFF8504989A}"/>
              </a:ext>
            </a:extLst>
          </p:cNvPr>
          <p:cNvGrpSpPr/>
          <p:nvPr/>
        </p:nvGrpSpPr>
        <p:grpSpPr>
          <a:xfrm>
            <a:off x="384175" y="2231929"/>
            <a:ext cx="2224641" cy="2387441"/>
            <a:chOff x="384175" y="2231929"/>
            <a:chExt cx="2224641" cy="2387441"/>
          </a:xfrm>
          <a:effectLst/>
        </p:grpSpPr>
        <p:sp>
          <p:nvSpPr>
            <p:cNvPr id="17" name="Side 1">
              <a:extLst>
                <a:ext uri="{FF2B5EF4-FFF2-40B4-BE49-F238E27FC236}">
                  <a16:creationId xmlns:a16="http://schemas.microsoft.com/office/drawing/2014/main" id="{5AF147B2-4B3F-38EC-D1D8-369A9974D85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971778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8" name="Side 2">
              <a:extLst>
                <a:ext uri="{FF2B5EF4-FFF2-40B4-BE49-F238E27FC236}">
                  <a16:creationId xmlns:a16="http://schemas.microsoft.com/office/drawing/2014/main" id="{B4E54461-1BC4-4418-E802-2F278CEF1AE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972315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6" name="Line 1">
              <a:extLst>
                <a:ext uri="{FF2B5EF4-FFF2-40B4-BE49-F238E27FC236}">
                  <a16:creationId xmlns:a16="http://schemas.microsoft.com/office/drawing/2014/main" id="{B84A7DC0-94BB-D1DD-EAE9-8731676A5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75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9" name="Oval 1">
            <a:extLst>
              <a:ext uri="{FF2B5EF4-FFF2-40B4-BE49-F238E27FC236}">
                <a16:creationId xmlns:a16="http://schemas.microsoft.com/office/drawing/2014/main" id="{BD316369-043C-54A7-6747-117ACB496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5006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1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B52AA6F-9A83-E12C-5575-B664BE4DC425}"/>
              </a:ext>
            </a:extLst>
          </p:cNvPr>
          <p:cNvGrpSpPr/>
          <p:nvPr/>
        </p:nvGrpSpPr>
        <p:grpSpPr>
          <a:xfrm>
            <a:off x="9595884" y="2231852"/>
            <a:ext cx="2224641" cy="2387442"/>
            <a:chOff x="9595884" y="2231852"/>
            <a:chExt cx="2224641" cy="2387442"/>
          </a:xfrm>
          <a:effectLst/>
        </p:grpSpPr>
        <p:sp>
          <p:nvSpPr>
            <p:cNvPr id="21" name="Side 1">
              <a:extLst>
                <a:ext uri="{FF2B5EF4-FFF2-40B4-BE49-F238E27FC236}">
                  <a16:creationId xmlns:a16="http://schemas.microsoft.com/office/drawing/2014/main" id="{BD88A550-42DC-3456-5D42-22A67FCEFAD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83487" y="2984467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22" name="Side 2">
              <a:extLst>
                <a:ext uri="{FF2B5EF4-FFF2-40B4-BE49-F238E27FC236}">
                  <a16:creationId xmlns:a16="http://schemas.microsoft.com/office/drawing/2014/main" id="{F7F1C054-B7C2-1CA5-C1DA-2A521033289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0184024" y="2225992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20" name="Line 1">
              <a:extLst>
                <a:ext uri="{FF2B5EF4-FFF2-40B4-BE49-F238E27FC236}">
                  <a16:creationId xmlns:a16="http://schemas.microsoft.com/office/drawing/2014/main" id="{7FF8919E-6D2D-6828-74F7-D5DF3152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884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23" name="Oval 1">
            <a:extLst>
              <a:ext uri="{FF2B5EF4-FFF2-40B4-BE49-F238E27FC236}">
                <a16:creationId xmlns:a16="http://schemas.microsoft.com/office/drawing/2014/main" id="{192F695D-A182-FE30-D250-C76F90773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26714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5</a:t>
            </a: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4B30AFD1-B2F0-9F16-9045-C085EF8FBD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803164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to 26" hidden="1">
            <a:extLst>
              <a:ext uri="{FF2B5EF4-FFF2-40B4-BE49-F238E27FC236}">
                <a16:creationId xmlns:a16="http://schemas.microsoft.com/office/drawing/2014/main" id="{BBC21C71-5D14-ADB2-EB5E-118DEB783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6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7" name="Objeto 26" hidden="1">
                        <a:extLst>
                          <a:ext uri="{FF2B5EF4-FFF2-40B4-BE49-F238E27FC236}">
                            <a16:creationId xmlns:a16="http://schemas.microsoft.com/office/drawing/2014/main" id="{BBC21C71-5D14-ADB2-EB5E-118DEB783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7D1E1DD-58F3-2CA5-55F9-92D082681B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0BEACC9-0DF1-DA6D-BF7B-C669CA208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ar Process</a:t>
            </a:r>
          </a:p>
        </p:txBody>
      </p:sp>
      <p:sp>
        <p:nvSpPr>
          <p:cNvPr id="4" name="Shape 3152">
            <a:extLst>
              <a:ext uri="{FF2B5EF4-FFF2-40B4-BE49-F238E27FC236}">
                <a16:creationId xmlns:a16="http://schemas.microsoft.com/office/drawing/2014/main" id="{961F9836-AF82-4180-A330-81AA40451104}"/>
              </a:ext>
            </a:extLst>
          </p:cNvPr>
          <p:cNvSpPr/>
          <p:nvPr/>
        </p:nvSpPr>
        <p:spPr>
          <a:xfrm>
            <a:off x="8650820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8795" y="6382"/>
                  <a:pt x="78795" y="6382"/>
                  <a:pt x="78795" y="6382"/>
                </a:cubicBezTo>
                <a:cubicBezTo>
                  <a:pt x="73373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3734" y="27659"/>
                  <a:pt x="13734" y="27659"/>
                  <a:pt x="13734" y="27659"/>
                </a:cubicBezTo>
                <a:cubicBezTo>
                  <a:pt x="6144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144" y="92765"/>
                  <a:pt x="13734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373" y="120000"/>
                  <a:pt x="78795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5" name="Shape 3156">
            <a:extLst>
              <a:ext uri="{FF2B5EF4-FFF2-40B4-BE49-F238E27FC236}">
                <a16:creationId xmlns:a16="http://schemas.microsoft.com/office/drawing/2014/main" id="{2B93A6AF-DCDE-85C2-65E7-9950A27F7F14}"/>
              </a:ext>
            </a:extLst>
          </p:cNvPr>
          <p:cNvSpPr/>
          <p:nvPr/>
        </p:nvSpPr>
        <p:spPr>
          <a:xfrm>
            <a:off x="6498507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734" y="120000"/>
                  <a:pt x="79156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6" name="Shape 3160">
            <a:extLst>
              <a:ext uri="{FF2B5EF4-FFF2-40B4-BE49-F238E27FC236}">
                <a16:creationId xmlns:a16="http://schemas.microsoft.com/office/drawing/2014/main" id="{A230A1ED-29FF-BC0B-31C0-AD5152F787BE}"/>
              </a:ext>
            </a:extLst>
          </p:cNvPr>
          <p:cNvSpPr/>
          <p:nvPr/>
        </p:nvSpPr>
        <p:spPr>
          <a:xfrm>
            <a:off x="4354802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8795" y="6382"/>
                  <a:pt x="78795" y="6382"/>
                  <a:pt x="78795" y="6382"/>
                </a:cubicBezTo>
                <a:cubicBezTo>
                  <a:pt x="73373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3734" y="27659"/>
                  <a:pt x="13734" y="27659"/>
                  <a:pt x="13734" y="27659"/>
                </a:cubicBezTo>
                <a:cubicBezTo>
                  <a:pt x="6144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144" y="92765"/>
                  <a:pt x="13734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373" y="120000"/>
                  <a:pt x="78795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7" name="Shape 3164">
            <a:extLst>
              <a:ext uri="{FF2B5EF4-FFF2-40B4-BE49-F238E27FC236}">
                <a16:creationId xmlns:a16="http://schemas.microsoft.com/office/drawing/2014/main" id="{48957A09-CD38-6466-5D95-D858C02E953B}"/>
              </a:ext>
            </a:extLst>
          </p:cNvPr>
          <p:cNvSpPr/>
          <p:nvPr/>
        </p:nvSpPr>
        <p:spPr>
          <a:xfrm>
            <a:off x="2200764" y="1524419"/>
            <a:ext cx="3107941" cy="26623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939" y="71489"/>
                </a:moveTo>
                <a:cubicBezTo>
                  <a:pt x="119999" y="65106"/>
                  <a:pt x="119999" y="54893"/>
                  <a:pt x="114939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397" y="2127"/>
                  <a:pt x="69397" y="11063"/>
                </a:cubicBezTo>
                <a:cubicBezTo>
                  <a:pt x="69397" y="11063"/>
                  <a:pt x="69397" y="11063"/>
                  <a:pt x="69397" y="11063"/>
                </a:cubicBezTo>
                <a:cubicBezTo>
                  <a:pt x="69397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397" y="100000"/>
                  <a:pt x="69397" y="108936"/>
                </a:cubicBezTo>
                <a:cubicBezTo>
                  <a:pt x="69397" y="108936"/>
                  <a:pt x="69397" y="108936"/>
                  <a:pt x="69397" y="108936"/>
                </a:cubicBezTo>
                <a:cubicBezTo>
                  <a:pt x="69397" y="117872"/>
                  <a:pt x="73734" y="120000"/>
                  <a:pt x="79156" y="113617"/>
                </a:cubicBezTo>
                <a:lnTo>
                  <a:pt x="114939" y="71489"/>
                </a:ln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8" name="Shape 3167">
            <a:extLst>
              <a:ext uri="{FF2B5EF4-FFF2-40B4-BE49-F238E27FC236}">
                <a16:creationId xmlns:a16="http://schemas.microsoft.com/office/drawing/2014/main" id="{E28AF0C7-6C4A-BD4C-7203-1EB78D2C8FF5}"/>
              </a:ext>
            </a:extLst>
          </p:cNvPr>
          <p:cNvSpPr>
            <a:spLocks noChangeAspect="1"/>
          </p:cNvSpPr>
          <p:nvPr/>
        </p:nvSpPr>
        <p:spPr>
          <a:xfrm>
            <a:off x="317776" y="1520825"/>
            <a:ext cx="2847224" cy="266234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8202" y="5"/>
                </a:moveTo>
                <a:cubicBezTo>
                  <a:pt x="69981" y="99"/>
                  <a:pt x="72131" y="1352"/>
                  <a:pt x="74454" y="3859"/>
                </a:cubicBezTo>
                <a:cubicBezTo>
                  <a:pt x="74454" y="3859"/>
                  <a:pt x="74454" y="3859"/>
                  <a:pt x="115352" y="47969"/>
                </a:cubicBezTo>
                <a:cubicBezTo>
                  <a:pt x="121549" y="54653"/>
                  <a:pt x="121549" y="65346"/>
                  <a:pt x="115352" y="72030"/>
                </a:cubicBezTo>
                <a:lnTo>
                  <a:pt x="74454" y="116140"/>
                </a:lnTo>
                <a:cubicBezTo>
                  <a:pt x="68258" y="122824"/>
                  <a:pt x="63300" y="120596"/>
                  <a:pt x="63300" y="111239"/>
                </a:cubicBezTo>
                <a:cubicBezTo>
                  <a:pt x="63300" y="101882"/>
                  <a:pt x="56278" y="94308"/>
                  <a:pt x="47602" y="94308"/>
                </a:cubicBezTo>
                <a:cubicBezTo>
                  <a:pt x="47602" y="94308"/>
                  <a:pt x="47602" y="94308"/>
                  <a:pt x="95" y="94308"/>
                </a:cubicBezTo>
                <a:lnTo>
                  <a:pt x="0" y="94297"/>
                </a:lnTo>
                <a:lnTo>
                  <a:pt x="411" y="94297"/>
                </a:lnTo>
                <a:cubicBezTo>
                  <a:pt x="3199" y="94297"/>
                  <a:pt x="3199" y="94297"/>
                  <a:pt x="3199" y="94297"/>
                </a:cubicBezTo>
                <a:cubicBezTo>
                  <a:pt x="23442" y="72013"/>
                  <a:pt x="23442" y="72013"/>
                  <a:pt x="23442" y="72013"/>
                </a:cubicBezTo>
                <a:cubicBezTo>
                  <a:pt x="29639" y="65328"/>
                  <a:pt x="29639" y="54632"/>
                  <a:pt x="23442" y="47947"/>
                </a:cubicBezTo>
                <a:cubicBezTo>
                  <a:pt x="5730" y="28838"/>
                  <a:pt x="3515" y="26450"/>
                  <a:pt x="3239" y="26151"/>
                </a:cubicBezTo>
                <a:lnTo>
                  <a:pt x="3225" y="26137"/>
                </a:lnTo>
                <a:lnTo>
                  <a:pt x="4073" y="26137"/>
                </a:lnTo>
                <a:cubicBezTo>
                  <a:pt x="9188" y="26137"/>
                  <a:pt x="20879" y="26137"/>
                  <a:pt x="47602" y="26137"/>
                </a:cubicBezTo>
                <a:cubicBezTo>
                  <a:pt x="56278" y="26137"/>
                  <a:pt x="63300" y="18117"/>
                  <a:pt x="63300" y="8760"/>
                </a:cubicBezTo>
                <a:cubicBezTo>
                  <a:pt x="63300" y="2912"/>
                  <a:pt x="65237" y="-150"/>
                  <a:pt x="68202" y="5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0432AB0C-4E3B-47BE-41C3-8AA56AC095A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90796" y="2370075"/>
            <a:ext cx="455227" cy="59811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F24EFFFB-DA8A-F95C-443F-B04E327842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037" y="2370075"/>
            <a:ext cx="598110" cy="59811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54BF3D36-0FC5-2968-FFD4-D9534C9513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42390" y="2370075"/>
            <a:ext cx="598110" cy="59811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0999A2C4-06DA-3E8C-1C96-90E9442C4B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91124" y="2370075"/>
            <a:ext cx="598110" cy="59811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E40713A0-B347-9CC5-2CB6-8F11BA6900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144769" y="2370075"/>
            <a:ext cx="598110" cy="59811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4" name="TextBox 37">
            <a:extLst>
              <a:ext uri="{FF2B5EF4-FFF2-40B4-BE49-F238E27FC236}">
                <a16:creationId xmlns:a16="http://schemas.microsoft.com/office/drawing/2014/main" id="{39B48684-D21D-391F-DF27-B1E932837E3B}"/>
              </a:ext>
            </a:extLst>
          </p:cNvPr>
          <p:cNvSpPr txBox="1"/>
          <p:nvPr/>
        </p:nvSpPr>
        <p:spPr>
          <a:xfrm>
            <a:off x="1029903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5" name="TextBox 38">
            <a:extLst>
              <a:ext uri="{FF2B5EF4-FFF2-40B4-BE49-F238E27FC236}">
                <a16:creationId xmlns:a16="http://schemas.microsoft.com/office/drawing/2014/main" id="{1EAEC09C-AFFE-63A0-1EA6-E1D9E7F2EC27}"/>
              </a:ext>
            </a:extLst>
          </p:cNvPr>
          <p:cNvSpPr txBox="1"/>
          <p:nvPr/>
        </p:nvSpPr>
        <p:spPr>
          <a:xfrm>
            <a:off x="3221586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3C8AA747-93A5-C08A-F27B-7637E598BF8D}"/>
              </a:ext>
            </a:extLst>
          </p:cNvPr>
          <p:cNvSpPr txBox="1"/>
          <p:nvPr/>
        </p:nvSpPr>
        <p:spPr>
          <a:xfrm>
            <a:off x="5352939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7" name="TextBox 40">
            <a:extLst>
              <a:ext uri="{FF2B5EF4-FFF2-40B4-BE49-F238E27FC236}">
                <a16:creationId xmlns:a16="http://schemas.microsoft.com/office/drawing/2014/main" id="{2F1E9827-CBEF-19F1-3CC4-F6B14124B5A1}"/>
              </a:ext>
            </a:extLst>
          </p:cNvPr>
          <p:cNvSpPr txBox="1"/>
          <p:nvPr/>
        </p:nvSpPr>
        <p:spPr>
          <a:xfrm>
            <a:off x="7500737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8" name="TextBox 41">
            <a:extLst>
              <a:ext uri="{FF2B5EF4-FFF2-40B4-BE49-F238E27FC236}">
                <a16:creationId xmlns:a16="http://schemas.microsoft.com/office/drawing/2014/main" id="{C8E68394-6E80-BF69-B30A-D8EA317DD49A}"/>
              </a:ext>
            </a:extLst>
          </p:cNvPr>
          <p:cNvSpPr txBox="1"/>
          <p:nvPr/>
        </p:nvSpPr>
        <p:spPr>
          <a:xfrm>
            <a:off x="9654707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F64175F6-42E4-067E-EFBE-5CD7D4A17D22}"/>
              </a:ext>
            </a:extLst>
          </p:cNvPr>
          <p:cNvSpPr txBox="1">
            <a:spLocks/>
          </p:cNvSpPr>
          <p:nvPr/>
        </p:nvSpPr>
        <p:spPr>
          <a:xfrm>
            <a:off x="610874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04D9A0F4-7454-1006-A8A0-3DA1586DC8B4}"/>
              </a:ext>
            </a:extLst>
          </p:cNvPr>
          <p:cNvSpPr txBox="1">
            <a:spLocks/>
          </p:cNvSpPr>
          <p:nvPr/>
        </p:nvSpPr>
        <p:spPr>
          <a:xfrm>
            <a:off x="2916876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E0A8882-781D-B8B6-4040-EFEC2ED0104D}"/>
              </a:ext>
            </a:extLst>
          </p:cNvPr>
          <p:cNvSpPr txBox="1">
            <a:spLocks/>
          </p:cNvSpPr>
          <p:nvPr/>
        </p:nvSpPr>
        <p:spPr>
          <a:xfrm>
            <a:off x="5263359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D00BF5D-4CAB-7C43-1666-E2B912F8C0F2}"/>
              </a:ext>
            </a:extLst>
          </p:cNvPr>
          <p:cNvSpPr txBox="1">
            <a:spLocks/>
          </p:cNvSpPr>
          <p:nvPr/>
        </p:nvSpPr>
        <p:spPr>
          <a:xfrm>
            <a:off x="7522919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665F37DD-762D-3BBA-A92F-7D19EF0F4B09}"/>
              </a:ext>
            </a:extLst>
          </p:cNvPr>
          <p:cNvSpPr txBox="1">
            <a:spLocks/>
          </p:cNvSpPr>
          <p:nvPr/>
        </p:nvSpPr>
        <p:spPr>
          <a:xfrm>
            <a:off x="9780257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4171961-1E7F-E8A7-F144-F1C757A432CC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algn="ctr"/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r>
              <a:rPr lang="en-US" sz="1200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2A89AFB4-605B-01B2-59C2-D3BB5FCF4F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02752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to 24" hidden="1">
            <a:extLst>
              <a:ext uri="{FF2B5EF4-FFF2-40B4-BE49-F238E27FC236}">
                <a16:creationId xmlns:a16="http://schemas.microsoft.com/office/drawing/2014/main" id="{D370833E-DBD9-385A-D6D3-4B4A3B768F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996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5" name="Objeto 24" hidden="1">
                        <a:extLst>
                          <a:ext uri="{FF2B5EF4-FFF2-40B4-BE49-F238E27FC236}">
                            <a16:creationId xmlns:a16="http://schemas.microsoft.com/office/drawing/2014/main" id="{D370833E-DBD9-385A-D6D3-4B4A3B768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6BF2F14-1CED-5A4E-2597-EC0C29D606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019C190-4233-3988-E27E-85289F14E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nake process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DCFF1A15-DEC6-3F6C-F3C3-FFD8339CE869}"/>
              </a:ext>
            </a:extLst>
          </p:cNvPr>
          <p:cNvSpPr>
            <a:spLocks/>
          </p:cNvSpPr>
          <p:nvPr/>
        </p:nvSpPr>
        <p:spPr bwMode="auto">
          <a:xfrm>
            <a:off x="685892" y="3493299"/>
            <a:ext cx="2072611" cy="2072614"/>
          </a:xfrm>
          <a:custGeom>
            <a:avLst/>
            <a:gdLst>
              <a:gd name="T0" fmla="*/ 67 w 526"/>
              <a:gd name="T1" fmla="*/ 160 h 525"/>
              <a:gd name="T2" fmla="*/ 205 w 526"/>
              <a:gd name="T3" fmla="*/ 22 h 525"/>
              <a:gd name="T4" fmla="*/ 285 w 526"/>
              <a:gd name="T5" fmla="*/ 22 h 525"/>
              <a:gd name="T6" fmla="*/ 504 w 526"/>
              <a:gd name="T7" fmla="*/ 241 h 525"/>
              <a:gd name="T8" fmla="*/ 504 w 526"/>
              <a:gd name="T9" fmla="*/ 321 h 525"/>
              <a:gd name="T10" fmla="*/ 366 w 526"/>
              <a:gd name="T11" fmla="*/ 459 h 525"/>
              <a:gd name="T12" fmla="*/ 125 w 526"/>
              <a:gd name="T13" fmla="*/ 459 h 525"/>
              <a:gd name="T14" fmla="*/ 67 w 526"/>
              <a:gd name="T15" fmla="*/ 401 h 525"/>
              <a:gd name="T16" fmla="*/ 67 w 526"/>
              <a:gd name="T17" fmla="*/ 160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6" h="525">
                <a:moveTo>
                  <a:pt x="67" y="160"/>
                </a:moveTo>
                <a:cubicBezTo>
                  <a:pt x="205" y="22"/>
                  <a:pt x="205" y="22"/>
                  <a:pt x="205" y="22"/>
                </a:cubicBezTo>
                <a:cubicBezTo>
                  <a:pt x="227" y="0"/>
                  <a:pt x="263" y="0"/>
                  <a:pt x="285" y="22"/>
                </a:cubicBezTo>
                <a:cubicBezTo>
                  <a:pt x="504" y="241"/>
                  <a:pt x="504" y="241"/>
                  <a:pt x="504" y="241"/>
                </a:cubicBezTo>
                <a:cubicBezTo>
                  <a:pt x="526" y="263"/>
                  <a:pt x="526" y="299"/>
                  <a:pt x="504" y="321"/>
                </a:cubicBezTo>
                <a:cubicBezTo>
                  <a:pt x="366" y="459"/>
                  <a:pt x="366" y="459"/>
                  <a:pt x="366" y="459"/>
                </a:cubicBezTo>
                <a:cubicBezTo>
                  <a:pt x="299" y="525"/>
                  <a:pt x="191" y="525"/>
                  <a:pt x="125" y="459"/>
                </a:cubicBezTo>
                <a:cubicBezTo>
                  <a:pt x="67" y="401"/>
                  <a:pt x="67" y="401"/>
                  <a:pt x="67" y="401"/>
                </a:cubicBezTo>
                <a:cubicBezTo>
                  <a:pt x="0" y="335"/>
                  <a:pt x="0" y="226"/>
                  <a:pt x="67" y="160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9C25841F-A92B-D049-BCDE-B6C8B1C6C2CB}"/>
              </a:ext>
            </a:extLst>
          </p:cNvPr>
          <p:cNvSpPr>
            <a:spLocks/>
          </p:cNvSpPr>
          <p:nvPr/>
        </p:nvSpPr>
        <p:spPr bwMode="auto">
          <a:xfrm>
            <a:off x="3002444" y="3493300"/>
            <a:ext cx="2213556" cy="2072614"/>
          </a:xfrm>
          <a:custGeom>
            <a:avLst/>
            <a:gdLst>
              <a:gd name="T0" fmla="*/ 22 w 562"/>
              <a:gd name="T1" fmla="*/ 241 h 525"/>
              <a:gd name="T2" fmla="*/ 241 w 562"/>
              <a:gd name="T3" fmla="*/ 22 h 525"/>
              <a:gd name="T4" fmla="*/ 321 w 562"/>
              <a:gd name="T5" fmla="*/ 22 h 525"/>
              <a:gd name="T6" fmla="*/ 540 w 562"/>
              <a:gd name="T7" fmla="*/ 241 h 525"/>
              <a:gd name="T8" fmla="*/ 540 w 562"/>
              <a:gd name="T9" fmla="*/ 321 h 525"/>
              <a:gd name="T10" fmla="*/ 401 w 562"/>
              <a:gd name="T11" fmla="*/ 459 h 525"/>
              <a:gd name="T12" fmla="*/ 161 w 562"/>
              <a:gd name="T13" fmla="*/ 459 h 525"/>
              <a:gd name="T14" fmla="*/ 22 w 562"/>
              <a:gd name="T15" fmla="*/ 321 h 525"/>
              <a:gd name="T16" fmla="*/ 22 w 562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41"/>
                </a:moveTo>
                <a:cubicBezTo>
                  <a:pt x="241" y="22"/>
                  <a:pt x="241" y="22"/>
                  <a:pt x="241" y="22"/>
                </a:cubicBezTo>
                <a:cubicBezTo>
                  <a:pt x="263" y="0"/>
                  <a:pt x="299" y="0"/>
                  <a:pt x="321" y="22"/>
                </a:cubicBezTo>
                <a:cubicBezTo>
                  <a:pt x="540" y="241"/>
                  <a:pt x="540" y="241"/>
                  <a:pt x="540" y="241"/>
                </a:cubicBezTo>
                <a:cubicBezTo>
                  <a:pt x="562" y="263"/>
                  <a:pt x="562" y="299"/>
                  <a:pt x="540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7" y="525"/>
                  <a:pt x="161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36A7A707-CDA2-416F-9ED7-91738A2E9476}"/>
              </a:ext>
            </a:extLst>
          </p:cNvPr>
          <p:cNvSpPr>
            <a:spLocks/>
          </p:cNvSpPr>
          <p:nvPr/>
        </p:nvSpPr>
        <p:spPr bwMode="auto">
          <a:xfrm>
            <a:off x="5459943" y="3493298"/>
            <a:ext cx="2209942" cy="2072614"/>
          </a:xfrm>
          <a:custGeom>
            <a:avLst/>
            <a:gdLst>
              <a:gd name="T0" fmla="*/ 22 w 561"/>
              <a:gd name="T1" fmla="*/ 241 h 525"/>
              <a:gd name="T2" fmla="*/ 240 w 561"/>
              <a:gd name="T3" fmla="*/ 22 h 525"/>
              <a:gd name="T4" fmla="*/ 321 w 561"/>
              <a:gd name="T5" fmla="*/ 22 h 525"/>
              <a:gd name="T6" fmla="*/ 539 w 561"/>
              <a:gd name="T7" fmla="*/ 241 h 525"/>
              <a:gd name="T8" fmla="*/ 539 w 561"/>
              <a:gd name="T9" fmla="*/ 321 h 525"/>
              <a:gd name="T10" fmla="*/ 401 w 561"/>
              <a:gd name="T11" fmla="*/ 459 h 525"/>
              <a:gd name="T12" fmla="*/ 160 w 561"/>
              <a:gd name="T13" fmla="*/ 459 h 525"/>
              <a:gd name="T14" fmla="*/ 22 w 561"/>
              <a:gd name="T15" fmla="*/ 321 h 525"/>
              <a:gd name="T16" fmla="*/ 22 w 561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1" h="525">
                <a:moveTo>
                  <a:pt x="22" y="241"/>
                </a:moveTo>
                <a:cubicBezTo>
                  <a:pt x="240" y="22"/>
                  <a:pt x="240" y="22"/>
                  <a:pt x="240" y="22"/>
                </a:cubicBezTo>
                <a:cubicBezTo>
                  <a:pt x="262" y="0"/>
                  <a:pt x="299" y="0"/>
                  <a:pt x="321" y="22"/>
                </a:cubicBezTo>
                <a:cubicBezTo>
                  <a:pt x="539" y="241"/>
                  <a:pt x="539" y="241"/>
                  <a:pt x="539" y="241"/>
                </a:cubicBezTo>
                <a:cubicBezTo>
                  <a:pt x="561" y="263"/>
                  <a:pt x="561" y="299"/>
                  <a:pt x="539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6" y="525"/>
                  <a:pt x="160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1A09C8A6-21DE-B42B-E37D-30E4CE7C5836}"/>
              </a:ext>
            </a:extLst>
          </p:cNvPr>
          <p:cNvSpPr>
            <a:spLocks/>
          </p:cNvSpPr>
          <p:nvPr/>
        </p:nvSpPr>
        <p:spPr bwMode="auto">
          <a:xfrm>
            <a:off x="7921055" y="3493299"/>
            <a:ext cx="2213556" cy="2072614"/>
          </a:xfrm>
          <a:custGeom>
            <a:avLst/>
            <a:gdLst>
              <a:gd name="T0" fmla="*/ 22 w 562"/>
              <a:gd name="T1" fmla="*/ 241 h 525"/>
              <a:gd name="T2" fmla="*/ 241 w 562"/>
              <a:gd name="T3" fmla="*/ 22 h 525"/>
              <a:gd name="T4" fmla="*/ 321 w 562"/>
              <a:gd name="T5" fmla="*/ 22 h 525"/>
              <a:gd name="T6" fmla="*/ 540 w 562"/>
              <a:gd name="T7" fmla="*/ 241 h 525"/>
              <a:gd name="T8" fmla="*/ 540 w 562"/>
              <a:gd name="T9" fmla="*/ 321 h 525"/>
              <a:gd name="T10" fmla="*/ 401 w 562"/>
              <a:gd name="T11" fmla="*/ 459 h 525"/>
              <a:gd name="T12" fmla="*/ 161 w 562"/>
              <a:gd name="T13" fmla="*/ 459 h 525"/>
              <a:gd name="T14" fmla="*/ 22 w 562"/>
              <a:gd name="T15" fmla="*/ 321 h 525"/>
              <a:gd name="T16" fmla="*/ 22 w 562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41"/>
                </a:moveTo>
                <a:cubicBezTo>
                  <a:pt x="241" y="22"/>
                  <a:pt x="241" y="22"/>
                  <a:pt x="241" y="22"/>
                </a:cubicBezTo>
                <a:cubicBezTo>
                  <a:pt x="263" y="0"/>
                  <a:pt x="299" y="0"/>
                  <a:pt x="321" y="22"/>
                </a:cubicBezTo>
                <a:cubicBezTo>
                  <a:pt x="540" y="241"/>
                  <a:pt x="540" y="241"/>
                  <a:pt x="540" y="241"/>
                </a:cubicBezTo>
                <a:cubicBezTo>
                  <a:pt x="562" y="263"/>
                  <a:pt x="562" y="299"/>
                  <a:pt x="540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7" y="525"/>
                  <a:pt x="161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03ABDDB0-95F2-7274-5D24-FAE9C33112A3}"/>
              </a:ext>
            </a:extLst>
          </p:cNvPr>
          <p:cNvSpPr>
            <a:spLocks/>
          </p:cNvSpPr>
          <p:nvPr/>
        </p:nvSpPr>
        <p:spPr bwMode="auto">
          <a:xfrm>
            <a:off x="4227580" y="2396458"/>
            <a:ext cx="2213556" cy="2072614"/>
          </a:xfrm>
          <a:custGeom>
            <a:avLst/>
            <a:gdLst>
              <a:gd name="T0" fmla="*/ 23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2 w 562"/>
              <a:gd name="T11" fmla="*/ 66 h 525"/>
              <a:gd name="T12" fmla="*/ 161 w 562"/>
              <a:gd name="T13" fmla="*/ 66 h 525"/>
              <a:gd name="T14" fmla="*/ 23 w 562"/>
              <a:gd name="T15" fmla="*/ 204 h 525"/>
              <a:gd name="T16" fmla="*/ 23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3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2" y="66"/>
                  <a:pt x="402" y="66"/>
                  <a:pt x="402" y="66"/>
                </a:cubicBezTo>
                <a:cubicBezTo>
                  <a:pt x="335" y="0"/>
                  <a:pt x="227" y="0"/>
                  <a:pt x="161" y="66"/>
                </a:cubicBezTo>
                <a:cubicBezTo>
                  <a:pt x="23" y="204"/>
                  <a:pt x="23" y="204"/>
                  <a:pt x="23" y="204"/>
                </a:cubicBezTo>
                <a:cubicBezTo>
                  <a:pt x="0" y="227"/>
                  <a:pt x="0" y="263"/>
                  <a:pt x="23" y="285"/>
                </a:cubicBez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821A5D11-AFA8-35CB-3620-94C6FCCF3BB4}"/>
              </a:ext>
            </a:extLst>
          </p:cNvPr>
          <p:cNvSpPr>
            <a:spLocks/>
          </p:cNvSpPr>
          <p:nvPr/>
        </p:nvSpPr>
        <p:spPr bwMode="auto">
          <a:xfrm>
            <a:off x="9216663" y="2396458"/>
            <a:ext cx="2068997" cy="2072614"/>
          </a:xfrm>
          <a:custGeom>
            <a:avLst/>
            <a:gdLst>
              <a:gd name="T0" fmla="*/ 22 w 525"/>
              <a:gd name="T1" fmla="*/ 285 h 525"/>
              <a:gd name="T2" fmla="*/ 240 w 525"/>
              <a:gd name="T3" fmla="*/ 503 h 525"/>
              <a:gd name="T4" fmla="*/ 320 w 525"/>
              <a:gd name="T5" fmla="*/ 503 h 525"/>
              <a:gd name="T6" fmla="*/ 459 w 525"/>
              <a:gd name="T7" fmla="*/ 365 h 525"/>
              <a:gd name="T8" fmla="*/ 459 w 525"/>
              <a:gd name="T9" fmla="*/ 124 h 525"/>
              <a:gd name="T10" fmla="*/ 401 w 525"/>
              <a:gd name="T11" fmla="*/ 66 h 525"/>
              <a:gd name="T12" fmla="*/ 160 w 525"/>
              <a:gd name="T13" fmla="*/ 66 h 525"/>
              <a:gd name="T14" fmla="*/ 22 w 525"/>
              <a:gd name="T15" fmla="*/ 204 h 525"/>
              <a:gd name="T16" fmla="*/ 22 w 525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5" h="525">
                <a:moveTo>
                  <a:pt x="22" y="285"/>
                </a:moveTo>
                <a:cubicBezTo>
                  <a:pt x="240" y="503"/>
                  <a:pt x="240" y="503"/>
                  <a:pt x="240" y="503"/>
                </a:cubicBezTo>
                <a:cubicBezTo>
                  <a:pt x="262" y="525"/>
                  <a:pt x="298" y="525"/>
                  <a:pt x="320" y="503"/>
                </a:cubicBezTo>
                <a:cubicBezTo>
                  <a:pt x="459" y="365"/>
                  <a:pt x="459" y="365"/>
                  <a:pt x="459" y="365"/>
                </a:cubicBezTo>
                <a:cubicBezTo>
                  <a:pt x="525" y="299"/>
                  <a:pt x="525" y="190"/>
                  <a:pt x="459" y="12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4" y="0"/>
                  <a:pt x="226" y="0"/>
                  <a:pt x="160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954497C-CDF4-975D-C42E-14D7BEADA6BE}"/>
              </a:ext>
            </a:extLst>
          </p:cNvPr>
          <p:cNvSpPr>
            <a:spLocks/>
          </p:cNvSpPr>
          <p:nvPr/>
        </p:nvSpPr>
        <p:spPr bwMode="auto">
          <a:xfrm>
            <a:off x="1773695" y="2396458"/>
            <a:ext cx="2213556" cy="2072614"/>
          </a:xfrm>
          <a:custGeom>
            <a:avLst/>
            <a:gdLst>
              <a:gd name="T0" fmla="*/ 22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1 w 562"/>
              <a:gd name="T11" fmla="*/ 66 h 525"/>
              <a:gd name="T12" fmla="*/ 160 w 562"/>
              <a:gd name="T13" fmla="*/ 66 h 525"/>
              <a:gd name="T14" fmla="*/ 22 w 562"/>
              <a:gd name="T15" fmla="*/ 204 h 525"/>
              <a:gd name="T16" fmla="*/ 22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5" y="0"/>
                  <a:pt x="227" y="0"/>
                  <a:pt x="160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2" name="Freeform 24">
            <a:extLst>
              <a:ext uri="{FF2B5EF4-FFF2-40B4-BE49-F238E27FC236}">
                <a16:creationId xmlns:a16="http://schemas.microsoft.com/office/drawing/2014/main" id="{6698CD09-C9AC-3832-D71C-ED4BAA2A5FFE}"/>
              </a:ext>
            </a:extLst>
          </p:cNvPr>
          <p:cNvSpPr>
            <a:spLocks/>
          </p:cNvSpPr>
          <p:nvPr/>
        </p:nvSpPr>
        <p:spPr bwMode="auto">
          <a:xfrm>
            <a:off x="6685078" y="2396458"/>
            <a:ext cx="2213556" cy="2072614"/>
          </a:xfrm>
          <a:custGeom>
            <a:avLst/>
            <a:gdLst>
              <a:gd name="T0" fmla="*/ 22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1 w 562"/>
              <a:gd name="T11" fmla="*/ 66 h 525"/>
              <a:gd name="T12" fmla="*/ 161 w 562"/>
              <a:gd name="T13" fmla="*/ 66 h 525"/>
              <a:gd name="T14" fmla="*/ 22 w 562"/>
              <a:gd name="T15" fmla="*/ 204 h 525"/>
              <a:gd name="T16" fmla="*/ 22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5" y="0"/>
                  <a:pt x="227" y="0"/>
                  <a:pt x="161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3" name="Freeform 985">
            <a:extLst>
              <a:ext uri="{FF2B5EF4-FFF2-40B4-BE49-F238E27FC236}">
                <a16:creationId xmlns:a16="http://schemas.microsoft.com/office/drawing/2014/main" id="{1C085617-5816-734E-D97E-BB92346F66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527546" y="3076330"/>
            <a:ext cx="705854" cy="705852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4" name="Freeform 986">
            <a:extLst>
              <a:ext uri="{FF2B5EF4-FFF2-40B4-BE49-F238E27FC236}">
                <a16:creationId xmlns:a16="http://schemas.microsoft.com/office/drawing/2014/main" id="{AF39705A-A5C4-16B5-E8D6-A497D1AD1B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79624" y="3076330"/>
            <a:ext cx="705854" cy="705852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5" name="Freeform 987">
            <a:extLst>
              <a:ext uri="{FF2B5EF4-FFF2-40B4-BE49-F238E27FC236}">
                <a16:creationId xmlns:a16="http://schemas.microsoft.com/office/drawing/2014/main" id="{19B36AD7-F6E4-0441-C3F3-D5195F7326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30301" y="3076329"/>
            <a:ext cx="705854" cy="705852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6" name="Freeform 988">
            <a:extLst>
              <a:ext uri="{FF2B5EF4-FFF2-40B4-BE49-F238E27FC236}">
                <a16:creationId xmlns:a16="http://schemas.microsoft.com/office/drawing/2014/main" id="{1E92B64F-E924-5380-7ABE-83D1ED5BAF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37920" y="3073401"/>
            <a:ext cx="705854" cy="705852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42C3EB4-876C-2997-0831-6F59CEEED61F}"/>
              </a:ext>
            </a:extLst>
          </p:cNvPr>
          <p:cNvSpPr txBox="1">
            <a:spLocks/>
          </p:cNvSpPr>
          <p:nvPr/>
        </p:nvSpPr>
        <p:spPr>
          <a:xfrm>
            <a:off x="986914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EDAC2A8-2539-F5CC-1D7F-2B5FBFA4C68D}"/>
              </a:ext>
            </a:extLst>
          </p:cNvPr>
          <p:cNvSpPr txBox="1">
            <a:spLocks/>
          </p:cNvSpPr>
          <p:nvPr/>
        </p:nvSpPr>
        <p:spPr>
          <a:xfrm>
            <a:off x="3437184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1F5467D9-720E-98F1-65A5-AC01E53E4BF4}"/>
              </a:ext>
            </a:extLst>
          </p:cNvPr>
          <p:cNvSpPr txBox="1">
            <a:spLocks/>
          </p:cNvSpPr>
          <p:nvPr/>
        </p:nvSpPr>
        <p:spPr>
          <a:xfrm>
            <a:off x="5907498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EFEFC1C-EE5C-21CA-3F21-976B1102EFB3}"/>
              </a:ext>
            </a:extLst>
          </p:cNvPr>
          <p:cNvSpPr txBox="1">
            <a:spLocks/>
          </p:cNvSpPr>
          <p:nvPr/>
        </p:nvSpPr>
        <p:spPr>
          <a:xfrm>
            <a:off x="8392837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42B44D-0BA5-DDCA-BA5C-2BA7291084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6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748023A-036C-BDCA-514E-4D88AFBC2A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748023A-036C-BDCA-514E-4D88AFBC2A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7BDD465B-A1CB-A49E-366A-DEB8C016A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How </a:t>
            </a:r>
            <a:r>
              <a:rPr lang="en-US" dirty="0" err="1"/>
              <a:t>Umbrex</a:t>
            </a:r>
            <a:r>
              <a:rPr lang="en-US" dirty="0"/>
              <a:t> can help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C1C85348-16F7-699B-D812-057489C687AC}"/>
              </a:ext>
            </a:extLst>
          </p:cNvPr>
          <p:cNvSpPr txBox="1">
            <a:spLocks/>
          </p:cNvSpPr>
          <p:nvPr/>
        </p:nvSpPr>
        <p:spPr>
          <a:xfrm>
            <a:off x="6167439" y="1520825"/>
            <a:ext cx="5653088" cy="41924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540000" rIns="72000" bIns="72000" rtlCol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or Consultants</a:t>
            </a:r>
          </a:p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B06810F-6C42-82A5-9B60-058401FAA117}"/>
              </a:ext>
            </a:extLst>
          </p:cNvPr>
          <p:cNvSpPr txBox="1">
            <a:spLocks/>
          </p:cNvSpPr>
          <p:nvPr/>
        </p:nvSpPr>
        <p:spPr>
          <a:xfrm>
            <a:off x="384174" y="1520825"/>
            <a:ext cx="5653088" cy="41924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540000" rIns="72000" bIns="72000" rtlCol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or Clients</a:t>
            </a:r>
          </a:p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52" name="Picture 2">
            <a:extLst>
              <a:ext uri="{FF2B5EF4-FFF2-40B4-BE49-F238E27FC236}">
                <a16:creationId xmlns:a16="http://schemas.microsoft.com/office/drawing/2014/main" id="{7450EA2F-F921-4B2B-9E55-8AFB6E3D73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36EEED4-4A36-69EB-D7FE-89461DBD935C}"/>
              </a:ext>
            </a:extLst>
          </p:cNvPr>
          <p:cNvSpPr/>
          <p:nvPr/>
        </p:nvSpPr>
        <p:spPr>
          <a:xfrm>
            <a:off x="121919" y="6400800"/>
            <a:ext cx="1748699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885CD2-4565-AA7D-43BE-563D2BB94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9EA244A-32EC-2F92-0C8E-85567E07E68B}"/>
              </a:ext>
            </a:extLst>
          </p:cNvPr>
          <p:cNvSpPr/>
          <p:nvPr/>
        </p:nvSpPr>
        <p:spPr>
          <a:xfrm>
            <a:off x="1870619" y="3374174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BD95127-2A9D-EA40-D0E0-76A7F7A06084}"/>
              </a:ext>
            </a:extLst>
          </p:cNvPr>
          <p:cNvSpPr/>
          <p:nvPr/>
        </p:nvSpPr>
        <p:spPr>
          <a:xfrm>
            <a:off x="7653884" y="3330171"/>
            <a:ext cx="2680198" cy="485776"/>
          </a:xfrm>
          <a:prstGeom prst="roundRect">
            <a:avLst>
              <a:gd name="adj" fmla="val 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in our commun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0543949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to 39" hidden="1">
            <a:extLst>
              <a:ext uri="{FF2B5EF4-FFF2-40B4-BE49-F238E27FC236}">
                <a16:creationId xmlns:a16="http://schemas.microsoft.com/office/drawing/2014/main" id="{BD2F78E4-9946-9F39-73D7-139779B69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914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0" name="Objeto 39" hidden="1">
                        <a:extLst>
                          <a:ext uri="{FF2B5EF4-FFF2-40B4-BE49-F238E27FC236}">
                            <a16:creationId xmlns:a16="http://schemas.microsoft.com/office/drawing/2014/main" id="{BD2F78E4-9946-9F39-73D7-139779B69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DAA72F5-0467-F17B-CB16-5E2E577407B4}"/>
              </a:ext>
            </a:extLst>
          </p:cNvPr>
          <p:cNvSpPr txBox="1">
            <a:spLocks/>
          </p:cNvSpPr>
          <p:nvPr/>
        </p:nvSpPr>
        <p:spPr>
          <a:xfrm>
            <a:off x="882502" y="2583712"/>
            <a:ext cx="10438657" cy="3725013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F84744B-433A-594D-30CD-83A9F28ADD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CF7DCCB9-5223-79F9-F49E-1B4C2CA82836}"/>
              </a:ext>
            </a:extLst>
          </p:cNvPr>
          <p:cNvSpPr/>
          <p:nvPr/>
        </p:nvSpPr>
        <p:spPr>
          <a:xfrm>
            <a:off x="1393663" y="1963826"/>
            <a:ext cx="1249302" cy="12493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E207E1F-9C83-9EA5-1A79-FFAAE91972DD}"/>
              </a:ext>
            </a:extLst>
          </p:cNvPr>
          <p:cNvSpPr/>
          <p:nvPr/>
        </p:nvSpPr>
        <p:spPr>
          <a:xfrm>
            <a:off x="3396787" y="1963826"/>
            <a:ext cx="1249302" cy="12493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</a:t>
            </a:r>
          </a:p>
        </p:txBody>
      </p:sp>
      <p:sp>
        <p:nvSpPr>
          <p:cNvPr id="8" name="Oval 8">
            <a:extLst>
              <a:ext uri="{FF2B5EF4-FFF2-40B4-BE49-F238E27FC236}">
                <a16:creationId xmlns:a16="http://schemas.microsoft.com/office/drawing/2014/main" id="{B6EFEE3A-45C5-1D55-DE56-9AD9A37B4109}"/>
              </a:ext>
            </a:extLst>
          </p:cNvPr>
          <p:cNvSpPr/>
          <p:nvPr/>
        </p:nvSpPr>
        <p:spPr>
          <a:xfrm>
            <a:off x="5399911" y="1963826"/>
            <a:ext cx="1249302" cy="12493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</a:t>
            </a: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712B86D7-A76B-F738-2055-D07430D9F599}"/>
              </a:ext>
            </a:extLst>
          </p:cNvPr>
          <p:cNvSpPr/>
          <p:nvPr/>
        </p:nvSpPr>
        <p:spPr>
          <a:xfrm>
            <a:off x="7403035" y="1963826"/>
            <a:ext cx="1249302" cy="12493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</a:t>
            </a:r>
          </a:p>
        </p:txBody>
      </p:sp>
      <p:sp>
        <p:nvSpPr>
          <p:cNvPr id="12" name="Oval 14">
            <a:extLst>
              <a:ext uri="{FF2B5EF4-FFF2-40B4-BE49-F238E27FC236}">
                <a16:creationId xmlns:a16="http://schemas.microsoft.com/office/drawing/2014/main" id="{E21B7047-35FE-F1D9-6740-E719D436E4BE}"/>
              </a:ext>
            </a:extLst>
          </p:cNvPr>
          <p:cNvSpPr/>
          <p:nvPr/>
        </p:nvSpPr>
        <p:spPr>
          <a:xfrm>
            <a:off x="9406159" y="1963826"/>
            <a:ext cx="1249302" cy="12493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98882F0F-395F-5B91-5D34-B56C16234267}"/>
              </a:ext>
            </a:extLst>
          </p:cNvPr>
          <p:cNvSpPr txBox="1"/>
          <p:nvPr/>
        </p:nvSpPr>
        <p:spPr>
          <a:xfrm>
            <a:off x="1477943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464CB634-D9CA-B587-39C6-B89627BDC63E}"/>
              </a:ext>
            </a:extLst>
          </p:cNvPr>
          <p:cNvSpPr txBox="1"/>
          <p:nvPr/>
        </p:nvSpPr>
        <p:spPr>
          <a:xfrm>
            <a:off x="3481067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16" name="TextBox 18">
            <a:extLst>
              <a:ext uri="{FF2B5EF4-FFF2-40B4-BE49-F238E27FC236}">
                <a16:creationId xmlns:a16="http://schemas.microsoft.com/office/drawing/2014/main" id="{25945564-19AF-A611-4699-E1A508A98DB4}"/>
              </a:ext>
            </a:extLst>
          </p:cNvPr>
          <p:cNvSpPr txBox="1"/>
          <p:nvPr/>
        </p:nvSpPr>
        <p:spPr>
          <a:xfrm>
            <a:off x="5484192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66B76E9E-8158-6872-6343-45A00B654E4D}"/>
              </a:ext>
            </a:extLst>
          </p:cNvPr>
          <p:cNvSpPr txBox="1"/>
          <p:nvPr/>
        </p:nvSpPr>
        <p:spPr>
          <a:xfrm>
            <a:off x="7487315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4</a:t>
            </a: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0B3996B8-01CE-98F2-1104-A4C754A5EF06}"/>
              </a:ext>
            </a:extLst>
          </p:cNvPr>
          <p:cNvSpPr txBox="1"/>
          <p:nvPr/>
        </p:nvSpPr>
        <p:spPr>
          <a:xfrm>
            <a:off x="9490440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5</a:t>
            </a:r>
          </a:p>
        </p:txBody>
      </p:sp>
      <p:sp>
        <p:nvSpPr>
          <p:cNvPr id="19" name="Right Arrow 25">
            <a:extLst>
              <a:ext uri="{FF2B5EF4-FFF2-40B4-BE49-F238E27FC236}">
                <a16:creationId xmlns:a16="http://schemas.microsoft.com/office/drawing/2014/main" id="{A05F97E1-54C8-5578-AEB3-7194248CCFB6}"/>
              </a:ext>
            </a:extLst>
          </p:cNvPr>
          <p:cNvSpPr/>
          <p:nvPr/>
        </p:nvSpPr>
        <p:spPr>
          <a:xfrm>
            <a:off x="8789991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E</a:t>
            </a:r>
          </a:p>
        </p:txBody>
      </p:sp>
      <p:sp>
        <p:nvSpPr>
          <p:cNvPr id="20" name="Right Arrow 24">
            <a:extLst>
              <a:ext uri="{FF2B5EF4-FFF2-40B4-BE49-F238E27FC236}">
                <a16:creationId xmlns:a16="http://schemas.microsoft.com/office/drawing/2014/main" id="{80931129-A0E4-7262-5800-53EE879BAB6A}"/>
              </a:ext>
            </a:extLst>
          </p:cNvPr>
          <p:cNvSpPr/>
          <p:nvPr/>
        </p:nvSpPr>
        <p:spPr>
          <a:xfrm>
            <a:off x="6786866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D</a:t>
            </a:r>
          </a:p>
        </p:txBody>
      </p:sp>
      <p:sp>
        <p:nvSpPr>
          <p:cNvPr id="21" name="Right Arrow 23">
            <a:extLst>
              <a:ext uri="{FF2B5EF4-FFF2-40B4-BE49-F238E27FC236}">
                <a16:creationId xmlns:a16="http://schemas.microsoft.com/office/drawing/2014/main" id="{7EABCFE2-9C42-3B4D-E66B-652133D74331}"/>
              </a:ext>
            </a:extLst>
          </p:cNvPr>
          <p:cNvSpPr/>
          <p:nvPr/>
        </p:nvSpPr>
        <p:spPr>
          <a:xfrm>
            <a:off x="4783742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C</a:t>
            </a:r>
          </a:p>
        </p:txBody>
      </p:sp>
      <p:sp>
        <p:nvSpPr>
          <p:cNvPr id="22" name="Right Arrow 22">
            <a:extLst>
              <a:ext uri="{FF2B5EF4-FFF2-40B4-BE49-F238E27FC236}">
                <a16:creationId xmlns:a16="http://schemas.microsoft.com/office/drawing/2014/main" id="{745E8E89-C03A-43B9-B2BA-499DC67B5185}"/>
              </a:ext>
            </a:extLst>
          </p:cNvPr>
          <p:cNvSpPr/>
          <p:nvPr/>
        </p:nvSpPr>
        <p:spPr>
          <a:xfrm>
            <a:off x="2780618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B</a:t>
            </a:r>
          </a:p>
        </p:txBody>
      </p:sp>
      <p:sp>
        <p:nvSpPr>
          <p:cNvPr id="23" name="Right Arrow 21">
            <a:extLst>
              <a:ext uri="{FF2B5EF4-FFF2-40B4-BE49-F238E27FC236}">
                <a16:creationId xmlns:a16="http://schemas.microsoft.com/office/drawing/2014/main" id="{81736954-8C36-78A2-9B5A-80EACC1E330E}"/>
              </a:ext>
            </a:extLst>
          </p:cNvPr>
          <p:cNvSpPr/>
          <p:nvPr/>
        </p:nvSpPr>
        <p:spPr>
          <a:xfrm>
            <a:off x="777494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A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F9033299-6FD7-BB21-D73D-DE7A37622FD6}"/>
              </a:ext>
            </a:extLst>
          </p:cNvPr>
          <p:cNvSpPr txBox="1">
            <a:spLocks/>
          </p:cNvSpPr>
          <p:nvPr/>
        </p:nvSpPr>
        <p:spPr>
          <a:xfrm>
            <a:off x="1113013" y="3725099"/>
            <a:ext cx="1824878" cy="212365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644A77AA-98E5-6215-0F4C-322BC71E082E}"/>
              </a:ext>
            </a:extLst>
          </p:cNvPr>
          <p:cNvSpPr txBox="1">
            <a:spLocks/>
          </p:cNvSpPr>
          <p:nvPr/>
        </p:nvSpPr>
        <p:spPr>
          <a:xfrm>
            <a:off x="3116137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61899FB3-1353-E990-1F75-ECFD2AF6EA7D}"/>
              </a:ext>
            </a:extLst>
          </p:cNvPr>
          <p:cNvSpPr txBox="1">
            <a:spLocks/>
          </p:cNvSpPr>
          <p:nvPr/>
        </p:nvSpPr>
        <p:spPr>
          <a:xfrm>
            <a:off x="5119261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7910A708-85A2-F211-F8D7-E77E41237138}"/>
              </a:ext>
            </a:extLst>
          </p:cNvPr>
          <p:cNvSpPr txBox="1">
            <a:spLocks/>
          </p:cNvSpPr>
          <p:nvPr/>
        </p:nvSpPr>
        <p:spPr>
          <a:xfrm>
            <a:off x="7122387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08BFFA6-71C2-B6FF-7D4B-338C85DE7FFB}"/>
              </a:ext>
            </a:extLst>
          </p:cNvPr>
          <p:cNvSpPr txBox="1">
            <a:spLocks/>
          </p:cNvSpPr>
          <p:nvPr/>
        </p:nvSpPr>
        <p:spPr>
          <a:xfrm>
            <a:off x="9125510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4" name="Left Arrow 40">
            <a:extLst>
              <a:ext uri="{FF2B5EF4-FFF2-40B4-BE49-F238E27FC236}">
                <a16:creationId xmlns:a16="http://schemas.microsoft.com/office/drawing/2014/main" id="{E62FFFC0-9CC7-19AA-EC87-9E5FE3470BF5}"/>
              </a:ext>
            </a:extLst>
          </p:cNvPr>
          <p:cNvSpPr/>
          <p:nvPr/>
        </p:nvSpPr>
        <p:spPr>
          <a:xfrm>
            <a:off x="384175" y="5561949"/>
            <a:ext cx="6738212" cy="683582"/>
          </a:xfrm>
          <a:prstGeom prst="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5" name="Right Arrow 41">
            <a:extLst>
              <a:ext uri="{FF2B5EF4-FFF2-40B4-BE49-F238E27FC236}">
                <a16:creationId xmlns:a16="http://schemas.microsoft.com/office/drawing/2014/main" id="{34B407F7-C7D5-3CE1-2C98-50EDA38EAF6E}"/>
              </a:ext>
            </a:extLst>
          </p:cNvPr>
          <p:cNvSpPr/>
          <p:nvPr/>
        </p:nvSpPr>
        <p:spPr>
          <a:xfrm>
            <a:off x="7122387" y="5561949"/>
            <a:ext cx="4698138" cy="683582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6" name="TextBox 42">
            <a:extLst>
              <a:ext uri="{FF2B5EF4-FFF2-40B4-BE49-F238E27FC236}">
                <a16:creationId xmlns:a16="http://schemas.microsoft.com/office/drawing/2014/main" id="{9740624D-0447-E282-2A74-E48D51749916}"/>
              </a:ext>
            </a:extLst>
          </p:cNvPr>
          <p:cNvSpPr txBox="1"/>
          <p:nvPr/>
        </p:nvSpPr>
        <p:spPr>
          <a:xfrm>
            <a:off x="3557137" y="5765240"/>
            <a:ext cx="65274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XXXX</a:t>
            </a:r>
          </a:p>
        </p:txBody>
      </p:sp>
      <p:sp>
        <p:nvSpPr>
          <p:cNvPr id="37" name="TextBox 43">
            <a:extLst>
              <a:ext uri="{FF2B5EF4-FFF2-40B4-BE49-F238E27FC236}">
                <a16:creationId xmlns:a16="http://schemas.microsoft.com/office/drawing/2014/main" id="{D96AA64F-4921-8C1F-3605-EFF963EF245E}"/>
              </a:ext>
            </a:extLst>
          </p:cNvPr>
          <p:cNvSpPr txBox="1"/>
          <p:nvPr/>
        </p:nvSpPr>
        <p:spPr>
          <a:xfrm>
            <a:off x="8870636" y="5765240"/>
            <a:ext cx="65274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X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BE228B-3E8B-CEE3-F006-E30527E7A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4F05454-42D7-543C-792E-4908443E9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o-To-Market Slide</a:t>
            </a:r>
          </a:p>
        </p:txBody>
      </p:sp>
    </p:spTree>
    <p:extLst>
      <p:ext uri="{BB962C8B-B14F-4D97-AF65-F5344CB8AC3E}">
        <p14:creationId xmlns:p14="http://schemas.microsoft.com/office/powerpoint/2010/main" val="421038287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82EFDF1-F32E-C810-0323-A84CB5C5D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9898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82EFDF1-F32E-C810-0323-A84CB5C5D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upo 56">
            <a:extLst>
              <a:ext uri="{FF2B5EF4-FFF2-40B4-BE49-F238E27FC236}">
                <a16:creationId xmlns:a16="http://schemas.microsoft.com/office/drawing/2014/main" id="{8DA41B56-EBFB-144A-5190-E001F30943F7}"/>
              </a:ext>
            </a:extLst>
          </p:cNvPr>
          <p:cNvGrpSpPr/>
          <p:nvPr/>
        </p:nvGrpSpPr>
        <p:grpSpPr>
          <a:xfrm>
            <a:off x="365707" y="1524041"/>
            <a:ext cx="11458387" cy="417554"/>
            <a:chOff x="365707" y="1288073"/>
            <a:chExt cx="11458387" cy="417554"/>
          </a:xfrm>
        </p:grpSpPr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FAA14894-C9A1-A16F-1639-16FC7CB1F4FF}"/>
                </a:ext>
              </a:extLst>
            </p:cNvPr>
            <p:cNvSpPr/>
            <p:nvPr/>
          </p:nvSpPr>
          <p:spPr>
            <a:xfrm rot="10800000">
              <a:off x="36570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96">
              <a:extLst>
                <a:ext uri="{FF2B5EF4-FFF2-40B4-BE49-F238E27FC236}">
                  <a16:creationId xmlns:a16="http://schemas.microsoft.com/office/drawing/2014/main" id="{6BDAAD5A-5CD0-616A-8F3D-8D296670A0B6}"/>
                </a:ext>
              </a:extLst>
            </p:cNvPr>
            <p:cNvSpPr/>
            <p:nvPr/>
          </p:nvSpPr>
          <p:spPr>
            <a:xfrm rot="10800000">
              <a:off x="133910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99">
              <a:extLst>
                <a:ext uri="{FF2B5EF4-FFF2-40B4-BE49-F238E27FC236}">
                  <a16:creationId xmlns:a16="http://schemas.microsoft.com/office/drawing/2014/main" id="{72972E0C-E681-4385-64C7-236E821609B2}"/>
                </a:ext>
              </a:extLst>
            </p:cNvPr>
            <p:cNvSpPr/>
            <p:nvPr/>
          </p:nvSpPr>
          <p:spPr>
            <a:xfrm rot="10800000">
              <a:off x="231249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Freeform 102">
              <a:extLst>
                <a:ext uri="{FF2B5EF4-FFF2-40B4-BE49-F238E27FC236}">
                  <a16:creationId xmlns:a16="http://schemas.microsoft.com/office/drawing/2014/main" id="{F532776E-1F4E-DDDB-2F26-6CE5E35B6676}"/>
                </a:ext>
              </a:extLst>
            </p:cNvPr>
            <p:cNvSpPr/>
            <p:nvPr/>
          </p:nvSpPr>
          <p:spPr>
            <a:xfrm rot="10800000">
              <a:off x="328588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1711F9CC-2BFD-4EFB-EB8D-12367EB8A1AD}"/>
                </a:ext>
              </a:extLst>
            </p:cNvPr>
            <p:cNvSpPr/>
            <p:nvPr/>
          </p:nvSpPr>
          <p:spPr>
            <a:xfrm rot="10800000">
              <a:off x="425927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Freeform 108">
              <a:extLst>
                <a:ext uri="{FF2B5EF4-FFF2-40B4-BE49-F238E27FC236}">
                  <a16:creationId xmlns:a16="http://schemas.microsoft.com/office/drawing/2014/main" id="{E380A342-1904-2DF8-08E8-9AC4F52791A6}"/>
                </a:ext>
              </a:extLst>
            </p:cNvPr>
            <p:cNvSpPr/>
            <p:nvPr/>
          </p:nvSpPr>
          <p:spPr>
            <a:xfrm rot="10800000">
              <a:off x="5232672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Freeform 114">
              <a:extLst>
                <a:ext uri="{FF2B5EF4-FFF2-40B4-BE49-F238E27FC236}">
                  <a16:creationId xmlns:a16="http://schemas.microsoft.com/office/drawing/2014/main" id="{6195A36B-79EF-8CC2-18E3-35808B06A006}"/>
                </a:ext>
              </a:extLst>
            </p:cNvPr>
            <p:cNvSpPr/>
            <p:nvPr/>
          </p:nvSpPr>
          <p:spPr>
            <a:xfrm rot="10800000">
              <a:off x="6206065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Freeform 117">
              <a:extLst>
                <a:ext uri="{FF2B5EF4-FFF2-40B4-BE49-F238E27FC236}">
                  <a16:creationId xmlns:a16="http://schemas.microsoft.com/office/drawing/2014/main" id="{CF29FDB3-68A5-BFD4-684D-3A4E0CFB1B8B}"/>
                </a:ext>
              </a:extLst>
            </p:cNvPr>
            <p:cNvSpPr/>
            <p:nvPr/>
          </p:nvSpPr>
          <p:spPr>
            <a:xfrm rot="10800000">
              <a:off x="717945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8" name="Freeform 120">
              <a:extLst>
                <a:ext uri="{FF2B5EF4-FFF2-40B4-BE49-F238E27FC236}">
                  <a16:creationId xmlns:a16="http://schemas.microsoft.com/office/drawing/2014/main" id="{482236F7-1F0A-0DC2-8C9D-9FB04C3BE3FC}"/>
                </a:ext>
              </a:extLst>
            </p:cNvPr>
            <p:cNvSpPr/>
            <p:nvPr/>
          </p:nvSpPr>
          <p:spPr>
            <a:xfrm rot="10800000">
              <a:off x="815285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0" name="Freeform 123">
              <a:extLst>
                <a:ext uri="{FF2B5EF4-FFF2-40B4-BE49-F238E27FC236}">
                  <a16:creationId xmlns:a16="http://schemas.microsoft.com/office/drawing/2014/main" id="{D438935D-E3C9-5662-09F6-11F17AA4B878}"/>
                </a:ext>
              </a:extLst>
            </p:cNvPr>
            <p:cNvSpPr/>
            <p:nvPr/>
          </p:nvSpPr>
          <p:spPr>
            <a:xfrm rot="10800000">
              <a:off x="912624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FFB271F5-19F2-6AF4-BB9B-8AAD63F57C33}"/>
                </a:ext>
              </a:extLst>
            </p:cNvPr>
            <p:cNvSpPr/>
            <p:nvPr/>
          </p:nvSpPr>
          <p:spPr>
            <a:xfrm rot="10800000">
              <a:off x="1009963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Freeform 129">
              <a:extLst>
                <a:ext uri="{FF2B5EF4-FFF2-40B4-BE49-F238E27FC236}">
                  <a16:creationId xmlns:a16="http://schemas.microsoft.com/office/drawing/2014/main" id="{35F11170-0FB7-E6CA-9D95-C0DBFDEFFB22}"/>
                </a:ext>
              </a:extLst>
            </p:cNvPr>
            <p:cNvSpPr/>
            <p:nvPr/>
          </p:nvSpPr>
          <p:spPr>
            <a:xfrm rot="10800000">
              <a:off x="1107302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BFB8431-BE3E-E2BB-F094-D6EE5CC9CE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6" name="Freeform 1">
            <a:extLst>
              <a:ext uri="{FF2B5EF4-FFF2-40B4-BE49-F238E27FC236}">
                <a16:creationId xmlns:a16="http://schemas.microsoft.com/office/drawing/2014/main" id="{90775AED-5143-BE56-91C6-E455F00DF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2415879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BC16AE75-A044-F2DE-B981-BC035805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3246054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7779AFD8-BBCE-5555-5F02-2FFBA7928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123268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Freeform 1">
            <a:extLst>
              <a:ext uri="{FF2B5EF4-FFF2-40B4-BE49-F238E27FC236}">
                <a16:creationId xmlns:a16="http://schemas.microsoft.com/office/drawing/2014/main" id="{14400B19-42B0-2E53-48B0-68975903F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955176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Freeform 1">
            <a:extLst>
              <a:ext uri="{FF2B5EF4-FFF2-40B4-BE49-F238E27FC236}">
                <a16:creationId xmlns:a16="http://schemas.microsoft.com/office/drawing/2014/main" id="{F340EA3C-9E9A-492C-70EF-43BAB8C1F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5763362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2310B091-EAF0-55E2-99C4-C9725F59E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5" y="2415879"/>
            <a:ext cx="2838852" cy="863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7642CA54-7BFD-DD55-772C-9B4628F83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9756" y="3246054"/>
            <a:ext cx="4821585" cy="86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A2EEAE24-7FEF-DA7E-FC2C-CBFB78899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1341" y="4955947"/>
            <a:ext cx="2124957" cy="863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4">
            <a:extLst>
              <a:ext uri="{FF2B5EF4-FFF2-40B4-BE49-F238E27FC236}">
                <a16:creationId xmlns:a16="http://schemas.microsoft.com/office/drawing/2014/main" id="{9D97EF86-4538-DA2C-96F0-6ED744C723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3306" y="5763362"/>
            <a:ext cx="2889851" cy="8635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4">
            <a:extLst>
              <a:ext uri="{FF2B5EF4-FFF2-40B4-BE49-F238E27FC236}">
                <a16:creationId xmlns:a16="http://schemas.microsoft.com/office/drawing/2014/main" id="{57767BB0-DA53-F582-F429-6B5408A2B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713" y="4124810"/>
            <a:ext cx="6315272" cy="8635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A6F086EB-F11A-E98A-9C5F-DD235A709722}"/>
              </a:ext>
            </a:extLst>
          </p:cNvPr>
          <p:cNvSpPr txBox="1"/>
          <p:nvPr/>
        </p:nvSpPr>
        <p:spPr>
          <a:xfrm>
            <a:off x="354994" y="212555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BB21E95-2223-862B-6D11-BB17B7FCA19E}"/>
              </a:ext>
            </a:extLst>
          </p:cNvPr>
          <p:cNvSpPr txBox="1">
            <a:spLocks/>
          </p:cNvSpPr>
          <p:nvPr/>
        </p:nvSpPr>
        <p:spPr>
          <a:xfrm>
            <a:off x="354994" y="2510263"/>
            <a:ext cx="3681957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E8B435D0-E39A-6F5C-A616-5EFD350F7B0B}"/>
              </a:ext>
            </a:extLst>
          </p:cNvPr>
          <p:cNvSpPr txBox="1"/>
          <p:nvPr/>
        </p:nvSpPr>
        <p:spPr>
          <a:xfrm>
            <a:off x="1445179" y="295100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3BAF51B-BC64-7B74-1127-4B6726EA263F}"/>
              </a:ext>
            </a:extLst>
          </p:cNvPr>
          <p:cNvSpPr txBox="1">
            <a:spLocks/>
          </p:cNvSpPr>
          <p:nvPr/>
        </p:nvSpPr>
        <p:spPr>
          <a:xfrm>
            <a:off x="1445179" y="3335712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26" name="TextBox 44">
            <a:extLst>
              <a:ext uri="{FF2B5EF4-FFF2-40B4-BE49-F238E27FC236}">
                <a16:creationId xmlns:a16="http://schemas.microsoft.com/office/drawing/2014/main" id="{ACF8B327-C479-DC24-37C4-E3064316401D}"/>
              </a:ext>
            </a:extLst>
          </p:cNvPr>
          <p:cNvSpPr txBox="1"/>
          <p:nvPr/>
        </p:nvSpPr>
        <p:spPr>
          <a:xfrm>
            <a:off x="3883522" y="382205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08E295F-DE65-ED8A-57D6-7F84CE528F4B}"/>
              </a:ext>
            </a:extLst>
          </p:cNvPr>
          <p:cNvSpPr txBox="1">
            <a:spLocks/>
          </p:cNvSpPr>
          <p:nvPr/>
        </p:nvSpPr>
        <p:spPr>
          <a:xfrm>
            <a:off x="3883522" y="4216963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28" name="TextBox 47">
            <a:extLst>
              <a:ext uri="{FF2B5EF4-FFF2-40B4-BE49-F238E27FC236}">
                <a16:creationId xmlns:a16="http://schemas.microsoft.com/office/drawing/2014/main" id="{59380C58-A612-1510-7FB6-13AFEBB6FE32}"/>
              </a:ext>
            </a:extLst>
          </p:cNvPr>
          <p:cNvSpPr txBox="1"/>
          <p:nvPr/>
        </p:nvSpPr>
        <p:spPr>
          <a:xfrm>
            <a:off x="6310878" y="4655925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0B53343D-2CEF-7527-8BA7-2AB5137CAD3B}"/>
              </a:ext>
            </a:extLst>
          </p:cNvPr>
          <p:cNvSpPr txBox="1">
            <a:spLocks/>
          </p:cNvSpPr>
          <p:nvPr/>
        </p:nvSpPr>
        <p:spPr>
          <a:xfrm>
            <a:off x="4737713" y="5040637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id="{FE0DDA08-459D-DEBA-A04A-743738AC5964}"/>
              </a:ext>
            </a:extLst>
          </p:cNvPr>
          <p:cNvSpPr txBox="1"/>
          <p:nvPr/>
        </p:nvSpPr>
        <p:spPr>
          <a:xfrm>
            <a:off x="8923306" y="546972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8604D22-E1C6-7E24-65D6-D91034047002}"/>
              </a:ext>
            </a:extLst>
          </p:cNvPr>
          <p:cNvSpPr txBox="1">
            <a:spLocks/>
          </p:cNvSpPr>
          <p:nvPr/>
        </p:nvSpPr>
        <p:spPr>
          <a:xfrm>
            <a:off x="7571620" y="5854435"/>
            <a:ext cx="365254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3" name="TextBox 26">
            <a:extLst>
              <a:ext uri="{FF2B5EF4-FFF2-40B4-BE49-F238E27FC236}">
                <a16:creationId xmlns:a16="http://schemas.microsoft.com/office/drawing/2014/main" id="{1B613910-436C-6ABD-7240-244D318A1429}"/>
              </a:ext>
            </a:extLst>
          </p:cNvPr>
          <p:cNvSpPr txBox="1"/>
          <p:nvPr/>
        </p:nvSpPr>
        <p:spPr>
          <a:xfrm>
            <a:off x="357543" y="1532042"/>
            <a:ext cx="767390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AN ‘19</a:t>
            </a:r>
          </a:p>
        </p:txBody>
      </p:sp>
      <p:sp>
        <p:nvSpPr>
          <p:cNvPr id="35" name="TextBox 97">
            <a:extLst>
              <a:ext uri="{FF2B5EF4-FFF2-40B4-BE49-F238E27FC236}">
                <a16:creationId xmlns:a16="http://schemas.microsoft.com/office/drawing/2014/main" id="{891AB81A-3699-12EE-D323-0CDC05854F3B}"/>
              </a:ext>
            </a:extLst>
          </p:cNvPr>
          <p:cNvSpPr txBox="1"/>
          <p:nvPr/>
        </p:nvSpPr>
        <p:spPr>
          <a:xfrm>
            <a:off x="1330551" y="1532042"/>
            <a:ext cx="76815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FEB ‘19</a:t>
            </a:r>
          </a:p>
        </p:txBody>
      </p:sp>
      <p:sp>
        <p:nvSpPr>
          <p:cNvPr id="37" name="TextBox 100">
            <a:extLst>
              <a:ext uri="{FF2B5EF4-FFF2-40B4-BE49-F238E27FC236}">
                <a16:creationId xmlns:a16="http://schemas.microsoft.com/office/drawing/2014/main" id="{56C2FCC5-8458-84D8-738B-A20B64BF7A5D}"/>
              </a:ext>
            </a:extLst>
          </p:cNvPr>
          <p:cNvSpPr txBox="1"/>
          <p:nvPr/>
        </p:nvSpPr>
        <p:spPr>
          <a:xfrm>
            <a:off x="2278296" y="1532042"/>
            <a:ext cx="81945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MAR ‘19</a:t>
            </a:r>
          </a:p>
        </p:txBody>
      </p:sp>
      <p:sp>
        <p:nvSpPr>
          <p:cNvPr id="39" name="TextBox 103">
            <a:extLst>
              <a:ext uri="{FF2B5EF4-FFF2-40B4-BE49-F238E27FC236}">
                <a16:creationId xmlns:a16="http://schemas.microsoft.com/office/drawing/2014/main" id="{818DB894-C044-F01A-93C3-20EFC1B124D8}"/>
              </a:ext>
            </a:extLst>
          </p:cNvPr>
          <p:cNvSpPr txBox="1"/>
          <p:nvPr/>
        </p:nvSpPr>
        <p:spPr>
          <a:xfrm>
            <a:off x="3270123" y="1532042"/>
            <a:ext cx="78258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APR ‘19</a:t>
            </a:r>
          </a:p>
        </p:txBody>
      </p:sp>
      <p:sp>
        <p:nvSpPr>
          <p:cNvPr id="41" name="TextBox 106">
            <a:extLst>
              <a:ext uri="{FF2B5EF4-FFF2-40B4-BE49-F238E27FC236}">
                <a16:creationId xmlns:a16="http://schemas.microsoft.com/office/drawing/2014/main" id="{FCC65EB4-0D14-FAC2-6E23-E980D9143DF3}"/>
              </a:ext>
            </a:extLst>
          </p:cNvPr>
          <p:cNvSpPr txBox="1"/>
          <p:nvPr/>
        </p:nvSpPr>
        <p:spPr>
          <a:xfrm>
            <a:off x="4234507" y="1532042"/>
            <a:ext cx="80060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MAY ‘19</a:t>
            </a:r>
          </a:p>
        </p:txBody>
      </p:sp>
      <p:sp>
        <p:nvSpPr>
          <p:cNvPr id="43" name="TextBox 109">
            <a:extLst>
              <a:ext uri="{FF2B5EF4-FFF2-40B4-BE49-F238E27FC236}">
                <a16:creationId xmlns:a16="http://schemas.microsoft.com/office/drawing/2014/main" id="{F96C9565-5006-15ED-E3D1-61682C2B0E69}"/>
              </a:ext>
            </a:extLst>
          </p:cNvPr>
          <p:cNvSpPr txBox="1"/>
          <p:nvPr/>
        </p:nvSpPr>
        <p:spPr>
          <a:xfrm>
            <a:off x="5220918" y="1532042"/>
            <a:ext cx="77457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UN ‘19</a:t>
            </a:r>
          </a:p>
        </p:txBody>
      </p:sp>
      <p:sp>
        <p:nvSpPr>
          <p:cNvPr id="45" name="TextBox 115">
            <a:extLst>
              <a:ext uri="{FF2B5EF4-FFF2-40B4-BE49-F238E27FC236}">
                <a16:creationId xmlns:a16="http://schemas.microsoft.com/office/drawing/2014/main" id="{7D771AEA-990C-79F8-2B57-4DD79E169AD9}"/>
              </a:ext>
            </a:extLst>
          </p:cNvPr>
          <p:cNvSpPr txBox="1"/>
          <p:nvPr/>
        </p:nvSpPr>
        <p:spPr>
          <a:xfrm>
            <a:off x="6209538" y="1532042"/>
            <a:ext cx="74411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UL ‘19</a:t>
            </a:r>
          </a:p>
        </p:txBody>
      </p:sp>
      <p:sp>
        <p:nvSpPr>
          <p:cNvPr id="47" name="TextBox 118">
            <a:extLst>
              <a:ext uri="{FF2B5EF4-FFF2-40B4-BE49-F238E27FC236}">
                <a16:creationId xmlns:a16="http://schemas.microsoft.com/office/drawing/2014/main" id="{2B1B7797-3B8E-2AE9-2E15-1425B9011B0F}"/>
              </a:ext>
            </a:extLst>
          </p:cNvPr>
          <p:cNvSpPr txBox="1"/>
          <p:nvPr/>
        </p:nvSpPr>
        <p:spPr>
          <a:xfrm>
            <a:off x="7148851" y="1532042"/>
            <a:ext cx="81227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AUG ‘19</a:t>
            </a:r>
          </a:p>
        </p:txBody>
      </p:sp>
      <p:sp>
        <p:nvSpPr>
          <p:cNvPr id="49" name="TextBox 121">
            <a:extLst>
              <a:ext uri="{FF2B5EF4-FFF2-40B4-BE49-F238E27FC236}">
                <a16:creationId xmlns:a16="http://schemas.microsoft.com/office/drawing/2014/main" id="{3843EF59-69F2-C22A-8E6C-2333331BA225}"/>
              </a:ext>
            </a:extLst>
          </p:cNvPr>
          <p:cNvSpPr txBox="1"/>
          <p:nvPr/>
        </p:nvSpPr>
        <p:spPr>
          <a:xfrm>
            <a:off x="8141896" y="1532042"/>
            <a:ext cx="77296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SEP ‘19</a:t>
            </a:r>
          </a:p>
        </p:txBody>
      </p:sp>
      <p:sp>
        <p:nvSpPr>
          <p:cNvPr id="51" name="TextBox 124">
            <a:extLst>
              <a:ext uri="{FF2B5EF4-FFF2-40B4-BE49-F238E27FC236}">
                <a16:creationId xmlns:a16="http://schemas.microsoft.com/office/drawing/2014/main" id="{64ADA331-3F61-73E0-6841-F0F650382EA4}"/>
              </a:ext>
            </a:extLst>
          </p:cNvPr>
          <p:cNvSpPr txBox="1"/>
          <p:nvPr/>
        </p:nvSpPr>
        <p:spPr>
          <a:xfrm>
            <a:off x="9101663" y="1532042"/>
            <a:ext cx="80021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OCT ‘19</a:t>
            </a:r>
          </a:p>
        </p:txBody>
      </p:sp>
      <p:sp>
        <p:nvSpPr>
          <p:cNvPr id="53" name="TextBox 127">
            <a:extLst>
              <a:ext uri="{FF2B5EF4-FFF2-40B4-BE49-F238E27FC236}">
                <a16:creationId xmlns:a16="http://schemas.microsoft.com/office/drawing/2014/main" id="{0614F48F-71E9-D49E-84BB-25F465020395}"/>
              </a:ext>
            </a:extLst>
          </p:cNvPr>
          <p:cNvSpPr txBox="1"/>
          <p:nvPr/>
        </p:nvSpPr>
        <p:spPr>
          <a:xfrm>
            <a:off x="10065439" y="1532042"/>
            <a:ext cx="81945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NOV ‘19</a:t>
            </a:r>
          </a:p>
        </p:txBody>
      </p:sp>
      <p:sp>
        <p:nvSpPr>
          <p:cNvPr id="55" name="TextBox 130">
            <a:extLst>
              <a:ext uri="{FF2B5EF4-FFF2-40B4-BE49-F238E27FC236}">
                <a16:creationId xmlns:a16="http://schemas.microsoft.com/office/drawing/2014/main" id="{E43DA777-F94A-405D-6180-A9C79BE69D86}"/>
              </a:ext>
            </a:extLst>
          </p:cNvPr>
          <p:cNvSpPr txBox="1"/>
          <p:nvPr/>
        </p:nvSpPr>
        <p:spPr>
          <a:xfrm>
            <a:off x="11048451" y="1532042"/>
            <a:ext cx="80021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DEC ‘19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3604AD1-CB27-3455-6246-C98DE87D01EC}"/>
              </a:ext>
            </a:extLst>
          </p:cNvPr>
          <p:cNvSpPr/>
          <p:nvPr/>
        </p:nvSpPr>
        <p:spPr>
          <a:xfrm>
            <a:off x="6006992" y="3003477"/>
            <a:ext cx="571509" cy="5715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58" name="Freeform 984">
            <a:extLst>
              <a:ext uri="{FF2B5EF4-FFF2-40B4-BE49-F238E27FC236}">
                <a16:creationId xmlns:a16="http://schemas.microsoft.com/office/drawing/2014/main" id="{1D60E339-92F8-4D8D-16DD-55E1A1AB56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5753" y="3083741"/>
            <a:ext cx="312801" cy="41098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A32A4-D4BB-F50F-1AEE-6C8AAD4DB110}"/>
              </a:ext>
            </a:extLst>
          </p:cNvPr>
          <p:cNvSpPr/>
          <p:nvPr/>
        </p:nvSpPr>
        <p:spPr>
          <a:xfrm>
            <a:off x="9877308" y="3883818"/>
            <a:ext cx="571509" cy="5715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C3C9BF5B-FCC7-880A-0F7F-260D3522A369}"/>
              </a:ext>
            </a:extLst>
          </p:cNvPr>
          <p:cNvSpPr/>
          <p:nvPr/>
        </p:nvSpPr>
        <p:spPr>
          <a:xfrm>
            <a:off x="8330650" y="4707799"/>
            <a:ext cx="571509" cy="5715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6DDF5A4-BA39-2885-51E1-023F564EAB38}"/>
              </a:ext>
            </a:extLst>
          </p:cNvPr>
          <p:cNvSpPr/>
          <p:nvPr/>
        </p:nvSpPr>
        <p:spPr>
          <a:xfrm>
            <a:off x="11241648" y="5513758"/>
            <a:ext cx="571509" cy="5715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3" name="Freeform 985">
            <a:extLst>
              <a:ext uri="{FF2B5EF4-FFF2-40B4-BE49-F238E27FC236}">
                <a16:creationId xmlns:a16="http://schemas.microsoft.com/office/drawing/2014/main" id="{A5E76887-539A-3D21-6862-15A64AD186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53824" y="4821366"/>
            <a:ext cx="344374" cy="344374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5" name="Freeform 987">
            <a:extLst>
              <a:ext uri="{FF2B5EF4-FFF2-40B4-BE49-F238E27FC236}">
                <a16:creationId xmlns:a16="http://schemas.microsoft.com/office/drawing/2014/main" id="{F564790F-8CF4-290E-5475-794954F725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99161" y="4002511"/>
            <a:ext cx="344374" cy="344374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6" name="Freeform 988">
            <a:extLst>
              <a:ext uri="{FF2B5EF4-FFF2-40B4-BE49-F238E27FC236}">
                <a16:creationId xmlns:a16="http://schemas.microsoft.com/office/drawing/2014/main" id="{E8FBCF27-3D0B-9E79-B765-B7456BD605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355215" y="5627325"/>
            <a:ext cx="344374" cy="344374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048FDB-4787-8DF7-4E34-A36E3CA67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6C0D5B5A-F722-C041-DA95-5ED1BC6A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Project timeline</a:t>
            </a:r>
          </a:p>
        </p:txBody>
      </p:sp>
    </p:spTree>
    <p:extLst>
      <p:ext uri="{BB962C8B-B14F-4D97-AF65-F5344CB8AC3E}">
        <p14:creationId xmlns:p14="http://schemas.microsoft.com/office/powerpoint/2010/main" val="1807136608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to 51" hidden="1">
            <a:extLst>
              <a:ext uri="{FF2B5EF4-FFF2-40B4-BE49-F238E27FC236}">
                <a16:creationId xmlns:a16="http://schemas.microsoft.com/office/drawing/2014/main" id="{3F64CE89-9E63-8FC8-76C9-67040AF23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2" name="Objeto 51" hidden="1">
                        <a:extLst>
                          <a:ext uri="{FF2B5EF4-FFF2-40B4-BE49-F238E27FC236}">
                            <a16:creationId xmlns:a16="http://schemas.microsoft.com/office/drawing/2014/main" id="{3F64CE89-9E63-8FC8-76C9-67040AF23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Marcador de texto 55">
            <a:extLst>
              <a:ext uri="{FF2B5EF4-FFF2-40B4-BE49-F238E27FC236}">
                <a16:creationId xmlns:a16="http://schemas.microsoft.com/office/drawing/2014/main" id="{F63C8725-E7D4-21F6-798A-23A0C9CC22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13">
            <a:extLst>
              <a:ext uri="{FF2B5EF4-FFF2-40B4-BE49-F238E27FC236}">
                <a16:creationId xmlns:a16="http://schemas.microsoft.com/office/drawing/2014/main" id="{469BE20E-A6A2-7BA2-59C7-30E8CA54038D}"/>
              </a:ext>
            </a:extLst>
          </p:cNvPr>
          <p:cNvSpPr/>
          <p:nvPr/>
        </p:nvSpPr>
        <p:spPr>
          <a:xfrm>
            <a:off x="416533" y="1582436"/>
            <a:ext cx="11395611" cy="4598400"/>
          </a:xfrm>
          <a:custGeom>
            <a:avLst/>
            <a:gdLst>
              <a:gd name="connsiteX0" fmla="*/ 0 w 18384252"/>
              <a:gd name="connsiteY0" fmla="*/ 1157909 h 1278225"/>
              <a:gd name="connsiteX1" fmla="*/ 3970421 w 18384252"/>
              <a:gd name="connsiteY1" fmla="*/ 436014 h 1278225"/>
              <a:gd name="connsiteX2" fmla="*/ 7868652 w 18384252"/>
              <a:gd name="connsiteY2" fmla="*/ 917277 h 1278225"/>
              <a:gd name="connsiteX3" fmla="*/ 12849726 w 18384252"/>
              <a:gd name="connsiteY3" fmla="*/ 2877 h 1278225"/>
              <a:gd name="connsiteX4" fmla="*/ 18384252 w 18384252"/>
              <a:gd name="connsiteY4" fmla="*/ 1278225 h 1278225"/>
              <a:gd name="connsiteX0" fmla="*/ 0 w 18384252"/>
              <a:gd name="connsiteY0" fmla="*/ 1425257 h 7441713"/>
              <a:gd name="connsiteX1" fmla="*/ 3970421 w 18384252"/>
              <a:gd name="connsiteY1" fmla="*/ 703362 h 7441713"/>
              <a:gd name="connsiteX2" fmla="*/ 7844589 w 18384252"/>
              <a:gd name="connsiteY2" fmla="*/ 7441046 h 7441713"/>
              <a:gd name="connsiteX3" fmla="*/ 12849726 w 18384252"/>
              <a:gd name="connsiteY3" fmla="*/ 270225 h 7441713"/>
              <a:gd name="connsiteX4" fmla="*/ 18384252 w 18384252"/>
              <a:gd name="connsiteY4" fmla="*/ 1545573 h 7441713"/>
              <a:gd name="connsiteX0" fmla="*/ 0 w 19394904"/>
              <a:gd name="connsiteY0" fmla="*/ 7200415 h 7441619"/>
              <a:gd name="connsiteX1" fmla="*/ 4981073 w 19394904"/>
              <a:gd name="connsiteY1" fmla="*/ 703362 h 7441619"/>
              <a:gd name="connsiteX2" fmla="*/ 8855241 w 19394904"/>
              <a:gd name="connsiteY2" fmla="*/ 7441046 h 7441619"/>
              <a:gd name="connsiteX3" fmla="*/ 13860378 w 19394904"/>
              <a:gd name="connsiteY3" fmla="*/ 270225 h 7441619"/>
              <a:gd name="connsiteX4" fmla="*/ 19394904 w 19394904"/>
              <a:gd name="connsiteY4" fmla="*/ 1545573 h 7441619"/>
              <a:gd name="connsiteX0" fmla="*/ 0 w 17566104"/>
              <a:gd name="connsiteY0" fmla="*/ 6931775 h 7172979"/>
              <a:gd name="connsiteX1" fmla="*/ 4981073 w 17566104"/>
              <a:gd name="connsiteY1" fmla="*/ 434722 h 7172979"/>
              <a:gd name="connsiteX2" fmla="*/ 8855241 w 17566104"/>
              <a:gd name="connsiteY2" fmla="*/ 7172406 h 7172979"/>
              <a:gd name="connsiteX3" fmla="*/ 13860378 w 17566104"/>
              <a:gd name="connsiteY3" fmla="*/ 1585 h 7172979"/>
              <a:gd name="connsiteX4" fmla="*/ 17566104 w 17566104"/>
              <a:gd name="connsiteY4" fmla="*/ 6474575 h 7172979"/>
              <a:gd name="connsiteX0" fmla="*/ 0 w 17566104"/>
              <a:gd name="connsiteY0" fmla="*/ 6931775 h 7172850"/>
              <a:gd name="connsiteX1" fmla="*/ 4382524 w 17566104"/>
              <a:gd name="connsiteY1" fmla="*/ 383922 h 7172850"/>
              <a:gd name="connsiteX2" fmla="*/ 8855241 w 17566104"/>
              <a:gd name="connsiteY2" fmla="*/ 7172406 h 7172850"/>
              <a:gd name="connsiteX3" fmla="*/ 13860378 w 17566104"/>
              <a:gd name="connsiteY3" fmla="*/ 1585 h 7172850"/>
              <a:gd name="connsiteX4" fmla="*/ 17566104 w 17566104"/>
              <a:gd name="connsiteY4" fmla="*/ 6474575 h 7172850"/>
              <a:gd name="connsiteX0" fmla="*/ 0 w 17566104"/>
              <a:gd name="connsiteY0" fmla="*/ 6931889 h 7198362"/>
              <a:gd name="connsiteX1" fmla="*/ 4382524 w 17566104"/>
              <a:gd name="connsiteY1" fmla="*/ 384036 h 7198362"/>
              <a:gd name="connsiteX2" fmla="*/ 8803193 w 17566104"/>
              <a:gd name="connsiteY2" fmla="*/ 7197920 h 7198362"/>
              <a:gd name="connsiteX3" fmla="*/ 13860378 w 17566104"/>
              <a:gd name="connsiteY3" fmla="*/ 1699 h 7198362"/>
              <a:gd name="connsiteX4" fmla="*/ 17566104 w 17566104"/>
              <a:gd name="connsiteY4" fmla="*/ 6474689 h 7198362"/>
              <a:gd name="connsiteX0" fmla="*/ 0 w 17566104"/>
              <a:gd name="connsiteY0" fmla="*/ 7033463 h 7300200"/>
              <a:gd name="connsiteX1" fmla="*/ 4382524 w 17566104"/>
              <a:gd name="connsiteY1" fmla="*/ 485610 h 7300200"/>
              <a:gd name="connsiteX2" fmla="*/ 8803193 w 17566104"/>
              <a:gd name="connsiteY2" fmla="*/ 7299494 h 7300200"/>
              <a:gd name="connsiteX3" fmla="*/ 13183758 w 17566104"/>
              <a:gd name="connsiteY3" fmla="*/ 1673 h 7300200"/>
              <a:gd name="connsiteX4" fmla="*/ 17566104 w 17566104"/>
              <a:gd name="connsiteY4" fmla="*/ 6576263 h 7300200"/>
              <a:gd name="connsiteX0" fmla="*/ 0 w 19595965"/>
              <a:gd name="connsiteY0" fmla="*/ 7352205 h 7618942"/>
              <a:gd name="connsiteX1" fmla="*/ 4382524 w 19595965"/>
              <a:gd name="connsiteY1" fmla="*/ 804352 h 7618942"/>
              <a:gd name="connsiteX2" fmla="*/ 8803193 w 19595965"/>
              <a:gd name="connsiteY2" fmla="*/ 7618236 h 7618942"/>
              <a:gd name="connsiteX3" fmla="*/ 13183758 w 19595965"/>
              <a:gd name="connsiteY3" fmla="*/ 320415 h 7618942"/>
              <a:gd name="connsiteX4" fmla="*/ 19595965 w 19595965"/>
              <a:gd name="connsiteY4" fmla="*/ 1357805 h 7618942"/>
              <a:gd name="connsiteX0" fmla="*/ 0 w 19726084"/>
              <a:gd name="connsiteY0" fmla="*/ 7582029 h 7848766"/>
              <a:gd name="connsiteX1" fmla="*/ 4382524 w 19726084"/>
              <a:gd name="connsiteY1" fmla="*/ 1034176 h 7848766"/>
              <a:gd name="connsiteX2" fmla="*/ 8803193 w 19726084"/>
              <a:gd name="connsiteY2" fmla="*/ 7848060 h 7848766"/>
              <a:gd name="connsiteX3" fmla="*/ 13183758 w 19726084"/>
              <a:gd name="connsiteY3" fmla="*/ 550239 h 7848766"/>
              <a:gd name="connsiteX4" fmla="*/ 19726084 w 19726084"/>
              <a:gd name="connsiteY4" fmla="*/ 698629 h 7848766"/>
              <a:gd name="connsiteX0" fmla="*/ 0 w 19726084"/>
              <a:gd name="connsiteY0" fmla="*/ 7756767 h 8023504"/>
              <a:gd name="connsiteX1" fmla="*/ 4382524 w 19726084"/>
              <a:gd name="connsiteY1" fmla="*/ 1208914 h 8023504"/>
              <a:gd name="connsiteX2" fmla="*/ 8803193 w 19726084"/>
              <a:gd name="connsiteY2" fmla="*/ 8022798 h 8023504"/>
              <a:gd name="connsiteX3" fmla="*/ 13183758 w 19726084"/>
              <a:gd name="connsiteY3" fmla="*/ 724977 h 8023504"/>
              <a:gd name="connsiteX4" fmla="*/ 16775629 w 19726084"/>
              <a:gd name="connsiteY4" fmla="*/ 279809 h 8023504"/>
              <a:gd name="connsiteX5" fmla="*/ 19726084 w 19726084"/>
              <a:gd name="connsiteY5" fmla="*/ 873367 h 8023504"/>
              <a:gd name="connsiteX0" fmla="*/ 0 w 19726084"/>
              <a:gd name="connsiteY0" fmla="*/ 7032607 h 7836107"/>
              <a:gd name="connsiteX1" fmla="*/ 4382524 w 19726084"/>
              <a:gd name="connsiteY1" fmla="*/ 484754 h 7836107"/>
              <a:gd name="connsiteX2" fmla="*/ 8803193 w 19726084"/>
              <a:gd name="connsiteY2" fmla="*/ 7298638 h 7836107"/>
              <a:gd name="connsiteX3" fmla="*/ 13183758 w 19726084"/>
              <a:gd name="connsiteY3" fmla="*/ 817 h 7836107"/>
              <a:gd name="connsiteX4" fmla="*/ 17556345 w 19726084"/>
              <a:gd name="connsiteY4" fmla="*/ 7836049 h 7836107"/>
              <a:gd name="connsiteX5" fmla="*/ 19726084 w 19726084"/>
              <a:gd name="connsiteY5" fmla="*/ 149207 h 7836107"/>
              <a:gd name="connsiteX0" fmla="*/ 0 w 19726084"/>
              <a:gd name="connsiteY0" fmla="*/ 7032607 h 7836107"/>
              <a:gd name="connsiteX1" fmla="*/ 1135291 w 19726084"/>
              <a:gd name="connsiteY1" fmla="*/ 5600849 h 7836107"/>
              <a:gd name="connsiteX2" fmla="*/ 4382524 w 19726084"/>
              <a:gd name="connsiteY2" fmla="*/ 484754 h 7836107"/>
              <a:gd name="connsiteX3" fmla="*/ 8803193 w 19726084"/>
              <a:gd name="connsiteY3" fmla="*/ 7298638 h 7836107"/>
              <a:gd name="connsiteX4" fmla="*/ 13183758 w 19726084"/>
              <a:gd name="connsiteY4" fmla="*/ 817 h 7836107"/>
              <a:gd name="connsiteX5" fmla="*/ 17556345 w 19726084"/>
              <a:gd name="connsiteY5" fmla="*/ 7836049 h 7836107"/>
              <a:gd name="connsiteX6" fmla="*/ 19726084 w 19726084"/>
              <a:gd name="connsiteY6" fmla="*/ 149207 h 7836107"/>
              <a:gd name="connsiteX0" fmla="*/ 0 w 21886064"/>
              <a:gd name="connsiteY0" fmla="*/ 47607 h 7836107"/>
              <a:gd name="connsiteX1" fmla="*/ 3295271 w 21886064"/>
              <a:gd name="connsiteY1" fmla="*/ 5600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02269 w 21886064"/>
              <a:gd name="connsiteY1" fmla="*/ 67946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124197 w 21886064"/>
              <a:gd name="connsiteY1" fmla="*/ 73534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6793 h 7352710"/>
              <a:gd name="connsiteX1" fmla="*/ 2124197 w 21886064"/>
              <a:gd name="connsiteY1" fmla="*/ 7352635 h 7352710"/>
              <a:gd name="connsiteX2" fmla="*/ 6542504 w 21886064"/>
              <a:gd name="connsiteY2" fmla="*/ 483940 h 7352710"/>
              <a:gd name="connsiteX3" fmla="*/ 10963173 w 21886064"/>
              <a:gd name="connsiteY3" fmla="*/ 7297824 h 7352710"/>
              <a:gd name="connsiteX4" fmla="*/ 15343738 w 21886064"/>
              <a:gd name="connsiteY4" fmla="*/ 3 h 7352710"/>
              <a:gd name="connsiteX5" fmla="*/ 19742348 w 21886064"/>
              <a:gd name="connsiteY5" fmla="*/ 7327235 h 7352710"/>
              <a:gd name="connsiteX6" fmla="*/ 21886064 w 21886064"/>
              <a:gd name="connsiteY6" fmla="*/ 148393 h 7352710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27297"/>
              <a:gd name="connsiteX1" fmla="*/ 2691244 w 21886064"/>
              <a:gd name="connsiteY1" fmla="*/ 6769216 h 7327297"/>
              <a:gd name="connsiteX2" fmla="*/ 6490457 w 21886064"/>
              <a:gd name="connsiteY2" fmla="*/ 26740 h 7327297"/>
              <a:gd name="connsiteX3" fmla="*/ 10963173 w 21886064"/>
              <a:gd name="connsiteY3" fmla="*/ 7297824 h 7327297"/>
              <a:gd name="connsiteX4" fmla="*/ 15343738 w 21886064"/>
              <a:gd name="connsiteY4" fmla="*/ 3 h 7327297"/>
              <a:gd name="connsiteX5" fmla="*/ 19742348 w 21886064"/>
              <a:gd name="connsiteY5" fmla="*/ 7327235 h 7327297"/>
              <a:gd name="connsiteX6" fmla="*/ 21886064 w 21886064"/>
              <a:gd name="connsiteY6" fmla="*/ 148393 h 7327297"/>
              <a:gd name="connsiteX0" fmla="*/ 0 w 21886064"/>
              <a:gd name="connsiteY0" fmla="*/ 20899 h 7301403"/>
              <a:gd name="connsiteX1" fmla="*/ 2691244 w 21886064"/>
              <a:gd name="connsiteY1" fmla="*/ 6743322 h 7301403"/>
              <a:gd name="connsiteX2" fmla="*/ 6490457 w 21886064"/>
              <a:gd name="connsiteY2" fmla="*/ 846 h 7301403"/>
              <a:gd name="connsiteX3" fmla="*/ 10963173 w 21886064"/>
              <a:gd name="connsiteY3" fmla="*/ 7271930 h 7301403"/>
              <a:gd name="connsiteX4" fmla="*/ 15442354 w 21886064"/>
              <a:gd name="connsiteY4" fmla="*/ 635319 h 7301403"/>
              <a:gd name="connsiteX5" fmla="*/ 19742348 w 21886064"/>
              <a:gd name="connsiteY5" fmla="*/ 7301341 h 7301403"/>
              <a:gd name="connsiteX6" fmla="*/ 21886064 w 21886064"/>
              <a:gd name="connsiteY6" fmla="*/ 122499 h 7301403"/>
              <a:gd name="connsiteX0" fmla="*/ 0 w 21886064"/>
              <a:gd name="connsiteY0" fmla="*/ 11340 h 7291844"/>
              <a:gd name="connsiteX1" fmla="*/ 2691244 w 21886064"/>
              <a:gd name="connsiteY1" fmla="*/ 6733763 h 7291844"/>
              <a:gd name="connsiteX2" fmla="*/ 6515112 w 21886064"/>
              <a:gd name="connsiteY2" fmla="*/ 983101 h 7291844"/>
              <a:gd name="connsiteX3" fmla="*/ 10963173 w 21886064"/>
              <a:gd name="connsiteY3" fmla="*/ 7262371 h 7291844"/>
              <a:gd name="connsiteX4" fmla="*/ 15442354 w 21886064"/>
              <a:gd name="connsiteY4" fmla="*/ 625760 h 7291844"/>
              <a:gd name="connsiteX5" fmla="*/ 19742348 w 21886064"/>
              <a:gd name="connsiteY5" fmla="*/ 7291782 h 7291844"/>
              <a:gd name="connsiteX6" fmla="*/ 21886064 w 21886064"/>
              <a:gd name="connsiteY6" fmla="*/ 112940 h 7291844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2 h 7251033"/>
              <a:gd name="connsiteX1" fmla="*/ 2691244 w 21886075"/>
              <a:gd name="connsiteY1" fmla="*/ 6722425 h 7251033"/>
              <a:gd name="connsiteX2" fmla="*/ 6515112 w 21886075"/>
              <a:gd name="connsiteY2" fmla="*/ 971763 h 7251033"/>
              <a:gd name="connsiteX3" fmla="*/ 10963173 w 21886075"/>
              <a:gd name="connsiteY3" fmla="*/ 7251033 h 7251033"/>
              <a:gd name="connsiteX4" fmla="*/ 15442354 w 21886075"/>
              <a:gd name="connsiteY4" fmla="*/ 614422 h 7251033"/>
              <a:gd name="connsiteX5" fmla="*/ 19545114 w 21886075"/>
              <a:gd name="connsiteY5" fmla="*/ 6774813 h 7251033"/>
              <a:gd name="connsiteX6" fmla="*/ 21886064 w 21886075"/>
              <a:gd name="connsiteY6" fmla="*/ 101602 h 7251033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6440163 w 21811126"/>
              <a:gd name="connsiteY2" fmla="*/ 870161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4079279 w 21811126"/>
              <a:gd name="connsiteY2" fmla="*/ 14594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3871686 w 21811126"/>
              <a:gd name="connsiteY1" fmla="*/ 667994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204077 w 21811126"/>
              <a:gd name="connsiteY1" fmla="*/ 657648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060751"/>
              <a:gd name="connsiteX1" fmla="*/ 2204077 w 21811126"/>
              <a:gd name="connsiteY1" fmla="*/ 6576483 h 7060751"/>
              <a:gd name="connsiteX2" fmla="*/ 3891908 w 21811126"/>
              <a:gd name="connsiteY2" fmla="*/ 101603 h 7060751"/>
              <a:gd name="connsiteX3" fmla="*/ 8002699 w 21811126"/>
              <a:gd name="connsiteY3" fmla="*/ 7060751 h 7060751"/>
              <a:gd name="connsiteX4" fmla="*/ 15367405 w 21811126"/>
              <a:gd name="connsiteY4" fmla="*/ 512820 h 7060751"/>
              <a:gd name="connsiteX5" fmla="*/ 19470165 w 21811126"/>
              <a:gd name="connsiteY5" fmla="*/ 6673211 h 7060751"/>
              <a:gd name="connsiteX6" fmla="*/ 21811115 w 21811126"/>
              <a:gd name="connsiteY6" fmla="*/ 0 h 7060751"/>
              <a:gd name="connsiteX0" fmla="*/ 0 w 21811126"/>
              <a:gd name="connsiteY0" fmla="*/ 4288053 h 6986851"/>
              <a:gd name="connsiteX1" fmla="*/ 2204077 w 21811126"/>
              <a:gd name="connsiteY1" fmla="*/ 6576483 h 6986851"/>
              <a:gd name="connsiteX2" fmla="*/ 3891908 w 21811126"/>
              <a:gd name="connsiteY2" fmla="*/ 101603 h 6986851"/>
              <a:gd name="connsiteX3" fmla="*/ 8527341 w 21811126"/>
              <a:gd name="connsiteY3" fmla="*/ 6986851 h 6986851"/>
              <a:gd name="connsiteX4" fmla="*/ 15367405 w 21811126"/>
              <a:gd name="connsiteY4" fmla="*/ 512820 h 6986851"/>
              <a:gd name="connsiteX5" fmla="*/ 19470165 w 21811126"/>
              <a:gd name="connsiteY5" fmla="*/ 6673211 h 6986851"/>
              <a:gd name="connsiteX6" fmla="*/ 21811115 w 21811126"/>
              <a:gd name="connsiteY6" fmla="*/ 0 h 6986851"/>
              <a:gd name="connsiteX0" fmla="*/ 0 w 21811126"/>
              <a:gd name="connsiteY0" fmla="*/ 4288053 h 6986851"/>
              <a:gd name="connsiteX1" fmla="*/ 2204077 w 21811126"/>
              <a:gd name="connsiteY1" fmla="*/ 6576483 h 6986851"/>
              <a:gd name="connsiteX2" fmla="*/ 3891908 w 21811126"/>
              <a:gd name="connsiteY2" fmla="*/ 101603 h 6986851"/>
              <a:gd name="connsiteX3" fmla="*/ 8527341 w 21811126"/>
              <a:gd name="connsiteY3" fmla="*/ 6986851 h 6986851"/>
              <a:gd name="connsiteX4" fmla="*/ 12125873 w 21811126"/>
              <a:gd name="connsiteY4" fmla="*/ 261561 h 6986851"/>
              <a:gd name="connsiteX5" fmla="*/ 19470165 w 21811126"/>
              <a:gd name="connsiteY5" fmla="*/ 6673211 h 6986851"/>
              <a:gd name="connsiteX6" fmla="*/ 21811115 w 21811126"/>
              <a:gd name="connsiteY6" fmla="*/ 0 h 6986851"/>
              <a:gd name="connsiteX0" fmla="*/ 0 w 21811126"/>
              <a:gd name="connsiteY0" fmla="*/ 4288053 h 6927731"/>
              <a:gd name="connsiteX1" fmla="*/ 2204077 w 21811126"/>
              <a:gd name="connsiteY1" fmla="*/ 6576483 h 6927731"/>
              <a:gd name="connsiteX2" fmla="*/ 3891908 w 21811126"/>
              <a:gd name="connsiteY2" fmla="*/ 101603 h 6927731"/>
              <a:gd name="connsiteX3" fmla="*/ 10888226 w 21811126"/>
              <a:gd name="connsiteY3" fmla="*/ 6927731 h 6927731"/>
              <a:gd name="connsiteX4" fmla="*/ 12125873 w 21811126"/>
              <a:gd name="connsiteY4" fmla="*/ 261561 h 6927731"/>
              <a:gd name="connsiteX5" fmla="*/ 19470165 w 21811126"/>
              <a:gd name="connsiteY5" fmla="*/ 6673211 h 6927731"/>
              <a:gd name="connsiteX6" fmla="*/ 21811115 w 21811126"/>
              <a:gd name="connsiteY6" fmla="*/ 0 h 6927731"/>
              <a:gd name="connsiteX0" fmla="*/ 0 w 21811119"/>
              <a:gd name="connsiteY0" fmla="*/ 4288053 h 6927731"/>
              <a:gd name="connsiteX1" fmla="*/ 2204077 w 21811119"/>
              <a:gd name="connsiteY1" fmla="*/ 6576483 h 6927731"/>
              <a:gd name="connsiteX2" fmla="*/ 3891908 w 21811119"/>
              <a:gd name="connsiteY2" fmla="*/ 101603 h 6927731"/>
              <a:gd name="connsiteX3" fmla="*/ 10888226 w 21811119"/>
              <a:gd name="connsiteY3" fmla="*/ 6927731 h 6927731"/>
              <a:gd name="connsiteX4" fmla="*/ 12125873 w 21811119"/>
              <a:gd name="connsiteY4" fmla="*/ 261561 h 6927731"/>
              <a:gd name="connsiteX5" fmla="*/ 16228633 w 21811119"/>
              <a:gd name="connsiteY5" fmla="*/ 6924471 h 6927731"/>
              <a:gd name="connsiteX6" fmla="*/ 21811115 w 21811119"/>
              <a:gd name="connsiteY6" fmla="*/ 0 h 6927731"/>
              <a:gd name="connsiteX0" fmla="*/ 0 w 21811119"/>
              <a:gd name="connsiteY0" fmla="*/ 4288053 h 6942511"/>
              <a:gd name="connsiteX1" fmla="*/ 2204077 w 21811119"/>
              <a:gd name="connsiteY1" fmla="*/ 6576483 h 6942511"/>
              <a:gd name="connsiteX2" fmla="*/ 3891908 w 21811119"/>
              <a:gd name="connsiteY2" fmla="*/ 101603 h 6942511"/>
              <a:gd name="connsiteX3" fmla="*/ 8058912 w 21811119"/>
              <a:gd name="connsiteY3" fmla="*/ 6942511 h 6942511"/>
              <a:gd name="connsiteX4" fmla="*/ 12125873 w 21811119"/>
              <a:gd name="connsiteY4" fmla="*/ 261561 h 6942511"/>
              <a:gd name="connsiteX5" fmla="*/ 16228633 w 21811119"/>
              <a:gd name="connsiteY5" fmla="*/ 6924471 h 6942511"/>
              <a:gd name="connsiteX6" fmla="*/ 21811115 w 21811119"/>
              <a:gd name="connsiteY6" fmla="*/ 0 h 694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811119" h="6942511">
                <a:moveTo>
                  <a:pt x="0" y="4288053"/>
                </a:moveTo>
                <a:cubicBezTo>
                  <a:pt x="7840" y="4283530"/>
                  <a:pt x="2172193" y="6483804"/>
                  <a:pt x="2204077" y="6576483"/>
                </a:cubicBezTo>
                <a:cubicBezTo>
                  <a:pt x="2265240" y="6507507"/>
                  <a:pt x="3918543" y="112562"/>
                  <a:pt x="3891908" y="101603"/>
                </a:cubicBezTo>
                <a:cubicBezTo>
                  <a:pt x="3919207" y="117384"/>
                  <a:pt x="8034879" y="6898147"/>
                  <a:pt x="8058912" y="6942511"/>
                </a:cubicBezTo>
                <a:cubicBezTo>
                  <a:pt x="8053668" y="6929141"/>
                  <a:pt x="12159391" y="248556"/>
                  <a:pt x="12125873" y="261561"/>
                </a:cubicBezTo>
                <a:cubicBezTo>
                  <a:pt x="12136268" y="263019"/>
                  <a:pt x="16259242" y="6935595"/>
                  <a:pt x="16228633" y="6924471"/>
                </a:cubicBezTo>
                <a:cubicBezTo>
                  <a:pt x="16250415" y="6932796"/>
                  <a:pt x="21817075" y="16543"/>
                  <a:pt x="21811115" y="0"/>
                </a:cubicBez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5F94D8C4-7C9C-B020-D460-CF967B7D072E}"/>
              </a:ext>
            </a:extLst>
          </p:cNvPr>
          <p:cNvSpPr/>
          <p:nvPr/>
        </p:nvSpPr>
        <p:spPr>
          <a:xfrm>
            <a:off x="8970715" y="3121657"/>
            <a:ext cx="307451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FF16F9B2-C9E5-965B-915F-58C18162F03F}"/>
              </a:ext>
            </a:extLst>
          </p:cNvPr>
          <p:cNvSpPr/>
          <p:nvPr/>
        </p:nvSpPr>
        <p:spPr>
          <a:xfrm>
            <a:off x="6824079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7" name="Right Arrow 2">
            <a:extLst>
              <a:ext uri="{FF2B5EF4-FFF2-40B4-BE49-F238E27FC236}">
                <a16:creationId xmlns:a16="http://schemas.microsoft.com/office/drawing/2014/main" id="{9A930641-44FD-2D75-55C8-1512412F267C}"/>
              </a:ext>
            </a:extLst>
          </p:cNvPr>
          <p:cNvSpPr/>
          <p:nvPr/>
        </p:nvSpPr>
        <p:spPr>
          <a:xfrm>
            <a:off x="4677444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8" name="Right Arrow 3">
            <a:extLst>
              <a:ext uri="{FF2B5EF4-FFF2-40B4-BE49-F238E27FC236}">
                <a16:creationId xmlns:a16="http://schemas.microsoft.com/office/drawing/2014/main" id="{97F8225D-D3A5-D85B-6720-13955C0695B7}"/>
              </a:ext>
            </a:extLst>
          </p:cNvPr>
          <p:cNvSpPr/>
          <p:nvPr/>
        </p:nvSpPr>
        <p:spPr>
          <a:xfrm>
            <a:off x="2530809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9" name="Right Arrow 1">
            <a:extLst>
              <a:ext uri="{FF2B5EF4-FFF2-40B4-BE49-F238E27FC236}">
                <a16:creationId xmlns:a16="http://schemas.microsoft.com/office/drawing/2014/main" id="{3422B54B-DEFB-8ABD-F103-1807D4DA1DED}"/>
              </a:ext>
            </a:extLst>
          </p:cNvPr>
          <p:cNvSpPr/>
          <p:nvPr/>
        </p:nvSpPr>
        <p:spPr>
          <a:xfrm>
            <a:off x="0" y="3121657"/>
            <a:ext cx="3218803" cy="1519960"/>
          </a:xfrm>
          <a:prstGeom prst="rightArrow">
            <a:avLst>
              <a:gd name="adj1" fmla="val 63559"/>
              <a:gd name="adj2" fmla="val 50000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AB93C37-EDB6-6CD1-4882-E579E18D10F4}"/>
              </a:ext>
            </a:extLst>
          </p:cNvPr>
          <p:cNvSpPr txBox="1"/>
          <p:nvPr/>
        </p:nvSpPr>
        <p:spPr>
          <a:xfrm>
            <a:off x="3377088" y="3727748"/>
            <a:ext cx="1580882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Consideration</a:t>
            </a: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23CE2F86-BC97-028D-C8D3-E9F845133851}"/>
              </a:ext>
            </a:extLst>
          </p:cNvPr>
          <p:cNvSpPr txBox="1"/>
          <p:nvPr/>
        </p:nvSpPr>
        <p:spPr>
          <a:xfrm>
            <a:off x="5665686" y="3727748"/>
            <a:ext cx="1305165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cquisition</a:t>
            </a: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5FAB55F1-0B63-A58B-8574-80D494279658}"/>
              </a:ext>
            </a:extLst>
          </p:cNvPr>
          <p:cNvSpPr txBox="1"/>
          <p:nvPr/>
        </p:nvSpPr>
        <p:spPr>
          <a:xfrm>
            <a:off x="7999766" y="3727748"/>
            <a:ext cx="92365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Service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BA12B43B-2846-1671-DF2A-27F97D38E0EB}"/>
              </a:ext>
            </a:extLst>
          </p:cNvPr>
          <p:cNvSpPr txBox="1"/>
          <p:nvPr/>
        </p:nvSpPr>
        <p:spPr>
          <a:xfrm>
            <a:off x="10145495" y="3727748"/>
            <a:ext cx="91884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Loyalty</a:t>
            </a:r>
          </a:p>
        </p:txBody>
      </p:sp>
      <p:sp>
        <p:nvSpPr>
          <p:cNvPr id="14" name="TextBox 12">
            <a:extLst>
              <a:ext uri="{FF2B5EF4-FFF2-40B4-BE49-F238E27FC236}">
                <a16:creationId xmlns:a16="http://schemas.microsoft.com/office/drawing/2014/main" id="{442ED523-FE55-6B5B-8614-04AC96D37812}"/>
              </a:ext>
            </a:extLst>
          </p:cNvPr>
          <p:cNvSpPr txBox="1"/>
          <p:nvPr/>
        </p:nvSpPr>
        <p:spPr>
          <a:xfrm>
            <a:off x="1070032" y="3727748"/>
            <a:ext cx="1287533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warenes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406943D-1F2C-5F68-D7E0-B69FAF717ECB}"/>
              </a:ext>
            </a:extLst>
          </p:cNvPr>
          <p:cNvSpPr/>
          <p:nvPr/>
        </p:nvSpPr>
        <p:spPr>
          <a:xfrm>
            <a:off x="2027227" y="2938686"/>
            <a:ext cx="270501" cy="270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7290895-53FE-862E-6B00-1D80D44754CE}"/>
              </a:ext>
            </a:extLst>
          </p:cNvPr>
          <p:cNvSpPr/>
          <p:nvPr/>
        </p:nvSpPr>
        <p:spPr>
          <a:xfrm>
            <a:off x="2215467" y="1980649"/>
            <a:ext cx="270501" cy="270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CAC5970-534C-7A5A-B9F4-2DC3173B9402}"/>
              </a:ext>
            </a:extLst>
          </p:cNvPr>
          <p:cNvSpPr/>
          <p:nvPr/>
        </p:nvSpPr>
        <p:spPr>
          <a:xfrm>
            <a:off x="2840786" y="2599953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B6D6206-D651-74FB-470D-31139D3EE30E}"/>
              </a:ext>
            </a:extLst>
          </p:cNvPr>
          <p:cNvSpPr/>
          <p:nvPr/>
        </p:nvSpPr>
        <p:spPr>
          <a:xfrm>
            <a:off x="5981359" y="2974935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5A53A0F-168B-DDCE-15DF-26AD9E20ADA3}"/>
              </a:ext>
            </a:extLst>
          </p:cNvPr>
          <p:cNvSpPr/>
          <p:nvPr/>
        </p:nvSpPr>
        <p:spPr>
          <a:xfrm>
            <a:off x="6398763" y="2073474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07812E-1F9C-4B1D-E3B8-A13D881D0D72}"/>
              </a:ext>
            </a:extLst>
          </p:cNvPr>
          <p:cNvSpPr/>
          <p:nvPr/>
        </p:nvSpPr>
        <p:spPr>
          <a:xfrm>
            <a:off x="7104605" y="2576783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EF705E77-B385-0D64-C71C-DA06939F5EB2}"/>
              </a:ext>
            </a:extLst>
          </p:cNvPr>
          <p:cNvSpPr txBox="1">
            <a:spLocks/>
          </p:cNvSpPr>
          <p:nvPr/>
        </p:nvSpPr>
        <p:spPr>
          <a:xfrm>
            <a:off x="1581318" y="2957454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FC19750-4E7E-E839-3268-0AEA5660F41A}"/>
              </a:ext>
            </a:extLst>
          </p:cNvPr>
          <p:cNvSpPr txBox="1">
            <a:spLocks/>
          </p:cNvSpPr>
          <p:nvPr/>
        </p:nvSpPr>
        <p:spPr>
          <a:xfrm>
            <a:off x="1768378" y="2000484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88D29F8-66A6-EFE6-E610-947E4A3ECA08}"/>
              </a:ext>
            </a:extLst>
          </p:cNvPr>
          <p:cNvSpPr txBox="1">
            <a:spLocks/>
          </p:cNvSpPr>
          <p:nvPr/>
        </p:nvSpPr>
        <p:spPr>
          <a:xfrm>
            <a:off x="3200418" y="2620003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E9E17390-2D37-9211-10C2-A6681CEE9E42}"/>
              </a:ext>
            </a:extLst>
          </p:cNvPr>
          <p:cNvSpPr txBox="1">
            <a:spLocks/>
          </p:cNvSpPr>
          <p:nvPr/>
        </p:nvSpPr>
        <p:spPr>
          <a:xfrm>
            <a:off x="7468973" y="2596618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481C2975-23ED-C09F-1964-5D5AEE17EBEB}"/>
              </a:ext>
            </a:extLst>
          </p:cNvPr>
          <p:cNvSpPr txBox="1">
            <a:spLocks/>
          </p:cNvSpPr>
          <p:nvPr/>
        </p:nvSpPr>
        <p:spPr>
          <a:xfrm>
            <a:off x="6049869" y="2093307"/>
            <a:ext cx="275075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2136999C-FA0A-199D-1F24-9FB990C6B00C}"/>
              </a:ext>
            </a:extLst>
          </p:cNvPr>
          <p:cNvSpPr txBox="1">
            <a:spLocks/>
          </p:cNvSpPr>
          <p:nvPr/>
        </p:nvSpPr>
        <p:spPr>
          <a:xfrm>
            <a:off x="5525782" y="2995616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7" name="Oval 30">
            <a:extLst>
              <a:ext uri="{FF2B5EF4-FFF2-40B4-BE49-F238E27FC236}">
                <a16:creationId xmlns:a16="http://schemas.microsoft.com/office/drawing/2014/main" id="{1F322101-1F8D-85B3-31AE-623FCE322750}"/>
              </a:ext>
            </a:extLst>
          </p:cNvPr>
          <p:cNvSpPr/>
          <p:nvPr/>
        </p:nvSpPr>
        <p:spPr>
          <a:xfrm>
            <a:off x="10837193" y="2765816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BFDA588B-AC99-70C2-173C-F3A9B594911D}"/>
              </a:ext>
            </a:extLst>
          </p:cNvPr>
          <p:cNvSpPr txBox="1">
            <a:spLocks/>
          </p:cNvSpPr>
          <p:nvPr/>
        </p:nvSpPr>
        <p:spPr>
          <a:xfrm>
            <a:off x="10290243" y="2786497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9" name="Oval 32">
            <a:extLst>
              <a:ext uri="{FF2B5EF4-FFF2-40B4-BE49-F238E27FC236}">
                <a16:creationId xmlns:a16="http://schemas.microsoft.com/office/drawing/2014/main" id="{103C69EB-EBE8-7472-C60A-61E50FCCA56A}"/>
              </a:ext>
            </a:extLst>
          </p:cNvPr>
          <p:cNvSpPr/>
          <p:nvPr/>
        </p:nvSpPr>
        <p:spPr>
          <a:xfrm>
            <a:off x="11472055" y="1761702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D8ED5018-1CDF-4A88-FDBF-DC29AA892BF4}"/>
              </a:ext>
            </a:extLst>
          </p:cNvPr>
          <p:cNvSpPr txBox="1">
            <a:spLocks/>
          </p:cNvSpPr>
          <p:nvPr/>
        </p:nvSpPr>
        <p:spPr>
          <a:xfrm>
            <a:off x="10925105" y="1782382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1" name="Oval 34">
            <a:extLst>
              <a:ext uri="{FF2B5EF4-FFF2-40B4-BE49-F238E27FC236}">
                <a16:creationId xmlns:a16="http://schemas.microsoft.com/office/drawing/2014/main" id="{34B9F680-32F1-259C-DDDB-C031C74DA8E7}"/>
              </a:ext>
            </a:extLst>
          </p:cNvPr>
          <p:cNvSpPr/>
          <p:nvPr/>
        </p:nvSpPr>
        <p:spPr>
          <a:xfrm>
            <a:off x="579797" y="4678716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2" name="Oval 35">
            <a:extLst>
              <a:ext uri="{FF2B5EF4-FFF2-40B4-BE49-F238E27FC236}">
                <a16:creationId xmlns:a16="http://schemas.microsoft.com/office/drawing/2014/main" id="{4F687F00-7FF3-848F-67CB-213BEC98CEB0}"/>
              </a:ext>
            </a:extLst>
          </p:cNvPr>
          <p:cNvSpPr/>
          <p:nvPr/>
        </p:nvSpPr>
        <p:spPr>
          <a:xfrm>
            <a:off x="1408337" y="5763776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3" name="Oval 36">
            <a:extLst>
              <a:ext uri="{FF2B5EF4-FFF2-40B4-BE49-F238E27FC236}">
                <a16:creationId xmlns:a16="http://schemas.microsoft.com/office/drawing/2014/main" id="{8639A271-F78C-4FC2-D728-71E96A393F45}"/>
              </a:ext>
            </a:extLst>
          </p:cNvPr>
          <p:cNvSpPr/>
          <p:nvPr/>
        </p:nvSpPr>
        <p:spPr>
          <a:xfrm>
            <a:off x="1708537" y="4578401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4" name="Oval 37">
            <a:extLst>
              <a:ext uri="{FF2B5EF4-FFF2-40B4-BE49-F238E27FC236}">
                <a16:creationId xmlns:a16="http://schemas.microsoft.com/office/drawing/2014/main" id="{C71B59EF-AE1C-5ABD-AF3F-BF5DF4D78C4D}"/>
              </a:ext>
            </a:extLst>
          </p:cNvPr>
          <p:cNvSpPr/>
          <p:nvPr/>
        </p:nvSpPr>
        <p:spPr>
          <a:xfrm>
            <a:off x="3912381" y="4877270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5" name="Oval 38">
            <a:extLst>
              <a:ext uri="{FF2B5EF4-FFF2-40B4-BE49-F238E27FC236}">
                <a16:creationId xmlns:a16="http://schemas.microsoft.com/office/drawing/2014/main" id="{284A3999-7981-C97E-D2A9-3FEA432CFB99}"/>
              </a:ext>
            </a:extLst>
          </p:cNvPr>
          <p:cNvSpPr/>
          <p:nvPr/>
        </p:nvSpPr>
        <p:spPr>
          <a:xfrm>
            <a:off x="4385049" y="5820346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6" name="Oval 39">
            <a:extLst>
              <a:ext uri="{FF2B5EF4-FFF2-40B4-BE49-F238E27FC236}">
                <a16:creationId xmlns:a16="http://schemas.microsoft.com/office/drawing/2014/main" id="{50A3DF98-A7F5-E316-7205-11C9E24E9DC3}"/>
              </a:ext>
            </a:extLst>
          </p:cNvPr>
          <p:cNvSpPr/>
          <p:nvPr/>
        </p:nvSpPr>
        <p:spPr>
          <a:xfrm>
            <a:off x="5148162" y="4665567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8" name="Oval 41">
            <a:extLst>
              <a:ext uri="{FF2B5EF4-FFF2-40B4-BE49-F238E27FC236}">
                <a16:creationId xmlns:a16="http://schemas.microsoft.com/office/drawing/2014/main" id="{FB51091F-2C28-E864-BCC9-D3B7B44BFA63}"/>
              </a:ext>
            </a:extLst>
          </p:cNvPr>
          <p:cNvSpPr/>
          <p:nvPr/>
        </p:nvSpPr>
        <p:spPr>
          <a:xfrm>
            <a:off x="8229896" y="4884971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9" name="Oval 42">
            <a:extLst>
              <a:ext uri="{FF2B5EF4-FFF2-40B4-BE49-F238E27FC236}">
                <a16:creationId xmlns:a16="http://schemas.microsoft.com/office/drawing/2014/main" id="{99303343-96D7-4DC5-8C5D-DDCA4594DBE9}"/>
              </a:ext>
            </a:extLst>
          </p:cNvPr>
          <p:cNvSpPr/>
          <p:nvPr/>
        </p:nvSpPr>
        <p:spPr>
          <a:xfrm>
            <a:off x="9413085" y="5027044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0" name="Oval 43">
            <a:extLst>
              <a:ext uri="{FF2B5EF4-FFF2-40B4-BE49-F238E27FC236}">
                <a16:creationId xmlns:a16="http://schemas.microsoft.com/office/drawing/2014/main" id="{36290286-BB73-9A1D-6252-FA92C1F5533D}"/>
              </a:ext>
            </a:extLst>
          </p:cNvPr>
          <p:cNvSpPr/>
          <p:nvPr/>
        </p:nvSpPr>
        <p:spPr>
          <a:xfrm>
            <a:off x="8629516" y="5789483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1862A677-022C-9BCD-FA59-94B68303D650}"/>
              </a:ext>
            </a:extLst>
          </p:cNvPr>
          <p:cNvSpPr txBox="1">
            <a:spLocks/>
          </p:cNvSpPr>
          <p:nvPr/>
        </p:nvSpPr>
        <p:spPr>
          <a:xfrm>
            <a:off x="905381" y="4698551"/>
            <a:ext cx="275075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B1792894-0026-321D-F949-B3B64F71A27B}"/>
              </a:ext>
            </a:extLst>
          </p:cNvPr>
          <p:cNvSpPr txBox="1">
            <a:spLocks/>
          </p:cNvSpPr>
          <p:nvPr/>
        </p:nvSpPr>
        <p:spPr>
          <a:xfrm>
            <a:off x="985039" y="5783141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6B26324-7F5B-E647-79C0-ECE892A1A0FB}"/>
              </a:ext>
            </a:extLst>
          </p:cNvPr>
          <p:cNvSpPr txBox="1">
            <a:spLocks/>
          </p:cNvSpPr>
          <p:nvPr/>
        </p:nvSpPr>
        <p:spPr>
          <a:xfrm>
            <a:off x="3355213" y="4893944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6A22E7E4-A1DB-4527-DE50-945EE8513C07}"/>
              </a:ext>
            </a:extLst>
          </p:cNvPr>
          <p:cNvSpPr txBox="1">
            <a:spLocks/>
          </p:cNvSpPr>
          <p:nvPr/>
        </p:nvSpPr>
        <p:spPr>
          <a:xfrm>
            <a:off x="3869010" y="5841180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057DFEF7-772F-968E-4EDD-C331644AFB7F}"/>
              </a:ext>
            </a:extLst>
          </p:cNvPr>
          <p:cNvSpPr txBox="1">
            <a:spLocks/>
          </p:cNvSpPr>
          <p:nvPr/>
        </p:nvSpPr>
        <p:spPr>
          <a:xfrm>
            <a:off x="7713446" y="4904805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AB610824-931B-6DC4-B13A-B18A24333848}"/>
              </a:ext>
            </a:extLst>
          </p:cNvPr>
          <p:cNvSpPr txBox="1">
            <a:spLocks/>
          </p:cNvSpPr>
          <p:nvPr/>
        </p:nvSpPr>
        <p:spPr>
          <a:xfrm>
            <a:off x="8204517" y="5809318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D28E6CA9-F6D0-6B53-1B02-5DDDA7F75EA0}"/>
              </a:ext>
            </a:extLst>
          </p:cNvPr>
          <p:cNvSpPr txBox="1">
            <a:spLocks/>
          </p:cNvSpPr>
          <p:nvPr/>
        </p:nvSpPr>
        <p:spPr>
          <a:xfrm>
            <a:off x="9765506" y="5046879"/>
            <a:ext cx="457818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FC340249-2EEC-4235-DDDD-124C8DAED0F1}"/>
              </a:ext>
            </a:extLst>
          </p:cNvPr>
          <p:cNvSpPr txBox="1">
            <a:spLocks/>
          </p:cNvSpPr>
          <p:nvPr/>
        </p:nvSpPr>
        <p:spPr>
          <a:xfrm>
            <a:off x="5482587" y="4685402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ABE34117-5B85-F612-0708-3966F7AA91C0}"/>
              </a:ext>
            </a:extLst>
          </p:cNvPr>
          <p:cNvSpPr txBox="1">
            <a:spLocks/>
          </p:cNvSpPr>
          <p:nvPr/>
        </p:nvSpPr>
        <p:spPr>
          <a:xfrm>
            <a:off x="2053934" y="4598237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B0E4DF-4103-2FF2-7FCD-6AD3216DA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0" name="Título 49">
            <a:extLst>
              <a:ext uri="{FF2B5EF4-FFF2-40B4-BE49-F238E27FC236}">
                <a16:creationId xmlns:a16="http://schemas.microsoft.com/office/drawing/2014/main" id="{913BCA92-766A-85BB-D31C-C385BCA6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ustomer Touchpoints</a:t>
            </a:r>
          </a:p>
        </p:txBody>
      </p:sp>
    </p:spTree>
    <p:extLst>
      <p:ext uri="{BB962C8B-B14F-4D97-AF65-F5344CB8AC3E}">
        <p14:creationId xmlns:p14="http://schemas.microsoft.com/office/powerpoint/2010/main" val="1891085999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to 55" hidden="1">
            <a:extLst>
              <a:ext uri="{FF2B5EF4-FFF2-40B4-BE49-F238E27FC236}">
                <a16:creationId xmlns:a16="http://schemas.microsoft.com/office/drawing/2014/main" id="{269115AB-B2A4-6643-32BB-FA430E6311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93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56" name="Objeto 55" hidden="1">
                        <a:extLst>
                          <a:ext uri="{FF2B5EF4-FFF2-40B4-BE49-F238E27FC236}">
                            <a16:creationId xmlns:a16="http://schemas.microsoft.com/office/drawing/2014/main" id="{269115AB-B2A4-6643-32BB-FA430E6311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C499CB9-698A-3276-BB02-F4CB79BAD4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ADC5151-2954-F142-EE0D-964C48051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ustomer Phas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1894F1-0432-C0C5-8DAB-B5D15F0EC718}"/>
              </a:ext>
            </a:extLst>
          </p:cNvPr>
          <p:cNvSpPr/>
          <p:nvPr/>
        </p:nvSpPr>
        <p:spPr>
          <a:xfrm>
            <a:off x="384173" y="2636335"/>
            <a:ext cx="11436351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4D146C-CC43-45B6-95CB-2BE123BF1710}"/>
              </a:ext>
            </a:extLst>
          </p:cNvPr>
          <p:cNvSpPr/>
          <p:nvPr/>
        </p:nvSpPr>
        <p:spPr>
          <a:xfrm>
            <a:off x="1542241" y="3520336"/>
            <a:ext cx="10278283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7455A-C08B-5C57-F597-8D375B21C525}"/>
              </a:ext>
            </a:extLst>
          </p:cNvPr>
          <p:cNvSpPr/>
          <p:nvPr/>
        </p:nvSpPr>
        <p:spPr>
          <a:xfrm>
            <a:off x="371475" y="4378938"/>
            <a:ext cx="11449050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B46D6F05-66D6-4D0E-D5B9-D476A2495D99}"/>
              </a:ext>
            </a:extLst>
          </p:cNvPr>
          <p:cNvCxnSpPr/>
          <p:nvPr/>
        </p:nvCxnSpPr>
        <p:spPr>
          <a:xfrm>
            <a:off x="1542242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>
            <a:extLst>
              <a:ext uri="{FF2B5EF4-FFF2-40B4-BE49-F238E27FC236}">
                <a16:creationId xmlns:a16="http://schemas.microsoft.com/office/drawing/2014/main" id="{AC39202D-EF88-6612-EF43-285666D853A0}"/>
              </a:ext>
            </a:extLst>
          </p:cNvPr>
          <p:cNvCxnSpPr/>
          <p:nvPr/>
        </p:nvCxnSpPr>
        <p:spPr>
          <a:xfrm>
            <a:off x="8381628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0">
            <a:extLst>
              <a:ext uri="{FF2B5EF4-FFF2-40B4-BE49-F238E27FC236}">
                <a16:creationId xmlns:a16="http://schemas.microsoft.com/office/drawing/2014/main" id="{01941655-9ADA-F097-333F-164F1B217EEB}"/>
              </a:ext>
            </a:extLst>
          </p:cNvPr>
          <p:cNvCxnSpPr/>
          <p:nvPr/>
        </p:nvCxnSpPr>
        <p:spPr>
          <a:xfrm>
            <a:off x="6101833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AA05295D-C995-3EB9-E253-1BBC22E67DE8}"/>
              </a:ext>
            </a:extLst>
          </p:cNvPr>
          <p:cNvCxnSpPr/>
          <p:nvPr/>
        </p:nvCxnSpPr>
        <p:spPr>
          <a:xfrm>
            <a:off x="3822037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6">
            <a:extLst>
              <a:ext uri="{FF2B5EF4-FFF2-40B4-BE49-F238E27FC236}">
                <a16:creationId xmlns:a16="http://schemas.microsoft.com/office/drawing/2014/main" id="{901EC604-A77D-B796-8A50-1212B6997A88}"/>
              </a:ext>
            </a:extLst>
          </p:cNvPr>
          <p:cNvSpPr/>
          <p:nvPr/>
        </p:nvSpPr>
        <p:spPr>
          <a:xfrm rot="10800000">
            <a:off x="1031940" y="4588193"/>
            <a:ext cx="390210" cy="389065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772BF454-3712-4BE4-FD6F-CF6382F732C3}"/>
              </a:ext>
            </a:extLst>
          </p:cNvPr>
          <p:cNvSpPr/>
          <p:nvPr/>
        </p:nvSpPr>
        <p:spPr>
          <a:xfrm>
            <a:off x="1031940" y="2843928"/>
            <a:ext cx="390210" cy="389065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5178C707-F826-6F74-4F03-72569DE985E6}"/>
              </a:ext>
            </a:extLst>
          </p:cNvPr>
          <p:cNvSpPr txBox="1"/>
          <p:nvPr/>
        </p:nvSpPr>
        <p:spPr>
          <a:xfrm rot="16200000">
            <a:off x="673046" y="1845915"/>
            <a:ext cx="1107996" cy="40011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Needs &amp;</a:t>
            </a:r>
          </a:p>
          <a:p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Expectations</a:t>
            </a: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E4DDBED6-19B4-2953-76A4-09AAF4DA2D5F}"/>
              </a:ext>
            </a:extLst>
          </p:cNvPr>
          <p:cNvSpPr txBox="1"/>
          <p:nvPr/>
        </p:nvSpPr>
        <p:spPr>
          <a:xfrm rot="16200000">
            <a:off x="789265" y="5579427"/>
            <a:ext cx="875561" cy="40011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r"/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Voice Of</a:t>
            </a:r>
          </a:p>
          <a:p>
            <a:pPr algn="r"/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Customer</a:t>
            </a:r>
          </a:p>
        </p:txBody>
      </p:sp>
      <p:sp>
        <p:nvSpPr>
          <p:cNvPr id="15" name="TextBox 22">
            <a:extLst>
              <a:ext uri="{FF2B5EF4-FFF2-40B4-BE49-F238E27FC236}">
                <a16:creationId xmlns:a16="http://schemas.microsoft.com/office/drawing/2014/main" id="{2E0FA156-1924-2F95-98D4-BD59D8E839C0}"/>
              </a:ext>
            </a:extLst>
          </p:cNvPr>
          <p:cNvSpPr txBox="1"/>
          <p:nvPr/>
        </p:nvSpPr>
        <p:spPr>
          <a:xfrm>
            <a:off x="1669620" y="1557601"/>
            <a:ext cx="1473545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1</a:t>
            </a: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id="{5FA72F39-2C01-AEF1-190F-5A57B4E27289}"/>
              </a:ext>
            </a:extLst>
          </p:cNvPr>
          <p:cNvSpPr txBox="1"/>
          <p:nvPr/>
        </p:nvSpPr>
        <p:spPr>
          <a:xfrm>
            <a:off x="3949413" y="1557601"/>
            <a:ext cx="1473547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2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99EA0B87-9798-0FBC-1CB9-3D04C12562CE}"/>
              </a:ext>
            </a:extLst>
          </p:cNvPr>
          <p:cNvSpPr txBox="1"/>
          <p:nvPr/>
        </p:nvSpPr>
        <p:spPr>
          <a:xfrm>
            <a:off x="6229210" y="1557601"/>
            <a:ext cx="1473545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3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227EA55-2DA6-A7BF-62CC-86FB5EF923D4}"/>
              </a:ext>
            </a:extLst>
          </p:cNvPr>
          <p:cNvSpPr txBox="1"/>
          <p:nvPr/>
        </p:nvSpPr>
        <p:spPr>
          <a:xfrm>
            <a:off x="8509004" y="1557601"/>
            <a:ext cx="1473547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4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1D53371-8E24-2932-9592-5ED7BF19E764}"/>
              </a:ext>
            </a:extLst>
          </p:cNvPr>
          <p:cNvSpPr txBox="1">
            <a:spLocks/>
          </p:cNvSpPr>
          <p:nvPr/>
        </p:nvSpPr>
        <p:spPr>
          <a:xfrm>
            <a:off x="1669618" y="1797107"/>
            <a:ext cx="202745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1C7FE218-B987-33E0-20E6-073F8BB352F5}"/>
              </a:ext>
            </a:extLst>
          </p:cNvPr>
          <p:cNvSpPr txBox="1">
            <a:spLocks/>
          </p:cNvSpPr>
          <p:nvPr/>
        </p:nvSpPr>
        <p:spPr>
          <a:xfrm>
            <a:off x="3981196" y="1797107"/>
            <a:ext cx="1995671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6D91ED52-2830-69C8-0059-280D3B6F68C5}"/>
              </a:ext>
            </a:extLst>
          </p:cNvPr>
          <p:cNvSpPr txBox="1">
            <a:spLocks/>
          </p:cNvSpPr>
          <p:nvPr/>
        </p:nvSpPr>
        <p:spPr>
          <a:xfrm>
            <a:off x="6224388" y="179710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A434FD9-BD13-3D1C-F0C1-E20CE0C515FF}"/>
              </a:ext>
            </a:extLst>
          </p:cNvPr>
          <p:cNvSpPr txBox="1">
            <a:spLocks/>
          </p:cNvSpPr>
          <p:nvPr/>
        </p:nvSpPr>
        <p:spPr>
          <a:xfrm>
            <a:off x="8506595" y="179710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6EA0A5-CEF2-5F03-FCED-5167BB22AA26}"/>
              </a:ext>
            </a:extLst>
          </p:cNvPr>
          <p:cNvSpPr txBox="1">
            <a:spLocks/>
          </p:cNvSpPr>
          <p:nvPr/>
        </p:nvSpPr>
        <p:spPr>
          <a:xfrm>
            <a:off x="1667208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551C54D-FA60-D834-898D-C0BFED201A95}"/>
              </a:ext>
            </a:extLst>
          </p:cNvPr>
          <p:cNvSpPr txBox="1">
            <a:spLocks/>
          </p:cNvSpPr>
          <p:nvPr/>
        </p:nvSpPr>
        <p:spPr>
          <a:xfrm>
            <a:off x="3947004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808B8E7B-AAF3-A87C-54A7-7641EECC6F97}"/>
              </a:ext>
            </a:extLst>
          </p:cNvPr>
          <p:cNvSpPr txBox="1">
            <a:spLocks/>
          </p:cNvSpPr>
          <p:nvPr/>
        </p:nvSpPr>
        <p:spPr>
          <a:xfrm>
            <a:off x="6229210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3EF7035C-DD31-61CF-C506-6AC7E90609FE}"/>
              </a:ext>
            </a:extLst>
          </p:cNvPr>
          <p:cNvSpPr txBox="1">
            <a:spLocks/>
          </p:cNvSpPr>
          <p:nvPr/>
        </p:nvSpPr>
        <p:spPr>
          <a:xfrm>
            <a:off x="8509006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089DDEA4-ACCD-7D49-AF39-332B7486B252}"/>
              </a:ext>
            </a:extLst>
          </p:cNvPr>
          <p:cNvSpPr/>
          <p:nvPr/>
        </p:nvSpPr>
        <p:spPr>
          <a:xfrm>
            <a:off x="1965134" y="2941395"/>
            <a:ext cx="8404283" cy="1942476"/>
          </a:xfrm>
          <a:custGeom>
            <a:avLst/>
            <a:gdLst>
              <a:gd name="connsiteX0" fmla="*/ 0 w 16747958"/>
              <a:gd name="connsiteY0" fmla="*/ 1540043 h 2237874"/>
              <a:gd name="connsiteX1" fmla="*/ 288758 w 16747958"/>
              <a:gd name="connsiteY1" fmla="*/ 1155032 h 2237874"/>
              <a:gd name="connsiteX2" fmla="*/ 433137 w 16747958"/>
              <a:gd name="connsiteY2" fmla="*/ 1010653 h 2237874"/>
              <a:gd name="connsiteX3" fmla="*/ 794084 w 16747958"/>
              <a:gd name="connsiteY3" fmla="*/ 721895 h 2237874"/>
              <a:gd name="connsiteX4" fmla="*/ 1179095 w 16747958"/>
              <a:gd name="connsiteY4" fmla="*/ 529390 h 2237874"/>
              <a:gd name="connsiteX5" fmla="*/ 1732547 w 16747958"/>
              <a:gd name="connsiteY5" fmla="*/ 336885 h 2237874"/>
              <a:gd name="connsiteX6" fmla="*/ 2093495 w 16747958"/>
              <a:gd name="connsiteY6" fmla="*/ 264695 h 2237874"/>
              <a:gd name="connsiteX7" fmla="*/ 2719137 w 16747958"/>
              <a:gd name="connsiteY7" fmla="*/ 144379 h 2237874"/>
              <a:gd name="connsiteX8" fmla="*/ 3537284 w 16747958"/>
              <a:gd name="connsiteY8" fmla="*/ 48127 h 2237874"/>
              <a:gd name="connsiteX9" fmla="*/ 4307305 w 16747958"/>
              <a:gd name="connsiteY9" fmla="*/ 0 h 2237874"/>
              <a:gd name="connsiteX10" fmla="*/ 5895474 w 16747958"/>
              <a:gd name="connsiteY10" fmla="*/ 48127 h 2237874"/>
              <a:gd name="connsiteX11" fmla="*/ 6545179 w 16747958"/>
              <a:gd name="connsiteY11" fmla="*/ 144379 h 2237874"/>
              <a:gd name="connsiteX12" fmla="*/ 7146758 w 16747958"/>
              <a:gd name="connsiteY12" fmla="*/ 240632 h 2237874"/>
              <a:gd name="connsiteX13" fmla="*/ 7531769 w 16747958"/>
              <a:gd name="connsiteY13" fmla="*/ 336885 h 2237874"/>
              <a:gd name="connsiteX14" fmla="*/ 7676147 w 16747958"/>
              <a:gd name="connsiteY14" fmla="*/ 360948 h 2237874"/>
              <a:gd name="connsiteX15" fmla="*/ 8061158 w 16747958"/>
              <a:gd name="connsiteY15" fmla="*/ 457200 h 2237874"/>
              <a:gd name="connsiteX16" fmla="*/ 8253663 w 16747958"/>
              <a:gd name="connsiteY16" fmla="*/ 529390 h 2237874"/>
              <a:gd name="connsiteX17" fmla="*/ 8614611 w 16747958"/>
              <a:gd name="connsiteY17" fmla="*/ 649706 h 2237874"/>
              <a:gd name="connsiteX18" fmla="*/ 8831179 w 16747958"/>
              <a:gd name="connsiteY18" fmla="*/ 721895 h 2237874"/>
              <a:gd name="connsiteX19" fmla="*/ 8999621 w 16747958"/>
              <a:gd name="connsiteY19" fmla="*/ 794085 h 2237874"/>
              <a:gd name="connsiteX20" fmla="*/ 9288379 w 16747958"/>
              <a:gd name="connsiteY20" fmla="*/ 890337 h 2237874"/>
              <a:gd name="connsiteX21" fmla="*/ 9480884 w 16747958"/>
              <a:gd name="connsiteY21" fmla="*/ 986590 h 2237874"/>
              <a:gd name="connsiteX22" fmla="*/ 9769642 w 16747958"/>
              <a:gd name="connsiteY22" fmla="*/ 1130969 h 2237874"/>
              <a:gd name="connsiteX23" fmla="*/ 9938084 w 16747958"/>
              <a:gd name="connsiteY23" fmla="*/ 1179095 h 2237874"/>
              <a:gd name="connsiteX24" fmla="*/ 10539663 w 16747958"/>
              <a:gd name="connsiteY24" fmla="*/ 1419727 h 2237874"/>
              <a:gd name="connsiteX25" fmla="*/ 10852484 w 16747958"/>
              <a:gd name="connsiteY25" fmla="*/ 1515979 h 2237874"/>
              <a:gd name="connsiteX26" fmla="*/ 11165305 w 16747958"/>
              <a:gd name="connsiteY26" fmla="*/ 1636295 h 2237874"/>
              <a:gd name="connsiteX27" fmla="*/ 12729411 w 16747958"/>
              <a:gd name="connsiteY27" fmla="*/ 2021306 h 2237874"/>
              <a:gd name="connsiteX28" fmla="*/ 13090358 w 16747958"/>
              <a:gd name="connsiteY28" fmla="*/ 2093495 h 2237874"/>
              <a:gd name="connsiteX29" fmla="*/ 13306926 w 16747958"/>
              <a:gd name="connsiteY29" fmla="*/ 2117558 h 2237874"/>
              <a:gd name="connsiteX30" fmla="*/ 13980695 w 16747958"/>
              <a:gd name="connsiteY30" fmla="*/ 2213811 h 2237874"/>
              <a:gd name="connsiteX31" fmla="*/ 14461958 w 16747958"/>
              <a:gd name="connsiteY31" fmla="*/ 2237874 h 2237874"/>
              <a:gd name="connsiteX32" fmla="*/ 14702590 w 16747958"/>
              <a:gd name="connsiteY32" fmla="*/ 2213811 h 2237874"/>
              <a:gd name="connsiteX33" fmla="*/ 14991347 w 16747958"/>
              <a:gd name="connsiteY33" fmla="*/ 2165685 h 2237874"/>
              <a:gd name="connsiteX34" fmla="*/ 15207916 w 16747958"/>
              <a:gd name="connsiteY34" fmla="*/ 2069432 h 2237874"/>
              <a:gd name="connsiteX35" fmla="*/ 15400421 w 16747958"/>
              <a:gd name="connsiteY35" fmla="*/ 1949116 h 2237874"/>
              <a:gd name="connsiteX36" fmla="*/ 15641053 w 16747958"/>
              <a:gd name="connsiteY36" fmla="*/ 1804737 h 2237874"/>
              <a:gd name="connsiteX37" fmla="*/ 15761369 w 16747958"/>
              <a:gd name="connsiteY37" fmla="*/ 1756611 h 2237874"/>
              <a:gd name="connsiteX38" fmla="*/ 15881684 w 16747958"/>
              <a:gd name="connsiteY38" fmla="*/ 1636295 h 2237874"/>
              <a:gd name="connsiteX39" fmla="*/ 16170442 w 16747958"/>
              <a:gd name="connsiteY39" fmla="*/ 1371600 h 2237874"/>
              <a:gd name="connsiteX40" fmla="*/ 16290758 w 16747958"/>
              <a:gd name="connsiteY40" fmla="*/ 1203158 h 2237874"/>
              <a:gd name="connsiteX41" fmla="*/ 16483263 w 16747958"/>
              <a:gd name="connsiteY41" fmla="*/ 986590 h 2237874"/>
              <a:gd name="connsiteX42" fmla="*/ 16579516 w 16747958"/>
              <a:gd name="connsiteY42" fmla="*/ 842211 h 2237874"/>
              <a:gd name="connsiteX43" fmla="*/ 16627642 w 16747958"/>
              <a:gd name="connsiteY43" fmla="*/ 770022 h 2237874"/>
              <a:gd name="connsiteX44" fmla="*/ 16675769 w 16747958"/>
              <a:gd name="connsiteY44" fmla="*/ 673769 h 2237874"/>
              <a:gd name="connsiteX45" fmla="*/ 16723895 w 16747958"/>
              <a:gd name="connsiteY45" fmla="*/ 601579 h 2237874"/>
              <a:gd name="connsiteX46" fmla="*/ 16747958 w 16747958"/>
              <a:gd name="connsiteY46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794084 w 16747958"/>
              <a:gd name="connsiteY2" fmla="*/ 721895 h 2237874"/>
              <a:gd name="connsiteX3" fmla="*/ 1179095 w 16747958"/>
              <a:gd name="connsiteY3" fmla="*/ 529390 h 2237874"/>
              <a:gd name="connsiteX4" fmla="*/ 1732547 w 16747958"/>
              <a:gd name="connsiteY4" fmla="*/ 336885 h 2237874"/>
              <a:gd name="connsiteX5" fmla="*/ 2093495 w 16747958"/>
              <a:gd name="connsiteY5" fmla="*/ 264695 h 2237874"/>
              <a:gd name="connsiteX6" fmla="*/ 2719137 w 16747958"/>
              <a:gd name="connsiteY6" fmla="*/ 144379 h 2237874"/>
              <a:gd name="connsiteX7" fmla="*/ 3537284 w 16747958"/>
              <a:gd name="connsiteY7" fmla="*/ 48127 h 2237874"/>
              <a:gd name="connsiteX8" fmla="*/ 4307305 w 16747958"/>
              <a:gd name="connsiteY8" fmla="*/ 0 h 2237874"/>
              <a:gd name="connsiteX9" fmla="*/ 5895474 w 16747958"/>
              <a:gd name="connsiteY9" fmla="*/ 48127 h 2237874"/>
              <a:gd name="connsiteX10" fmla="*/ 6545179 w 16747958"/>
              <a:gd name="connsiteY10" fmla="*/ 144379 h 2237874"/>
              <a:gd name="connsiteX11" fmla="*/ 7146758 w 16747958"/>
              <a:gd name="connsiteY11" fmla="*/ 240632 h 2237874"/>
              <a:gd name="connsiteX12" fmla="*/ 7531769 w 16747958"/>
              <a:gd name="connsiteY12" fmla="*/ 336885 h 2237874"/>
              <a:gd name="connsiteX13" fmla="*/ 7676147 w 16747958"/>
              <a:gd name="connsiteY13" fmla="*/ 360948 h 2237874"/>
              <a:gd name="connsiteX14" fmla="*/ 8061158 w 16747958"/>
              <a:gd name="connsiteY14" fmla="*/ 457200 h 2237874"/>
              <a:gd name="connsiteX15" fmla="*/ 8253663 w 16747958"/>
              <a:gd name="connsiteY15" fmla="*/ 529390 h 2237874"/>
              <a:gd name="connsiteX16" fmla="*/ 8614611 w 16747958"/>
              <a:gd name="connsiteY16" fmla="*/ 649706 h 2237874"/>
              <a:gd name="connsiteX17" fmla="*/ 8831179 w 16747958"/>
              <a:gd name="connsiteY17" fmla="*/ 721895 h 2237874"/>
              <a:gd name="connsiteX18" fmla="*/ 8999621 w 16747958"/>
              <a:gd name="connsiteY18" fmla="*/ 794085 h 2237874"/>
              <a:gd name="connsiteX19" fmla="*/ 9288379 w 16747958"/>
              <a:gd name="connsiteY19" fmla="*/ 890337 h 2237874"/>
              <a:gd name="connsiteX20" fmla="*/ 9480884 w 16747958"/>
              <a:gd name="connsiteY20" fmla="*/ 986590 h 2237874"/>
              <a:gd name="connsiteX21" fmla="*/ 9769642 w 16747958"/>
              <a:gd name="connsiteY21" fmla="*/ 1130969 h 2237874"/>
              <a:gd name="connsiteX22" fmla="*/ 9938084 w 16747958"/>
              <a:gd name="connsiteY22" fmla="*/ 1179095 h 2237874"/>
              <a:gd name="connsiteX23" fmla="*/ 10539663 w 16747958"/>
              <a:gd name="connsiteY23" fmla="*/ 1419727 h 2237874"/>
              <a:gd name="connsiteX24" fmla="*/ 10852484 w 16747958"/>
              <a:gd name="connsiteY24" fmla="*/ 1515979 h 2237874"/>
              <a:gd name="connsiteX25" fmla="*/ 11165305 w 16747958"/>
              <a:gd name="connsiteY25" fmla="*/ 1636295 h 2237874"/>
              <a:gd name="connsiteX26" fmla="*/ 12729411 w 16747958"/>
              <a:gd name="connsiteY26" fmla="*/ 2021306 h 2237874"/>
              <a:gd name="connsiteX27" fmla="*/ 13090358 w 16747958"/>
              <a:gd name="connsiteY27" fmla="*/ 2093495 h 2237874"/>
              <a:gd name="connsiteX28" fmla="*/ 13306926 w 16747958"/>
              <a:gd name="connsiteY28" fmla="*/ 2117558 h 2237874"/>
              <a:gd name="connsiteX29" fmla="*/ 13980695 w 16747958"/>
              <a:gd name="connsiteY29" fmla="*/ 2213811 h 2237874"/>
              <a:gd name="connsiteX30" fmla="*/ 14461958 w 16747958"/>
              <a:gd name="connsiteY30" fmla="*/ 2237874 h 2237874"/>
              <a:gd name="connsiteX31" fmla="*/ 14702590 w 16747958"/>
              <a:gd name="connsiteY31" fmla="*/ 2213811 h 2237874"/>
              <a:gd name="connsiteX32" fmla="*/ 14991347 w 16747958"/>
              <a:gd name="connsiteY32" fmla="*/ 2165685 h 2237874"/>
              <a:gd name="connsiteX33" fmla="*/ 15207916 w 16747958"/>
              <a:gd name="connsiteY33" fmla="*/ 2069432 h 2237874"/>
              <a:gd name="connsiteX34" fmla="*/ 15400421 w 16747958"/>
              <a:gd name="connsiteY34" fmla="*/ 1949116 h 2237874"/>
              <a:gd name="connsiteX35" fmla="*/ 15641053 w 16747958"/>
              <a:gd name="connsiteY35" fmla="*/ 1804737 h 2237874"/>
              <a:gd name="connsiteX36" fmla="*/ 15761369 w 16747958"/>
              <a:gd name="connsiteY36" fmla="*/ 1756611 h 2237874"/>
              <a:gd name="connsiteX37" fmla="*/ 15881684 w 16747958"/>
              <a:gd name="connsiteY37" fmla="*/ 1636295 h 2237874"/>
              <a:gd name="connsiteX38" fmla="*/ 16170442 w 16747958"/>
              <a:gd name="connsiteY38" fmla="*/ 1371600 h 2237874"/>
              <a:gd name="connsiteX39" fmla="*/ 16290758 w 16747958"/>
              <a:gd name="connsiteY39" fmla="*/ 1203158 h 2237874"/>
              <a:gd name="connsiteX40" fmla="*/ 16483263 w 16747958"/>
              <a:gd name="connsiteY40" fmla="*/ 986590 h 2237874"/>
              <a:gd name="connsiteX41" fmla="*/ 16579516 w 16747958"/>
              <a:gd name="connsiteY41" fmla="*/ 842211 h 2237874"/>
              <a:gd name="connsiteX42" fmla="*/ 16627642 w 16747958"/>
              <a:gd name="connsiteY42" fmla="*/ 770022 h 2237874"/>
              <a:gd name="connsiteX43" fmla="*/ 16675769 w 16747958"/>
              <a:gd name="connsiteY43" fmla="*/ 673769 h 2237874"/>
              <a:gd name="connsiteX44" fmla="*/ 16723895 w 16747958"/>
              <a:gd name="connsiteY44" fmla="*/ 601579 h 2237874"/>
              <a:gd name="connsiteX45" fmla="*/ 16747958 w 16747958"/>
              <a:gd name="connsiteY45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1732547 w 16747958"/>
              <a:gd name="connsiteY3" fmla="*/ 336885 h 2237874"/>
              <a:gd name="connsiteX4" fmla="*/ 2093495 w 16747958"/>
              <a:gd name="connsiteY4" fmla="*/ 264695 h 2237874"/>
              <a:gd name="connsiteX5" fmla="*/ 2719137 w 16747958"/>
              <a:gd name="connsiteY5" fmla="*/ 144379 h 2237874"/>
              <a:gd name="connsiteX6" fmla="*/ 3537284 w 16747958"/>
              <a:gd name="connsiteY6" fmla="*/ 48127 h 2237874"/>
              <a:gd name="connsiteX7" fmla="*/ 4307305 w 16747958"/>
              <a:gd name="connsiteY7" fmla="*/ 0 h 2237874"/>
              <a:gd name="connsiteX8" fmla="*/ 5895474 w 16747958"/>
              <a:gd name="connsiteY8" fmla="*/ 48127 h 2237874"/>
              <a:gd name="connsiteX9" fmla="*/ 6545179 w 16747958"/>
              <a:gd name="connsiteY9" fmla="*/ 144379 h 2237874"/>
              <a:gd name="connsiteX10" fmla="*/ 7146758 w 16747958"/>
              <a:gd name="connsiteY10" fmla="*/ 240632 h 2237874"/>
              <a:gd name="connsiteX11" fmla="*/ 7531769 w 16747958"/>
              <a:gd name="connsiteY11" fmla="*/ 336885 h 2237874"/>
              <a:gd name="connsiteX12" fmla="*/ 7676147 w 16747958"/>
              <a:gd name="connsiteY12" fmla="*/ 360948 h 2237874"/>
              <a:gd name="connsiteX13" fmla="*/ 8061158 w 16747958"/>
              <a:gd name="connsiteY13" fmla="*/ 457200 h 2237874"/>
              <a:gd name="connsiteX14" fmla="*/ 8253663 w 16747958"/>
              <a:gd name="connsiteY14" fmla="*/ 529390 h 2237874"/>
              <a:gd name="connsiteX15" fmla="*/ 8614611 w 16747958"/>
              <a:gd name="connsiteY15" fmla="*/ 649706 h 2237874"/>
              <a:gd name="connsiteX16" fmla="*/ 8831179 w 16747958"/>
              <a:gd name="connsiteY16" fmla="*/ 721895 h 2237874"/>
              <a:gd name="connsiteX17" fmla="*/ 8999621 w 16747958"/>
              <a:gd name="connsiteY17" fmla="*/ 794085 h 2237874"/>
              <a:gd name="connsiteX18" fmla="*/ 9288379 w 16747958"/>
              <a:gd name="connsiteY18" fmla="*/ 890337 h 2237874"/>
              <a:gd name="connsiteX19" fmla="*/ 9480884 w 16747958"/>
              <a:gd name="connsiteY19" fmla="*/ 986590 h 2237874"/>
              <a:gd name="connsiteX20" fmla="*/ 9769642 w 16747958"/>
              <a:gd name="connsiteY20" fmla="*/ 1130969 h 2237874"/>
              <a:gd name="connsiteX21" fmla="*/ 9938084 w 16747958"/>
              <a:gd name="connsiteY21" fmla="*/ 1179095 h 2237874"/>
              <a:gd name="connsiteX22" fmla="*/ 10539663 w 16747958"/>
              <a:gd name="connsiteY22" fmla="*/ 1419727 h 2237874"/>
              <a:gd name="connsiteX23" fmla="*/ 10852484 w 16747958"/>
              <a:gd name="connsiteY23" fmla="*/ 1515979 h 2237874"/>
              <a:gd name="connsiteX24" fmla="*/ 11165305 w 16747958"/>
              <a:gd name="connsiteY24" fmla="*/ 1636295 h 2237874"/>
              <a:gd name="connsiteX25" fmla="*/ 12729411 w 16747958"/>
              <a:gd name="connsiteY25" fmla="*/ 2021306 h 2237874"/>
              <a:gd name="connsiteX26" fmla="*/ 13090358 w 16747958"/>
              <a:gd name="connsiteY26" fmla="*/ 2093495 h 2237874"/>
              <a:gd name="connsiteX27" fmla="*/ 13306926 w 16747958"/>
              <a:gd name="connsiteY27" fmla="*/ 2117558 h 2237874"/>
              <a:gd name="connsiteX28" fmla="*/ 13980695 w 16747958"/>
              <a:gd name="connsiteY28" fmla="*/ 2213811 h 2237874"/>
              <a:gd name="connsiteX29" fmla="*/ 14461958 w 16747958"/>
              <a:gd name="connsiteY29" fmla="*/ 2237874 h 2237874"/>
              <a:gd name="connsiteX30" fmla="*/ 14702590 w 16747958"/>
              <a:gd name="connsiteY30" fmla="*/ 2213811 h 2237874"/>
              <a:gd name="connsiteX31" fmla="*/ 14991347 w 16747958"/>
              <a:gd name="connsiteY31" fmla="*/ 2165685 h 2237874"/>
              <a:gd name="connsiteX32" fmla="*/ 15207916 w 16747958"/>
              <a:gd name="connsiteY32" fmla="*/ 2069432 h 2237874"/>
              <a:gd name="connsiteX33" fmla="*/ 15400421 w 16747958"/>
              <a:gd name="connsiteY33" fmla="*/ 1949116 h 2237874"/>
              <a:gd name="connsiteX34" fmla="*/ 15641053 w 16747958"/>
              <a:gd name="connsiteY34" fmla="*/ 1804737 h 2237874"/>
              <a:gd name="connsiteX35" fmla="*/ 15761369 w 16747958"/>
              <a:gd name="connsiteY35" fmla="*/ 1756611 h 2237874"/>
              <a:gd name="connsiteX36" fmla="*/ 15881684 w 16747958"/>
              <a:gd name="connsiteY36" fmla="*/ 1636295 h 2237874"/>
              <a:gd name="connsiteX37" fmla="*/ 16170442 w 16747958"/>
              <a:gd name="connsiteY37" fmla="*/ 1371600 h 2237874"/>
              <a:gd name="connsiteX38" fmla="*/ 16290758 w 16747958"/>
              <a:gd name="connsiteY38" fmla="*/ 1203158 h 2237874"/>
              <a:gd name="connsiteX39" fmla="*/ 16483263 w 16747958"/>
              <a:gd name="connsiteY39" fmla="*/ 986590 h 2237874"/>
              <a:gd name="connsiteX40" fmla="*/ 16579516 w 16747958"/>
              <a:gd name="connsiteY40" fmla="*/ 842211 h 2237874"/>
              <a:gd name="connsiteX41" fmla="*/ 16627642 w 16747958"/>
              <a:gd name="connsiteY41" fmla="*/ 770022 h 2237874"/>
              <a:gd name="connsiteX42" fmla="*/ 16675769 w 16747958"/>
              <a:gd name="connsiteY42" fmla="*/ 673769 h 2237874"/>
              <a:gd name="connsiteX43" fmla="*/ 16723895 w 16747958"/>
              <a:gd name="connsiteY43" fmla="*/ 601579 h 2237874"/>
              <a:gd name="connsiteX44" fmla="*/ 16747958 w 16747958"/>
              <a:gd name="connsiteY44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2719137 w 16747958"/>
              <a:gd name="connsiteY4" fmla="*/ 144379 h 2237874"/>
              <a:gd name="connsiteX5" fmla="*/ 3537284 w 16747958"/>
              <a:gd name="connsiteY5" fmla="*/ 48127 h 2237874"/>
              <a:gd name="connsiteX6" fmla="*/ 4307305 w 16747958"/>
              <a:gd name="connsiteY6" fmla="*/ 0 h 2237874"/>
              <a:gd name="connsiteX7" fmla="*/ 5895474 w 16747958"/>
              <a:gd name="connsiteY7" fmla="*/ 48127 h 2237874"/>
              <a:gd name="connsiteX8" fmla="*/ 6545179 w 16747958"/>
              <a:gd name="connsiteY8" fmla="*/ 144379 h 2237874"/>
              <a:gd name="connsiteX9" fmla="*/ 7146758 w 16747958"/>
              <a:gd name="connsiteY9" fmla="*/ 240632 h 2237874"/>
              <a:gd name="connsiteX10" fmla="*/ 7531769 w 16747958"/>
              <a:gd name="connsiteY10" fmla="*/ 336885 h 2237874"/>
              <a:gd name="connsiteX11" fmla="*/ 7676147 w 16747958"/>
              <a:gd name="connsiteY11" fmla="*/ 360948 h 2237874"/>
              <a:gd name="connsiteX12" fmla="*/ 8061158 w 16747958"/>
              <a:gd name="connsiteY12" fmla="*/ 457200 h 2237874"/>
              <a:gd name="connsiteX13" fmla="*/ 8253663 w 16747958"/>
              <a:gd name="connsiteY13" fmla="*/ 529390 h 2237874"/>
              <a:gd name="connsiteX14" fmla="*/ 8614611 w 16747958"/>
              <a:gd name="connsiteY14" fmla="*/ 649706 h 2237874"/>
              <a:gd name="connsiteX15" fmla="*/ 8831179 w 16747958"/>
              <a:gd name="connsiteY15" fmla="*/ 721895 h 2237874"/>
              <a:gd name="connsiteX16" fmla="*/ 8999621 w 16747958"/>
              <a:gd name="connsiteY16" fmla="*/ 794085 h 2237874"/>
              <a:gd name="connsiteX17" fmla="*/ 9288379 w 16747958"/>
              <a:gd name="connsiteY17" fmla="*/ 890337 h 2237874"/>
              <a:gd name="connsiteX18" fmla="*/ 9480884 w 16747958"/>
              <a:gd name="connsiteY18" fmla="*/ 986590 h 2237874"/>
              <a:gd name="connsiteX19" fmla="*/ 9769642 w 16747958"/>
              <a:gd name="connsiteY19" fmla="*/ 1130969 h 2237874"/>
              <a:gd name="connsiteX20" fmla="*/ 9938084 w 16747958"/>
              <a:gd name="connsiteY20" fmla="*/ 1179095 h 2237874"/>
              <a:gd name="connsiteX21" fmla="*/ 10539663 w 16747958"/>
              <a:gd name="connsiteY21" fmla="*/ 1419727 h 2237874"/>
              <a:gd name="connsiteX22" fmla="*/ 10852484 w 16747958"/>
              <a:gd name="connsiteY22" fmla="*/ 1515979 h 2237874"/>
              <a:gd name="connsiteX23" fmla="*/ 11165305 w 16747958"/>
              <a:gd name="connsiteY23" fmla="*/ 1636295 h 2237874"/>
              <a:gd name="connsiteX24" fmla="*/ 12729411 w 16747958"/>
              <a:gd name="connsiteY24" fmla="*/ 2021306 h 2237874"/>
              <a:gd name="connsiteX25" fmla="*/ 13090358 w 16747958"/>
              <a:gd name="connsiteY25" fmla="*/ 2093495 h 2237874"/>
              <a:gd name="connsiteX26" fmla="*/ 13306926 w 16747958"/>
              <a:gd name="connsiteY26" fmla="*/ 2117558 h 2237874"/>
              <a:gd name="connsiteX27" fmla="*/ 13980695 w 16747958"/>
              <a:gd name="connsiteY27" fmla="*/ 2213811 h 2237874"/>
              <a:gd name="connsiteX28" fmla="*/ 14461958 w 16747958"/>
              <a:gd name="connsiteY28" fmla="*/ 2237874 h 2237874"/>
              <a:gd name="connsiteX29" fmla="*/ 14702590 w 16747958"/>
              <a:gd name="connsiteY29" fmla="*/ 2213811 h 2237874"/>
              <a:gd name="connsiteX30" fmla="*/ 14991347 w 16747958"/>
              <a:gd name="connsiteY30" fmla="*/ 2165685 h 2237874"/>
              <a:gd name="connsiteX31" fmla="*/ 15207916 w 16747958"/>
              <a:gd name="connsiteY31" fmla="*/ 2069432 h 2237874"/>
              <a:gd name="connsiteX32" fmla="*/ 15400421 w 16747958"/>
              <a:gd name="connsiteY32" fmla="*/ 1949116 h 2237874"/>
              <a:gd name="connsiteX33" fmla="*/ 15641053 w 16747958"/>
              <a:gd name="connsiteY33" fmla="*/ 1804737 h 2237874"/>
              <a:gd name="connsiteX34" fmla="*/ 15761369 w 16747958"/>
              <a:gd name="connsiteY34" fmla="*/ 1756611 h 2237874"/>
              <a:gd name="connsiteX35" fmla="*/ 15881684 w 16747958"/>
              <a:gd name="connsiteY35" fmla="*/ 1636295 h 2237874"/>
              <a:gd name="connsiteX36" fmla="*/ 16170442 w 16747958"/>
              <a:gd name="connsiteY36" fmla="*/ 1371600 h 2237874"/>
              <a:gd name="connsiteX37" fmla="*/ 16290758 w 16747958"/>
              <a:gd name="connsiteY37" fmla="*/ 1203158 h 2237874"/>
              <a:gd name="connsiteX38" fmla="*/ 16483263 w 16747958"/>
              <a:gd name="connsiteY38" fmla="*/ 986590 h 2237874"/>
              <a:gd name="connsiteX39" fmla="*/ 16579516 w 16747958"/>
              <a:gd name="connsiteY39" fmla="*/ 842211 h 2237874"/>
              <a:gd name="connsiteX40" fmla="*/ 16627642 w 16747958"/>
              <a:gd name="connsiteY40" fmla="*/ 770022 h 2237874"/>
              <a:gd name="connsiteX41" fmla="*/ 16675769 w 16747958"/>
              <a:gd name="connsiteY41" fmla="*/ 673769 h 2237874"/>
              <a:gd name="connsiteX42" fmla="*/ 16723895 w 16747958"/>
              <a:gd name="connsiteY42" fmla="*/ 601579 h 2237874"/>
              <a:gd name="connsiteX43" fmla="*/ 16747958 w 16747958"/>
              <a:gd name="connsiteY43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3537284 w 16747958"/>
              <a:gd name="connsiteY4" fmla="*/ 48127 h 2237874"/>
              <a:gd name="connsiteX5" fmla="*/ 4307305 w 16747958"/>
              <a:gd name="connsiteY5" fmla="*/ 0 h 2237874"/>
              <a:gd name="connsiteX6" fmla="*/ 5895474 w 16747958"/>
              <a:gd name="connsiteY6" fmla="*/ 48127 h 2237874"/>
              <a:gd name="connsiteX7" fmla="*/ 6545179 w 16747958"/>
              <a:gd name="connsiteY7" fmla="*/ 144379 h 2237874"/>
              <a:gd name="connsiteX8" fmla="*/ 7146758 w 16747958"/>
              <a:gd name="connsiteY8" fmla="*/ 240632 h 2237874"/>
              <a:gd name="connsiteX9" fmla="*/ 7531769 w 16747958"/>
              <a:gd name="connsiteY9" fmla="*/ 336885 h 2237874"/>
              <a:gd name="connsiteX10" fmla="*/ 7676147 w 16747958"/>
              <a:gd name="connsiteY10" fmla="*/ 360948 h 2237874"/>
              <a:gd name="connsiteX11" fmla="*/ 8061158 w 16747958"/>
              <a:gd name="connsiteY11" fmla="*/ 457200 h 2237874"/>
              <a:gd name="connsiteX12" fmla="*/ 8253663 w 16747958"/>
              <a:gd name="connsiteY12" fmla="*/ 529390 h 2237874"/>
              <a:gd name="connsiteX13" fmla="*/ 8614611 w 16747958"/>
              <a:gd name="connsiteY13" fmla="*/ 649706 h 2237874"/>
              <a:gd name="connsiteX14" fmla="*/ 8831179 w 16747958"/>
              <a:gd name="connsiteY14" fmla="*/ 721895 h 2237874"/>
              <a:gd name="connsiteX15" fmla="*/ 8999621 w 16747958"/>
              <a:gd name="connsiteY15" fmla="*/ 794085 h 2237874"/>
              <a:gd name="connsiteX16" fmla="*/ 9288379 w 16747958"/>
              <a:gd name="connsiteY16" fmla="*/ 890337 h 2237874"/>
              <a:gd name="connsiteX17" fmla="*/ 9480884 w 16747958"/>
              <a:gd name="connsiteY17" fmla="*/ 986590 h 2237874"/>
              <a:gd name="connsiteX18" fmla="*/ 9769642 w 16747958"/>
              <a:gd name="connsiteY18" fmla="*/ 1130969 h 2237874"/>
              <a:gd name="connsiteX19" fmla="*/ 9938084 w 16747958"/>
              <a:gd name="connsiteY19" fmla="*/ 1179095 h 2237874"/>
              <a:gd name="connsiteX20" fmla="*/ 10539663 w 16747958"/>
              <a:gd name="connsiteY20" fmla="*/ 1419727 h 2237874"/>
              <a:gd name="connsiteX21" fmla="*/ 10852484 w 16747958"/>
              <a:gd name="connsiteY21" fmla="*/ 1515979 h 2237874"/>
              <a:gd name="connsiteX22" fmla="*/ 11165305 w 16747958"/>
              <a:gd name="connsiteY22" fmla="*/ 1636295 h 2237874"/>
              <a:gd name="connsiteX23" fmla="*/ 12729411 w 16747958"/>
              <a:gd name="connsiteY23" fmla="*/ 2021306 h 2237874"/>
              <a:gd name="connsiteX24" fmla="*/ 13090358 w 16747958"/>
              <a:gd name="connsiteY24" fmla="*/ 2093495 h 2237874"/>
              <a:gd name="connsiteX25" fmla="*/ 13306926 w 16747958"/>
              <a:gd name="connsiteY25" fmla="*/ 2117558 h 2237874"/>
              <a:gd name="connsiteX26" fmla="*/ 13980695 w 16747958"/>
              <a:gd name="connsiteY26" fmla="*/ 2213811 h 2237874"/>
              <a:gd name="connsiteX27" fmla="*/ 14461958 w 16747958"/>
              <a:gd name="connsiteY27" fmla="*/ 2237874 h 2237874"/>
              <a:gd name="connsiteX28" fmla="*/ 14702590 w 16747958"/>
              <a:gd name="connsiteY28" fmla="*/ 2213811 h 2237874"/>
              <a:gd name="connsiteX29" fmla="*/ 14991347 w 16747958"/>
              <a:gd name="connsiteY29" fmla="*/ 2165685 h 2237874"/>
              <a:gd name="connsiteX30" fmla="*/ 15207916 w 16747958"/>
              <a:gd name="connsiteY30" fmla="*/ 2069432 h 2237874"/>
              <a:gd name="connsiteX31" fmla="*/ 15400421 w 16747958"/>
              <a:gd name="connsiteY31" fmla="*/ 1949116 h 2237874"/>
              <a:gd name="connsiteX32" fmla="*/ 15641053 w 16747958"/>
              <a:gd name="connsiteY32" fmla="*/ 1804737 h 2237874"/>
              <a:gd name="connsiteX33" fmla="*/ 15761369 w 16747958"/>
              <a:gd name="connsiteY33" fmla="*/ 1756611 h 2237874"/>
              <a:gd name="connsiteX34" fmla="*/ 15881684 w 16747958"/>
              <a:gd name="connsiteY34" fmla="*/ 1636295 h 2237874"/>
              <a:gd name="connsiteX35" fmla="*/ 16170442 w 16747958"/>
              <a:gd name="connsiteY35" fmla="*/ 1371600 h 2237874"/>
              <a:gd name="connsiteX36" fmla="*/ 16290758 w 16747958"/>
              <a:gd name="connsiteY36" fmla="*/ 1203158 h 2237874"/>
              <a:gd name="connsiteX37" fmla="*/ 16483263 w 16747958"/>
              <a:gd name="connsiteY37" fmla="*/ 986590 h 2237874"/>
              <a:gd name="connsiteX38" fmla="*/ 16579516 w 16747958"/>
              <a:gd name="connsiteY38" fmla="*/ 842211 h 2237874"/>
              <a:gd name="connsiteX39" fmla="*/ 16627642 w 16747958"/>
              <a:gd name="connsiteY39" fmla="*/ 770022 h 2237874"/>
              <a:gd name="connsiteX40" fmla="*/ 16675769 w 16747958"/>
              <a:gd name="connsiteY40" fmla="*/ 673769 h 2237874"/>
              <a:gd name="connsiteX41" fmla="*/ 16723895 w 16747958"/>
              <a:gd name="connsiteY41" fmla="*/ 601579 h 2237874"/>
              <a:gd name="connsiteX42" fmla="*/ 16747958 w 16747958"/>
              <a:gd name="connsiteY42" fmla="*/ 529390 h 2237874"/>
              <a:gd name="connsiteX0" fmla="*/ 0 w 16747958"/>
              <a:gd name="connsiteY0" fmla="*/ 1512145 h 2209976"/>
              <a:gd name="connsiteX1" fmla="*/ 433137 w 16747958"/>
              <a:gd name="connsiteY1" fmla="*/ 982755 h 2209976"/>
              <a:gd name="connsiteX2" fmla="*/ 1179095 w 16747958"/>
              <a:gd name="connsiteY2" fmla="*/ 501492 h 2209976"/>
              <a:gd name="connsiteX3" fmla="*/ 2093495 w 16747958"/>
              <a:gd name="connsiteY3" fmla="*/ 236797 h 2209976"/>
              <a:gd name="connsiteX4" fmla="*/ 3537284 w 16747958"/>
              <a:gd name="connsiteY4" fmla="*/ 20229 h 2209976"/>
              <a:gd name="connsiteX5" fmla="*/ 5895474 w 16747958"/>
              <a:gd name="connsiteY5" fmla="*/ 20229 h 2209976"/>
              <a:gd name="connsiteX6" fmla="*/ 6545179 w 16747958"/>
              <a:gd name="connsiteY6" fmla="*/ 116481 h 2209976"/>
              <a:gd name="connsiteX7" fmla="*/ 7146758 w 16747958"/>
              <a:gd name="connsiteY7" fmla="*/ 212734 h 2209976"/>
              <a:gd name="connsiteX8" fmla="*/ 7531769 w 16747958"/>
              <a:gd name="connsiteY8" fmla="*/ 308987 h 2209976"/>
              <a:gd name="connsiteX9" fmla="*/ 7676147 w 16747958"/>
              <a:gd name="connsiteY9" fmla="*/ 333050 h 2209976"/>
              <a:gd name="connsiteX10" fmla="*/ 8061158 w 16747958"/>
              <a:gd name="connsiteY10" fmla="*/ 429302 h 2209976"/>
              <a:gd name="connsiteX11" fmla="*/ 8253663 w 16747958"/>
              <a:gd name="connsiteY11" fmla="*/ 501492 h 2209976"/>
              <a:gd name="connsiteX12" fmla="*/ 8614611 w 16747958"/>
              <a:gd name="connsiteY12" fmla="*/ 621808 h 2209976"/>
              <a:gd name="connsiteX13" fmla="*/ 8831179 w 16747958"/>
              <a:gd name="connsiteY13" fmla="*/ 693997 h 2209976"/>
              <a:gd name="connsiteX14" fmla="*/ 8999621 w 16747958"/>
              <a:gd name="connsiteY14" fmla="*/ 766187 h 2209976"/>
              <a:gd name="connsiteX15" fmla="*/ 9288379 w 16747958"/>
              <a:gd name="connsiteY15" fmla="*/ 862439 h 2209976"/>
              <a:gd name="connsiteX16" fmla="*/ 9480884 w 16747958"/>
              <a:gd name="connsiteY16" fmla="*/ 958692 h 2209976"/>
              <a:gd name="connsiteX17" fmla="*/ 9769642 w 16747958"/>
              <a:gd name="connsiteY17" fmla="*/ 1103071 h 2209976"/>
              <a:gd name="connsiteX18" fmla="*/ 9938084 w 16747958"/>
              <a:gd name="connsiteY18" fmla="*/ 1151197 h 2209976"/>
              <a:gd name="connsiteX19" fmla="*/ 10539663 w 16747958"/>
              <a:gd name="connsiteY19" fmla="*/ 1391829 h 2209976"/>
              <a:gd name="connsiteX20" fmla="*/ 10852484 w 16747958"/>
              <a:gd name="connsiteY20" fmla="*/ 1488081 h 2209976"/>
              <a:gd name="connsiteX21" fmla="*/ 11165305 w 16747958"/>
              <a:gd name="connsiteY21" fmla="*/ 1608397 h 2209976"/>
              <a:gd name="connsiteX22" fmla="*/ 12729411 w 16747958"/>
              <a:gd name="connsiteY22" fmla="*/ 1993408 h 2209976"/>
              <a:gd name="connsiteX23" fmla="*/ 13090358 w 16747958"/>
              <a:gd name="connsiteY23" fmla="*/ 2065597 h 2209976"/>
              <a:gd name="connsiteX24" fmla="*/ 13306926 w 16747958"/>
              <a:gd name="connsiteY24" fmla="*/ 2089660 h 2209976"/>
              <a:gd name="connsiteX25" fmla="*/ 13980695 w 16747958"/>
              <a:gd name="connsiteY25" fmla="*/ 2185913 h 2209976"/>
              <a:gd name="connsiteX26" fmla="*/ 14461958 w 16747958"/>
              <a:gd name="connsiteY26" fmla="*/ 2209976 h 2209976"/>
              <a:gd name="connsiteX27" fmla="*/ 14702590 w 16747958"/>
              <a:gd name="connsiteY27" fmla="*/ 2185913 h 2209976"/>
              <a:gd name="connsiteX28" fmla="*/ 14991347 w 16747958"/>
              <a:gd name="connsiteY28" fmla="*/ 2137787 h 2209976"/>
              <a:gd name="connsiteX29" fmla="*/ 15207916 w 16747958"/>
              <a:gd name="connsiteY29" fmla="*/ 2041534 h 2209976"/>
              <a:gd name="connsiteX30" fmla="*/ 15400421 w 16747958"/>
              <a:gd name="connsiteY30" fmla="*/ 1921218 h 2209976"/>
              <a:gd name="connsiteX31" fmla="*/ 15641053 w 16747958"/>
              <a:gd name="connsiteY31" fmla="*/ 1776839 h 2209976"/>
              <a:gd name="connsiteX32" fmla="*/ 15761369 w 16747958"/>
              <a:gd name="connsiteY32" fmla="*/ 1728713 h 2209976"/>
              <a:gd name="connsiteX33" fmla="*/ 15881684 w 16747958"/>
              <a:gd name="connsiteY33" fmla="*/ 1608397 h 2209976"/>
              <a:gd name="connsiteX34" fmla="*/ 16170442 w 16747958"/>
              <a:gd name="connsiteY34" fmla="*/ 1343702 h 2209976"/>
              <a:gd name="connsiteX35" fmla="*/ 16290758 w 16747958"/>
              <a:gd name="connsiteY35" fmla="*/ 1175260 h 2209976"/>
              <a:gd name="connsiteX36" fmla="*/ 16483263 w 16747958"/>
              <a:gd name="connsiteY36" fmla="*/ 958692 h 2209976"/>
              <a:gd name="connsiteX37" fmla="*/ 16579516 w 16747958"/>
              <a:gd name="connsiteY37" fmla="*/ 814313 h 2209976"/>
              <a:gd name="connsiteX38" fmla="*/ 16627642 w 16747958"/>
              <a:gd name="connsiteY38" fmla="*/ 742124 h 2209976"/>
              <a:gd name="connsiteX39" fmla="*/ 16675769 w 16747958"/>
              <a:gd name="connsiteY39" fmla="*/ 645871 h 2209976"/>
              <a:gd name="connsiteX40" fmla="*/ 16723895 w 16747958"/>
              <a:gd name="connsiteY40" fmla="*/ 573681 h 2209976"/>
              <a:gd name="connsiteX41" fmla="*/ 16747958 w 16747958"/>
              <a:gd name="connsiteY41" fmla="*/ 501492 h 220997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531769 w 16747958"/>
              <a:gd name="connsiteY7" fmla="*/ 314347 h 2215336"/>
              <a:gd name="connsiteX8" fmla="*/ 7676147 w 16747958"/>
              <a:gd name="connsiteY8" fmla="*/ 338410 h 2215336"/>
              <a:gd name="connsiteX9" fmla="*/ 8061158 w 16747958"/>
              <a:gd name="connsiteY9" fmla="*/ 434662 h 2215336"/>
              <a:gd name="connsiteX10" fmla="*/ 8253663 w 16747958"/>
              <a:gd name="connsiteY10" fmla="*/ 506852 h 2215336"/>
              <a:gd name="connsiteX11" fmla="*/ 8614611 w 16747958"/>
              <a:gd name="connsiteY11" fmla="*/ 627168 h 2215336"/>
              <a:gd name="connsiteX12" fmla="*/ 8831179 w 16747958"/>
              <a:gd name="connsiteY12" fmla="*/ 699357 h 2215336"/>
              <a:gd name="connsiteX13" fmla="*/ 8999621 w 16747958"/>
              <a:gd name="connsiteY13" fmla="*/ 771547 h 2215336"/>
              <a:gd name="connsiteX14" fmla="*/ 9288379 w 16747958"/>
              <a:gd name="connsiteY14" fmla="*/ 867799 h 2215336"/>
              <a:gd name="connsiteX15" fmla="*/ 9480884 w 16747958"/>
              <a:gd name="connsiteY15" fmla="*/ 964052 h 2215336"/>
              <a:gd name="connsiteX16" fmla="*/ 9769642 w 16747958"/>
              <a:gd name="connsiteY16" fmla="*/ 1108431 h 2215336"/>
              <a:gd name="connsiteX17" fmla="*/ 9938084 w 16747958"/>
              <a:gd name="connsiteY17" fmla="*/ 1156557 h 2215336"/>
              <a:gd name="connsiteX18" fmla="*/ 10539663 w 16747958"/>
              <a:gd name="connsiteY18" fmla="*/ 1397189 h 2215336"/>
              <a:gd name="connsiteX19" fmla="*/ 10852484 w 16747958"/>
              <a:gd name="connsiteY19" fmla="*/ 1493441 h 2215336"/>
              <a:gd name="connsiteX20" fmla="*/ 11165305 w 16747958"/>
              <a:gd name="connsiteY20" fmla="*/ 1613757 h 2215336"/>
              <a:gd name="connsiteX21" fmla="*/ 12729411 w 16747958"/>
              <a:gd name="connsiteY21" fmla="*/ 1998768 h 2215336"/>
              <a:gd name="connsiteX22" fmla="*/ 13090358 w 16747958"/>
              <a:gd name="connsiteY22" fmla="*/ 2070957 h 2215336"/>
              <a:gd name="connsiteX23" fmla="*/ 13306926 w 16747958"/>
              <a:gd name="connsiteY23" fmla="*/ 2095020 h 2215336"/>
              <a:gd name="connsiteX24" fmla="*/ 13980695 w 16747958"/>
              <a:gd name="connsiteY24" fmla="*/ 2191273 h 2215336"/>
              <a:gd name="connsiteX25" fmla="*/ 14461958 w 16747958"/>
              <a:gd name="connsiteY25" fmla="*/ 2215336 h 2215336"/>
              <a:gd name="connsiteX26" fmla="*/ 14702590 w 16747958"/>
              <a:gd name="connsiteY26" fmla="*/ 2191273 h 2215336"/>
              <a:gd name="connsiteX27" fmla="*/ 14991347 w 16747958"/>
              <a:gd name="connsiteY27" fmla="*/ 2143147 h 2215336"/>
              <a:gd name="connsiteX28" fmla="*/ 15207916 w 16747958"/>
              <a:gd name="connsiteY28" fmla="*/ 2046894 h 2215336"/>
              <a:gd name="connsiteX29" fmla="*/ 15400421 w 16747958"/>
              <a:gd name="connsiteY29" fmla="*/ 1926578 h 2215336"/>
              <a:gd name="connsiteX30" fmla="*/ 15641053 w 16747958"/>
              <a:gd name="connsiteY30" fmla="*/ 1782199 h 2215336"/>
              <a:gd name="connsiteX31" fmla="*/ 15761369 w 16747958"/>
              <a:gd name="connsiteY31" fmla="*/ 1734073 h 2215336"/>
              <a:gd name="connsiteX32" fmla="*/ 15881684 w 16747958"/>
              <a:gd name="connsiteY32" fmla="*/ 1613757 h 2215336"/>
              <a:gd name="connsiteX33" fmla="*/ 16170442 w 16747958"/>
              <a:gd name="connsiteY33" fmla="*/ 1349062 h 2215336"/>
              <a:gd name="connsiteX34" fmla="*/ 16290758 w 16747958"/>
              <a:gd name="connsiteY34" fmla="*/ 1180620 h 2215336"/>
              <a:gd name="connsiteX35" fmla="*/ 16483263 w 16747958"/>
              <a:gd name="connsiteY35" fmla="*/ 964052 h 2215336"/>
              <a:gd name="connsiteX36" fmla="*/ 16579516 w 16747958"/>
              <a:gd name="connsiteY36" fmla="*/ 819673 h 2215336"/>
              <a:gd name="connsiteX37" fmla="*/ 16627642 w 16747958"/>
              <a:gd name="connsiteY37" fmla="*/ 747484 h 2215336"/>
              <a:gd name="connsiteX38" fmla="*/ 16675769 w 16747958"/>
              <a:gd name="connsiteY38" fmla="*/ 651231 h 2215336"/>
              <a:gd name="connsiteX39" fmla="*/ 16723895 w 16747958"/>
              <a:gd name="connsiteY39" fmla="*/ 579041 h 2215336"/>
              <a:gd name="connsiteX40" fmla="*/ 16747958 w 16747958"/>
              <a:gd name="connsiteY4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676147 w 16747958"/>
              <a:gd name="connsiteY7" fmla="*/ 338410 h 2215336"/>
              <a:gd name="connsiteX8" fmla="*/ 8061158 w 16747958"/>
              <a:gd name="connsiteY8" fmla="*/ 434662 h 2215336"/>
              <a:gd name="connsiteX9" fmla="*/ 8253663 w 16747958"/>
              <a:gd name="connsiteY9" fmla="*/ 506852 h 2215336"/>
              <a:gd name="connsiteX10" fmla="*/ 8614611 w 16747958"/>
              <a:gd name="connsiteY10" fmla="*/ 627168 h 2215336"/>
              <a:gd name="connsiteX11" fmla="*/ 8831179 w 16747958"/>
              <a:gd name="connsiteY11" fmla="*/ 699357 h 2215336"/>
              <a:gd name="connsiteX12" fmla="*/ 8999621 w 16747958"/>
              <a:gd name="connsiteY12" fmla="*/ 771547 h 2215336"/>
              <a:gd name="connsiteX13" fmla="*/ 9288379 w 16747958"/>
              <a:gd name="connsiteY13" fmla="*/ 867799 h 2215336"/>
              <a:gd name="connsiteX14" fmla="*/ 9480884 w 16747958"/>
              <a:gd name="connsiteY14" fmla="*/ 964052 h 2215336"/>
              <a:gd name="connsiteX15" fmla="*/ 9769642 w 16747958"/>
              <a:gd name="connsiteY15" fmla="*/ 1108431 h 2215336"/>
              <a:gd name="connsiteX16" fmla="*/ 9938084 w 16747958"/>
              <a:gd name="connsiteY16" fmla="*/ 1156557 h 2215336"/>
              <a:gd name="connsiteX17" fmla="*/ 10539663 w 16747958"/>
              <a:gd name="connsiteY17" fmla="*/ 1397189 h 2215336"/>
              <a:gd name="connsiteX18" fmla="*/ 10852484 w 16747958"/>
              <a:gd name="connsiteY18" fmla="*/ 1493441 h 2215336"/>
              <a:gd name="connsiteX19" fmla="*/ 11165305 w 16747958"/>
              <a:gd name="connsiteY19" fmla="*/ 1613757 h 2215336"/>
              <a:gd name="connsiteX20" fmla="*/ 12729411 w 16747958"/>
              <a:gd name="connsiteY20" fmla="*/ 1998768 h 2215336"/>
              <a:gd name="connsiteX21" fmla="*/ 13090358 w 16747958"/>
              <a:gd name="connsiteY21" fmla="*/ 2070957 h 2215336"/>
              <a:gd name="connsiteX22" fmla="*/ 13306926 w 16747958"/>
              <a:gd name="connsiteY22" fmla="*/ 2095020 h 2215336"/>
              <a:gd name="connsiteX23" fmla="*/ 13980695 w 16747958"/>
              <a:gd name="connsiteY23" fmla="*/ 2191273 h 2215336"/>
              <a:gd name="connsiteX24" fmla="*/ 14461958 w 16747958"/>
              <a:gd name="connsiteY24" fmla="*/ 2215336 h 2215336"/>
              <a:gd name="connsiteX25" fmla="*/ 14702590 w 16747958"/>
              <a:gd name="connsiteY25" fmla="*/ 2191273 h 2215336"/>
              <a:gd name="connsiteX26" fmla="*/ 14991347 w 16747958"/>
              <a:gd name="connsiteY26" fmla="*/ 2143147 h 2215336"/>
              <a:gd name="connsiteX27" fmla="*/ 15207916 w 16747958"/>
              <a:gd name="connsiteY27" fmla="*/ 2046894 h 2215336"/>
              <a:gd name="connsiteX28" fmla="*/ 15400421 w 16747958"/>
              <a:gd name="connsiteY28" fmla="*/ 1926578 h 2215336"/>
              <a:gd name="connsiteX29" fmla="*/ 15641053 w 16747958"/>
              <a:gd name="connsiteY29" fmla="*/ 1782199 h 2215336"/>
              <a:gd name="connsiteX30" fmla="*/ 15761369 w 16747958"/>
              <a:gd name="connsiteY30" fmla="*/ 1734073 h 2215336"/>
              <a:gd name="connsiteX31" fmla="*/ 15881684 w 16747958"/>
              <a:gd name="connsiteY31" fmla="*/ 1613757 h 2215336"/>
              <a:gd name="connsiteX32" fmla="*/ 16170442 w 16747958"/>
              <a:gd name="connsiteY32" fmla="*/ 1349062 h 2215336"/>
              <a:gd name="connsiteX33" fmla="*/ 16290758 w 16747958"/>
              <a:gd name="connsiteY33" fmla="*/ 1180620 h 2215336"/>
              <a:gd name="connsiteX34" fmla="*/ 16483263 w 16747958"/>
              <a:gd name="connsiteY34" fmla="*/ 964052 h 2215336"/>
              <a:gd name="connsiteX35" fmla="*/ 16579516 w 16747958"/>
              <a:gd name="connsiteY35" fmla="*/ 819673 h 2215336"/>
              <a:gd name="connsiteX36" fmla="*/ 16627642 w 16747958"/>
              <a:gd name="connsiteY36" fmla="*/ 747484 h 2215336"/>
              <a:gd name="connsiteX37" fmla="*/ 16675769 w 16747958"/>
              <a:gd name="connsiteY37" fmla="*/ 651231 h 2215336"/>
              <a:gd name="connsiteX38" fmla="*/ 16723895 w 16747958"/>
              <a:gd name="connsiteY38" fmla="*/ 579041 h 2215336"/>
              <a:gd name="connsiteX39" fmla="*/ 16747958 w 16747958"/>
              <a:gd name="connsiteY3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831179 w 16747958"/>
              <a:gd name="connsiteY10" fmla="*/ 699357 h 2215336"/>
              <a:gd name="connsiteX11" fmla="*/ 8999621 w 16747958"/>
              <a:gd name="connsiteY11" fmla="*/ 771547 h 2215336"/>
              <a:gd name="connsiteX12" fmla="*/ 9288379 w 16747958"/>
              <a:gd name="connsiteY12" fmla="*/ 867799 h 2215336"/>
              <a:gd name="connsiteX13" fmla="*/ 9480884 w 16747958"/>
              <a:gd name="connsiteY13" fmla="*/ 964052 h 2215336"/>
              <a:gd name="connsiteX14" fmla="*/ 9769642 w 16747958"/>
              <a:gd name="connsiteY14" fmla="*/ 1108431 h 2215336"/>
              <a:gd name="connsiteX15" fmla="*/ 9938084 w 16747958"/>
              <a:gd name="connsiteY15" fmla="*/ 1156557 h 2215336"/>
              <a:gd name="connsiteX16" fmla="*/ 10539663 w 16747958"/>
              <a:gd name="connsiteY16" fmla="*/ 1397189 h 2215336"/>
              <a:gd name="connsiteX17" fmla="*/ 10852484 w 16747958"/>
              <a:gd name="connsiteY17" fmla="*/ 1493441 h 2215336"/>
              <a:gd name="connsiteX18" fmla="*/ 11165305 w 16747958"/>
              <a:gd name="connsiteY18" fmla="*/ 1613757 h 2215336"/>
              <a:gd name="connsiteX19" fmla="*/ 12729411 w 16747958"/>
              <a:gd name="connsiteY19" fmla="*/ 1998768 h 2215336"/>
              <a:gd name="connsiteX20" fmla="*/ 13090358 w 16747958"/>
              <a:gd name="connsiteY20" fmla="*/ 2070957 h 2215336"/>
              <a:gd name="connsiteX21" fmla="*/ 13306926 w 16747958"/>
              <a:gd name="connsiteY21" fmla="*/ 2095020 h 2215336"/>
              <a:gd name="connsiteX22" fmla="*/ 13980695 w 16747958"/>
              <a:gd name="connsiteY22" fmla="*/ 2191273 h 2215336"/>
              <a:gd name="connsiteX23" fmla="*/ 14461958 w 16747958"/>
              <a:gd name="connsiteY23" fmla="*/ 2215336 h 2215336"/>
              <a:gd name="connsiteX24" fmla="*/ 14702590 w 16747958"/>
              <a:gd name="connsiteY24" fmla="*/ 2191273 h 2215336"/>
              <a:gd name="connsiteX25" fmla="*/ 14991347 w 16747958"/>
              <a:gd name="connsiteY25" fmla="*/ 2143147 h 2215336"/>
              <a:gd name="connsiteX26" fmla="*/ 15207916 w 16747958"/>
              <a:gd name="connsiteY26" fmla="*/ 2046894 h 2215336"/>
              <a:gd name="connsiteX27" fmla="*/ 15400421 w 16747958"/>
              <a:gd name="connsiteY27" fmla="*/ 1926578 h 2215336"/>
              <a:gd name="connsiteX28" fmla="*/ 15641053 w 16747958"/>
              <a:gd name="connsiteY28" fmla="*/ 1782199 h 2215336"/>
              <a:gd name="connsiteX29" fmla="*/ 15761369 w 16747958"/>
              <a:gd name="connsiteY29" fmla="*/ 1734073 h 2215336"/>
              <a:gd name="connsiteX30" fmla="*/ 15881684 w 16747958"/>
              <a:gd name="connsiteY30" fmla="*/ 1613757 h 2215336"/>
              <a:gd name="connsiteX31" fmla="*/ 16170442 w 16747958"/>
              <a:gd name="connsiteY31" fmla="*/ 1349062 h 2215336"/>
              <a:gd name="connsiteX32" fmla="*/ 16290758 w 16747958"/>
              <a:gd name="connsiteY32" fmla="*/ 1180620 h 2215336"/>
              <a:gd name="connsiteX33" fmla="*/ 16483263 w 16747958"/>
              <a:gd name="connsiteY33" fmla="*/ 964052 h 2215336"/>
              <a:gd name="connsiteX34" fmla="*/ 16579516 w 16747958"/>
              <a:gd name="connsiteY34" fmla="*/ 819673 h 2215336"/>
              <a:gd name="connsiteX35" fmla="*/ 16627642 w 16747958"/>
              <a:gd name="connsiteY35" fmla="*/ 747484 h 2215336"/>
              <a:gd name="connsiteX36" fmla="*/ 16675769 w 16747958"/>
              <a:gd name="connsiteY36" fmla="*/ 651231 h 2215336"/>
              <a:gd name="connsiteX37" fmla="*/ 16723895 w 16747958"/>
              <a:gd name="connsiteY37" fmla="*/ 579041 h 2215336"/>
              <a:gd name="connsiteX38" fmla="*/ 16747958 w 16747958"/>
              <a:gd name="connsiteY3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999621 w 16747958"/>
              <a:gd name="connsiteY10" fmla="*/ 771547 h 2215336"/>
              <a:gd name="connsiteX11" fmla="*/ 9288379 w 16747958"/>
              <a:gd name="connsiteY11" fmla="*/ 867799 h 2215336"/>
              <a:gd name="connsiteX12" fmla="*/ 9480884 w 16747958"/>
              <a:gd name="connsiteY12" fmla="*/ 964052 h 2215336"/>
              <a:gd name="connsiteX13" fmla="*/ 9769642 w 16747958"/>
              <a:gd name="connsiteY13" fmla="*/ 1108431 h 2215336"/>
              <a:gd name="connsiteX14" fmla="*/ 9938084 w 16747958"/>
              <a:gd name="connsiteY14" fmla="*/ 1156557 h 2215336"/>
              <a:gd name="connsiteX15" fmla="*/ 10539663 w 16747958"/>
              <a:gd name="connsiteY15" fmla="*/ 1397189 h 2215336"/>
              <a:gd name="connsiteX16" fmla="*/ 10852484 w 16747958"/>
              <a:gd name="connsiteY16" fmla="*/ 1493441 h 2215336"/>
              <a:gd name="connsiteX17" fmla="*/ 11165305 w 16747958"/>
              <a:gd name="connsiteY17" fmla="*/ 1613757 h 2215336"/>
              <a:gd name="connsiteX18" fmla="*/ 12729411 w 16747958"/>
              <a:gd name="connsiteY18" fmla="*/ 1998768 h 2215336"/>
              <a:gd name="connsiteX19" fmla="*/ 13090358 w 16747958"/>
              <a:gd name="connsiteY19" fmla="*/ 2070957 h 2215336"/>
              <a:gd name="connsiteX20" fmla="*/ 13306926 w 16747958"/>
              <a:gd name="connsiteY20" fmla="*/ 2095020 h 2215336"/>
              <a:gd name="connsiteX21" fmla="*/ 13980695 w 16747958"/>
              <a:gd name="connsiteY21" fmla="*/ 2191273 h 2215336"/>
              <a:gd name="connsiteX22" fmla="*/ 14461958 w 16747958"/>
              <a:gd name="connsiteY22" fmla="*/ 2215336 h 2215336"/>
              <a:gd name="connsiteX23" fmla="*/ 14702590 w 16747958"/>
              <a:gd name="connsiteY23" fmla="*/ 2191273 h 2215336"/>
              <a:gd name="connsiteX24" fmla="*/ 14991347 w 16747958"/>
              <a:gd name="connsiteY24" fmla="*/ 2143147 h 2215336"/>
              <a:gd name="connsiteX25" fmla="*/ 15207916 w 16747958"/>
              <a:gd name="connsiteY25" fmla="*/ 2046894 h 2215336"/>
              <a:gd name="connsiteX26" fmla="*/ 15400421 w 16747958"/>
              <a:gd name="connsiteY26" fmla="*/ 1926578 h 2215336"/>
              <a:gd name="connsiteX27" fmla="*/ 15641053 w 16747958"/>
              <a:gd name="connsiteY27" fmla="*/ 1782199 h 2215336"/>
              <a:gd name="connsiteX28" fmla="*/ 15761369 w 16747958"/>
              <a:gd name="connsiteY28" fmla="*/ 1734073 h 2215336"/>
              <a:gd name="connsiteX29" fmla="*/ 15881684 w 16747958"/>
              <a:gd name="connsiteY29" fmla="*/ 1613757 h 2215336"/>
              <a:gd name="connsiteX30" fmla="*/ 16170442 w 16747958"/>
              <a:gd name="connsiteY30" fmla="*/ 1349062 h 2215336"/>
              <a:gd name="connsiteX31" fmla="*/ 16290758 w 16747958"/>
              <a:gd name="connsiteY31" fmla="*/ 1180620 h 2215336"/>
              <a:gd name="connsiteX32" fmla="*/ 16483263 w 16747958"/>
              <a:gd name="connsiteY32" fmla="*/ 964052 h 2215336"/>
              <a:gd name="connsiteX33" fmla="*/ 16579516 w 16747958"/>
              <a:gd name="connsiteY33" fmla="*/ 819673 h 2215336"/>
              <a:gd name="connsiteX34" fmla="*/ 16627642 w 16747958"/>
              <a:gd name="connsiteY34" fmla="*/ 747484 h 2215336"/>
              <a:gd name="connsiteX35" fmla="*/ 16675769 w 16747958"/>
              <a:gd name="connsiteY35" fmla="*/ 651231 h 2215336"/>
              <a:gd name="connsiteX36" fmla="*/ 16723895 w 16747958"/>
              <a:gd name="connsiteY36" fmla="*/ 579041 h 2215336"/>
              <a:gd name="connsiteX37" fmla="*/ 16747958 w 16747958"/>
              <a:gd name="connsiteY3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480884 w 16747958"/>
              <a:gd name="connsiteY11" fmla="*/ 964052 h 2215336"/>
              <a:gd name="connsiteX12" fmla="*/ 9769642 w 16747958"/>
              <a:gd name="connsiteY12" fmla="*/ 1108431 h 2215336"/>
              <a:gd name="connsiteX13" fmla="*/ 9938084 w 16747958"/>
              <a:gd name="connsiteY13" fmla="*/ 1156557 h 2215336"/>
              <a:gd name="connsiteX14" fmla="*/ 10539663 w 16747958"/>
              <a:gd name="connsiteY14" fmla="*/ 1397189 h 2215336"/>
              <a:gd name="connsiteX15" fmla="*/ 10852484 w 16747958"/>
              <a:gd name="connsiteY15" fmla="*/ 1493441 h 2215336"/>
              <a:gd name="connsiteX16" fmla="*/ 11165305 w 16747958"/>
              <a:gd name="connsiteY16" fmla="*/ 1613757 h 2215336"/>
              <a:gd name="connsiteX17" fmla="*/ 12729411 w 16747958"/>
              <a:gd name="connsiteY17" fmla="*/ 1998768 h 2215336"/>
              <a:gd name="connsiteX18" fmla="*/ 13090358 w 16747958"/>
              <a:gd name="connsiteY18" fmla="*/ 2070957 h 2215336"/>
              <a:gd name="connsiteX19" fmla="*/ 13306926 w 16747958"/>
              <a:gd name="connsiteY19" fmla="*/ 2095020 h 2215336"/>
              <a:gd name="connsiteX20" fmla="*/ 13980695 w 16747958"/>
              <a:gd name="connsiteY20" fmla="*/ 2191273 h 2215336"/>
              <a:gd name="connsiteX21" fmla="*/ 14461958 w 16747958"/>
              <a:gd name="connsiteY21" fmla="*/ 2215336 h 2215336"/>
              <a:gd name="connsiteX22" fmla="*/ 14702590 w 16747958"/>
              <a:gd name="connsiteY22" fmla="*/ 2191273 h 2215336"/>
              <a:gd name="connsiteX23" fmla="*/ 14991347 w 16747958"/>
              <a:gd name="connsiteY23" fmla="*/ 2143147 h 2215336"/>
              <a:gd name="connsiteX24" fmla="*/ 15207916 w 16747958"/>
              <a:gd name="connsiteY24" fmla="*/ 2046894 h 2215336"/>
              <a:gd name="connsiteX25" fmla="*/ 15400421 w 16747958"/>
              <a:gd name="connsiteY25" fmla="*/ 1926578 h 2215336"/>
              <a:gd name="connsiteX26" fmla="*/ 15641053 w 16747958"/>
              <a:gd name="connsiteY26" fmla="*/ 1782199 h 2215336"/>
              <a:gd name="connsiteX27" fmla="*/ 15761369 w 16747958"/>
              <a:gd name="connsiteY27" fmla="*/ 1734073 h 2215336"/>
              <a:gd name="connsiteX28" fmla="*/ 15881684 w 16747958"/>
              <a:gd name="connsiteY28" fmla="*/ 1613757 h 2215336"/>
              <a:gd name="connsiteX29" fmla="*/ 16170442 w 16747958"/>
              <a:gd name="connsiteY29" fmla="*/ 1349062 h 2215336"/>
              <a:gd name="connsiteX30" fmla="*/ 16290758 w 16747958"/>
              <a:gd name="connsiteY30" fmla="*/ 1180620 h 2215336"/>
              <a:gd name="connsiteX31" fmla="*/ 16483263 w 16747958"/>
              <a:gd name="connsiteY31" fmla="*/ 964052 h 2215336"/>
              <a:gd name="connsiteX32" fmla="*/ 16579516 w 16747958"/>
              <a:gd name="connsiteY32" fmla="*/ 819673 h 2215336"/>
              <a:gd name="connsiteX33" fmla="*/ 16627642 w 16747958"/>
              <a:gd name="connsiteY33" fmla="*/ 747484 h 2215336"/>
              <a:gd name="connsiteX34" fmla="*/ 16675769 w 16747958"/>
              <a:gd name="connsiteY34" fmla="*/ 651231 h 2215336"/>
              <a:gd name="connsiteX35" fmla="*/ 16723895 w 16747958"/>
              <a:gd name="connsiteY35" fmla="*/ 579041 h 2215336"/>
              <a:gd name="connsiteX36" fmla="*/ 16747958 w 16747958"/>
              <a:gd name="connsiteY3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769642 w 16747958"/>
              <a:gd name="connsiteY11" fmla="*/ 1108431 h 2215336"/>
              <a:gd name="connsiteX12" fmla="*/ 9938084 w 16747958"/>
              <a:gd name="connsiteY12" fmla="*/ 1156557 h 2215336"/>
              <a:gd name="connsiteX13" fmla="*/ 10539663 w 16747958"/>
              <a:gd name="connsiteY13" fmla="*/ 1397189 h 2215336"/>
              <a:gd name="connsiteX14" fmla="*/ 10852484 w 16747958"/>
              <a:gd name="connsiteY14" fmla="*/ 1493441 h 2215336"/>
              <a:gd name="connsiteX15" fmla="*/ 11165305 w 16747958"/>
              <a:gd name="connsiteY15" fmla="*/ 1613757 h 2215336"/>
              <a:gd name="connsiteX16" fmla="*/ 12729411 w 16747958"/>
              <a:gd name="connsiteY16" fmla="*/ 1998768 h 2215336"/>
              <a:gd name="connsiteX17" fmla="*/ 13090358 w 16747958"/>
              <a:gd name="connsiteY17" fmla="*/ 2070957 h 2215336"/>
              <a:gd name="connsiteX18" fmla="*/ 13306926 w 16747958"/>
              <a:gd name="connsiteY18" fmla="*/ 2095020 h 2215336"/>
              <a:gd name="connsiteX19" fmla="*/ 13980695 w 16747958"/>
              <a:gd name="connsiteY19" fmla="*/ 2191273 h 2215336"/>
              <a:gd name="connsiteX20" fmla="*/ 14461958 w 16747958"/>
              <a:gd name="connsiteY20" fmla="*/ 2215336 h 2215336"/>
              <a:gd name="connsiteX21" fmla="*/ 14702590 w 16747958"/>
              <a:gd name="connsiteY21" fmla="*/ 2191273 h 2215336"/>
              <a:gd name="connsiteX22" fmla="*/ 14991347 w 16747958"/>
              <a:gd name="connsiteY22" fmla="*/ 2143147 h 2215336"/>
              <a:gd name="connsiteX23" fmla="*/ 15207916 w 16747958"/>
              <a:gd name="connsiteY23" fmla="*/ 2046894 h 2215336"/>
              <a:gd name="connsiteX24" fmla="*/ 15400421 w 16747958"/>
              <a:gd name="connsiteY24" fmla="*/ 1926578 h 2215336"/>
              <a:gd name="connsiteX25" fmla="*/ 15641053 w 16747958"/>
              <a:gd name="connsiteY25" fmla="*/ 1782199 h 2215336"/>
              <a:gd name="connsiteX26" fmla="*/ 15761369 w 16747958"/>
              <a:gd name="connsiteY26" fmla="*/ 1734073 h 2215336"/>
              <a:gd name="connsiteX27" fmla="*/ 15881684 w 16747958"/>
              <a:gd name="connsiteY27" fmla="*/ 1613757 h 2215336"/>
              <a:gd name="connsiteX28" fmla="*/ 16170442 w 16747958"/>
              <a:gd name="connsiteY28" fmla="*/ 1349062 h 2215336"/>
              <a:gd name="connsiteX29" fmla="*/ 16290758 w 16747958"/>
              <a:gd name="connsiteY29" fmla="*/ 1180620 h 2215336"/>
              <a:gd name="connsiteX30" fmla="*/ 16483263 w 16747958"/>
              <a:gd name="connsiteY30" fmla="*/ 964052 h 2215336"/>
              <a:gd name="connsiteX31" fmla="*/ 16579516 w 16747958"/>
              <a:gd name="connsiteY31" fmla="*/ 819673 h 2215336"/>
              <a:gd name="connsiteX32" fmla="*/ 16627642 w 16747958"/>
              <a:gd name="connsiteY32" fmla="*/ 747484 h 2215336"/>
              <a:gd name="connsiteX33" fmla="*/ 16675769 w 16747958"/>
              <a:gd name="connsiteY33" fmla="*/ 651231 h 2215336"/>
              <a:gd name="connsiteX34" fmla="*/ 16723895 w 16747958"/>
              <a:gd name="connsiteY34" fmla="*/ 579041 h 2215336"/>
              <a:gd name="connsiteX35" fmla="*/ 16747958 w 16747958"/>
              <a:gd name="connsiteY3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0852484 w 16747958"/>
              <a:gd name="connsiteY13" fmla="*/ 1493441 h 2215336"/>
              <a:gd name="connsiteX14" fmla="*/ 11165305 w 16747958"/>
              <a:gd name="connsiteY14" fmla="*/ 1613757 h 2215336"/>
              <a:gd name="connsiteX15" fmla="*/ 12729411 w 16747958"/>
              <a:gd name="connsiteY15" fmla="*/ 1998768 h 2215336"/>
              <a:gd name="connsiteX16" fmla="*/ 13090358 w 16747958"/>
              <a:gd name="connsiteY16" fmla="*/ 2070957 h 2215336"/>
              <a:gd name="connsiteX17" fmla="*/ 13306926 w 16747958"/>
              <a:gd name="connsiteY17" fmla="*/ 2095020 h 2215336"/>
              <a:gd name="connsiteX18" fmla="*/ 13980695 w 16747958"/>
              <a:gd name="connsiteY18" fmla="*/ 2191273 h 2215336"/>
              <a:gd name="connsiteX19" fmla="*/ 14461958 w 16747958"/>
              <a:gd name="connsiteY19" fmla="*/ 2215336 h 2215336"/>
              <a:gd name="connsiteX20" fmla="*/ 14702590 w 16747958"/>
              <a:gd name="connsiteY20" fmla="*/ 2191273 h 2215336"/>
              <a:gd name="connsiteX21" fmla="*/ 14991347 w 16747958"/>
              <a:gd name="connsiteY21" fmla="*/ 2143147 h 2215336"/>
              <a:gd name="connsiteX22" fmla="*/ 15207916 w 16747958"/>
              <a:gd name="connsiteY22" fmla="*/ 2046894 h 2215336"/>
              <a:gd name="connsiteX23" fmla="*/ 15400421 w 16747958"/>
              <a:gd name="connsiteY23" fmla="*/ 1926578 h 2215336"/>
              <a:gd name="connsiteX24" fmla="*/ 15641053 w 16747958"/>
              <a:gd name="connsiteY24" fmla="*/ 1782199 h 2215336"/>
              <a:gd name="connsiteX25" fmla="*/ 15761369 w 16747958"/>
              <a:gd name="connsiteY25" fmla="*/ 1734073 h 2215336"/>
              <a:gd name="connsiteX26" fmla="*/ 15881684 w 16747958"/>
              <a:gd name="connsiteY26" fmla="*/ 1613757 h 2215336"/>
              <a:gd name="connsiteX27" fmla="*/ 16170442 w 16747958"/>
              <a:gd name="connsiteY27" fmla="*/ 1349062 h 2215336"/>
              <a:gd name="connsiteX28" fmla="*/ 16290758 w 16747958"/>
              <a:gd name="connsiteY28" fmla="*/ 1180620 h 2215336"/>
              <a:gd name="connsiteX29" fmla="*/ 16483263 w 16747958"/>
              <a:gd name="connsiteY29" fmla="*/ 964052 h 2215336"/>
              <a:gd name="connsiteX30" fmla="*/ 16579516 w 16747958"/>
              <a:gd name="connsiteY30" fmla="*/ 819673 h 2215336"/>
              <a:gd name="connsiteX31" fmla="*/ 16627642 w 16747958"/>
              <a:gd name="connsiteY31" fmla="*/ 747484 h 2215336"/>
              <a:gd name="connsiteX32" fmla="*/ 16675769 w 16747958"/>
              <a:gd name="connsiteY32" fmla="*/ 651231 h 2215336"/>
              <a:gd name="connsiteX33" fmla="*/ 16723895 w 16747958"/>
              <a:gd name="connsiteY33" fmla="*/ 579041 h 2215336"/>
              <a:gd name="connsiteX34" fmla="*/ 16747958 w 16747958"/>
              <a:gd name="connsiteY3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090358 w 16747958"/>
              <a:gd name="connsiteY15" fmla="*/ 2070957 h 2215336"/>
              <a:gd name="connsiteX16" fmla="*/ 13306926 w 16747958"/>
              <a:gd name="connsiteY16" fmla="*/ 2095020 h 2215336"/>
              <a:gd name="connsiteX17" fmla="*/ 13980695 w 16747958"/>
              <a:gd name="connsiteY17" fmla="*/ 2191273 h 2215336"/>
              <a:gd name="connsiteX18" fmla="*/ 14461958 w 16747958"/>
              <a:gd name="connsiteY18" fmla="*/ 2215336 h 2215336"/>
              <a:gd name="connsiteX19" fmla="*/ 14702590 w 16747958"/>
              <a:gd name="connsiteY19" fmla="*/ 2191273 h 2215336"/>
              <a:gd name="connsiteX20" fmla="*/ 14991347 w 16747958"/>
              <a:gd name="connsiteY20" fmla="*/ 2143147 h 2215336"/>
              <a:gd name="connsiteX21" fmla="*/ 15207916 w 16747958"/>
              <a:gd name="connsiteY21" fmla="*/ 2046894 h 2215336"/>
              <a:gd name="connsiteX22" fmla="*/ 15400421 w 16747958"/>
              <a:gd name="connsiteY22" fmla="*/ 1926578 h 2215336"/>
              <a:gd name="connsiteX23" fmla="*/ 15641053 w 16747958"/>
              <a:gd name="connsiteY23" fmla="*/ 1782199 h 2215336"/>
              <a:gd name="connsiteX24" fmla="*/ 15761369 w 16747958"/>
              <a:gd name="connsiteY24" fmla="*/ 1734073 h 2215336"/>
              <a:gd name="connsiteX25" fmla="*/ 15881684 w 16747958"/>
              <a:gd name="connsiteY25" fmla="*/ 1613757 h 2215336"/>
              <a:gd name="connsiteX26" fmla="*/ 16170442 w 16747958"/>
              <a:gd name="connsiteY26" fmla="*/ 1349062 h 2215336"/>
              <a:gd name="connsiteX27" fmla="*/ 16290758 w 16747958"/>
              <a:gd name="connsiteY27" fmla="*/ 1180620 h 2215336"/>
              <a:gd name="connsiteX28" fmla="*/ 16483263 w 16747958"/>
              <a:gd name="connsiteY28" fmla="*/ 964052 h 2215336"/>
              <a:gd name="connsiteX29" fmla="*/ 16579516 w 16747958"/>
              <a:gd name="connsiteY29" fmla="*/ 819673 h 2215336"/>
              <a:gd name="connsiteX30" fmla="*/ 16627642 w 16747958"/>
              <a:gd name="connsiteY30" fmla="*/ 747484 h 2215336"/>
              <a:gd name="connsiteX31" fmla="*/ 16675769 w 16747958"/>
              <a:gd name="connsiteY31" fmla="*/ 651231 h 2215336"/>
              <a:gd name="connsiteX32" fmla="*/ 16723895 w 16747958"/>
              <a:gd name="connsiteY32" fmla="*/ 579041 h 2215336"/>
              <a:gd name="connsiteX33" fmla="*/ 16747958 w 16747958"/>
              <a:gd name="connsiteY3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675769 w 16747958"/>
              <a:gd name="connsiteY30" fmla="*/ 651231 h 2215336"/>
              <a:gd name="connsiteX31" fmla="*/ 16723895 w 16747958"/>
              <a:gd name="connsiteY31" fmla="*/ 579041 h 2215336"/>
              <a:gd name="connsiteX32" fmla="*/ 16747958 w 16747958"/>
              <a:gd name="connsiteY3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23895 w 16747958"/>
              <a:gd name="connsiteY30" fmla="*/ 579041 h 2215336"/>
              <a:gd name="connsiteX31" fmla="*/ 16747958 w 16747958"/>
              <a:gd name="connsiteY3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47958 w 16747958"/>
              <a:gd name="connsiteY3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627642 w 16747958"/>
              <a:gd name="connsiteY28" fmla="*/ 747484 h 2215336"/>
              <a:gd name="connsiteX29" fmla="*/ 16747958 w 16747958"/>
              <a:gd name="connsiteY2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483263 w 16747958"/>
              <a:gd name="connsiteY26" fmla="*/ 964052 h 2215336"/>
              <a:gd name="connsiteX27" fmla="*/ 16627642 w 16747958"/>
              <a:gd name="connsiteY27" fmla="*/ 747484 h 2215336"/>
              <a:gd name="connsiteX28" fmla="*/ 16747958 w 16747958"/>
              <a:gd name="connsiteY2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881684 w 16747958"/>
              <a:gd name="connsiteY23" fmla="*/ 1613757 h 2215336"/>
              <a:gd name="connsiteX24" fmla="*/ 16170442 w 16747958"/>
              <a:gd name="connsiteY24" fmla="*/ 1349062 h 2215336"/>
              <a:gd name="connsiteX25" fmla="*/ 16483263 w 16747958"/>
              <a:gd name="connsiteY25" fmla="*/ 964052 h 2215336"/>
              <a:gd name="connsiteX26" fmla="*/ 16627642 w 16747958"/>
              <a:gd name="connsiteY26" fmla="*/ 747484 h 2215336"/>
              <a:gd name="connsiteX27" fmla="*/ 16747958 w 16747958"/>
              <a:gd name="connsiteY2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5881684 w 16747958"/>
              <a:gd name="connsiteY22" fmla="*/ 1613757 h 2215336"/>
              <a:gd name="connsiteX23" fmla="*/ 16170442 w 16747958"/>
              <a:gd name="connsiteY23" fmla="*/ 1349062 h 2215336"/>
              <a:gd name="connsiteX24" fmla="*/ 16483263 w 16747958"/>
              <a:gd name="connsiteY24" fmla="*/ 964052 h 2215336"/>
              <a:gd name="connsiteX25" fmla="*/ 16627642 w 16747958"/>
              <a:gd name="connsiteY25" fmla="*/ 747484 h 2215336"/>
              <a:gd name="connsiteX26" fmla="*/ 16747958 w 16747958"/>
              <a:gd name="connsiteY2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6170442 w 16747958"/>
              <a:gd name="connsiteY22" fmla="*/ 1349062 h 2215336"/>
              <a:gd name="connsiteX23" fmla="*/ 16483263 w 16747958"/>
              <a:gd name="connsiteY23" fmla="*/ 964052 h 2215336"/>
              <a:gd name="connsiteX24" fmla="*/ 16627642 w 16747958"/>
              <a:gd name="connsiteY24" fmla="*/ 747484 h 2215336"/>
              <a:gd name="connsiteX25" fmla="*/ 16747958 w 16747958"/>
              <a:gd name="connsiteY2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207916 w 16747958"/>
              <a:gd name="connsiteY19" fmla="*/ 2046894 h 2215336"/>
              <a:gd name="connsiteX20" fmla="*/ 15641053 w 16747958"/>
              <a:gd name="connsiteY20" fmla="*/ 1782199 h 2215336"/>
              <a:gd name="connsiteX21" fmla="*/ 16170442 w 16747958"/>
              <a:gd name="connsiteY21" fmla="*/ 1349062 h 2215336"/>
              <a:gd name="connsiteX22" fmla="*/ 16483263 w 16747958"/>
              <a:gd name="connsiteY22" fmla="*/ 964052 h 2215336"/>
              <a:gd name="connsiteX23" fmla="*/ 16627642 w 16747958"/>
              <a:gd name="connsiteY23" fmla="*/ 747484 h 2215336"/>
              <a:gd name="connsiteX24" fmla="*/ 16747958 w 16747958"/>
              <a:gd name="connsiteY2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641053 w 16747958"/>
              <a:gd name="connsiteY19" fmla="*/ 1782199 h 2215336"/>
              <a:gd name="connsiteX20" fmla="*/ 16170442 w 16747958"/>
              <a:gd name="connsiteY20" fmla="*/ 1349062 h 2215336"/>
              <a:gd name="connsiteX21" fmla="*/ 16483263 w 16747958"/>
              <a:gd name="connsiteY21" fmla="*/ 964052 h 2215336"/>
              <a:gd name="connsiteX22" fmla="*/ 16627642 w 16747958"/>
              <a:gd name="connsiteY22" fmla="*/ 747484 h 2215336"/>
              <a:gd name="connsiteX23" fmla="*/ 16747958 w 16747958"/>
              <a:gd name="connsiteY2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4461958 w 16747958"/>
              <a:gd name="connsiteY16" fmla="*/ 2215336 h 2215336"/>
              <a:gd name="connsiteX17" fmla="*/ 14991347 w 16747958"/>
              <a:gd name="connsiteY17" fmla="*/ 2143147 h 2215336"/>
              <a:gd name="connsiteX18" fmla="*/ 15641053 w 16747958"/>
              <a:gd name="connsiteY18" fmla="*/ 1782199 h 2215336"/>
              <a:gd name="connsiteX19" fmla="*/ 16170442 w 16747958"/>
              <a:gd name="connsiteY19" fmla="*/ 1349062 h 2215336"/>
              <a:gd name="connsiteX20" fmla="*/ 16483263 w 16747958"/>
              <a:gd name="connsiteY20" fmla="*/ 964052 h 2215336"/>
              <a:gd name="connsiteX21" fmla="*/ 16627642 w 16747958"/>
              <a:gd name="connsiteY21" fmla="*/ 747484 h 2215336"/>
              <a:gd name="connsiteX22" fmla="*/ 16747958 w 16747958"/>
              <a:gd name="connsiteY2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627642 w 16747958"/>
              <a:gd name="connsiteY20" fmla="*/ 747484 h 2215336"/>
              <a:gd name="connsiteX21" fmla="*/ 16747958 w 16747958"/>
              <a:gd name="connsiteY2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747958 w 16747958"/>
              <a:gd name="connsiteY2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288379 w 16747958"/>
              <a:gd name="connsiteY9" fmla="*/ 867799 h 2215336"/>
              <a:gd name="connsiteX10" fmla="*/ 9938084 w 16747958"/>
              <a:gd name="connsiteY10" fmla="*/ 1156557 h 2215336"/>
              <a:gd name="connsiteX11" fmla="*/ 10539663 w 16747958"/>
              <a:gd name="connsiteY11" fmla="*/ 1397189 h 2215336"/>
              <a:gd name="connsiteX12" fmla="*/ 11165305 w 16747958"/>
              <a:gd name="connsiteY12" fmla="*/ 1613757 h 2215336"/>
              <a:gd name="connsiteX13" fmla="*/ 12729411 w 16747958"/>
              <a:gd name="connsiteY13" fmla="*/ 1998768 h 2215336"/>
              <a:gd name="connsiteX14" fmla="*/ 14461958 w 16747958"/>
              <a:gd name="connsiteY14" fmla="*/ 2215336 h 2215336"/>
              <a:gd name="connsiteX15" fmla="*/ 14991347 w 16747958"/>
              <a:gd name="connsiteY15" fmla="*/ 2143147 h 2215336"/>
              <a:gd name="connsiteX16" fmla="*/ 15641053 w 16747958"/>
              <a:gd name="connsiteY16" fmla="*/ 1782199 h 2215336"/>
              <a:gd name="connsiteX17" fmla="*/ 16170442 w 16747958"/>
              <a:gd name="connsiteY17" fmla="*/ 1349062 h 2215336"/>
              <a:gd name="connsiteX18" fmla="*/ 16483263 w 16747958"/>
              <a:gd name="connsiteY18" fmla="*/ 964052 h 2215336"/>
              <a:gd name="connsiteX19" fmla="*/ 16747958 w 16747958"/>
              <a:gd name="connsiteY1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938084 w 16747958"/>
              <a:gd name="connsiteY9" fmla="*/ 1156557 h 2215336"/>
              <a:gd name="connsiteX10" fmla="*/ 10539663 w 16747958"/>
              <a:gd name="connsiteY10" fmla="*/ 1397189 h 2215336"/>
              <a:gd name="connsiteX11" fmla="*/ 11165305 w 16747958"/>
              <a:gd name="connsiteY11" fmla="*/ 1613757 h 2215336"/>
              <a:gd name="connsiteX12" fmla="*/ 12729411 w 16747958"/>
              <a:gd name="connsiteY12" fmla="*/ 1998768 h 2215336"/>
              <a:gd name="connsiteX13" fmla="*/ 14461958 w 16747958"/>
              <a:gd name="connsiteY13" fmla="*/ 2215336 h 2215336"/>
              <a:gd name="connsiteX14" fmla="*/ 14991347 w 16747958"/>
              <a:gd name="connsiteY14" fmla="*/ 2143147 h 2215336"/>
              <a:gd name="connsiteX15" fmla="*/ 15641053 w 16747958"/>
              <a:gd name="connsiteY15" fmla="*/ 1782199 h 2215336"/>
              <a:gd name="connsiteX16" fmla="*/ 16170442 w 16747958"/>
              <a:gd name="connsiteY16" fmla="*/ 1349062 h 2215336"/>
              <a:gd name="connsiteX17" fmla="*/ 16483263 w 16747958"/>
              <a:gd name="connsiteY17" fmla="*/ 964052 h 2215336"/>
              <a:gd name="connsiteX18" fmla="*/ 16747958 w 16747958"/>
              <a:gd name="connsiteY1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614611 w 16747958"/>
              <a:gd name="connsiteY7" fmla="*/ 627168 h 2215336"/>
              <a:gd name="connsiteX8" fmla="*/ 9938084 w 16747958"/>
              <a:gd name="connsiteY8" fmla="*/ 1156557 h 2215336"/>
              <a:gd name="connsiteX9" fmla="*/ 10539663 w 16747958"/>
              <a:gd name="connsiteY9" fmla="*/ 1397189 h 2215336"/>
              <a:gd name="connsiteX10" fmla="*/ 11165305 w 16747958"/>
              <a:gd name="connsiteY10" fmla="*/ 1613757 h 2215336"/>
              <a:gd name="connsiteX11" fmla="*/ 12729411 w 16747958"/>
              <a:gd name="connsiteY11" fmla="*/ 1998768 h 2215336"/>
              <a:gd name="connsiteX12" fmla="*/ 14461958 w 16747958"/>
              <a:gd name="connsiteY12" fmla="*/ 2215336 h 2215336"/>
              <a:gd name="connsiteX13" fmla="*/ 14991347 w 16747958"/>
              <a:gd name="connsiteY13" fmla="*/ 2143147 h 2215336"/>
              <a:gd name="connsiteX14" fmla="*/ 15641053 w 16747958"/>
              <a:gd name="connsiteY14" fmla="*/ 1782199 h 2215336"/>
              <a:gd name="connsiteX15" fmla="*/ 16170442 w 16747958"/>
              <a:gd name="connsiteY15" fmla="*/ 1349062 h 2215336"/>
              <a:gd name="connsiteX16" fmla="*/ 16483263 w 16747958"/>
              <a:gd name="connsiteY16" fmla="*/ 964052 h 2215336"/>
              <a:gd name="connsiteX17" fmla="*/ 16747958 w 16747958"/>
              <a:gd name="connsiteY17" fmla="*/ 506852 h 2215336"/>
              <a:gd name="connsiteX0" fmla="*/ 0 w 16747958"/>
              <a:gd name="connsiteY0" fmla="*/ 1517505 h 2215336"/>
              <a:gd name="connsiteX1" fmla="*/ 1179095 w 16747958"/>
              <a:gd name="connsiteY1" fmla="*/ 506852 h 2215336"/>
              <a:gd name="connsiteX2" fmla="*/ 2093495 w 16747958"/>
              <a:gd name="connsiteY2" fmla="*/ 242157 h 2215336"/>
              <a:gd name="connsiteX3" fmla="*/ 3537284 w 16747958"/>
              <a:gd name="connsiteY3" fmla="*/ 25589 h 2215336"/>
              <a:gd name="connsiteX4" fmla="*/ 5895474 w 16747958"/>
              <a:gd name="connsiteY4" fmla="*/ 25589 h 2215336"/>
              <a:gd name="connsiteX5" fmla="*/ 7146758 w 16747958"/>
              <a:gd name="connsiteY5" fmla="*/ 218094 h 2215336"/>
              <a:gd name="connsiteX6" fmla="*/ 8614611 w 16747958"/>
              <a:gd name="connsiteY6" fmla="*/ 627168 h 2215336"/>
              <a:gd name="connsiteX7" fmla="*/ 9938084 w 16747958"/>
              <a:gd name="connsiteY7" fmla="*/ 1156557 h 2215336"/>
              <a:gd name="connsiteX8" fmla="*/ 10539663 w 16747958"/>
              <a:gd name="connsiteY8" fmla="*/ 1397189 h 2215336"/>
              <a:gd name="connsiteX9" fmla="*/ 11165305 w 16747958"/>
              <a:gd name="connsiteY9" fmla="*/ 1613757 h 2215336"/>
              <a:gd name="connsiteX10" fmla="*/ 12729411 w 16747958"/>
              <a:gd name="connsiteY10" fmla="*/ 1998768 h 2215336"/>
              <a:gd name="connsiteX11" fmla="*/ 14461958 w 16747958"/>
              <a:gd name="connsiteY11" fmla="*/ 2215336 h 2215336"/>
              <a:gd name="connsiteX12" fmla="*/ 14991347 w 16747958"/>
              <a:gd name="connsiteY12" fmla="*/ 2143147 h 2215336"/>
              <a:gd name="connsiteX13" fmla="*/ 15641053 w 16747958"/>
              <a:gd name="connsiteY13" fmla="*/ 1782199 h 2215336"/>
              <a:gd name="connsiteX14" fmla="*/ 16170442 w 16747958"/>
              <a:gd name="connsiteY14" fmla="*/ 1349062 h 2215336"/>
              <a:gd name="connsiteX15" fmla="*/ 16483263 w 16747958"/>
              <a:gd name="connsiteY15" fmla="*/ 964052 h 2215336"/>
              <a:gd name="connsiteX16" fmla="*/ 16747958 w 16747958"/>
              <a:gd name="connsiteY16" fmla="*/ 506852 h 2215336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0539663 w 16747958"/>
              <a:gd name="connsiteY7" fmla="*/ 1371722 h 2189869"/>
              <a:gd name="connsiteX8" fmla="*/ 11165305 w 16747958"/>
              <a:gd name="connsiteY8" fmla="*/ 1588290 h 2189869"/>
              <a:gd name="connsiteX9" fmla="*/ 12729411 w 16747958"/>
              <a:gd name="connsiteY9" fmla="*/ 1973301 h 2189869"/>
              <a:gd name="connsiteX10" fmla="*/ 14461958 w 16747958"/>
              <a:gd name="connsiteY10" fmla="*/ 2189869 h 2189869"/>
              <a:gd name="connsiteX11" fmla="*/ 14991347 w 16747958"/>
              <a:gd name="connsiteY11" fmla="*/ 2117680 h 2189869"/>
              <a:gd name="connsiteX12" fmla="*/ 15641053 w 16747958"/>
              <a:gd name="connsiteY12" fmla="*/ 1756732 h 2189869"/>
              <a:gd name="connsiteX13" fmla="*/ 16170442 w 16747958"/>
              <a:gd name="connsiteY13" fmla="*/ 1323595 h 2189869"/>
              <a:gd name="connsiteX14" fmla="*/ 16483263 w 16747958"/>
              <a:gd name="connsiteY14" fmla="*/ 938585 h 2189869"/>
              <a:gd name="connsiteX15" fmla="*/ 16747958 w 16747958"/>
              <a:gd name="connsiteY15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170442 w 16747958"/>
              <a:gd name="connsiteY12" fmla="*/ 1323595 h 2189869"/>
              <a:gd name="connsiteX13" fmla="*/ 16483263 w 16747958"/>
              <a:gd name="connsiteY13" fmla="*/ 938585 h 2189869"/>
              <a:gd name="connsiteX14" fmla="*/ 16747958 w 16747958"/>
              <a:gd name="connsiteY14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483263 w 16747958"/>
              <a:gd name="connsiteY12" fmla="*/ 938585 h 2189869"/>
              <a:gd name="connsiteX13" fmla="*/ 16747958 w 16747958"/>
              <a:gd name="connsiteY13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5641053 w 16747958"/>
              <a:gd name="connsiteY10" fmla="*/ 1756732 h 2189869"/>
              <a:gd name="connsiteX11" fmla="*/ 16483263 w 16747958"/>
              <a:gd name="connsiteY11" fmla="*/ 938585 h 2189869"/>
              <a:gd name="connsiteX12" fmla="*/ 16747958 w 16747958"/>
              <a:gd name="connsiteY12" fmla="*/ 481385 h 2189869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504379 h 2239331"/>
              <a:gd name="connsiteX1" fmla="*/ 1179095 w 16747958"/>
              <a:gd name="connsiteY1" fmla="*/ 493726 h 2239331"/>
              <a:gd name="connsiteX2" fmla="*/ 2093495 w 16747958"/>
              <a:gd name="connsiteY2" fmla="*/ 229031 h 2239331"/>
              <a:gd name="connsiteX3" fmla="*/ 5895474 w 16747958"/>
              <a:gd name="connsiteY3" fmla="*/ 12463 h 2239331"/>
              <a:gd name="connsiteX4" fmla="*/ 8614611 w 16747958"/>
              <a:gd name="connsiteY4" fmla="*/ 614042 h 2239331"/>
              <a:gd name="connsiteX5" fmla="*/ 9938084 w 16747958"/>
              <a:gd name="connsiteY5" fmla="*/ 1143431 h 2239331"/>
              <a:gd name="connsiteX6" fmla="*/ 11165305 w 16747958"/>
              <a:gd name="connsiteY6" fmla="*/ 1600631 h 2239331"/>
              <a:gd name="connsiteX7" fmla="*/ 12729411 w 16747958"/>
              <a:gd name="connsiteY7" fmla="*/ 1985642 h 2239331"/>
              <a:gd name="connsiteX8" fmla="*/ 14461958 w 16747958"/>
              <a:gd name="connsiteY8" fmla="*/ 2202210 h 2239331"/>
              <a:gd name="connsiteX9" fmla="*/ 15641053 w 16747958"/>
              <a:gd name="connsiteY9" fmla="*/ 1769073 h 2239331"/>
              <a:gd name="connsiteX10" fmla="*/ 16483263 w 16747958"/>
              <a:gd name="connsiteY10" fmla="*/ 950926 h 2239331"/>
              <a:gd name="connsiteX11" fmla="*/ 16747958 w 16747958"/>
              <a:gd name="connsiteY11" fmla="*/ 493726 h 2239331"/>
              <a:gd name="connsiteX0" fmla="*/ 0 w 16747958"/>
              <a:gd name="connsiteY0" fmla="*/ 1504379 h 1991537"/>
              <a:gd name="connsiteX1" fmla="*/ 1179095 w 16747958"/>
              <a:gd name="connsiteY1" fmla="*/ 493726 h 1991537"/>
              <a:gd name="connsiteX2" fmla="*/ 2093495 w 16747958"/>
              <a:gd name="connsiteY2" fmla="*/ 229031 h 1991537"/>
              <a:gd name="connsiteX3" fmla="*/ 5895474 w 16747958"/>
              <a:gd name="connsiteY3" fmla="*/ 12463 h 1991537"/>
              <a:gd name="connsiteX4" fmla="*/ 8614611 w 16747958"/>
              <a:gd name="connsiteY4" fmla="*/ 614042 h 1991537"/>
              <a:gd name="connsiteX5" fmla="*/ 9938084 w 16747958"/>
              <a:gd name="connsiteY5" fmla="*/ 1143431 h 1991537"/>
              <a:gd name="connsiteX6" fmla="*/ 11165305 w 16747958"/>
              <a:gd name="connsiteY6" fmla="*/ 1600631 h 1991537"/>
              <a:gd name="connsiteX7" fmla="*/ 12729411 w 16747958"/>
              <a:gd name="connsiteY7" fmla="*/ 1985642 h 1991537"/>
              <a:gd name="connsiteX8" fmla="*/ 15641053 w 16747958"/>
              <a:gd name="connsiteY8" fmla="*/ 1769073 h 1991537"/>
              <a:gd name="connsiteX9" fmla="*/ 16483263 w 16747958"/>
              <a:gd name="connsiteY9" fmla="*/ 950926 h 1991537"/>
              <a:gd name="connsiteX10" fmla="*/ 16747958 w 16747958"/>
              <a:gd name="connsiteY10" fmla="*/ 493726 h 1991537"/>
              <a:gd name="connsiteX0" fmla="*/ 0 w 16747958"/>
              <a:gd name="connsiteY0" fmla="*/ 1504379 h 2020274"/>
              <a:gd name="connsiteX1" fmla="*/ 1179095 w 16747958"/>
              <a:gd name="connsiteY1" fmla="*/ 493726 h 2020274"/>
              <a:gd name="connsiteX2" fmla="*/ 2093495 w 16747958"/>
              <a:gd name="connsiteY2" fmla="*/ 229031 h 2020274"/>
              <a:gd name="connsiteX3" fmla="*/ 5895474 w 16747958"/>
              <a:gd name="connsiteY3" fmla="*/ 12463 h 2020274"/>
              <a:gd name="connsiteX4" fmla="*/ 8614611 w 16747958"/>
              <a:gd name="connsiteY4" fmla="*/ 614042 h 2020274"/>
              <a:gd name="connsiteX5" fmla="*/ 9938084 w 16747958"/>
              <a:gd name="connsiteY5" fmla="*/ 1143431 h 2020274"/>
              <a:gd name="connsiteX6" fmla="*/ 12729411 w 16747958"/>
              <a:gd name="connsiteY6" fmla="*/ 1985642 h 2020274"/>
              <a:gd name="connsiteX7" fmla="*/ 15641053 w 16747958"/>
              <a:gd name="connsiteY7" fmla="*/ 1769073 h 2020274"/>
              <a:gd name="connsiteX8" fmla="*/ 16483263 w 16747958"/>
              <a:gd name="connsiteY8" fmla="*/ 950926 h 2020274"/>
              <a:gd name="connsiteX9" fmla="*/ 16747958 w 16747958"/>
              <a:gd name="connsiteY9" fmla="*/ 493726 h 2020274"/>
              <a:gd name="connsiteX0" fmla="*/ 0 w 16747958"/>
              <a:gd name="connsiteY0" fmla="*/ 1504379 h 2031854"/>
              <a:gd name="connsiteX1" fmla="*/ 1179095 w 16747958"/>
              <a:gd name="connsiteY1" fmla="*/ 493726 h 2031854"/>
              <a:gd name="connsiteX2" fmla="*/ 2093495 w 16747958"/>
              <a:gd name="connsiteY2" fmla="*/ 229031 h 2031854"/>
              <a:gd name="connsiteX3" fmla="*/ 5895474 w 16747958"/>
              <a:gd name="connsiteY3" fmla="*/ 12463 h 2031854"/>
              <a:gd name="connsiteX4" fmla="*/ 8614611 w 16747958"/>
              <a:gd name="connsiteY4" fmla="*/ 614042 h 2031854"/>
              <a:gd name="connsiteX5" fmla="*/ 9938084 w 16747958"/>
              <a:gd name="connsiteY5" fmla="*/ 1143431 h 2031854"/>
              <a:gd name="connsiteX6" fmla="*/ 12729411 w 16747958"/>
              <a:gd name="connsiteY6" fmla="*/ 1985642 h 2031854"/>
              <a:gd name="connsiteX7" fmla="*/ 15641053 w 16747958"/>
              <a:gd name="connsiteY7" fmla="*/ 1769073 h 2031854"/>
              <a:gd name="connsiteX8" fmla="*/ 16747958 w 16747958"/>
              <a:gd name="connsiteY8" fmla="*/ 493726 h 2031854"/>
              <a:gd name="connsiteX0" fmla="*/ 0 w 16747958"/>
              <a:gd name="connsiteY0" fmla="*/ 1520541 h 2048016"/>
              <a:gd name="connsiteX1" fmla="*/ 2093495 w 16747958"/>
              <a:gd name="connsiteY1" fmla="*/ 245193 h 2048016"/>
              <a:gd name="connsiteX2" fmla="*/ 5895474 w 16747958"/>
              <a:gd name="connsiteY2" fmla="*/ 28625 h 2048016"/>
              <a:gd name="connsiteX3" fmla="*/ 8614611 w 16747958"/>
              <a:gd name="connsiteY3" fmla="*/ 630204 h 2048016"/>
              <a:gd name="connsiteX4" fmla="*/ 9938084 w 16747958"/>
              <a:gd name="connsiteY4" fmla="*/ 1159593 h 2048016"/>
              <a:gd name="connsiteX5" fmla="*/ 12729411 w 16747958"/>
              <a:gd name="connsiteY5" fmla="*/ 2001804 h 2048016"/>
              <a:gd name="connsiteX6" fmla="*/ 15641053 w 16747958"/>
              <a:gd name="connsiteY6" fmla="*/ 1785235 h 2048016"/>
              <a:gd name="connsiteX7" fmla="*/ 16747958 w 16747958"/>
              <a:gd name="connsiteY7" fmla="*/ 509888 h 2048016"/>
              <a:gd name="connsiteX0" fmla="*/ 0 w 17268220"/>
              <a:gd name="connsiteY0" fmla="*/ 3898403 h 3898403"/>
              <a:gd name="connsiteX1" fmla="*/ 2613757 w 17268220"/>
              <a:gd name="connsiteY1" fmla="*/ 368586 h 3898403"/>
              <a:gd name="connsiteX2" fmla="*/ 6415736 w 17268220"/>
              <a:gd name="connsiteY2" fmla="*/ 152018 h 3898403"/>
              <a:gd name="connsiteX3" fmla="*/ 9134873 w 17268220"/>
              <a:gd name="connsiteY3" fmla="*/ 753597 h 3898403"/>
              <a:gd name="connsiteX4" fmla="*/ 10458346 w 17268220"/>
              <a:gd name="connsiteY4" fmla="*/ 1282986 h 3898403"/>
              <a:gd name="connsiteX5" fmla="*/ 13249673 w 17268220"/>
              <a:gd name="connsiteY5" fmla="*/ 2125197 h 3898403"/>
              <a:gd name="connsiteX6" fmla="*/ 16161315 w 17268220"/>
              <a:gd name="connsiteY6" fmla="*/ 1908628 h 3898403"/>
              <a:gd name="connsiteX7" fmla="*/ 17268220 w 17268220"/>
              <a:gd name="connsiteY7" fmla="*/ 633281 h 3898403"/>
              <a:gd name="connsiteX0" fmla="*/ 0 w 17268220"/>
              <a:gd name="connsiteY0" fmla="*/ 3535937 h 3535937"/>
              <a:gd name="connsiteX1" fmla="*/ 2613757 w 17268220"/>
              <a:gd name="connsiteY1" fmla="*/ 6120 h 3535937"/>
              <a:gd name="connsiteX2" fmla="*/ 5454040 w 17268220"/>
              <a:gd name="connsiteY2" fmla="*/ 2627345 h 3535937"/>
              <a:gd name="connsiteX3" fmla="*/ 9134873 w 17268220"/>
              <a:gd name="connsiteY3" fmla="*/ 391131 h 3535937"/>
              <a:gd name="connsiteX4" fmla="*/ 10458346 w 17268220"/>
              <a:gd name="connsiteY4" fmla="*/ 920520 h 3535937"/>
              <a:gd name="connsiteX5" fmla="*/ 13249673 w 17268220"/>
              <a:gd name="connsiteY5" fmla="*/ 1762731 h 3535937"/>
              <a:gd name="connsiteX6" fmla="*/ 16161315 w 17268220"/>
              <a:gd name="connsiteY6" fmla="*/ 1546162 h 3535937"/>
              <a:gd name="connsiteX7" fmla="*/ 17268220 w 17268220"/>
              <a:gd name="connsiteY7" fmla="*/ 270815 h 3535937"/>
              <a:gd name="connsiteX0" fmla="*/ 0 w 17268220"/>
              <a:gd name="connsiteY0" fmla="*/ 4129212 h 4129212"/>
              <a:gd name="connsiteX1" fmla="*/ 2613757 w 17268220"/>
              <a:gd name="connsiteY1" fmla="*/ 599395 h 4129212"/>
              <a:gd name="connsiteX2" fmla="*/ 5454040 w 17268220"/>
              <a:gd name="connsiteY2" fmla="*/ 3220620 h 4129212"/>
              <a:gd name="connsiteX3" fmla="*/ 9402887 w 17268220"/>
              <a:gd name="connsiteY3" fmla="*/ 38475 h 4129212"/>
              <a:gd name="connsiteX4" fmla="*/ 10458346 w 17268220"/>
              <a:gd name="connsiteY4" fmla="*/ 1513795 h 4129212"/>
              <a:gd name="connsiteX5" fmla="*/ 13249673 w 17268220"/>
              <a:gd name="connsiteY5" fmla="*/ 2356006 h 4129212"/>
              <a:gd name="connsiteX6" fmla="*/ 16161315 w 17268220"/>
              <a:gd name="connsiteY6" fmla="*/ 2139437 h 4129212"/>
              <a:gd name="connsiteX7" fmla="*/ 17268220 w 17268220"/>
              <a:gd name="connsiteY7" fmla="*/ 864090 h 4129212"/>
              <a:gd name="connsiteX0" fmla="*/ 0 w 17268220"/>
              <a:gd name="connsiteY0" fmla="*/ 4097433 h 4097433"/>
              <a:gd name="connsiteX1" fmla="*/ 2613757 w 17268220"/>
              <a:gd name="connsiteY1" fmla="*/ 567616 h 4097433"/>
              <a:gd name="connsiteX2" fmla="*/ 5454040 w 17268220"/>
              <a:gd name="connsiteY2" fmla="*/ 3188841 h 4097433"/>
              <a:gd name="connsiteX3" fmla="*/ 9402887 w 17268220"/>
              <a:gd name="connsiteY3" fmla="*/ 6696 h 4097433"/>
              <a:gd name="connsiteX4" fmla="*/ 11057436 w 17268220"/>
              <a:gd name="connsiteY4" fmla="*/ 2349120 h 4097433"/>
              <a:gd name="connsiteX5" fmla="*/ 13249673 w 17268220"/>
              <a:gd name="connsiteY5" fmla="*/ 2324227 h 4097433"/>
              <a:gd name="connsiteX6" fmla="*/ 16161315 w 17268220"/>
              <a:gd name="connsiteY6" fmla="*/ 2107658 h 4097433"/>
              <a:gd name="connsiteX7" fmla="*/ 17268220 w 17268220"/>
              <a:gd name="connsiteY7" fmla="*/ 832311 h 4097433"/>
              <a:gd name="connsiteX0" fmla="*/ 0 w 17268220"/>
              <a:gd name="connsiteY0" fmla="*/ 4098379 h 4098379"/>
              <a:gd name="connsiteX1" fmla="*/ 2613757 w 17268220"/>
              <a:gd name="connsiteY1" fmla="*/ 568562 h 4098379"/>
              <a:gd name="connsiteX2" fmla="*/ 5454040 w 17268220"/>
              <a:gd name="connsiteY2" fmla="*/ 3189787 h 4098379"/>
              <a:gd name="connsiteX3" fmla="*/ 9402887 w 17268220"/>
              <a:gd name="connsiteY3" fmla="*/ 7642 h 4098379"/>
              <a:gd name="connsiteX4" fmla="*/ 11057436 w 17268220"/>
              <a:gd name="connsiteY4" fmla="*/ 2350066 h 4098379"/>
              <a:gd name="connsiteX5" fmla="*/ 14195604 w 17268220"/>
              <a:gd name="connsiteY5" fmla="*/ 3980552 h 4098379"/>
              <a:gd name="connsiteX6" fmla="*/ 16161315 w 17268220"/>
              <a:gd name="connsiteY6" fmla="*/ 2108604 h 4098379"/>
              <a:gd name="connsiteX7" fmla="*/ 17268220 w 17268220"/>
              <a:gd name="connsiteY7" fmla="*/ 833257 h 4098379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6161315 w 18009199"/>
              <a:gd name="connsiteY6" fmla="*/ 2221278 h 4211053"/>
              <a:gd name="connsiteX7" fmla="*/ 18009199 w 18009199"/>
              <a:gd name="connsiteY7" fmla="*/ 0 h 4211053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5782943 w 18009199"/>
              <a:gd name="connsiteY6" fmla="*/ 1858671 h 4211053"/>
              <a:gd name="connsiteX7" fmla="*/ 18009199 w 18009199"/>
              <a:gd name="connsiteY7" fmla="*/ 0 h 4211053"/>
              <a:gd name="connsiteX0" fmla="*/ 0 w 18009199"/>
              <a:gd name="connsiteY0" fmla="*/ 4211053 h 4211124"/>
              <a:gd name="connsiteX1" fmla="*/ 2613757 w 18009199"/>
              <a:gd name="connsiteY1" fmla="*/ 681236 h 4211124"/>
              <a:gd name="connsiteX2" fmla="*/ 5454040 w 18009199"/>
              <a:gd name="connsiteY2" fmla="*/ 3302461 h 4211124"/>
              <a:gd name="connsiteX3" fmla="*/ 9402887 w 18009199"/>
              <a:gd name="connsiteY3" fmla="*/ 120316 h 4211124"/>
              <a:gd name="connsiteX4" fmla="*/ 11057436 w 18009199"/>
              <a:gd name="connsiteY4" fmla="*/ 2462740 h 4211124"/>
              <a:gd name="connsiteX5" fmla="*/ 14195604 w 18009199"/>
              <a:gd name="connsiteY5" fmla="*/ 4093226 h 4211124"/>
              <a:gd name="connsiteX6" fmla="*/ 15782943 w 18009199"/>
              <a:gd name="connsiteY6" fmla="*/ 1858671 h 4211124"/>
              <a:gd name="connsiteX7" fmla="*/ 18009199 w 18009199"/>
              <a:gd name="connsiteY7" fmla="*/ 0 h 4211124"/>
              <a:gd name="connsiteX0" fmla="*/ 0 w 18009414"/>
              <a:gd name="connsiteY0" fmla="*/ 4211056 h 4211127"/>
              <a:gd name="connsiteX1" fmla="*/ 2613757 w 18009414"/>
              <a:gd name="connsiteY1" fmla="*/ 681239 h 4211127"/>
              <a:gd name="connsiteX2" fmla="*/ 5454040 w 18009414"/>
              <a:gd name="connsiteY2" fmla="*/ 3302464 h 4211127"/>
              <a:gd name="connsiteX3" fmla="*/ 9402887 w 18009414"/>
              <a:gd name="connsiteY3" fmla="*/ 120319 h 4211127"/>
              <a:gd name="connsiteX4" fmla="*/ 11057436 w 18009414"/>
              <a:gd name="connsiteY4" fmla="*/ 2462743 h 4211127"/>
              <a:gd name="connsiteX5" fmla="*/ 14195604 w 18009414"/>
              <a:gd name="connsiteY5" fmla="*/ 4093229 h 4211127"/>
              <a:gd name="connsiteX6" fmla="*/ 15782943 w 18009414"/>
              <a:gd name="connsiteY6" fmla="*/ 1858674 h 4211127"/>
              <a:gd name="connsiteX7" fmla="*/ 18009199 w 18009414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057436 w 18009451"/>
              <a:gd name="connsiteY4" fmla="*/ 24627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293919 w 18009451"/>
              <a:gd name="connsiteY4" fmla="*/ 29199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6"/>
              <a:gd name="connsiteY0" fmla="*/ 4211056 h 4424833"/>
              <a:gd name="connsiteX1" fmla="*/ 2613757 w 18009456"/>
              <a:gd name="connsiteY1" fmla="*/ 681239 h 4424833"/>
              <a:gd name="connsiteX2" fmla="*/ 5454040 w 18009456"/>
              <a:gd name="connsiteY2" fmla="*/ 3302464 h 4424833"/>
              <a:gd name="connsiteX3" fmla="*/ 9402887 w 18009456"/>
              <a:gd name="connsiteY3" fmla="*/ 120319 h 4424833"/>
              <a:gd name="connsiteX4" fmla="*/ 11293919 w 18009456"/>
              <a:gd name="connsiteY4" fmla="*/ 2919943 h 4424833"/>
              <a:gd name="connsiteX5" fmla="*/ 14037948 w 18009456"/>
              <a:gd name="connsiteY5" fmla="*/ 4408539 h 4424833"/>
              <a:gd name="connsiteX6" fmla="*/ 16019426 w 18009456"/>
              <a:gd name="connsiteY6" fmla="*/ 2016329 h 4424833"/>
              <a:gd name="connsiteX7" fmla="*/ 18009199 w 18009456"/>
              <a:gd name="connsiteY7" fmla="*/ 3 h 4424833"/>
              <a:gd name="connsiteX0" fmla="*/ 0 w 18356297"/>
              <a:gd name="connsiteY0" fmla="*/ 4242587 h 4424833"/>
              <a:gd name="connsiteX1" fmla="*/ 2960598 w 18356297"/>
              <a:gd name="connsiteY1" fmla="*/ 681239 h 4424833"/>
              <a:gd name="connsiteX2" fmla="*/ 5800881 w 18356297"/>
              <a:gd name="connsiteY2" fmla="*/ 3302464 h 4424833"/>
              <a:gd name="connsiteX3" fmla="*/ 9749728 w 18356297"/>
              <a:gd name="connsiteY3" fmla="*/ 120319 h 4424833"/>
              <a:gd name="connsiteX4" fmla="*/ 11640760 w 18356297"/>
              <a:gd name="connsiteY4" fmla="*/ 2919943 h 4424833"/>
              <a:gd name="connsiteX5" fmla="*/ 14384789 w 18356297"/>
              <a:gd name="connsiteY5" fmla="*/ 4408539 h 4424833"/>
              <a:gd name="connsiteX6" fmla="*/ 16366267 w 18356297"/>
              <a:gd name="connsiteY6" fmla="*/ 2016329 h 4424833"/>
              <a:gd name="connsiteX7" fmla="*/ 18356040 w 18356297"/>
              <a:gd name="connsiteY7" fmla="*/ 3 h 4424833"/>
              <a:gd name="connsiteX0" fmla="*/ 0 w 18356297"/>
              <a:gd name="connsiteY0" fmla="*/ 4242587 h 4435715"/>
              <a:gd name="connsiteX1" fmla="*/ 2960598 w 18356297"/>
              <a:gd name="connsiteY1" fmla="*/ 681239 h 4435715"/>
              <a:gd name="connsiteX2" fmla="*/ 5800881 w 18356297"/>
              <a:gd name="connsiteY2" fmla="*/ 3302464 h 4435715"/>
              <a:gd name="connsiteX3" fmla="*/ 9749728 w 18356297"/>
              <a:gd name="connsiteY3" fmla="*/ 120319 h 4435715"/>
              <a:gd name="connsiteX4" fmla="*/ 11230857 w 18356297"/>
              <a:gd name="connsiteY4" fmla="*/ 3109130 h 4435715"/>
              <a:gd name="connsiteX5" fmla="*/ 14384789 w 18356297"/>
              <a:gd name="connsiteY5" fmla="*/ 4408539 h 4435715"/>
              <a:gd name="connsiteX6" fmla="*/ 16366267 w 18356297"/>
              <a:gd name="connsiteY6" fmla="*/ 2016329 h 4435715"/>
              <a:gd name="connsiteX7" fmla="*/ 18356040 w 18356297"/>
              <a:gd name="connsiteY7" fmla="*/ 3 h 4435715"/>
              <a:gd name="connsiteX0" fmla="*/ 0 w 18356292"/>
              <a:gd name="connsiteY0" fmla="*/ 4242587 h 4242658"/>
              <a:gd name="connsiteX1" fmla="*/ 2960598 w 18356292"/>
              <a:gd name="connsiteY1" fmla="*/ 681239 h 4242658"/>
              <a:gd name="connsiteX2" fmla="*/ 5800881 w 18356292"/>
              <a:gd name="connsiteY2" fmla="*/ 3302464 h 4242658"/>
              <a:gd name="connsiteX3" fmla="*/ 9749728 w 18356292"/>
              <a:gd name="connsiteY3" fmla="*/ 120319 h 4242658"/>
              <a:gd name="connsiteX4" fmla="*/ 11230857 w 18356292"/>
              <a:gd name="connsiteY4" fmla="*/ 3109130 h 4242658"/>
              <a:gd name="connsiteX5" fmla="*/ 14526679 w 18356292"/>
              <a:gd name="connsiteY5" fmla="*/ 4030167 h 4242658"/>
              <a:gd name="connsiteX6" fmla="*/ 16366267 w 18356292"/>
              <a:gd name="connsiteY6" fmla="*/ 2016329 h 4242658"/>
              <a:gd name="connsiteX7" fmla="*/ 18356040 w 18356292"/>
              <a:gd name="connsiteY7" fmla="*/ 3 h 4242658"/>
              <a:gd name="connsiteX0" fmla="*/ 0 w 18356231"/>
              <a:gd name="connsiteY0" fmla="*/ 4242590 h 4242661"/>
              <a:gd name="connsiteX1" fmla="*/ 2960598 w 18356231"/>
              <a:gd name="connsiteY1" fmla="*/ 681242 h 4242661"/>
              <a:gd name="connsiteX2" fmla="*/ 5800881 w 18356231"/>
              <a:gd name="connsiteY2" fmla="*/ 3302467 h 4242661"/>
              <a:gd name="connsiteX3" fmla="*/ 9749728 w 18356231"/>
              <a:gd name="connsiteY3" fmla="*/ 120322 h 4242661"/>
              <a:gd name="connsiteX4" fmla="*/ 11230857 w 18356231"/>
              <a:gd name="connsiteY4" fmla="*/ 3109133 h 4242661"/>
              <a:gd name="connsiteX5" fmla="*/ 14526679 w 18356231"/>
              <a:gd name="connsiteY5" fmla="*/ 4030170 h 4242661"/>
              <a:gd name="connsiteX6" fmla="*/ 15924833 w 18356231"/>
              <a:gd name="connsiteY6" fmla="*/ 1259588 h 4242661"/>
              <a:gd name="connsiteX7" fmla="*/ 18356040 w 18356231"/>
              <a:gd name="connsiteY7" fmla="*/ 6 h 4242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56231" h="4242661">
                <a:moveTo>
                  <a:pt x="0" y="4242590"/>
                </a:moveTo>
                <a:cubicBezTo>
                  <a:pt x="10476" y="4260673"/>
                  <a:pt x="1993785" y="837929"/>
                  <a:pt x="2960598" y="681242"/>
                </a:cubicBezTo>
                <a:cubicBezTo>
                  <a:pt x="3927411" y="524555"/>
                  <a:pt x="4669359" y="3395954"/>
                  <a:pt x="5800881" y="3302467"/>
                </a:cubicBezTo>
                <a:cubicBezTo>
                  <a:pt x="6932403" y="3208980"/>
                  <a:pt x="8844732" y="152544"/>
                  <a:pt x="9749728" y="120322"/>
                </a:cubicBezTo>
                <a:cubicBezTo>
                  <a:pt x="10654724" y="88100"/>
                  <a:pt x="10434699" y="2457492"/>
                  <a:pt x="11230857" y="3109133"/>
                </a:cubicBezTo>
                <a:cubicBezTo>
                  <a:pt x="12027015" y="3760774"/>
                  <a:pt x="13744350" y="4338428"/>
                  <a:pt x="14526679" y="4030170"/>
                </a:cubicBezTo>
                <a:cubicBezTo>
                  <a:pt x="15309008" y="3721913"/>
                  <a:pt x="15286606" y="1931282"/>
                  <a:pt x="15924833" y="1259588"/>
                </a:cubicBezTo>
                <a:cubicBezTo>
                  <a:pt x="16563060" y="587894"/>
                  <a:pt x="18377683" y="-2311"/>
                  <a:pt x="18356040" y="6"/>
                </a:cubicBez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8" name="Oval 11">
            <a:extLst>
              <a:ext uri="{FF2B5EF4-FFF2-40B4-BE49-F238E27FC236}">
                <a16:creationId xmlns:a16="http://schemas.microsoft.com/office/drawing/2014/main" id="{D5FA50B8-01F1-0E45-03E1-30AC948C65C5}"/>
              </a:ext>
            </a:extLst>
          </p:cNvPr>
          <p:cNvSpPr/>
          <p:nvPr/>
        </p:nvSpPr>
        <p:spPr>
          <a:xfrm>
            <a:off x="2000593" y="4549466"/>
            <a:ext cx="217079" cy="217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9" name="Oval 37">
            <a:extLst>
              <a:ext uri="{FF2B5EF4-FFF2-40B4-BE49-F238E27FC236}">
                <a16:creationId xmlns:a16="http://schemas.microsoft.com/office/drawing/2014/main" id="{FC6DD6F7-DEB6-6683-C3CE-1B1EC76CE89F}"/>
              </a:ext>
            </a:extLst>
          </p:cNvPr>
          <p:cNvSpPr/>
          <p:nvPr/>
        </p:nvSpPr>
        <p:spPr>
          <a:xfrm>
            <a:off x="2682140" y="3570072"/>
            <a:ext cx="217079" cy="217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0" name="Oval 38">
            <a:extLst>
              <a:ext uri="{FF2B5EF4-FFF2-40B4-BE49-F238E27FC236}">
                <a16:creationId xmlns:a16="http://schemas.microsoft.com/office/drawing/2014/main" id="{6C08BDFE-C7E0-2134-6E8E-9C7CFEDC6D80}"/>
              </a:ext>
            </a:extLst>
          </p:cNvPr>
          <p:cNvSpPr/>
          <p:nvPr/>
        </p:nvSpPr>
        <p:spPr>
          <a:xfrm>
            <a:off x="3836053" y="3698611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1" name="Oval 39">
            <a:extLst>
              <a:ext uri="{FF2B5EF4-FFF2-40B4-BE49-F238E27FC236}">
                <a16:creationId xmlns:a16="http://schemas.microsoft.com/office/drawing/2014/main" id="{952784A1-8052-F28A-0E69-BEA108518D5E}"/>
              </a:ext>
            </a:extLst>
          </p:cNvPr>
          <p:cNvSpPr/>
          <p:nvPr/>
        </p:nvSpPr>
        <p:spPr>
          <a:xfrm>
            <a:off x="4308975" y="4270398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2" name="Oval 40">
            <a:extLst>
              <a:ext uri="{FF2B5EF4-FFF2-40B4-BE49-F238E27FC236}">
                <a16:creationId xmlns:a16="http://schemas.microsoft.com/office/drawing/2014/main" id="{253998B5-ECFF-0900-05F2-9E9833724B80}"/>
              </a:ext>
            </a:extLst>
          </p:cNvPr>
          <p:cNvSpPr/>
          <p:nvPr/>
        </p:nvSpPr>
        <p:spPr>
          <a:xfrm>
            <a:off x="4961935" y="4110172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3" name="Oval 41">
            <a:extLst>
              <a:ext uri="{FF2B5EF4-FFF2-40B4-BE49-F238E27FC236}">
                <a16:creationId xmlns:a16="http://schemas.microsoft.com/office/drawing/2014/main" id="{15C994AB-523F-DF31-5E68-751DAB824101}"/>
              </a:ext>
            </a:extLst>
          </p:cNvPr>
          <p:cNvSpPr/>
          <p:nvPr/>
        </p:nvSpPr>
        <p:spPr>
          <a:xfrm>
            <a:off x="5678941" y="3365572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4" name="Oval 42">
            <a:extLst>
              <a:ext uri="{FF2B5EF4-FFF2-40B4-BE49-F238E27FC236}">
                <a16:creationId xmlns:a16="http://schemas.microsoft.com/office/drawing/2014/main" id="{4F3DAFEC-D54E-8029-3A61-6063B59BBB6F}"/>
              </a:ext>
            </a:extLst>
          </p:cNvPr>
          <p:cNvSpPr/>
          <p:nvPr/>
        </p:nvSpPr>
        <p:spPr>
          <a:xfrm>
            <a:off x="6416186" y="2911182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5" name="Oval 43">
            <a:extLst>
              <a:ext uri="{FF2B5EF4-FFF2-40B4-BE49-F238E27FC236}">
                <a16:creationId xmlns:a16="http://schemas.microsoft.com/office/drawing/2014/main" id="{F40DFF75-5E4B-9EE2-555F-9384099190F1}"/>
              </a:ext>
            </a:extLst>
          </p:cNvPr>
          <p:cNvSpPr/>
          <p:nvPr/>
        </p:nvSpPr>
        <p:spPr>
          <a:xfrm>
            <a:off x="6800343" y="3944893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6" name="Oval 44">
            <a:extLst>
              <a:ext uri="{FF2B5EF4-FFF2-40B4-BE49-F238E27FC236}">
                <a16:creationId xmlns:a16="http://schemas.microsoft.com/office/drawing/2014/main" id="{DAE8FB78-122D-97D7-CED0-8DB0A19AB46E}"/>
              </a:ext>
            </a:extLst>
          </p:cNvPr>
          <p:cNvSpPr/>
          <p:nvPr/>
        </p:nvSpPr>
        <p:spPr>
          <a:xfrm>
            <a:off x="7353524" y="4445727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7" name="Oval 45">
            <a:extLst>
              <a:ext uri="{FF2B5EF4-FFF2-40B4-BE49-F238E27FC236}">
                <a16:creationId xmlns:a16="http://schemas.microsoft.com/office/drawing/2014/main" id="{7C213711-5513-C266-8E37-9630D2A8CDCD}"/>
              </a:ext>
            </a:extLst>
          </p:cNvPr>
          <p:cNvSpPr/>
          <p:nvPr/>
        </p:nvSpPr>
        <p:spPr>
          <a:xfrm>
            <a:off x="8150535" y="4718478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8" name="Oval 46">
            <a:extLst>
              <a:ext uri="{FF2B5EF4-FFF2-40B4-BE49-F238E27FC236}">
                <a16:creationId xmlns:a16="http://schemas.microsoft.com/office/drawing/2014/main" id="{D7D33721-82D7-696C-6024-639434C163D6}"/>
              </a:ext>
            </a:extLst>
          </p:cNvPr>
          <p:cNvSpPr/>
          <p:nvPr/>
        </p:nvSpPr>
        <p:spPr>
          <a:xfrm>
            <a:off x="8725053" y="4396296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9" name="Oval 47">
            <a:extLst>
              <a:ext uri="{FF2B5EF4-FFF2-40B4-BE49-F238E27FC236}">
                <a16:creationId xmlns:a16="http://schemas.microsoft.com/office/drawing/2014/main" id="{FF5551D3-A2C3-66DA-4D5A-C8F04F584400}"/>
              </a:ext>
            </a:extLst>
          </p:cNvPr>
          <p:cNvSpPr/>
          <p:nvPr/>
        </p:nvSpPr>
        <p:spPr>
          <a:xfrm>
            <a:off x="9078978" y="3486292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0" name="Oval 48">
            <a:extLst>
              <a:ext uri="{FF2B5EF4-FFF2-40B4-BE49-F238E27FC236}">
                <a16:creationId xmlns:a16="http://schemas.microsoft.com/office/drawing/2014/main" id="{C0387DFC-3CBA-F6F3-E7F5-555500EA92C3}"/>
              </a:ext>
            </a:extLst>
          </p:cNvPr>
          <p:cNvSpPr/>
          <p:nvPr/>
        </p:nvSpPr>
        <p:spPr>
          <a:xfrm>
            <a:off x="10104959" y="2911181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088FF1D5-A06E-FD98-AD4A-06709F05141C}"/>
              </a:ext>
            </a:extLst>
          </p:cNvPr>
          <p:cNvSpPr txBox="1">
            <a:spLocks/>
          </p:cNvSpPr>
          <p:nvPr/>
        </p:nvSpPr>
        <p:spPr>
          <a:xfrm>
            <a:off x="2267699" y="4557978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0E93C13D-74C3-0074-C5A8-1F3D918C3E88}"/>
              </a:ext>
            </a:extLst>
          </p:cNvPr>
          <p:cNvSpPr txBox="1">
            <a:spLocks/>
          </p:cNvSpPr>
          <p:nvPr/>
        </p:nvSpPr>
        <p:spPr>
          <a:xfrm>
            <a:off x="4092507" y="3707123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C45F3EC9-7B8E-AE4C-D94E-B00F0222B521}"/>
              </a:ext>
            </a:extLst>
          </p:cNvPr>
          <p:cNvSpPr txBox="1">
            <a:spLocks/>
          </p:cNvSpPr>
          <p:nvPr/>
        </p:nvSpPr>
        <p:spPr>
          <a:xfrm>
            <a:off x="5250004" y="4118684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A91DBA1D-C4A6-9E1E-6D06-CF4C28539B87}"/>
              </a:ext>
            </a:extLst>
          </p:cNvPr>
          <p:cNvSpPr txBox="1">
            <a:spLocks/>
          </p:cNvSpPr>
          <p:nvPr/>
        </p:nvSpPr>
        <p:spPr>
          <a:xfrm>
            <a:off x="6704102" y="2919008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7EAA1CA2-0D5A-0A4B-5F8E-D399D25C5432}"/>
              </a:ext>
            </a:extLst>
          </p:cNvPr>
          <p:cNvSpPr txBox="1">
            <a:spLocks/>
          </p:cNvSpPr>
          <p:nvPr/>
        </p:nvSpPr>
        <p:spPr>
          <a:xfrm>
            <a:off x="7088558" y="3943870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A5A1FFEC-AB18-FA40-5040-2539A081E6D0}"/>
              </a:ext>
            </a:extLst>
          </p:cNvPr>
          <p:cNvSpPr txBox="1">
            <a:spLocks/>
          </p:cNvSpPr>
          <p:nvPr/>
        </p:nvSpPr>
        <p:spPr>
          <a:xfrm>
            <a:off x="9043716" y="4419929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8C75027A-066B-F948-F94A-A827B7CCD0B5}"/>
              </a:ext>
            </a:extLst>
          </p:cNvPr>
          <p:cNvSpPr txBox="1">
            <a:spLocks/>
          </p:cNvSpPr>
          <p:nvPr/>
        </p:nvSpPr>
        <p:spPr>
          <a:xfrm>
            <a:off x="9373995" y="3499203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1C7C0139-BDEF-EAAF-DAF5-7253E39E1157}"/>
              </a:ext>
            </a:extLst>
          </p:cNvPr>
          <p:cNvSpPr txBox="1">
            <a:spLocks/>
          </p:cNvSpPr>
          <p:nvPr/>
        </p:nvSpPr>
        <p:spPr>
          <a:xfrm>
            <a:off x="1793089" y="3578584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08AF87D0-EC9C-E291-A91B-4F2E8EE84859}"/>
              </a:ext>
            </a:extLst>
          </p:cNvPr>
          <p:cNvSpPr txBox="1">
            <a:spLocks/>
          </p:cNvSpPr>
          <p:nvPr/>
        </p:nvSpPr>
        <p:spPr>
          <a:xfrm>
            <a:off x="3418310" y="4289763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425B1833-6E2C-5E7C-009B-21ED30F9CAC8}"/>
              </a:ext>
            </a:extLst>
          </p:cNvPr>
          <p:cNvSpPr txBox="1">
            <a:spLocks/>
          </p:cNvSpPr>
          <p:nvPr/>
        </p:nvSpPr>
        <p:spPr>
          <a:xfrm>
            <a:off x="4818216" y="3385633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68A2DBA3-B9B3-F3F9-6927-9A5D263F9F96}"/>
              </a:ext>
            </a:extLst>
          </p:cNvPr>
          <p:cNvSpPr txBox="1">
            <a:spLocks/>
          </p:cNvSpPr>
          <p:nvPr/>
        </p:nvSpPr>
        <p:spPr>
          <a:xfrm>
            <a:off x="6444667" y="4458600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D5531B9D-93E1-8627-87A5-E48C46A5EDC1}"/>
              </a:ext>
            </a:extLst>
          </p:cNvPr>
          <p:cNvSpPr txBox="1">
            <a:spLocks/>
          </p:cNvSpPr>
          <p:nvPr/>
        </p:nvSpPr>
        <p:spPr>
          <a:xfrm>
            <a:off x="7290230" y="4742986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A6E99A7C-97ED-F9FF-0928-89D275E1CB7E}"/>
              </a:ext>
            </a:extLst>
          </p:cNvPr>
          <p:cNvSpPr txBox="1">
            <a:spLocks/>
          </p:cNvSpPr>
          <p:nvPr/>
        </p:nvSpPr>
        <p:spPr>
          <a:xfrm>
            <a:off x="9250306" y="2931037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3F54A4E1-1F4B-9D8A-C51A-96203706CD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819442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07B2838-ADC1-E143-A743-4E29C9105B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07B2838-ADC1-E143-A743-4E29C9105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ype cycle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AF68208-69D6-5CC3-72CC-29F7576E4888}"/>
              </a:ext>
            </a:extLst>
          </p:cNvPr>
          <p:cNvSpPr/>
          <p:nvPr/>
        </p:nvSpPr>
        <p:spPr>
          <a:xfrm rot="16200000">
            <a:off x="-698646" y="3609103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74F0949B-EC26-B080-2E50-1A8D6C882F57}"/>
              </a:ext>
            </a:extLst>
          </p:cNvPr>
          <p:cNvCxnSpPr>
            <a:cxnSpLocks/>
          </p:cNvCxnSpPr>
          <p:nvPr/>
        </p:nvCxnSpPr>
        <p:spPr>
          <a:xfrm flipV="1">
            <a:off x="805543" y="1520826"/>
            <a:ext cx="0" cy="4422774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801ACA80-6492-4F2A-6C2E-8FE97FFF08D6}"/>
              </a:ext>
            </a:extLst>
          </p:cNvPr>
          <p:cNvCxnSpPr>
            <a:cxnSpLocks/>
          </p:cNvCxnSpPr>
          <p:nvPr/>
        </p:nvCxnSpPr>
        <p:spPr>
          <a:xfrm>
            <a:off x="805543" y="5943599"/>
            <a:ext cx="8287657" cy="0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B1BB888-5454-1EC0-F1A0-7D3610AE7027}"/>
              </a:ext>
            </a:extLst>
          </p:cNvPr>
          <p:cNvSpPr/>
          <p:nvPr/>
        </p:nvSpPr>
        <p:spPr>
          <a:xfrm>
            <a:off x="3756139" y="6062505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7E4632F-7217-DA39-7F6E-326D5F31CDC7}"/>
              </a:ext>
            </a:extLst>
          </p:cNvPr>
          <p:cNvSpPr/>
          <p:nvPr/>
        </p:nvSpPr>
        <p:spPr>
          <a:xfrm>
            <a:off x="930886" y="5238232"/>
            <a:ext cx="15138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F9119E13-EA90-132F-15D8-C6D4DA6B0417}"/>
              </a:ext>
            </a:extLst>
          </p:cNvPr>
          <p:cNvSpPr/>
          <p:nvPr/>
        </p:nvSpPr>
        <p:spPr>
          <a:xfrm>
            <a:off x="1714500" y="2250013"/>
            <a:ext cx="6276975" cy="2811039"/>
          </a:xfrm>
          <a:custGeom>
            <a:avLst/>
            <a:gdLst>
              <a:gd name="connsiteX0" fmla="*/ 0 w 6276975"/>
              <a:gd name="connsiteY0" fmla="*/ 2798237 h 2811039"/>
              <a:gd name="connsiteX1" fmla="*/ 123825 w 6276975"/>
              <a:gd name="connsiteY1" fmla="*/ 1855262 h 2811039"/>
              <a:gd name="connsiteX2" fmla="*/ 342900 w 6276975"/>
              <a:gd name="connsiteY2" fmla="*/ 1007537 h 2811039"/>
              <a:gd name="connsiteX3" fmla="*/ 552450 w 6276975"/>
              <a:gd name="connsiteY3" fmla="*/ 388412 h 2811039"/>
              <a:gd name="connsiteX4" fmla="*/ 809625 w 6276975"/>
              <a:gd name="connsiteY4" fmla="*/ 64562 h 2811039"/>
              <a:gd name="connsiteX5" fmla="*/ 1152525 w 6276975"/>
              <a:gd name="connsiteY5" fmla="*/ 16937 h 2811039"/>
              <a:gd name="connsiteX6" fmla="*/ 1381125 w 6276975"/>
              <a:gd name="connsiteY6" fmla="*/ 274112 h 2811039"/>
              <a:gd name="connsiteX7" fmla="*/ 1571625 w 6276975"/>
              <a:gd name="connsiteY7" fmla="*/ 864662 h 2811039"/>
              <a:gd name="connsiteX8" fmla="*/ 1781175 w 6276975"/>
              <a:gd name="connsiteY8" fmla="*/ 1674287 h 2811039"/>
              <a:gd name="connsiteX9" fmla="*/ 1952625 w 6276975"/>
              <a:gd name="connsiteY9" fmla="*/ 2131487 h 2811039"/>
              <a:gd name="connsiteX10" fmla="*/ 2171700 w 6276975"/>
              <a:gd name="connsiteY10" fmla="*/ 2560112 h 2811039"/>
              <a:gd name="connsiteX11" fmla="*/ 2447925 w 6276975"/>
              <a:gd name="connsiteY11" fmla="*/ 2760137 h 2811039"/>
              <a:gd name="connsiteX12" fmla="*/ 2724150 w 6276975"/>
              <a:gd name="connsiteY12" fmla="*/ 2807762 h 2811039"/>
              <a:gd name="connsiteX13" fmla="*/ 3114675 w 6276975"/>
              <a:gd name="connsiteY13" fmla="*/ 2693462 h 2811039"/>
              <a:gd name="connsiteX14" fmla="*/ 3619500 w 6276975"/>
              <a:gd name="connsiteY14" fmla="*/ 2369612 h 2811039"/>
              <a:gd name="connsiteX15" fmla="*/ 4086225 w 6276975"/>
              <a:gd name="connsiteY15" fmla="*/ 1969562 h 2811039"/>
              <a:gd name="connsiteX16" fmla="*/ 4648200 w 6276975"/>
              <a:gd name="connsiteY16" fmla="*/ 1588562 h 2811039"/>
              <a:gd name="connsiteX17" fmla="*/ 5143500 w 6276975"/>
              <a:gd name="connsiteY17" fmla="*/ 1369487 h 2811039"/>
              <a:gd name="connsiteX18" fmla="*/ 5705475 w 6276975"/>
              <a:gd name="connsiteY18" fmla="*/ 1245662 h 2811039"/>
              <a:gd name="connsiteX19" fmla="*/ 6276975 w 6276975"/>
              <a:gd name="connsiteY19" fmla="*/ 1198037 h 2811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276975" h="2811039">
                <a:moveTo>
                  <a:pt x="0" y="2798237"/>
                </a:moveTo>
                <a:cubicBezTo>
                  <a:pt x="33337" y="2475974"/>
                  <a:pt x="66675" y="2153712"/>
                  <a:pt x="123825" y="1855262"/>
                </a:cubicBezTo>
                <a:cubicBezTo>
                  <a:pt x="180975" y="1556812"/>
                  <a:pt x="271463" y="1252012"/>
                  <a:pt x="342900" y="1007537"/>
                </a:cubicBezTo>
                <a:cubicBezTo>
                  <a:pt x="414338" y="763062"/>
                  <a:pt x="474663" y="545574"/>
                  <a:pt x="552450" y="388412"/>
                </a:cubicBezTo>
                <a:cubicBezTo>
                  <a:pt x="630238" y="231249"/>
                  <a:pt x="709612" y="126475"/>
                  <a:pt x="809625" y="64562"/>
                </a:cubicBezTo>
                <a:cubicBezTo>
                  <a:pt x="909638" y="2649"/>
                  <a:pt x="1057275" y="-17988"/>
                  <a:pt x="1152525" y="16937"/>
                </a:cubicBezTo>
                <a:cubicBezTo>
                  <a:pt x="1247775" y="51862"/>
                  <a:pt x="1311275" y="132825"/>
                  <a:pt x="1381125" y="274112"/>
                </a:cubicBezTo>
                <a:cubicBezTo>
                  <a:pt x="1450975" y="415399"/>
                  <a:pt x="1504950" y="631299"/>
                  <a:pt x="1571625" y="864662"/>
                </a:cubicBezTo>
                <a:cubicBezTo>
                  <a:pt x="1638300" y="1098024"/>
                  <a:pt x="1717675" y="1463150"/>
                  <a:pt x="1781175" y="1674287"/>
                </a:cubicBezTo>
                <a:cubicBezTo>
                  <a:pt x="1844675" y="1885424"/>
                  <a:pt x="1887538" y="1983850"/>
                  <a:pt x="1952625" y="2131487"/>
                </a:cubicBezTo>
                <a:cubicBezTo>
                  <a:pt x="2017712" y="2279124"/>
                  <a:pt x="2089150" y="2455337"/>
                  <a:pt x="2171700" y="2560112"/>
                </a:cubicBezTo>
                <a:cubicBezTo>
                  <a:pt x="2254250" y="2664887"/>
                  <a:pt x="2355850" y="2718862"/>
                  <a:pt x="2447925" y="2760137"/>
                </a:cubicBezTo>
                <a:cubicBezTo>
                  <a:pt x="2540000" y="2801412"/>
                  <a:pt x="2613025" y="2818875"/>
                  <a:pt x="2724150" y="2807762"/>
                </a:cubicBezTo>
                <a:cubicBezTo>
                  <a:pt x="2835275" y="2796649"/>
                  <a:pt x="2965450" y="2766487"/>
                  <a:pt x="3114675" y="2693462"/>
                </a:cubicBezTo>
                <a:cubicBezTo>
                  <a:pt x="3263900" y="2620437"/>
                  <a:pt x="3457575" y="2490262"/>
                  <a:pt x="3619500" y="2369612"/>
                </a:cubicBezTo>
                <a:cubicBezTo>
                  <a:pt x="3781425" y="2248962"/>
                  <a:pt x="3914775" y="2099737"/>
                  <a:pt x="4086225" y="1969562"/>
                </a:cubicBezTo>
                <a:cubicBezTo>
                  <a:pt x="4257675" y="1839387"/>
                  <a:pt x="4471988" y="1688574"/>
                  <a:pt x="4648200" y="1588562"/>
                </a:cubicBezTo>
                <a:cubicBezTo>
                  <a:pt x="4824412" y="1488550"/>
                  <a:pt x="4967288" y="1426637"/>
                  <a:pt x="5143500" y="1369487"/>
                </a:cubicBezTo>
                <a:cubicBezTo>
                  <a:pt x="5319712" y="1312337"/>
                  <a:pt x="5516563" y="1274237"/>
                  <a:pt x="5705475" y="1245662"/>
                </a:cubicBezTo>
                <a:cubicBezTo>
                  <a:pt x="5894388" y="1217087"/>
                  <a:pt x="6085681" y="1207562"/>
                  <a:pt x="6276975" y="1198037"/>
                </a:cubicBezTo>
              </a:path>
            </a:pathLst>
          </a:cu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65AFAD0D-F303-531E-8DCA-6C6905604A76}"/>
              </a:ext>
            </a:extLst>
          </p:cNvPr>
          <p:cNvSpPr/>
          <p:nvPr/>
        </p:nvSpPr>
        <p:spPr>
          <a:xfrm>
            <a:off x="3680436" y="5192512"/>
            <a:ext cx="15138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7A10355E-0857-75A1-0E8B-394D53E0D02B}"/>
              </a:ext>
            </a:extLst>
          </p:cNvPr>
          <p:cNvSpPr/>
          <p:nvPr/>
        </p:nvSpPr>
        <p:spPr>
          <a:xfrm>
            <a:off x="7234543" y="3655532"/>
            <a:ext cx="15138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BA8038C-9C12-54A1-1B14-FA202FC21D98}"/>
              </a:ext>
            </a:extLst>
          </p:cNvPr>
          <p:cNvSpPr/>
          <p:nvPr/>
        </p:nvSpPr>
        <p:spPr>
          <a:xfrm>
            <a:off x="2923504" y="4427627"/>
            <a:ext cx="1513864" cy="3189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70F2F839-4EE6-FA64-5AD7-583632217978}"/>
              </a:ext>
            </a:extLst>
          </p:cNvPr>
          <p:cNvSpPr/>
          <p:nvPr/>
        </p:nvSpPr>
        <p:spPr>
          <a:xfrm>
            <a:off x="2999207" y="2612406"/>
            <a:ext cx="1513864" cy="3189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721D801C-CB82-8DCE-C209-9F9B0B6C53F2}"/>
              </a:ext>
            </a:extLst>
          </p:cNvPr>
          <p:cNvSpPr/>
          <p:nvPr/>
        </p:nvSpPr>
        <p:spPr>
          <a:xfrm>
            <a:off x="1145472" y="2306910"/>
            <a:ext cx="1513864" cy="318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9CB61311-8090-1E12-31D4-05FD0DB423B5}"/>
              </a:ext>
            </a:extLst>
          </p:cNvPr>
          <p:cNvSpPr/>
          <p:nvPr/>
        </p:nvSpPr>
        <p:spPr>
          <a:xfrm>
            <a:off x="1051765" y="3252456"/>
            <a:ext cx="1513864" cy="3189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8B335652-CDD9-0F87-34C7-E0D21546CB06}"/>
              </a:ext>
            </a:extLst>
          </p:cNvPr>
          <p:cNvSpPr/>
          <p:nvPr/>
        </p:nvSpPr>
        <p:spPr>
          <a:xfrm>
            <a:off x="2014843" y="1800871"/>
            <a:ext cx="15138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F7E94AB5-81A0-9F0F-14B3-978929FE80EB}"/>
              </a:ext>
            </a:extLst>
          </p:cNvPr>
          <p:cNvSpPr/>
          <p:nvPr/>
        </p:nvSpPr>
        <p:spPr>
          <a:xfrm>
            <a:off x="4679233" y="3732213"/>
            <a:ext cx="15138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A6467F8C-6323-A4DA-7ED7-A61F35A45B05}"/>
              </a:ext>
            </a:extLst>
          </p:cNvPr>
          <p:cNvSpPr/>
          <p:nvPr/>
        </p:nvSpPr>
        <p:spPr>
          <a:xfrm>
            <a:off x="9391650" y="1520825"/>
            <a:ext cx="2428875" cy="10399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22CAEA02-B56F-9480-D2A2-46CDDCCBE3EC}"/>
              </a:ext>
            </a:extLst>
          </p:cNvPr>
          <p:cNvSpPr/>
          <p:nvPr/>
        </p:nvSpPr>
        <p:spPr>
          <a:xfrm>
            <a:off x="9391650" y="2648428"/>
            <a:ext cx="2428875" cy="10399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64" name="Rectángulo 11263">
            <a:extLst>
              <a:ext uri="{FF2B5EF4-FFF2-40B4-BE49-F238E27FC236}">
                <a16:creationId xmlns:a16="http://schemas.microsoft.com/office/drawing/2014/main" id="{62A9F567-65A6-4B80-47C2-6C27766A3E6C}"/>
              </a:ext>
            </a:extLst>
          </p:cNvPr>
          <p:cNvSpPr/>
          <p:nvPr/>
        </p:nvSpPr>
        <p:spPr>
          <a:xfrm>
            <a:off x="9391650" y="3776031"/>
            <a:ext cx="2428875" cy="1039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65" name="Rectángulo 11264">
            <a:extLst>
              <a:ext uri="{FF2B5EF4-FFF2-40B4-BE49-F238E27FC236}">
                <a16:creationId xmlns:a16="http://schemas.microsoft.com/office/drawing/2014/main" id="{659482AE-B208-229B-1C6F-584B75D7B88E}"/>
              </a:ext>
            </a:extLst>
          </p:cNvPr>
          <p:cNvSpPr/>
          <p:nvPr/>
        </p:nvSpPr>
        <p:spPr>
          <a:xfrm>
            <a:off x="9391650" y="4903635"/>
            <a:ext cx="2428875" cy="10399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98479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5" name="Objeto 154" hidden="1">
            <a:extLst>
              <a:ext uri="{FF2B5EF4-FFF2-40B4-BE49-F238E27FC236}">
                <a16:creationId xmlns:a16="http://schemas.microsoft.com/office/drawing/2014/main" id="{E3900BBA-C2C4-AE3D-3FA7-B2BB98F1F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2897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55" name="Objeto 154" hidden="1">
                        <a:extLst>
                          <a:ext uri="{FF2B5EF4-FFF2-40B4-BE49-F238E27FC236}">
                            <a16:creationId xmlns:a16="http://schemas.microsoft.com/office/drawing/2014/main" id="{E3900BBA-C2C4-AE3D-3FA7-B2BB98F1F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" name="Marcador de texto 157">
            <a:extLst>
              <a:ext uri="{FF2B5EF4-FFF2-40B4-BE49-F238E27FC236}">
                <a16:creationId xmlns:a16="http://schemas.microsoft.com/office/drawing/2014/main" id="{3CE54C1C-A05B-A6FD-8E52-A8CD4D83B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6" name="Shape 61666">
            <a:extLst>
              <a:ext uri="{FF2B5EF4-FFF2-40B4-BE49-F238E27FC236}">
                <a16:creationId xmlns:a16="http://schemas.microsoft.com/office/drawing/2014/main" id="{1950E9E5-C146-7107-F494-6F383DAF1479}"/>
              </a:ext>
            </a:extLst>
          </p:cNvPr>
          <p:cNvSpPr/>
          <p:nvPr/>
        </p:nvSpPr>
        <p:spPr>
          <a:xfrm>
            <a:off x="645397" y="1520825"/>
            <a:ext cx="3100297" cy="956056"/>
          </a:xfrm>
          <a:prstGeom prst="roundRect">
            <a:avLst>
              <a:gd name="adj" fmla="val 9057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7" name="Shape 61667">
            <a:extLst>
              <a:ext uri="{FF2B5EF4-FFF2-40B4-BE49-F238E27FC236}">
                <a16:creationId xmlns:a16="http://schemas.microsoft.com/office/drawing/2014/main" id="{5E4B79A1-1399-31D9-9277-B9D6D06C9272}"/>
              </a:ext>
            </a:extLst>
          </p:cNvPr>
          <p:cNvSpPr/>
          <p:nvPr/>
        </p:nvSpPr>
        <p:spPr>
          <a:xfrm>
            <a:off x="3648456" y="1520825"/>
            <a:ext cx="2450702" cy="95605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8" name="Shape 61668">
            <a:extLst>
              <a:ext uri="{FF2B5EF4-FFF2-40B4-BE49-F238E27FC236}">
                <a16:creationId xmlns:a16="http://schemas.microsoft.com/office/drawing/2014/main" id="{FC46AE09-7ABD-64C0-CB2A-39B1AE7301A9}"/>
              </a:ext>
            </a:extLst>
          </p:cNvPr>
          <p:cNvSpPr/>
          <p:nvPr/>
        </p:nvSpPr>
        <p:spPr>
          <a:xfrm>
            <a:off x="5853742" y="1520889"/>
            <a:ext cx="2216086" cy="956056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9" name="Shape 61669">
            <a:extLst>
              <a:ext uri="{FF2B5EF4-FFF2-40B4-BE49-F238E27FC236}">
                <a16:creationId xmlns:a16="http://schemas.microsoft.com/office/drawing/2014/main" id="{B12392D8-994B-A0AA-BBB5-E75E215C2C3B}"/>
              </a:ext>
            </a:extLst>
          </p:cNvPr>
          <p:cNvSpPr/>
          <p:nvPr/>
        </p:nvSpPr>
        <p:spPr>
          <a:xfrm>
            <a:off x="8060266" y="1520825"/>
            <a:ext cx="1973061" cy="14331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409"/>
                </a:lnTo>
                <a:lnTo>
                  <a:pt x="11134" y="14409"/>
                </a:lnTo>
                <a:lnTo>
                  <a:pt x="11134" y="21600"/>
                </a:lnTo>
                <a:lnTo>
                  <a:pt x="21600" y="21600"/>
                </a:lnTo>
                <a:lnTo>
                  <a:pt x="21600" y="12198"/>
                </a:lnTo>
                <a:lnTo>
                  <a:pt x="21600" y="2202"/>
                </a:lnTo>
                <a:cubicBezTo>
                  <a:pt x="21600" y="1886"/>
                  <a:pt x="21600" y="1647"/>
                  <a:pt x="21590" y="1445"/>
                </a:cubicBezTo>
                <a:cubicBezTo>
                  <a:pt x="21580" y="1244"/>
                  <a:pt x="21561" y="1080"/>
                  <a:pt x="21521" y="910"/>
                </a:cubicBezTo>
                <a:cubicBezTo>
                  <a:pt x="21472" y="723"/>
                  <a:pt x="21395" y="556"/>
                  <a:pt x="21296" y="419"/>
                </a:cubicBezTo>
                <a:cubicBezTo>
                  <a:pt x="21196" y="282"/>
                  <a:pt x="21075" y="176"/>
                  <a:pt x="20939" y="108"/>
                </a:cubicBezTo>
                <a:cubicBezTo>
                  <a:pt x="20816" y="54"/>
                  <a:pt x="20697" y="27"/>
                  <a:pt x="20550" y="14"/>
                </a:cubicBezTo>
                <a:cubicBezTo>
                  <a:pt x="20403" y="0"/>
                  <a:pt x="20227" y="0"/>
                  <a:pt x="19994" y="0"/>
                </a:cubicBezTo>
                <a:lnTo>
                  <a:pt x="1273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0" name="Shape 61670">
            <a:extLst>
              <a:ext uri="{FF2B5EF4-FFF2-40B4-BE49-F238E27FC236}">
                <a16:creationId xmlns:a16="http://schemas.microsoft.com/office/drawing/2014/main" id="{BFCE12BA-3A1F-8B86-9C4A-35444432223A}"/>
              </a:ext>
            </a:extLst>
          </p:cNvPr>
          <p:cNvSpPr/>
          <p:nvPr/>
        </p:nvSpPr>
        <p:spPr>
          <a:xfrm>
            <a:off x="8060266" y="2952220"/>
            <a:ext cx="1973061" cy="14400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34" y="0"/>
                </a:moveTo>
                <a:lnTo>
                  <a:pt x="11134" y="7260"/>
                </a:lnTo>
                <a:lnTo>
                  <a:pt x="0" y="7260"/>
                </a:lnTo>
                <a:lnTo>
                  <a:pt x="0" y="21600"/>
                </a:lnTo>
                <a:lnTo>
                  <a:pt x="19994" y="21600"/>
                </a:lnTo>
                <a:lnTo>
                  <a:pt x="20001" y="21600"/>
                </a:lnTo>
                <a:cubicBezTo>
                  <a:pt x="20231" y="21600"/>
                  <a:pt x="20404" y="21600"/>
                  <a:pt x="20550" y="21586"/>
                </a:cubicBezTo>
                <a:cubicBezTo>
                  <a:pt x="20696" y="21573"/>
                  <a:pt x="20816" y="21546"/>
                  <a:pt x="20939" y="21492"/>
                </a:cubicBezTo>
                <a:cubicBezTo>
                  <a:pt x="21075" y="21425"/>
                  <a:pt x="21196" y="21319"/>
                  <a:pt x="21296" y="21183"/>
                </a:cubicBezTo>
                <a:cubicBezTo>
                  <a:pt x="21395" y="21047"/>
                  <a:pt x="21472" y="20880"/>
                  <a:pt x="21521" y="20695"/>
                </a:cubicBezTo>
                <a:cubicBezTo>
                  <a:pt x="21561" y="20525"/>
                  <a:pt x="21580" y="20362"/>
                  <a:pt x="21590" y="20161"/>
                </a:cubicBezTo>
                <a:cubicBezTo>
                  <a:pt x="21600" y="19961"/>
                  <a:pt x="21600" y="19723"/>
                  <a:pt x="21600" y="19409"/>
                </a:cubicBezTo>
                <a:lnTo>
                  <a:pt x="21600" y="19261"/>
                </a:lnTo>
                <a:lnTo>
                  <a:pt x="21600" y="19252"/>
                </a:lnTo>
                <a:lnTo>
                  <a:pt x="21600" y="9460"/>
                </a:lnTo>
                <a:lnTo>
                  <a:pt x="21600" y="0"/>
                </a:lnTo>
                <a:lnTo>
                  <a:pt x="11134" y="0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1" name="Shape 61671">
            <a:extLst>
              <a:ext uri="{FF2B5EF4-FFF2-40B4-BE49-F238E27FC236}">
                <a16:creationId xmlns:a16="http://schemas.microsoft.com/office/drawing/2014/main" id="{FC7F8580-39F9-D0CD-CB08-DA7AD7E527F8}"/>
              </a:ext>
            </a:extLst>
          </p:cNvPr>
          <p:cNvSpPr/>
          <p:nvPr/>
        </p:nvSpPr>
        <p:spPr>
          <a:xfrm>
            <a:off x="6099158" y="3436272"/>
            <a:ext cx="1970670" cy="956056"/>
          </a:xfrm>
          <a:prstGeom prst="rect">
            <a:avLst/>
          </a:pr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2" name="Shape 61672">
            <a:extLst>
              <a:ext uri="{FF2B5EF4-FFF2-40B4-BE49-F238E27FC236}">
                <a16:creationId xmlns:a16="http://schemas.microsoft.com/office/drawing/2014/main" id="{A843D383-1620-F2B0-21CC-0CA6905CBA5F}"/>
              </a:ext>
            </a:extLst>
          </p:cNvPr>
          <p:cNvSpPr/>
          <p:nvPr/>
        </p:nvSpPr>
        <p:spPr>
          <a:xfrm>
            <a:off x="4128488" y="3436036"/>
            <a:ext cx="1970670" cy="95605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3" name="Shape 61673">
            <a:extLst>
              <a:ext uri="{FF2B5EF4-FFF2-40B4-BE49-F238E27FC236}">
                <a16:creationId xmlns:a16="http://schemas.microsoft.com/office/drawing/2014/main" id="{879470FE-3EA1-1A93-ADC4-71E3742BC124}"/>
              </a:ext>
            </a:extLst>
          </p:cNvPr>
          <p:cNvSpPr/>
          <p:nvPr/>
        </p:nvSpPr>
        <p:spPr>
          <a:xfrm rot="10800000">
            <a:off x="2155428" y="3436123"/>
            <a:ext cx="1973060" cy="1440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34" y="0"/>
                </a:moveTo>
                <a:lnTo>
                  <a:pt x="11134" y="7260"/>
                </a:lnTo>
                <a:lnTo>
                  <a:pt x="0" y="7260"/>
                </a:lnTo>
                <a:lnTo>
                  <a:pt x="0" y="21600"/>
                </a:lnTo>
                <a:lnTo>
                  <a:pt x="19994" y="21600"/>
                </a:lnTo>
                <a:lnTo>
                  <a:pt x="20001" y="21600"/>
                </a:lnTo>
                <a:cubicBezTo>
                  <a:pt x="20231" y="21600"/>
                  <a:pt x="20404" y="21600"/>
                  <a:pt x="20550" y="21586"/>
                </a:cubicBezTo>
                <a:cubicBezTo>
                  <a:pt x="20696" y="21573"/>
                  <a:pt x="20816" y="21546"/>
                  <a:pt x="20939" y="21492"/>
                </a:cubicBezTo>
                <a:cubicBezTo>
                  <a:pt x="21075" y="21425"/>
                  <a:pt x="21196" y="21319"/>
                  <a:pt x="21296" y="21183"/>
                </a:cubicBezTo>
                <a:cubicBezTo>
                  <a:pt x="21395" y="21047"/>
                  <a:pt x="21472" y="20880"/>
                  <a:pt x="21521" y="20695"/>
                </a:cubicBezTo>
                <a:cubicBezTo>
                  <a:pt x="21561" y="20525"/>
                  <a:pt x="21580" y="20362"/>
                  <a:pt x="21590" y="20161"/>
                </a:cubicBezTo>
                <a:cubicBezTo>
                  <a:pt x="21600" y="19961"/>
                  <a:pt x="21600" y="19723"/>
                  <a:pt x="21600" y="19409"/>
                </a:cubicBezTo>
                <a:lnTo>
                  <a:pt x="21600" y="19265"/>
                </a:lnTo>
                <a:lnTo>
                  <a:pt x="21600" y="19256"/>
                </a:lnTo>
                <a:lnTo>
                  <a:pt x="21600" y="9460"/>
                </a:lnTo>
                <a:lnTo>
                  <a:pt x="21600" y="0"/>
                </a:lnTo>
                <a:lnTo>
                  <a:pt x="11134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4" name="Shape 61674">
            <a:extLst>
              <a:ext uri="{FF2B5EF4-FFF2-40B4-BE49-F238E27FC236}">
                <a16:creationId xmlns:a16="http://schemas.microsoft.com/office/drawing/2014/main" id="{C4BD6F44-4E29-405A-7EF2-23C3F307E4BE}"/>
              </a:ext>
            </a:extLst>
          </p:cNvPr>
          <p:cNvSpPr/>
          <p:nvPr/>
        </p:nvSpPr>
        <p:spPr>
          <a:xfrm>
            <a:off x="2155428" y="4876282"/>
            <a:ext cx="1973060" cy="14400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460"/>
                </a:lnTo>
                <a:lnTo>
                  <a:pt x="0" y="19252"/>
                </a:lnTo>
                <a:lnTo>
                  <a:pt x="0" y="19261"/>
                </a:lnTo>
                <a:lnTo>
                  <a:pt x="0" y="19409"/>
                </a:lnTo>
                <a:cubicBezTo>
                  <a:pt x="0" y="19723"/>
                  <a:pt x="0" y="19961"/>
                  <a:pt x="10" y="20161"/>
                </a:cubicBezTo>
                <a:cubicBezTo>
                  <a:pt x="20" y="20362"/>
                  <a:pt x="39" y="20525"/>
                  <a:pt x="79" y="20695"/>
                </a:cubicBezTo>
                <a:cubicBezTo>
                  <a:pt x="128" y="20880"/>
                  <a:pt x="205" y="21047"/>
                  <a:pt x="304" y="21183"/>
                </a:cubicBezTo>
                <a:cubicBezTo>
                  <a:pt x="404" y="21319"/>
                  <a:pt x="525" y="21425"/>
                  <a:pt x="661" y="21492"/>
                </a:cubicBezTo>
                <a:cubicBezTo>
                  <a:pt x="784" y="21546"/>
                  <a:pt x="904" y="21573"/>
                  <a:pt x="1050" y="21586"/>
                </a:cubicBezTo>
                <a:cubicBezTo>
                  <a:pt x="1196" y="21600"/>
                  <a:pt x="1369" y="21600"/>
                  <a:pt x="1599" y="21600"/>
                </a:cubicBezTo>
                <a:lnTo>
                  <a:pt x="1606" y="21600"/>
                </a:lnTo>
                <a:lnTo>
                  <a:pt x="21600" y="21600"/>
                </a:lnTo>
                <a:lnTo>
                  <a:pt x="21600" y="7260"/>
                </a:lnTo>
                <a:lnTo>
                  <a:pt x="10466" y="7260"/>
                </a:lnTo>
                <a:lnTo>
                  <a:pt x="1046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5" name="Shape 61675">
            <a:extLst>
              <a:ext uri="{FF2B5EF4-FFF2-40B4-BE49-F238E27FC236}">
                <a16:creationId xmlns:a16="http://schemas.microsoft.com/office/drawing/2014/main" id="{56AE2457-512F-3F7A-C431-2EE9029A727F}"/>
              </a:ext>
            </a:extLst>
          </p:cNvPr>
          <p:cNvSpPr/>
          <p:nvPr/>
        </p:nvSpPr>
        <p:spPr>
          <a:xfrm flipH="1">
            <a:off x="8357616" y="5361514"/>
            <a:ext cx="3099814" cy="956056"/>
          </a:xfrm>
          <a:prstGeom prst="roundRect">
            <a:avLst>
              <a:gd name="adj" fmla="val 9234"/>
            </a:avLst>
          </a:pr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6" name="Shape 61676">
            <a:extLst>
              <a:ext uri="{FF2B5EF4-FFF2-40B4-BE49-F238E27FC236}">
                <a16:creationId xmlns:a16="http://schemas.microsoft.com/office/drawing/2014/main" id="{DAE0E5BA-662E-F2B8-69DD-2C58B6BB6937}"/>
              </a:ext>
            </a:extLst>
          </p:cNvPr>
          <p:cNvSpPr/>
          <p:nvPr/>
        </p:nvSpPr>
        <p:spPr>
          <a:xfrm>
            <a:off x="6341670" y="5361516"/>
            <a:ext cx="2250182" cy="956056"/>
          </a:xfrm>
          <a:prstGeom prst="rect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7" name="Shape 61677">
            <a:extLst>
              <a:ext uri="{FF2B5EF4-FFF2-40B4-BE49-F238E27FC236}">
                <a16:creationId xmlns:a16="http://schemas.microsoft.com/office/drawing/2014/main" id="{BE275C7C-AA63-5019-5996-913E55CC3E6F}"/>
              </a:ext>
            </a:extLst>
          </p:cNvPr>
          <p:cNvSpPr/>
          <p:nvPr/>
        </p:nvSpPr>
        <p:spPr>
          <a:xfrm>
            <a:off x="4128487" y="5361280"/>
            <a:ext cx="2213183" cy="956056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8" name="Rectangle 16">
            <a:extLst>
              <a:ext uri="{FF2B5EF4-FFF2-40B4-BE49-F238E27FC236}">
                <a16:creationId xmlns:a16="http://schemas.microsoft.com/office/drawing/2014/main" id="{3DE7F1BA-6F7D-7BCF-9D60-7C36EC99E9FE}"/>
              </a:ext>
            </a:extLst>
          </p:cNvPr>
          <p:cNvSpPr/>
          <p:nvPr/>
        </p:nvSpPr>
        <p:spPr>
          <a:xfrm>
            <a:off x="1656494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19" name="Subtitle 2">
            <a:extLst>
              <a:ext uri="{FF2B5EF4-FFF2-40B4-BE49-F238E27FC236}">
                <a16:creationId xmlns:a16="http://schemas.microsoft.com/office/drawing/2014/main" id="{71C089FD-463A-C043-7D6E-E6A6D52FD91D}"/>
              </a:ext>
            </a:extLst>
          </p:cNvPr>
          <p:cNvSpPr txBox="1">
            <a:spLocks/>
          </p:cNvSpPr>
          <p:nvPr/>
        </p:nvSpPr>
        <p:spPr>
          <a:xfrm>
            <a:off x="2152043" y="1578024"/>
            <a:ext cx="1368397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0" name="Rectangle 20">
            <a:extLst>
              <a:ext uri="{FF2B5EF4-FFF2-40B4-BE49-F238E27FC236}">
                <a16:creationId xmlns:a16="http://schemas.microsoft.com/office/drawing/2014/main" id="{B94F5086-B33B-A6CD-DB0E-ED053A00EC46}"/>
              </a:ext>
            </a:extLst>
          </p:cNvPr>
          <p:cNvSpPr/>
          <p:nvPr/>
        </p:nvSpPr>
        <p:spPr>
          <a:xfrm>
            <a:off x="3639068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1" name="Subtitle 2">
            <a:extLst>
              <a:ext uri="{FF2B5EF4-FFF2-40B4-BE49-F238E27FC236}">
                <a16:creationId xmlns:a16="http://schemas.microsoft.com/office/drawing/2014/main" id="{46E23F22-A9D0-44D7-1CB8-23202DCCE46C}"/>
              </a:ext>
            </a:extLst>
          </p:cNvPr>
          <p:cNvSpPr txBox="1">
            <a:spLocks/>
          </p:cNvSpPr>
          <p:nvPr/>
        </p:nvSpPr>
        <p:spPr>
          <a:xfrm>
            <a:off x="4213271" y="1578024"/>
            <a:ext cx="1607715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2" name="Rectangle 23">
            <a:extLst>
              <a:ext uri="{FF2B5EF4-FFF2-40B4-BE49-F238E27FC236}">
                <a16:creationId xmlns:a16="http://schemas.microsoft.com/office/drawing/2014/main" id="{24E1CBBA-241D-A7EA-9787-95A56CDC75FD}"/>
              </a:ext>
            </a:extLst>
          </p:cNvPr>
          <p:cNvSpPr/>
          <p:nvPr/>
        </p:nvSpPr>
        <p:spPr>
          <a:xfrm>
            <a:off x="6027879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3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3" name="Subtitle 2">
            <a:extLst>
              <a:ext uri="{FF2B5EF4-FFF2-40B4-BE49-F238E27FC236}">
                <a16:creationId xmlns:a16="http://schemas.microsoft.com/office/drawing/2014/main" id="{4171B52A-B271-7F36-023C-8B39FA8CAB40}"/>
              </a:ext>
            </a:extLst>
          </p:cNvPr>
          <p:cNvSpPr txBox="1">
            <a:spLocks/>
          </p:cNvSpPr>
          <p:nvPr/>
        </p:nvSpPr>
        <p:spPr>
          <a:xfrm>
            <a:off x="6422026" y="1578024"/>
            <a:ext cx="1540182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4" name="Rectangle 26">
            <a:extLst>
              <a:ext uri="{FF2B5EF4-FFF2-40B4-BE49-F238E27FC236}">
                <a16:creationId xmlns:a16="http://schemas.microsoft.com/office/drawing/2014/main" id="{278094BD-8B87-4682-01F2-486AC8D2C029}"/>
              </a:ext>
            </a:extLst>
          </p:cNvPr>
          <p:cNvSpPr/>
          <p:nvPr/>
        </p:nvSpPr>
        <p:spPr>
          <a:xfrm>
            <a:off x="8113836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4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5" name="Subtitle 2">
            <a:extLst>
              <a:ext uri="{FF2B5EF4-FFF2-40B4-BE49-F238E27FC236}">
                <a16:creationId xmlns:a16="http://schemas.microsoft.com/office/drawing/2014/main" id="{44728B31-4D1B-F1EB-2245-864218220E94}"/>
              </a:ext>
            </a:extLst>
          </p:cNvPr>
          <p:cNvSpPr txBox="1">
            <a:spLocks/>
          </p:cNvSpPr>
          <p:nvPr/>
        </p:nvSpPr>
        <p:spPr>
          <a:xfrm>
            <a:off x="8576600" y="1578024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6" name="Rectangle 29">
            <a:extLst>
              <a:ext uri="{FF2B5EF4-FFF2-40B4-BE49-F238E27FC236}">
                <a16:creationId xmlns:a16="http://schemas.microsoft.com/office/drawing/2014/main" id="{B6CAFB3C-4692-311C-4A69-60FB9E421CA9}"/>
              </a:ext>
            </a:extLst>
          </p:cNvPr>
          <p:cNvSpPr/>
          <p:nvPr/>
        </p:nvSpPr>
        <p:spPr>
          <a:xfrm>
            <a:off x="8113836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5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7" name="Subtitle 2">
            <a:extLst>
              <a:ext uri="{FF2B5EF4-FFF2-40B4-BE49-F238E27FC236}">
                <a16:creationId xmlns:a16="http://schemas.microsoft.com/office/drawing/2014/main" id="{62DD926F-B010-4889-16CF-0A453C2610D9}"/>
              </a:ext>
            </a:extLst>
          </p:cNvPr>
          <p:cNvSpPr txBox="1">
            <a:spLocks/>
          </p:cNvSpPr>
          <p:nvPr/>
        </p:nvSpPr>
        <p:spPr>
          <a:xfrm>
            <a:off x="8576600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8" name="Rectangle 36">
            <a:extLst>
              <a:ext uri="{FF2B5EF4-FFF2-40B4-BE49-F238E27FC236}">
                <a16:creationId xmlns:a16="http://schemas.microsoft.com/office/drawing/2014/main" id="{72E11CE7-71AE-6AB5-CDAE-07892434D056}"/>
              </a:ext>
            </a:extLst>
          </p:cNvPr>
          <p:cNvSpPr/>
          <p:nvPr/>
        </p:nvSpPr>
        <p:spPr>
          <a:xfrm>
            <a:off x="6146751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6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9" name="Subtitle 2">
            <a:extLst>
              <a:ext uri="{FF2B5EF4-FFF2-40B4-BE49-F238E27FC236}">
                <a16:creationId xmlns:a16="http://schemas.microsoft.com/office/drawing/2014/main" id="{9F560528-983C-3DCC-EFC0-16FEFC806804}"/>
              </a:ext>
            </a:extLst>
          </p:cNvPr>
          <p:cNvSpPr txBox="1">
            <a:spLocks/>
          </p:cNvSpPr>
          <p:nvPr/>
        </p:nvSpPr>
        <p:spPr>
          <a:xfrm>
            <a:off x="6609515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0" name="Rectangle 39">
            <a:extLst>
              <a:ext uri="{FF2B5EF4-FFF2-40B4-BE49-F238E27FC236}">
                <a16:creationId xmlns:a16="http://schemas.microsoft.com/office/drawing/2014/main" id="{390F9919-DDDC-4E68-EEB0-0306008F90AF}"/>
              </a:ext>
            </a:extLst>
          </p:cNvPr>
          <p:cNvSpPr/>
          <p:nvPr/>
        </p:nvSpPr>
        <p:spPr>
          <a:xfrm>
            <a:off x="4176081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7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1" name="Subtitle 2">
            <a:extLst>
              <a:ext uri="{FF2B5EF4-FFF2-40B4-BE49-F238E27FC236}">
                <a16:creationId xmlns:a16="http://schemas.microsoft.com/office/drawing/2014/main" id="{20D8F0C4-F4A2-FD11-8DFC-74D412009F0D}"/>
              </a:ext>
            </a:extLst>
          </p:cNvPr>
          <p:cNvSpPr txBox="1">
            <a:spLocks/>
          </p:cNvSpPr>
          <p:nvPr/>
        </p:nvSpPr>
        <p:spPr>
          <a:xfrm>
            <a:off x="4638845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2" name="Rectangle 42">
            <a:extLst>
              <a:ext uri="{FF2B5EF4-FFF2-40B4-BE49-F238E27FC236}">
                <a16:creationId xmlns:a16="http://schemas.microsoft.com/office/drawing/2014/main" id="{96130289-1D58-D743-88EF-C88570BB6866}"/>
              </a:ext>
            </a:extLst>
          </p:cNvPr>
          <p:cNvSpPr/>
          <p:nvPr/>
        </p:nvSpPr>
        <p:spPr>
          <a:xfrm>
            <a:off x="2204217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8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3" name="Subtitle 2">
            <a:extLst>
              <a:ext uri="{FF2B5EF4-FFF2-40B4-BE49-F238E27FC236}">
                <a16:creationId xmlns:a16="http://schemas.microsoft.com/office/drawing/2014/main" id="{542DB582-C161-A38C-8A62-8D4E7F9411F5}"/>
              </a:ext>
            </a:extLst>
          </p:cNvPr>
          <p:cNvSpPr txBox="1">
            <a:spLocks/>
          </p:cNvSpPr>
          <p:nvPr/>
        </p:nvSpPr>
        <p:spPr>
          <a:xfrm>
            <a:off x="2666981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4" name="Rectangle 57">
            <a:extLst>
              <a:ext uri="{FF2B5EF4-FFF2-40B4-BE49-F238E27FC236}">
                <a16:creationId xmlns:a16="http://schemas.microsoft.com/office/drawing/2014/main" id="{F4C8842D-A26E-2D7D-BE2A-E1D8F3A94844}"/>
              </a:ext>
            </a:extLst>
          </p:cNvPr>
          <p:cNvSpPr/>
          <p:nvPr/>
        </p:nvSpPr>
        <p:spPr>
          <a:xfrm>
            <a:off x="6361527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1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5" name="Subtitle 2">
            <a:extLst>
              <a:ext uri="{FF2B5EF4-FFF2-40B4-BE49-F238E27FC236}">
                <a16:creationId xmlns:a16="http://schemas.microsoft.com/office/drawing/2014/main" id="{B6C871F8-7389-4AF8-3BE8-FE64C98B23FF}"/>
              </a:ext>
            </a:extLst>
          </p:cNvPr>
          <p:cNvSpPr txBox="1">
            <a:spLocks/>
          </p:cNvSpPr>
          <p:nvPr/>
        </p:nvSpPr>
        <p:spPr>
          <a:xfrm>
            <a:off x="7011851" y="5421332"/>
            <a:ext cx="1460313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6" name="Rectangle 60">
            <a:extLst>
              <a:ext uri="{FF2B5EF4-FFF2-40B4-BE49-F238E27FC236}">
                <a16:creationId xmlns:a16="http://schemas.microsoft.com/office/drawing/2014/main" id="{F5A7C031-B438-382E-A489-A7085A64A53E}"/>
              </a:ext>
            </a:extLst>
          </p:cNvPr>
          <p:cNvSpPr/>
          <p:nvPr/>
        </p:nvSpPr>
        <p:spPr>
          <a:xfrm>
            <a:off x="4179076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0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7" name="Subtitle 2">
            <a:extLst>
              <a:ext uri="{FF2B5EF4-FFF2-40B4-BE49-F238E27FC236}">
                <a16:creationId xmlns:a16="http://schemas.microsoft.com/office/drawing/2014/main" id="{E7040EDD-536E-820D-2469-F496BA855BCF}"/>
              </a:ext>
            </a:extLst>
          </p:cNvPr>
          <p:cNvSpPr txBox="1">
            <a:spLocks/>
          </p:cNvSpPr>
          <p:nvPr/>
        </p:nvSpPr>
        <p:spPr>
          <a:xfrm>
            <a:off x="4858301" y="5421332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8" name="Rectangle 63">
            <a:extLst>
              <a:ext uri="{FF2B5EF4-FFF2-40B4-BE49-F238E27FC236}">
                <a16:creationId xmlns:a16="http://schemas.microsoft.com/office/drawing/2014/main" id="{16882CF9-38CA-C9F4-5854-614A59EB358D}"/>
              </a:ext>
            </a:extLst>
          </p:cNvPr>
          <p:cNvSpPr/>
          <p:nvPr/>
        </p:nvSpPr>
        <p:spPr>
          <a:xfrm>
            <a:off x="2204217" y="5513667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9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9" name="Subtitle 2">
            <a:extLst>
              <a:ext uri="{FF2B5EF4-FFF2-40B4-BE49-F238E27FC236}">
                <a16:creationId xmlns:a16="http://schemas.microsoft.com/office/drawing/2014/main" id="{E9D8A6FD-FECF-3A82-B13F-40BE13B31E73}"/>
              </a:ext>
            </a:extLst>
          </p:cNvPr>
          <p:cNvSpPr txBox="1">
            <a:spLocks/>
          </p:cNvSpPr>
          <p:nvPr/>
        </p:nvSpPr>
        <p:spPr>
          <a:xfrm>
            <a:off x="2666981" y="5421332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40" name="Rectangle 66">
            <a:extLst>
              <a:ext uri="{FF2B5EF4-FFF2-40B4-BE49-F238E27FC236}">
                <a16:creationId xmlns:a16="http://schemas.microsoft.com/office/drawing/2014/main" id="{3D5F710E-6F82-E4AF-6C6B-A17479CBBCBF}"/>
              </a:ext>
            </a:extLst>
          </p:cNvPr>
          <p:cNvSpPr/>
          <p:nvPr/>
        </p:nvSpPr>
        <p:spPr>
          <a:xfrm>
            <a:off x="8646365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41" name="Subtitle 2">
            <a:extLst>
              <a:ext uri="{FF2B5EF4-FFF2-40B4-BE49-F238E27FC236}">
                <a16:creationId xmlns:a16="http://schemas.microsoft.com/office/drawing/2014/main" id="{73AFEB77-19AF-3213-4662-499F8D74101F}"/>
              </a:ext>
            </a:extLst>
          </p:cNvPr>
          <p:cNvSpPr txBox="1">
            <a:spLocks/>
          </p:cNvSpPr>
          <p:nvPr/>
        </p:nvSpPr>
        <p:spPr>
          <a:xfrm>
            <a:off x="9475260" y="5421332"/>
            <a:ext cx="1415244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42" name="TextBox 3">
            <a:extLst>
              <a:ext uri="{FF2B5EF4-FFF2-40B4-BE49-F238E27FC236}">
                <a16:creationId xmlns:a16="http://schemas.microsoft.com/office/drawing/2014/main" id="{F8E487A4-CEA6-632F-7AE6-F5DBD6C0815C}"/>
              </a:ext>
            </a:extLst>
          </p:cNvPr>
          <p:cNvSpPr txBox="1"/>
          <p:nvPr/>
        </p:nvSpPr>
        <p:spPr>
          <a:xfrm rot="16200000">
            <a:off x="167458" y="1868996"/>
            <a:ext cx="696169" cy="259711"/>
          </a:xfrm>
          <a:prstGeom prst="rect">
            <a:avLst/>
          </a:prstGeom>
          <a:noFill/>
          <a:effectLst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cs typeface="Poppins" pitchFamily="2" charset="77"/>
              </a:rPr>
              <a:t>START</a:t>
            </a:r>
          </a:p>
        </p:txBody>
      </p:sp>
      <p:sp>
        <p:nvSpPr>
          <p:cNvPr id="143" name="TextBox 68">
            <a:extLst>
              <a:ext uri="{FF2B5EF4-FFF2-40B4-BE49-F238E27FC236}">
                <a16:creationId xmlns:a16="http://schemas.microsoft.com/office/drawing/2014/main" id="{870AF929-01AB-6569-3505-FDA456A36476}"/>
              </a:ext>
            </a:extLst>
          </p:cNvPr>
          <p:cNvSpPr txBox="1"/>
          <p:nvPr/>
        </p:nvSpPr>
        <p:spPr>
          <a:xfrm rot="5400000">
            <a:off x="11437591" y="5709452"/>
            <a:ext cx="514312" cy="25971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cs typeface="Poppins" pitchFamily="2" charset="77"/>
              </a:rPr>
              <a:t>END</a:t>
            </a:r>
          </a:p>
        </p:txBody>
      </p:sp>
      <p:grpSp>
        <p:nvGrpSpPr>
          <p:cNvPr id="144" name="Grupo 42">
            <a:extLst>
              <a:ext uri="{FF2B5EF4-FFF2-40B4-BE49-F238E27FC236}">
                <a16:creationId xmlns:a16="http://schemas.microsoft.com/office/drawing/2014/main" id="{A24D8291-8111-9E2D-89B9-A0D5C15F45B2}"/>
              </a:ext>
            </a:extLst>
          </p:cNvPr>
          <p:cNvGrpSpPr/>
          <p:nvPr/>
        </p:nvGrpSpPr>
        <p:grpSpPr>
          <a:xfrm>
            <a:off x="858252" y="1721226"/>
            <a:ext cx="478016" cy="565261"/>
            <a:chOff x="3657318" y="2960019"/>
            <a:chExt cx="428407" cy="506598"/>
          </a:xfrm>
          <a:effectLst/>
        </p:grpSpPr>
        <p:grpSp>
          <p:nvGrpSpPr>
            <p:cNvPr id="145" name="Grupo 43">
              <a:extLst>
                <a:ext uri="{FF2B5EF4-FFF2-40B4-BE49-F238E27FC236}">
                  <a16:creationId xmlns:a16="http://schemas.microsoft.com/office/drawing/2014/main" id="{F244BB54-EBDB-346C-80B7-A6F11DD5AAA5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147" name="Conector recto 45">
                <a:extLst>
                  <a:ext uri="{FF2B5EF4-FFF2-40B4-BE49-F238E27FC236}">
                    <a16:creationId xmlns:a16="http://schemas.microsoft.com/office/drawing/2014/main" id="{EE6220FC-D352-41A6-6760-F022293F7A80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Conector recto 46">
                <a:extLst>
                  <a:ext uri="{FF2B5EF4-FFF2-40B4-BE49-F238E27FC236}">
                    <a16:creationId xmlns:a16="http://schemas.microsoft.com/office/drawing/2014/main" id="{74E6FD5A-F851-7BE4-7FFB-3951DEF0EBC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46" name="Conector recto 44">
              <a:extLst>
                <a:ext uri="{FF2B5EF4-FFF2-40B4-BE49-F238E27FC236}">
                  <a16:creationId xmlns:a16="http://schemas.microsoft.com/office/drawing/2014/main" id="{8027E99E-4909-A8E1-B78F-12FF79B4C751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Grupo 42">
            <a:extLst>
              <a:ext uri="{FF2B5EF4-FFF2-40B4-BE49-F238E27FC236}">
                <a16:creationId xmlns:a16="http://schemas.microsoft.com/office/drawing/2014/main" id="{C30E417F-3943-49B8-4676-3917A4B34399}"/>
              </a:ext>
            </a:extLst>
          </p:cNvPr>
          <p:cNvGrpSpPr/>
          <p:nvPr/>
        </p:nvGrpSpPr>
        <p:grpSpPr>
          <a:xfrm>
            <a:off x="10890504" y="5562959"/>
            <a:ext cx="478016" cy="565261"/>
            <a:chOff x="3657318" y="2960019"/>
            <a:chExt cx="428407" cy="506598"/>
          </a:xfrm>
          <a:effectLst/>
        </p:grpSpPr>
        <p:grpSp>
          <p:nvGrpSpPr>
            <p:cNvPr id="150" name="Grupo 43">
              <a:extLst>
                <a:ext uri="{FF2B5EF4-FFF2-40B4-BE49-F238E27FC236}">
                  <a16:creationId xmlns:a16="http://schemas.microsoft.com/office/drawing/2014/main" id="{030A8BDF-FF3E-A73B-4860-81FADD89CA9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152" name="Conector recto 45">
                <a:extLst>
                  <a:ext uri="{FF2B5EF4-FFF2-40B4-BE49-F238E27FC236}">
                    <a16:creationId xmlns:a16="http://schemas.microsoft.com/office/drawing/2014/main" id="{EB671E09-F9EC-33EB-E70D-D130D0F7CE3A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Conector recto 46">
                <a:extLst>
                  <a:ext uri="{FF2B5EF4-FFF2-40B4-BE49-F238E27FC236}">
                    <a16:creationId xmlns:a16="http://schemas.microsoft.com/office/drawing/2014/main" id="{AB72B258-D1AC-816B-A6B4-01EA340849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1" name="Conector recto 44">
              <a:extLst>
                <a:ext uri="{FF2B5EF4-FFF2-40B4-BE49-F238E27FC236}">
                  <a16:creationId xmlns:a16="http://schemas.microsoft.com/office/drawing/2014/main" id="{A2367831-FA6C-D190-4B62-85D4B1195C7A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5C3DA1-3D21-2FA9-0649-5A7D622F1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11E47216-3A15-A77B-C6A8-1EC5217DF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workflow</a:t>
            </a:r>
          </a:p>
        </p:txBody>
      </p:sp>
    </p:spTree>
    <p:extLst>
      <p:ext uri="{BB962C8B-B14F-4D97-AF65-F5344CB8AC3E}">
        <p14:creationId xmlns:p14="http://schemas.microsoft.com/office/powerpoint/2010/main" val="669193148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09382C0E-31B4-30BD-AB2E-997FFA674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745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09382C0E-31B4-30BD-AB2E-997FFA674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A97EDA11-A44B-2D21-B009-1862F62BE9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58">
            <a:extLst>
              <a:ext uri="{FF2B5EF4-FFF2-40B4-BE49-F238E27FC236}">
                <a16:creationId xmlns:a16="http://schemas.microsoft.com/office/drawing/2014/main" id="{E394932E-7D43-8CB5-7995-9E326671E002}"/>
              </a:ext>
            </a:extLst>
          </p:cNvPr>
          <p:cNvSpPr/>
          <p:nvPr/>
        </p:nvSpPr>
        <p:spPr>
          <a:xfrm>
            <a:off x="4195659" y="1323186"/>
            <a:ext cx="2663799" cy="2054486"/>
          </a:xfrm>
          <a:custGeom>
            <a:avLst/>
            <a:gdLst>
              <a:gd name="connsiteX0" fmla="*/ 3686383 w 5327597"/>
              <a:gd name="connsiteY0" fmla="*/ 0 h 4108972"/>
              <a:gd name="connsiteX1" fmla="*/ 5327597 w 5327597"/>
              <a:gd name="connsiteY1" fmla="*/ 2039909 h 4108972"/>
              <a:gd name="connsiteX2" fmla="*/ 3686383 w 5327597"/>
              <a:gd name="connsiteY2" fmla="*/ 4079818 h 4108972"/>
              <a:gd name="connsiteX3" fmla="*/ 3686383 w 5327597"/>
              <a:gd name="connsiteY3" fmla="*/ 3510357 h 4108972"/>
              <a:gd name="connsiteX4" fmla="*/ 3632441 w 5327597"/>
              <a:gd name="connsiteY4" fmla="*/ 3513081 h 4108972"/>
              <a:gd name="connsiteX5" fmla="*/ 2543596 w 5327597"/>
              <a:gd name="connsiteY5" fmla="*/ 4088237 h 4108972"/>
              <a:gd name="connsiteX6" fmla="*/ 2527896 w 5327597"/>
              <a:gd name="connsiteY6" fmla="*/ 4108972 h 4108972"/>
              <a:gd name="connsiteX7" fmla="*/ 1833994 w 5327597"/>
              <a:gd name="connsiteY7" fmla="*/ 2318273 h 4108972"/>
              <a:gd name="connsiteX8" fmla="*/ 0 w 5327597"/>
              <a:gd name="connsiteY8" fmla="*/ 2602797 h 4108972"/>
              <a:gd name="connsiteX9" fmla="*/ 6877 w 5327597"/>
              <a:gd name="connsiteY9" fmla="*/ 2592068 h 4108972"/>
              <a:gd name="connsiteX10" fmla="*/ 3565246 w 5327597"/>
              <a:gd name="connsiteY10" fmla="*/ 580870 h 4108972"/>
              <a:gd name="connsiteX11" fmla="*/ 3686383 w 5327597"/>
              <a:gd name="connsiteY11" fmla="*/ 577807 h 41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7597" h="4108972">
                <a:moveTo>
                  <a:pt x="3686383" y="0"/>
                </a:moveTo>
                <a:lnTo>
                  <a:pt x="5327597" y="2039909"/>
                </a:lnTo>
                <a:lnTo>
                  <a:pt x="3686383" y="4079818"/>
                </a:lnTo>
                <a:lnTo>
                  <a:pt x="3686383" y="3510357"/>
                </a:lnTo>
                <a:lnTo>
                  <a:pt x="3632441" y="3513081"/>
                </a:lnTo>
                <a:cubicBezTo>
                  <a:pt x="3196819" y="3557321"/>
                  <a:pt x="2811428" y="3771481"/>
                  <a:pt x="2543596" y="4088237"/>
                </a:cubicBezTo>
                <a:lnTo>
                  <a:pt x="2527896" y="4108972"/>
                </a:lnTo>
                <a:lnTo>
                  <a:pt x="1833994" y="2318273"/>
                </a:lnTo>
                <a:lnTo>
                  <a:pt x="0" y="2602797"/>
                </a:lnTo>
                <a:lnTo>
                  <a:pt x="6877" y="2592068"/>
                </a:lnTo>
                <a:cubicBezTo>
                  <a:pt x="787960" y="1435914"/>
                  <a:pt x="2083624" y="655974"/>
                  <a:pt x="3565246" y="580870"/>
                </a:cubicBezTo>
                <a:lnTo>
                  <a:pt x="3686383" y="57780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5" name="Freeform 89">
            <a:extLst>
              <a:ext uri="{FF2B5EF4-FFF2-40B4-BE49-F238E27FC236}">
                <a16:creationId xmlns:a16="http://schemas.microsoft.com/office/drawing/2014/main" id="{9C69BDE5-3B32-1974-9D44-BBA43ACF67E6}"/>
              </a:ext>
            </a:extLst>
          </p:cNvPr>
          <p:cNvSpPr/>
          <p:nvPr/>
        </p:nvSpPr>
        <p:spPr>
          <a:xfrm>
            <a:off x="6257000" y="1618702"/>
            <a:ext cx="2019671" cy="2118342"/>
          </a:xfrm>
          <a:custGeom>
            <a:avLst/>
            <a:gdLst>
              <a:gd name="connsiteX0" fmla="*/ 39215 w 4039341"/>
              <a:gd name="connsiteY0" fmla="*/ 0 h 4236684"/>
              <a:gd name="connsiteX1" fmla="*/ 188984 w 4039341"/>
              <a:gd name="connsiteY1" fmla="*/ 12100 h 4236684"/>
              <a:gd name="connsiteX2" fmla="*/ 3471808 w 4039341"/>
              <a:gd name="connsiteY2" fmla="*/ 2001036 h 4236684"/>
              <a:gd name="connsiteX3" fmla="*/ 3528904 w 4039341"/>
              <a:gd name="connsiteY3" fmla="*/ 2090097 h 4236684"/>
              <a:gd name="connsiteX4" fmla="*/ 4039341 w 4039341"/>
              <a:gd name="connsiteY4" fmla="*/ 1795396 h 4236684"/>
              <a:gd name="connsiteX5" fmla="*/ 3093334 w 4039341"/>
              <a:gd name="connsiteY5" fmla="*/ 4236684 h 4236684"/>
              <a:gd name="connsiteX6" fmla="*/ 506114 w 4039341"/>
              <a:gd name="connsiteY6" fmla="*/ 3835305 h 4236684"/>
              <a:gd name="connsiteX7" fmla="*/ 983313 w 4039341"/>
              <a:gd name="connsiteY7" fmla="*/ 3559794 h 4236684"/>
              <a:gd name="connsiteX8" fmla="*/ 949325 w 4039341"/>
              <a:gd name="connsiteY8" fmla="*/ 3514271 h 4236684"/>
              <a:gd name="connsiteX9" fmla="*/ 29668 w 4039341"/>
              <a:gd name="connsiteY9" fmla="*/ 2951216 h 4236684"/>
              <a:gd name="connsiteX10" fmla="*/ 0 w 4039341"/>
              <a:gd name="connsiteY10" fmla="*/ 2946499 h 4236684"/>
              <a:gd name="connsiteX11" fmla="*/ 1204914 w 4039341"/>
              <a:gd name="connsiteY11" fmla="*/ 1448878 h 4236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341" h="4236684">
                <a:moveTo>
                  <a:pt x="39215" y="0"/>
                </a:moveTo>
                <a:lnTo>
                  <a:pt x="188984" y="12100"/>
                </a:lnTo>
                <a:cubicBezTo>
                  <a:pt x="1555009" y="163904"/>
                  <a:pt x="2739543" y="917142"/>
                  <a:pt x="3471808" y="2001036"/>
                </a:cubicBezTo>
                <a:lnTo>
                  <a:pt x="3528904" y="2090097"/>
                </a:lnTo>
                <a:lnTo>
                  <a:pt x="4039341" y="1795396"/>
                </a:lnTo>
                <a:lnTo>
                  <a:pt x="3093334" y="4236684"/>
                </a:lnTo>
                <a:lnTo>
                  <a:pt x="506114" y="3835305"/>
                </a:lnTo>
                <a:lnTo>
                  <a:pt x="983313" y="3559794"/>
                </a:lnTo>
                <a:lnTo>
                  <a:pt x="949325" y="3514271"/>
                </a:lnTo>
                <a:cubicBezTo>
                  <a:pt x="718663" y="3233923"/>
                  <a:pt x="397077" y="3031204"/>
                  <a:pt x="29668" y="2951216"/>
                </a:cubicBezTo>
                <a:lnTo>
                  <a:pt x="0" y="2946499"/>
                </a:lnTo>
                <a:lnTo>
                  <a:pt x="1204914" y="144887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6" name="Freeform 90">
            <a:extLst>
              <a:ext uri="{FF2B5EF4-FFF2-40B4-BE49-F238E27FC236}">
                <a16:creationId xmlns:a16="http://schemas.microsoft.com/office/drawing/2014/main" id="{3E735D98-026F-2E26-68D9-E04F9425EE57}"/>
              </a:ext>
            </a:extLst>
          </p:cNvPr>
          <p:cNvSpPr/>
          <p:nvPr/>
        </p:nvSpPr>
        <p:spPr>
          <a:xfrm>
            <a:off x="6606081" y="2870894"/>
            <a:ext cx="1777508" cy="2390646"/>
          </a:xfrm>
          <a:custGeom>
            <a:avLst/>
            <a:gdLst>
              <a:gd name="connsiteX0" fmla="*/ 3066445 w 3555015"/>
              <a:gd name="connsiteY0" fmla="*/ 0 h 4781291"/>
              <a:gd name="connsiteX1" fmla="*/ 3127652 w 3555015"/>
              <a:gd name="connsiteY1" fmla="*/ 121322 h 4781291"/>
              <a:gd name="connsiteX2" fmla="*/ 3555015 w 3555015"/>
              <a:gd name="connsiteY2" fmla="*/ 2054677 h 4781291"/>
              <a:gd name="connsiteX3" fmla="*/ 3127652 w 3555015"/>
              <a:gd name="connsiteY3" fmla="*/ 3988033 h 4781291"/>
              <a:gd name="connsiteX4" fmla="*/ 3066031 w 3555015"/>
              <a:gd name="connsiteY4" fmla="*/ 4110176 h 4781291"/>
              <a:gd name="connsiteX5" fmla="*/ 3533227 w 3555015"/>
              <a:gd name="connsiteY5" fmla="*/ 4379912 h 4781291"/>
              <a:gd name="connsiteX6" fmla="*/ 946006 w 3555015"/>
              <a:gd name="connsiteY6" fmla="*/ 4781291 h 4781291"/>
              <a:gd name="connsiteX7" fmla="*/ 0 w 3555015"/>
              <a:gd name="connsiteY7" fmla="*/ 2340003 h 4781291"/>
              <a:gd name="connsiteX8" fmla="*/ 516821 w 3555015"/>
              <a:gd name="connsiteY8" fmla="*/ 2638390 h 4781291"/>
              <a:gd name="connsiteX9" fmla="*/ 551368 w 3555015"/>
              <a:gd name="connsiteY9" fmla="*/ 2544001 h 4781291"/>
              <a:gd name="connsiteX10" fmla="*/ 625347 w 3555015"/>
              <a:gd name="connsiteY10" fmla="*/ 2054677 h 4781291"/>
              <a:gd name="connsiteX11" fmla="*/ 551368 w 3555015"/>
              <a:gd name="connsiteY11" fmla="*/ 1565354 h 4781291"/>
              <a:gd name="connsiteX12" fmla="*/ 505153 w 3555015"/>
              <a:gd name="connsiteY12" fmla="*/ 1439085 h 4781291"/>
              <a:gd name="connsiteX13" fmla="*/ 2395173 w 3555015"/>
              <a:gd name="connsiteY13" fmla="*/ 1732301 h 478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55015" h="4781291">
                <a:moveTo>
                  <a:pt x="3066445" y="0"/>
                </a:moveTo>
                <a:lnTo>
                  <a:pt x="3127652" y="121322"/>
                </a:lnTo>
                <a:cubicBezTo>
                  <a:pt x="3401862" y="708605"/>
                  <a:pt x="3555015" y="1363756"/>
                  <a:pt x="3555015" y="2054677"/>
                </a:cubicBezTo>
                <a:cubicBezTo>
                  <a:pt x="3555015" y="2745599"/>
                  <a:pt x="3401862" y="3400749"/>
                  <a:pt x="3127652" y="3988033"/>
                </a:cubicBezTo>
                <a:lnTo>
                  <a:pt x="3066031" y="4110176"/>
                </a:lnTo>
                <a:lnTo>
                  <a:pt x="3533227" y="4379912"/>
                </a:lnTo>
                <a:lnTo>
                  <a:pt x="946006" y="4781291"/>
                </a:lnTo>
                <a:lnTo>
                  <a:pt x="0" y="2340003"/>
                </a:lnTo>
                <a:lnTo>
                  <a:pt x="516821" y="2638390"/>
                </a:lnTo>
                <a:lnTo>
                  <a:pt x="551368" y="2544001"/>
                </a:lnTo>
                <a:cubicBezTo>
                  <a:pt x="599447" y="2389424"/>
                  <a:pt x="625347" y="2225075"/>
                  <a:pt x="625347" y="2054677"/>
                </a:cubicBezTo>
                <a:cubicBezTo>
                  <a:pt x="625347" y="1884279"/>
                  <a:pt x="599447" y="1719931"/>
                  <a:pt x="551368" y="1565354"/>
                </a:cubicBezTo>
                <a:lnTo>
                  <a:pt x="505153" y="1439085"/>
                </a:lnTo>
                <a:lnTo>
                  <a:pt x="2395173" y="17323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7" name="Freeform 57">
            <a:extLst>
              <a:ext uri="{FF2B5EF4-FFF2-40B4-BE49-F238E27FC236}">
                <a16:creationId xmlns:a16="http://schemas.microsoft.com/office/drawing/2014/main" id="{AA9F2E45-D41E-86F3-31A1-8292C060087F}"/>
              </a:ext>
            </a:extLst>
          </p:cNvPr>
          <p:cNvSpPr/>
          <p:nvPr/>
        </p:nvSpPr>
        <p:spPr>
          <a:xfrm>
            <a:off x="3808413" y="2482322"/>
            <a:ext cx="1777246" cy="2434805"/>
          </a:xfrm>
          <a:custGeom>
            <a:avLst/>
            <a:gdLst>
              <a:gd name="connsiteX0" fmla="*/ 2608485 w 3554492"/>
              <a:gd name="connsiteY0" fmla="*/ 0 h 4869609"/>
              <a:gd name="connsiteX1" fmla="*/ 3554492 w 3554492"/>
              <a:gd name="connsiteY1" fmla="*/ 2441288 h 4869609"/>
              <a:gd name="connsiteX2" fmla="*/ 3072590 w 3554492"/>
              <a:gd name="connsiteY2" fmla="*/ 2163062 h 4869609"/>
              <a:gd name="connsiteX3" fmla="*/ 3058980 w 3554492"/>
              <a:gd name="connsiteY3" fmla="*/ 2191315 h 4869609"/>
              <a:gd name="connsiteX4" fmla="*/ 2929668 w 3554492"/>
              <a:gd name="connsiteY4" fmla="*/ 2831820 h 4869609"/>
              <a:gd name="connsiteX5" fmla="*/ 3003647 w 3554492"/>
              <a:gd name="connsiteY5" fmla="*/ 3321143 h 4869609"/>
              <a:gd name="connsiteX6" fmla="*/ 3034778 w 3554492"/>
              <a:gd name="connsiteY6" fmla="*/ 3406202 h 4869609"/>
              <a:gd name="connsiteX7" fmla="*/ 1159839 w 3554492"/>
              <a:gd name="connsiteY7" fmla="*/ 3115326 h 4869609"/>
              <a:gd name="connsiteX8" fmla="*/ 480050 w 3554492"/>
              <a:gd name="connsiteY8" fmla="*/ 4869609 h 4869609"/>
              <a:gd name="connsiteX9" fmla="*/ 427363 w 3554492"/>
              <a:gd name="connsiteY9" fmla="*/ 4765176 h 4869609"/>
              <a:gd name="connsiteX10" fmla="*/ 0 w 3554492"/>
              <a:gd name="connsiteY10" fmla="*/ 2831820 h 4869609"/>
              <a:gd name="connsiteX11" fmla="*/ 427363 w 3554492"/>
              <a:gd name="connsiteY11" fmla="*/ 898465 h 4869609"/>
              <a:gd name="connsiteX12" fmla="*/ 529971 w 3554492"/>
              <a:gd name="connsiteY12" fmla="*/ 695080 h 4869609"/>
              <a:gd name="connsiteX13" fmla="*/ 21266 w 3554492"/>
              <a:gd name="connsiteY13" fmla="*/ 401379 h 486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54492" h="4869609">
                <a:moveTo>
                  <a:pt x="2608485" y="0"/>
                </a:moveTo>
                <a:lnTo>
                  <a:pt x="3554492" y="2441288"/>
                </a:lnTo>
                <a:lnTo>
                  <a:pt x="3072590" y="2163062"/>
                </a:lnTo>
                <a:lnTo>
                  <a:pt x="3058980" y="2191315"/>
                </a:lnTo>
                <a:cubicBezTo>
                  <a:pt x="2975713" y="2388181"/>
                  <a:pt x="2929668" y="2604623"/>
                  <a:pt x="2929668" y="2831820"/>
                </a:cubicBezTo>
                <a:cubicBezTo>
                  <a:pt x="2929668" y="3002218"/>
                  <a:pt x="2955568" y="3166567"/>
                  <a:pt x="3003647" y="3321143"/>
                </a:cubicBezTo>
                <a:lnTo>
                  <a:pt x="3034778" y="3406202"/>
                </a:lnTo>
                <a:lnTo>
                  <a:pt x="1159839" y="3115326"/>
                </a:lnTo>
                <a:lnTo>
                  <a:pt x="480050" y="4869609"/>
                </a:lnTo>
                <a:lnTo>
                  <a:pt x="427363" y="4765176"/>
                </a:lnTo>
                <a:cubicBezTo>
                  <a:pt x="153154" y="4177892"/>
                  <a:pt x="0" y="3522742"/>
                  <a:pt x="0" y="2831820"/>
                </a:cubicBezTo>
                <a:cubicBezTo>
                  <a:pt x="0" y="2140899"/>
                  <a:pt x="153154" y="1485748"/>
                  <a:pt x="427363" y="898465"/>
                </a:cubicBezTo>
                <a:lnTo>
                  <a:pt x="529971" y="695080"/>
                </a:lnTo>
                <a:lnTo>
                  <a:pt x="21266" y="40137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8" name="Freeform 56">
            <a:extLst>
              <a:ext uri="{FF2B5EF4-FFF2-40B4-BE49-F238E27FC236}">
                <a16:creationId xmlns:a16="http://schemas.microsoft.com/office/drawing/2014/main" id="{7FDACD58-C768-2A57-6BF8-FD112E8E507A}"/>
              </a:ext>
            </a:extLst>
          </p:cNvPr>
          <p:cNvSpPr/>
          <p:nvPr/>
        </p:nvSpPr>
        <p:spPr>
          <a:xfrm>
            <a:off x="3915330" y="4039984"/>
            <a:ext cx="2023302" cy="2137424"/>
          </a:xfrm>
          <a:custGeom>
            <a:avLst/>
            <a:gdLst>
              <a:gd name="connsiteX0" fmla="*/ 946006 w 4046603"/>
              <a:gd name="connsiteY0" fmla="*/ 0 h 4274848"/>
              <a:gd name="connsiteX1" fmla="*/ 3533227 w 4046603"/>
              <a:gd name="connsiteY1" fmla="*/ 401379 h 4274848"/>
              <a:gd name="connsiteX2" fmla="*/ 3035749 w 4046603"/>
              <a:gd name="connsiteY2" fmla="*/ 688598 h 4274848"/>
              <a:gd name="connsiteX3" fmla="*/ 3090017 w 4046603"/>
              <a:gd name="connsiteY3" fmla="*/ 761284 h 4274848"/>
              <a:gd name="connsiteX4" fmla="*/ 4009674 w 4046603"/>
              <a:gd name="connsiteY4" fmla="*/ 1324339 h 4274848"/>
              <a:gd name="connsiteX5" fmla="*/ 4046603 w 4046603"/>
              <a:gd name="connsiteY5" fmla="*/ 1330211 h 4274848"/>
              <a:gd name="connsiteX6" fmla="*/ 2834427 w 4046603"/>
              <a:gd name="connsiteY6" fmla="*/ 2836857 h 4274848"/>
              <a:gd name="connsiteX7" fmla="*/ 3991366 w 4046603"/>
              <a:gd name="connsiteY7" fmla="*/ 4274848 h 4274848"/>
              <a:gd name="connsiteX8" fmla="*/ 3850358 w 4046603"/>
              <a:gd name="connsiteY8" fmla="*/ 4263455 h 4274848"/>
              <a:gd name="connsiteX9" fmla="*/ 567534 w 4046603"/>
              <a:gd name="connsiteY9" fmla="*/ 2274519 h 4274848"/>
              <a:gd name="connsiteX10" fmla="*/ 492251 w 4046603"/>
              <a:gd name="connsiteY10" fmla="*/ 2157087 h 4274848"/>
              <a:gd name="connsiteX11" fmla="*/ 0 w 4046603"/>
              <a:gd name="connsiteY11" fmla="*/ 2441288 h 4274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46603" h="4274848">
                <a:moveTo>
                  <a:pt x="946006" y="0"/>
                </a:moveTo>
                <a:lnTo>
                  <a:pt x="3533227" y="401379"/>
                </a:lnTo>
                <a:lnTo>
                  <a:pt x="3035749" y="688598"/>
                </a:lnTo>
                <a:lnTo>
                  <a:pt x="3090017" y="761284"/>
                </a:lnTo>
                <a:cubicBezTo>
                  <a:pt x="3320679" y="1041633"/>
                  <a:pt x="3642265" y="1244352"/>
                  <a:pt x="4009674" y="1324339"/>
                </a:cubicBezTo>
                <a:lnTo>
                  <a:pt x="4046603" y="1330211"/>
                </a:lnTo>
                <a:lnTo>
                  <a:pt x="2834427" y="2836857"/>
                </a:lnTo>
                <a:lnTo>
                  <a:pt x="3991366" y="4274848"/>
                </a:lnTo>
                <a:lnTo>
                  <a:pt x="3850358" y="4263455"/>
                </a:lnTo>
                <a:cubicBezTo>
                  <a:pt x="2484333" y="4111651"/>
                  <a:pt x="1299799" y="3358413"/>
                  <a:pt x="567534" y="2274519"/>
                </a:cubicBezTo>
                <a:lnTo>
                  <a:pt x="492251" y="2157087"/>
                </a:lnTo>
                <a:lnTo>
                  <a:pt x="0" y="244128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9" name="Freeform 91">
            <a:extLst>
              <a:ext uri="{FF2B5EF4-FFF2-40B4-BE49-F238E27FC236}">
                <a16:creationId xmlns:a16="http://schemas.microsoft.com/office/drawing/2014/main" id="{C82A3FD0-54D6-9F9C-5848-5437FE1BDDE8}"/>
              </a:ext>
            </a:extLst>
          </p:cNvPr>
          <p:cNvSpPr/>
          <p:nvPr/>
        </p:nvSpPr>
        <p:spPr>
          <a:xfrm>
            <a:off x="5332543" y="4401212"/>
            <a:ext cx="2701275" cy="2077155"/>
          </a:xfrm>
          <a:custGeom>
            <a:avLst/>
            <a:gdLst>
              <a:gd name="connsiteX0" fmla="*/ 2826323 w 5402550"/>
              <a:gd name="connsiteY0" fmla="*/ 0 h 4154310"/>
              <a:gd name="connsiteX1" fmla="*/ 3493081 w 5402550"/>
              <a:gd name="connsiteY1" fmla="*/ 1720654 h 4154310"/>
              <a:gd name="connsiteX2" fmla="*/ 5402550 w 5402550"/>
              <a:gd name="connsiteY2" fmla="*/ 1424421 h 4154310"/>
              <a:gd name="connsiteX3" fmla="*/ 5320721 w 5402550"/>
              <a:gd name="connsiteY3" fmla="*/ 1552063 h 4154310"/>
              <a:gd name="connsiteX4" fmla="*/ 1762352 w 5402550"/>
              <a:gd name="connsiteY4" fmla="*/ 3563261 h 4154310"/>
              <a:gd name="connsiteX5" fmla="*/ 1641214 w 5402550"/>
              <a:gd name="connsiteY5" fmla="*/ 3566324 h 4154310"/>
              <a:gd name="connsiteX6" fmla="*/ 1641214 w 5402550"/>
              <a:gd name="connsiteY6" fmla="*/ 4154310 h 4154310"/>
              <a:gd name="connsiteX7" fmla="*/ 0 w 5402550"/>
              <a:gd name="connsiteY7" fmla="*/ 2114401 h 4154310"/>
              <a:gd name="connsiteX8" fmla="*/ 1641214 w 5402550"/>
              <a:gd name="connsiteY8" fmla="*/ 74492 h 4154310"/>
              <a:gd name="connsiteX9" fmla="*/ 1641214 w 5402550"/>
              <a:gd name="connsiteY9" fmla="*/ 633774 h 4154310"/>
              <a:gd name="connsiteX10" fmla="*/ 1695157 w 5402550"/>
              <a:gd name="connsiteY10" fmla="*/ 631050 h 4154310"/>
              <a:gd name="connsiteX11" fmla="*/ 2784002 w 5402550"/>
              <a:gd name="connsiteY11" fmla="*/ 55895 h 415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02550" h="4154310">
                <a:moveTo>
                  <a:pt x="2826323" y="0"/>
                </a:moveTo>
                <a:lnTo>
                  <a:pt x="3493081" y="1720654"/>
                </a:lnTo>
                <a:lnTo>
                  <a:pt x="5402550" y="1424421"/>
                </a:lnTo>
                <a:lnTo>
                  <a:pt x="5320721" y="1552063"/>
                </a:lnTo>
                <a:cubicBezTo>
                  <a:pt x="4539638" y="2708217"/>
                  <a:pt x="3243974" y="3488157"/>
                  <a:pt x="1762352" y="3563261"/>
                </a:cubicBezTo>
                <a:lnTo>
                  <a:pt x="1641214" y="3566324"/>
                </a:lnTo>
                <a:lnTo>
                  <a:pt x="1641214" y="4154310"/>
                </a:lnTo>
                <a:lnTo>
                  <a:pt x="0" y="2114401"/>
                </a:lnTo>
                <a:lnTo>
                  <a:pt x="1641214" y="74492"/>
                </a:lnTo>
                <a:lnTo>
                  <a:pt x="1641214" y="633774"/>
                </a:lnTo>
                <a:lnTo>
                  <a:pt x="1695157" y="631050"/>
                </a:lnTo>
                <a:cubicBezTo>
                  <a:pt x="2130779" y="586811"/>
                  <a:pt x="2516170" y="372651"/>
                  <a:pt x="2784002" y="5589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10" name="TextBox 65">
            <a:extLst>
              <a:ext uri="{FF2B5EF4-FFF2-40B4-BE49-F238E27FC236}">
                <a16:creationId xmlns:a16="http://schemas.microsoft.com/office/drawing/2014/main" id="{2E58206E-C4D6-5EA0-0556-4191244805BC}"/>
              </a:ext>
            </a:extLst>
          </p:cNvPr>
          <p:cNvSpPr txBox="1"/>
          <p:nvPr/>
        </p:nvSpPr>
        <p:spPr>
          <a:xfrm>
            <a:off x="5949002" y="2066142"/>
            <a:ext cx="667170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id="{954607D4-08BB-56B2-13E5-ED3EB38FFC41}"/>
              </a:ext>
            </a:extLst>
          </p:cNvPr>
          <p:cNvSpPr txBox="1"/>
          <p:nvPr/>
        </p:nvSpPr>
        <p:spPr>
          <a:xfrm>
            <a:off x="4374265" y="4247012"/>
            <a:ext cx="57900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3DE7FE6A-96BE-5047-DEAF-11CFB2A22AC9}"/>
              </a:ext>
            </a:extLst>
          </p:cNvPr>
          <p:cNvSpPr txBox="1"/>
          <p:nvPr/>
        </p:nvSpPr>
        <p:spPr>
          <a:xfrm>
            <a:off x="4543219" y="2597827"/>
            <a:ext cx="65434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3" name="TextBox 68">
            <a:extLst>
              <a:ext uri="{FF2B5EF4-FFF2-40B4-BE49-F238E27FC236}">
                <a16:creationId xmlns:a16="http://schemas.microsoft.com/office/drawing/2014/main" id="{66DC6573-2F95-98BE-DD72-E7BA39CA9357}"/>
              </a:ext>
            </a:extLst>
          </p:cNvPr>
          <p:cNvSpPr txBox="1"/>
          <p:nvPr/>
        </p:nvSpPr>
        <p:spPr>
          <a:xfrm>
            <a:off x="7227190" y="3042477"/>
            <a:ext cx="694422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4</a:t>
            </a:r>
          </a:p>
        </p:txBody>
      </p:sp>
      <p:sp>
        <p:nvSpPr>
          <p:cNvPr id="14" name="TextBox 69">
            <a:extLst>
              <a:ext uri="{FF2B5EF4-FFF2-40B4-BE49-F238E27FC236}">
                <a16:creationId xmlns:a16="http://schemas.microsoft.com/office/drawing/2014/main" id="{1040502C-8D53-B977-9104-A0030774AEF4}"/>
              </a:ext>
            </a:extLst>
          </p:cNvPr>
          <p:cNvSpPr txBox="1"/>
          <p:nvPr/>
        </p:nvSpPr>
        <p:spPr>
          <a:xfrm>
            <a:off x="6941835" y="4541191"/>
            <a:ext cx="684803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5</a:t>
            </a:r>
          </a:p>
        </p:txBody>
      </p:sp>
      <p:sp>
        <p:nvSpPr>
          <p:cNvPr id="15" name="TextBox 70">
            <a:extLst>
              <a:ext uri="{FF2B5EF4-FFF2-40B4-BE49-F238E27FC236}">
                <a16:creationId xmlns:a16="http://schemas.microsoft.com/office/drawing/2014/main" id="{CC340151-1D33-B0BE-7548-3DB2AB1C3D7E}"/>
              </a:ext>
            </a:extLst>
          </p:cNvPr>
          <p:cNvSpPr txBox="1"/>
          <p:nvPr/>
        </p:nvSpPr>
        <p:spPr>
          <a:xfrm>
            <a:off x="5520400" y="5162366"/>
            <a:ext cx="679994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6</a:t>
            </a:r>
          </a:p>
        </p:txBody>
      </p:sp>
      <p:sp>
        <p:nvSpPr>
          <p:cNvPr id="16" name="Freeform 953">
            <a:extLst>
              <a:ext uri="{FF2B5EF4-FFF2-40B4-BE49-F238E27FC236}">
                <a16:creationId xmlns:a16="http://schemas.microsoft.com/office/drawing/2014/main" id="{E290623B-CB5A-525B-FBD8-9810053A2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34667" y="4826692"/>
            <a:ext cx="484254" cy="526365"/>
          </a:xfrm>
          <a:custGeom>
            <a:avLst/>
            <a:gdLst>
              <a:gd name="T0" fmla="*/ 1971810 w 262269"/>
              <a:gd name="T1" fmla="*/ 2296865 h 283804"/>
              <a:gd name="T2" fmla="*/ 2522496 w 262269"/>
              <a:gd name="T3" fmla="*/ 2296865 h 283804"/>
              <a:gd name="T4" fmla="*/ 2247172 w 262269"/>
              <a:gd name="T5" fmla="*/ 1840326 h 283804"/>
              <a:gd name="T6" fmla="*/ 2247172 w 262269"/>
              <a:gd name="T7" fmla="*/ 2753352 h 283804"/>
              <a:gd name="T8" fmla="*/ 2247172 w 262269"/>
              <a:gd name="T9" fmla="*/ 1840326 h 283804"/>
              <a:gd name="T10" fmla="*/ 1507350 w 262269"/>
              <a:gd name="T11" fmla="*/ 2308106 h 283804"/>
              <a:gd name="T12" fmla="*/ 1959717 w 262269"/>
              <a:gd name="T13" fmla="*/ 3071742 h 283804"/>
              <a:gd name="T14" fmla="*/ 2245064 w 262269"/>
              <a:gd name="T15" fmla="*/ 5463503 h 283804"/>
              <a:gd name="T16" fmla="*/ 2363345 w 262269"/>
              <a:gd name="T17" fmla="*/ 5117694 h 283804"/>
              <a:gd name="T18" fmla="*/ 2474711 w 262269"/>
              <a:gd name="T19" fmla="*/ 4750286 h 283804"/>
              <a:gd name="T20" fmla="*/ 2370298 w 262269"/>
              <a:gd name="T21" fmla="*/ 4390088 h 283804"/>
              <a:gd name="T22" fmla="*/ 2370298 w 262269"/>
              <a:gd name="T23" fmla="*/ 4173948 h 283804"/>
              <a:gd name="T24" fmla="*/ 2370298 w 262269"/>
              <a:gd name="T25" fmla="*/ 3921824 h 283804"/>
              <a:gd name="T26" fmla="*/ 2558226 w 262269"/>
              <a:gd name="T27" fmla="*/ 3071742 h 283804"/>
              <a:gd name="T28" fmla="*/ 3010547 w 262269"/>
              <a:gd name="T29" fmla="*/ 2308106 h 283804"/>
              <a:gd name="T30" fmla="*/ 2258952 w 262269"/>
              <a:gd name="T31" fmla="*/ 1364401 h 283804"/>
              <a:gd name="T32" fmla="*/ 2725237 w 262269"/>
              <a:gd name="T33" fmla="*/ 3129388 h 283804"/>
              <a:gd name="T34" fmla="*/ 2697411 w 262269"/>
              <a:gd name="T35" fmla="*/ 3828177 h 283804"/>
              <a:gd name="T36" fmla="*/ 2551272 w 262269"/>
              <a:gd name="T37" fmla="*/ 4116339 h 283804"/>
              <a:gd name="T38" fmla="*/ 2655651 w 262269"/>
              <a:gd name="T39" fmla="*/ 4346852 h 283804"/>
              <a:gd name="T40" fmla="*/ 2551272 w 262269"/>
              <a:gd name="T41" fmla="*/ 4584596 h 283804"/>
              <a:gd name="T42" fmla="*/ 2676507 w 262269"/>
              <a:gd name="T43" fmla="*/ 4750286 h 283804"/>
              <a:gd name="T44" fmla="*/ 2481664 w 262269"/>
              <a:gd name="T45" fmla="*/ 4988002 h 283804"/>
              <a:gd name="T46" fmla="*/ 2669552 w 262269"/>
              <a:gd name="T47" fmla="*/ 5225759 h 283804"/>
              <a:gd name="T48" fmla="*/ 2300720 w 262269"/>
              <a:gd name="T49" fmla="*/ 5643590 h 283804"/>
              <a:gd name="T50" fmla="*/ 2182413 w 262269"/>
              <a:gd name="T51" fmla="*/ 5643590 h 283804"/>
              <a:gd name="T52" fmla="*/ 1792693 w 262269"/>
              <a:gd name="T53" fmla="*/ 5204142 h 283804"/>
              <a:gd name="T54" fmla="*/ 1347316 w 262269"/>
              <a:gd name="T55" fmla="*/ 2308106 h 283804"/>
              <a:gd name="T56" fmla="*/ 2258987 w 262269"/>
              <a:gd name="T57" fmla="*/ 793208 h 283804"/>
              <a:gd name="T58" fmla="*/ 3728798 w 262269"/>
              <a:gd name="T59" fmla="*/ 2307348 h 283804"/>
              <a:gd name="T60" fmla="*/ 3236548 w 262269"/>
              <a:gd name="T61" fmla="*/ 3412452 h 283804"/>
              <a:gd name="T62" fmla="*/ 3174138 w 262269"/>
              <a:gd name="T63" fmla="*/ 3261759 h 283804"/>
              <a:gd name="T64" fmla="*/ 3174138 w 262269"/>
              <a:gd name="T65" fmla="*/ 1352998 h 283804"/>
              <a:gd name="T66" fmla="*/ 1336901 w 262269"/>
              <a:gd name="T67" fmla="*/ 1352998 h 283804"/>
              <a:gd name="T68" fmla="*/ 1336901 w 262269"/>
              <a:gd name="T69" fmla="*/ 3261759 h 283804"/>
              <a:gd name="T70" fmla="*/ 1219023 w 262269"/>
              <a:gd name="T71" fmla="*/ 3383746 h 283804"/>
              <a:gd name="T72" fmla="*/ 1219023 w 262269"/>
              <a:gd name="T73" fmla="*/ 1238159 h 283804"/>
              <a:gd name="T74" fmla="*/ 2246787 w 262269"/>
              <a:gd name="T75" fmla="*/ 0 h 283804"/>
              <a:gd name="T76" fmla="*/ 4951246 w 262269"/>
              <a:gd name="T77" fmla="*/ 3094711 h 283804"/>
              <a:gd name="T78" fmla="*/ 4902720 w 262269"/>
              <a:gd name="T79" fmla="*/ 3604502 h 283804"/>
              <a:gd name="T80" fmla="*/ 4493575 w 262269"/>
              <a:gd name="T81" fmla="*/ 4616928 h 283804"/>
              <a:gd name="T82" fmla="*/ 3432619 w 262269"/>
              <a:gd name="T83" fmla="*/ 5169801 h 283804"/>
              <a:gd name="T84" fmla="*/ 3349372 w 262269"/>
              <a:gd name="T85" fmla="*/ 5672411 h 283804"/>
              <a:gd name="T86" fmla="*/ 3266171 w 262269"/>
              <a:gd name="T87" fmla="*/ 5169801 h 283804"/>
              <a:gd name="T88" fmla="*/ 4327140 w 262269"/>
              <a:gd name="T89" fmla="*/ 4588184 h 283804"/>
              <a:gd name="T90" fmla="*/ 4368753 w 262269"/>
              <a:gd name="T91" fmla="*/ 3676314 h 283804"/>
              <a:gd name="T92" fmla="*/ 4888851 w 262269"/>
              <a:gd name="T93" fmla="*/ 3367561 h 283804"/>
              <a:gd name="T94" fmla="*/ 4334106 w 262269"/>
              <a:gd name="T95" fmla="*/ 2340770 h 283804"/>
              <a:gd name="T96" fmla="*/ 2246787 w 262269"/>
              <a:gd name="T97" fmla="*/ 172340 h 283804"/>
              <a:gd name="T98" fmla="*/ 443815 w 262269"/>
              <a:gd name="T99" fmla="*/ 3389084 h 283804"/>
              <a:gd name="T100" fmla="*/ 658790 w 262269"/>
              <a:gd name="T101" fmla="*/ 3762477 h 283804"/>
              <a:gd name="T102" fmla="*/ 1171911 w 262269"/>
              <a:gd name="T103" fmla="*/ 5579082 h 283804"/>
              <a:gd name="T104" fmla="*/ 1005487 w 262269"/>
              <a:gd name="T105" fmla="*/ 5586266 h 283804"/>
              <a:gd name="T106" fmla="*/ 520074 w 262269"/>
              <a:gd name="T107" fmla="*/ 3855833 h 283804"/>
              <a:gd name="T108" fmla="*/ 298187 w 262269"/>
              <a:gd name="T109" fmla="*/ 3482437 h 283804"/>
              <a:gd name="T110" fmla="*/ 2246787 w 262269"/>
              <a:gd name="T111" fmla="*/ 0 h 2838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62269" h="283804">
                <a:moveTo>
                  <a:pt x="116503" y="100640"/>
                </a:moveTo>
                <a:cubicBezTo>
                  <a:pt x="108651" y="100640"/>
                  <a:pt x="102227" y="107064"/>
                  <a:pt x="102227" y="114916"/>
                </a:cubicBezTo>
                <a:cubicBezTo>
                  <a:pt x="102227" y="123124"/>
                  <a:pt x="108651" y="129191"/>
                  <a:pt x="116503" y="129191"/>
                </a:cubicBezTo>
                <a:cubicBezTo>
                  <a:pt x="124354" y="129191"/>
                  <a:pt x="130778" y="123124"/>
                  <a:pt x="130778" y="114916"/>
                </a:cubicBezTo>
                <a:cubicBezTo>
                  <a:pt x="130778" y="107064"/>
                  <a:pt x="124354" y="100640"/>
                  <a:pt x="116503" y="100640"/>
                </a:cubicBezTo>
                <a:close/>
                <a:moveTo>
                  <a:pt x="116503" y="92075"/>
                </a:moveTo>
                <a:cubicBezTo>
                  <a:pt x="129351" y="92075"/>
                  <a:pt x="139343" y="102425"/>
                  <a:pt x="139343" y="114916"/>
                </a:cubicBezTo>
                <a:cubicBezTo>
                  <a:pt x="139343" y="127407"/>
                  <a:pt x="129351" y="137756"/>
                  <a:pt x="116503" y="137756"/>
                </a:cubicBezTo>
                <a:cubicBezTo>
                  <a:pt x="104012" y="137756"/>
                  <a:pt x="93662" y="127407"/>
                  <a:pt x="93662" y="114916"/>
                </a:cubicBezTo>
                <a:cubicBezTo>
                  <a:pt x="93662" y="102425"/>
                  <a:pt x="104012" y="92075"/>
                  <a:pt x="116503" y="92075"/>
                </a:cubicBezTo>
                <a:close/>
                <a:moveTo>
                  <a:pt x="117114" y="76913"/>
                </a:moveTo>
                <a:cubicBezTo>
                  <a:pt x="95828" y="76913"/>
                  <a:pt x="78148" y="94214"/>
                  <a:pt x="78148" y="115480"/>
                </a:cubicBezTo>
                <a:cubicBezTo>
                  <a:pt x="78148" y="130258"/>
                  <a:pt x="86446" y="143233"/>
                  <a:pt x="99435" y="150082"/>
                </a:cubicBezTo>
                <a:cubicBezTo>
                  <a:pt x="100879" y="150802"/>
                  <a:pt x="101600" y="152605"/>
                  <a:pt x="101600" y="153686"/>
                </a:cubicBezTo>
                <a:lnTo>
                  <a:pt x="101600" y="258572"/>
                </a:lnTo>
                <a:lnTo>
                  <a:pt x="116393" y="273350"/>
                </a:lnTo>
                <a:lnTo>
                  <a:pt x="127938" y="261456"/>
                </a:lnTo>
                <a:lnTo>
                  <a:pt x="122526" y="256049"/>
                </a:lnTo>
                <a:cubicBezTo>
                  <a:pt x="119279" y="252445"/>
                  <a:pt x="119279" y="247038"/>
                  <a:pt x="122526" y="243794"/>
                </a:cubicBezTo>
                <a:lnTo>
                  <a:pt x="128299" y="237667"/>
                </a:lnTo>
                <a:lnTo>
                  <a:pt x="122887" y="232261"/>
                </a:lnTo>
                <a:cubicBezTo>
                  <a:pt x="119640" y="228656"/>
                  <a:pt x="119640" y="223250"/>
                  <a:pt x="122887" y="219645"/>
                </a:cubicBezTo>
                <a:lnTo>
                  <a:pt x="128299" y="214239"/>
                </a:lnTo>
                <a:lnTo>
                  <a:pt x="122887" y="208832"/>
                </a:lnTo>
                <a:cubicBezTo>
                  <a:pt x="121083" y="207391"/>
                  <a:pt x="120362" y="204868"/>
                  <a:pt x="120362" y="202705"/>
                </a:cubicBezTo>
                <a:cubicBezTo>
                  <a:pt x="120362" y="200182"/>
                  <a:pt x="121083" y="198019"/>
                  <a:pt x="122887" y="196217"/>
                </a:cubicBezTo>
                <a:lnTo>
                  <a:pt x="132629" y="186846"/>
                </a:lnTo>
                <a:lnTo>
                  <a:pt x="132629" y="153686"/>
                </a:lnTo>
                <a:cubicBezTo>
                  <a:pt x="132629" y="152605"/>
                  <a:pt x="133711" y="150802"/>
                  <a:pt x="134793" y="150082"/>
                </a:cubicBezTo>
                <a:cubicBezTo>
                  <a:pt x="148143" y="143233"/>
                  <a:pt x="156080" y="130258"/>
                  <a:pt x="156080" y="115480"/>
                </a:cubicBezTo>
                <a:cubicBezTo>
                  <a:pt x="156080" y="94214"/>
                  <a:pt x="138762" y="76913"/>
                  <a:pt x="117114" y="76913"/>
                </a:cubicBezTo>
                <a:close/>
                <a:moveTo>
                  <a:pt x="117114" y="68263"/>
                </a:moveTo>
                <a:cubicBezTo>
                  <a:pt x="143092" y="68263"/>
                  <a:pt x="164739" y="89168"/>
                  <a:pt x="164739" y="115480"/>
                </a:cubicBezTo>
                <a:cubicBezTo>
                  <a:pt x="164739" y="132420"/>
                  <a:pt x="155720" y="147919"/>
                  <a:pt x="141288" y="156569"/>
                </a:cubicBezTo>
                <a:lnTo>
                  <a:pt x="141288" y="188648"/>
                </a:lnTo>
                <a:cubicBezTo>
                  <a:pt x="141288" y="189729"/>
                  <a:pt x="140927" y="190811"/>
                  <a:pt x="139845" y="191532"/>
                </a:cubicBezTo>
                <a:lnTo>
                  <a:pt x="129021" y="202345"/>
                </a:lnTo>
                <a:lnTo>
                  <a:pt x="132268" y="205949"/>
                </a:lnTo>
                <a:lnTo>
                  <a:pt x="137680" y="211355"/>
                </a:lnTo>
                <a:cubicBezTo>
                  <a:pt x="139123" y="212797"/>
                  <a:pt x="139123" y="215681"/>
                  <a:pt x="137680" y="217483"/>
                </a:cubicBezTo>
                <a:lnTo>
                  <a:pt x="129021" y="225773"/>
                </a:lnTo>
                <a:lnTo>
                  <a:pt x="132268" y="229377"/>
                </a:lnTo>
                <a:lnTo>
                  <a:pt x="137680" y="234423"/>
                </a:lnTo>
                <a:cubicBezTo>
                  <a:pt x="138401" y="235504"/>
                  <a:pt x="138762" y="236586"/>
                  <a:pt x="138762" y="237667"/>
                </a:cubicBezTo>
                <a:cubicBezTo>
                  <a:pt x="138762" y="238748"/>
                  <a:pt x="138401" y="239830"/>
                  <a:pt x="137680" y="240551"/>
                </a:cubicBezTo>
                <a:lnTo>
                  <a:pt x="128660" y="249561"/>
                </a:lnTo>
                <a:lnTo>
                  <a:pt x="137319" y="258572"/>
                </a:lnTo>
                <a:cubicBezTo>
                  <a:pt x="138041" y="259293"/>
                  <a:pt x="138401" y="260374"/>
                  <a:pt x="138401" y="261456"/>
                </a:cubicBezTo>
                <a:cubicBezTo>
                  <a:pt x="138401" y="262537"/>
                  <a:pt x="138041" y="263618"/>
                  <a:pt x="137319" y="264700"/>
                </a:cubicBezTo>
                <a:lnTo>
                  <a:pt x="119279" y="282361"/>
                </a:lnTo>
                <a:cubicBezTo>
                  <a:pt x="118558" y="283082"/>
                  <a:pt x="117475" y="283803"/>
                  <a:pt x="116393" y="283803"/>
                </a:cubicBezTo>
                <a:cubicBezTo>
                  <a:pt x="115310" y="283803"/>
                  <a:pt x="113867" y="283082"/>
                  <a:pt x="113146" y="282361"/>
                </a:cubicBezTo>
                <a:lnTo>
                  <a:pt x="94384" y="263618"/>
                </a:lnTo>
                <a:cubicBezTo>
                  <a:pt x="93663" y="262537"/>
                  <a:pt x="92941" y="261816"/>
                  <a:pt x="92941" y="260374"/>
                </a:cubicBezTo>
                <a:lnTo>
                  <a:pt x="92941" y="156569"/>
                </a:lnTo>
                <a:cubicBezTo>
                  <a:pt x="78870" y="147919"/>
                  <a:pt x="69850" y="132420"/>
                  <a:pt x="69850" y="115480"/>
                </a:cubicBezTo>
                <a:cubicBezTo>
                  <a:pt x="69850" y="89168"/>
                  <a:pt x="90776" y="68263"/>
                  <a:pt x="117114" y="68263"/>
                </a:cubicBezTo>
                <a:close/>
                <a:moveTo>
                  <a:pt x="117116" y="39688"/>
                </a:moveTo>
                <a:cubicBezTo>
                  <a:pt x="137604" y="39688"/>
                  <a:pt x="156294" y="47586"/>
                  <a:pt x="170671" y="61947"/>
                </a:cubicBezTo>
                <a:cubicBezTo>
                  <a:pt x="185049" y="76308"/>
                  <a:pt x="193316" y="95337"/>
                  <a:pt x="193316" y="115442"/>
                </a:cubicBezTo>
                <a:cubicBezTo>
                  <a:pt x="193316" y="135907"/>
                  <a:pt x="185049" y="154935"/>
                  <a:pt x="170671" y="169296"/>
                </a:cubicBezTo>
                <a:cubicBezTo>
                  <a:pt x="169953" y="170014"/>
                  <a:pt x="168874" y="170732"/>
                  <a:pt x="167796" y="170732"/>
                </a:cubicBezTo>
                <a:cubicBezTo>
                  <a:pt x="166718" y="170732"/>
                  <a:pt x="165639" y="170014"/>
                  <a:pt x="164561" y="169296"/>
                </a:cubicBezTo>
                <a:cubicBezTo>
                  <a:pt x="163123" y="167501"/>
                  <a:pt x="163123" y="164988"/>
                  <a:pt x="164561" y="163193"/>
                </a:cubicBezTo>
                <a:cubicBezTo>
                  <a:pt x="177501" y="150268"/>
                  <a:pt x="184689" y="133393"/>
                  <a:pt x="184689" y="115442"/>
                </a:cubicBezTo>
                <a:cubicBezTo>
                  <a:pt x="184689" y="97491"/>
                  <a:pt x="177501" y="80617"/>
                  <a:pt x="164561" y="67692"/>
                </a:cubicBezTo>
                <a:cubicBezTo>
                  <a:pt x="151981" y="55126"/>
                  <a:pt x="135088" y="48305"/>
                  <a:pt x="117116" y="48305"/>
                </a:cubicBezTo>
                <a:cubicBezTo>
                  <a:pt x="99144" y="48305"/>
                  <a:pt x="82250" y="55126"/>
                  <a:pt x="69311" y="67692"/>
                </a:cubicBezTo>
                <a:cubicBezTo>
                  <a:pt x="56730" y="80617"/>
                  <a:pt x="49542" y="97491"/>
                  <a:pt x="49542" y="115442"/>
                </a:cubicBezTo>
                <a:cubicBezTo>
                  <a:pt x="49542" y="133393"/>
                  <a:pt x="56730" y="150268"/>
                  <a:pt x="69311" y="163193"/>
                </a:cubicBezTo>
                <a:cubicBezTo>
                  <a:pt x="71108" y="164988"/>
                  <a:pt x="71108" y="167501"/>
                  <a:pt x="69311" y="169296"/>
                </a:cubicBezTo>
                <a:cubicBezTo>
                  <a:pt x="67873" y="171091"/>
                  <a:pt x="64997" y="171091"/>
                  <a:pt x="63200" y="169296"/>
                </a:cubicBezTo>
                <a:cubicBezTo>
                  <a:pt x="49182" y="154935"/>
                  <a:pt x="41275" y="135907"/>
                  <a:pt x="41275" y="115442"/>
                </a:cubicBezTo>
                <a:cubicBezTo>
                  <a:pt x="41275" y="95337"/>
                  <a:pt x="49182" y="76308"/>
                  <a:pt x="63200" y="61947"/>
                </a:cubicBezTo>
                <a:cubicBezTo>
                  <a:pt x="77578" y="47586"/>
                  <a:pt x="96628" y="39688"/>
                  <a:pt x="117116" y="39688"/>
                </a:cubicBezTo>
                <a:close/>
                <a:moveTo>
                  <a:pt x="116483" y="0"/>
                </a:moveTo>
                <a:cubicBezTo>
                  <a:pt x="180837" y="0"/>
                  <a:pt x="232966" y="51731"/>
                  <a:pt x="233326" y="116036"/>
                </a:cubicBezTo>
                <a:cubicBezTo>
                  <a:pt x="233685" y="118192"/>
                  <a:pt x="238359" y="132921"/>
                  <a:pt x="256694" y="154835"/>
                </a:cubicBezTo>
                <a:cubicBezTo>
                  <a:pt x="259211" y="157709"/>
                  <a:pt x="263166" y="163457"/>
                  <a:pt x="262087" y="170282"/>
                </a:cubicBezTo>
                <a:cubicBezTo>
                  <a:pt x="261368" y="173156"/>
                  <a:pt x="259930" y="177108"/>
                  <a:pt x="254178" y="180341"/>
                </a:cubicBezTo>
                <a:cubicBezTo>
                  <a:pt x="246268" y="185011"/>
                  <a:pt x="237281" y="188604"/>
                  <a:pt x="232966" y="190759"/>
                </a:cubicBezTo>
                <a:cubicBezTo>
                  <a:pt x="233685" y="198303"/>
                  <a:pt x="235483" y="217703"/>
                  <a:pt x="232966" y="230995"/>
                </a:cubicBezTo>
                <a:cubicBezTo>
                  <a:pt x="229731" y="246442"/>
                  <a:pt x="203486" y="248957"/>
                  <a:pt x="188386" y="248957"/>
                </a:cubicBezTo>
                <a:cubicBezTo>
                  <a:pt x="184432" y="248957"/>
                  <a:pt x="177961" y="250035"/>
                  <a:pt x="177961" y="258657"/>
                </a:cubicBezTo>
                <a:lnTo>
                  <a:pt x="177961" y="279134"/>
                </a:lnTo>
                <a:cubicBezTo>
                  <a:pt x="177961" y="281648"/>
                  <a:pt x="175803" y="283804"/>
                  <a:pt x="173646" y="283804"/>
                </a:cubicBezTo>
                <a:cubicBezTo>
                  <a:pt x="171130" y="283804"/>
                  <a:pt x="169332" y="281648"/>
                  <a:pt x="169332" y="279134"/>
                </a:cubicBezTo>
                <a:lnTo>
                  <a:pt x="169332" y="258657"/>
                </a:lnTo>
                <a:cubicBezTo>
                  <a:pt x="169332" y="247520"/>
                  <a:pt x="176522" y="240335"/>
                  <a:pt x="188386" y="240335"/>
                </a:cubicBezTo>
                <a:cubicBezTo>
                  <a:pt x="208879" y="240335"/>
                  <a:pt x="223259" y="235665"/>
                  <a:pt x="224338" y="229558"/>
                </a:cubicBezTo>
                <a:cubicBezTo>
                  <a:pt x="227214" y="214110"/>
                  <a:pt x="223979" y="188604"/>
                  <a:pt x="223979" y="188604"/>
                </a:cubicBezTo>
                <a:cubicBezTo>
                  <a:pt x="223619" y="186448"/>
                  <a:pt x="224698" y="184652"/>
                  <a:pt x="226495" y="183934"/>
                </a:cubicBezTo>
                <a:cubicBezTo>
                  <a:pt x="226855" y="183934"/>
                  <a:pt x="239438" y="178904"/>
                  <a:pt x="249864" y="172797"/>
                </a:cubicBezTo>
                <a:cubicBezTo>
                  <a:pt x="253099" y="171001"/>
                  <a:pt x="253459" y="169205"/>
                  <a:pt x="253459" y="168486"/>
                </a:cubicBezTo>
                <a:cubicBezTo>
                  <a:pt x="254178" y="165971"/>
                  <a:pt x="252021" y="162379"/>
                  <a:pt x="250223" y="160223"/>
                </a:cubicBezTo>
                <a:cubicBezTo>
                  <a:pt x="228652" y="134717"/>
                  <a:pt x="224698" y="117833"/>
                  <a:pt x="224698" y="117114"/>
                </a:cubicBezTo>
                <a:lnTo>
                  <a:pt x="224698" y="116396"/>
                </a:lnTo>
                <a:cubicBezTo>
                  <a:pt x="224698" y="56761"/>
                  <a:pt x="176163" y="8622"/>
                  <a:pt x="116483" y="8622"/>
                </a:cubicBezTo>
                <a:cubicBezTo>
                  <a:pt x="57163" y="8622"/>
                  <a:pt x="8628" y="56761"/>
                  <a:pt x="8628" y="116396"/>
                </a:cubicBezTo>
                <a:cubicBezTo>
                  <a:pt x="8628" y="135076"/>
                  <a:pt x="13661" y="153757"/>
                  <a:pt x="23009" y="169564"/>
                </a:cubicBezTo>
                <a:cubicBezTo>
                  <a:pt x="23009" y="169923"/>
                  <a:pt x="23009" y="169923"/>
                  <a:pt x="23009" y="169923"/>
                </a:cubicBezTo>
                <a:cubicBezTo>
                  <a:pt x="26604" y="176030"/>
                  <a:pt x="30199" y="182137"/>
                  <a:pt x="34154" y="188245"/>
                </a:cubicBezTo>
                <a:cubicBezTo>
                  <a:pt x="40985" y="199022"/>
                  <a:pt x="47096" y="209081"/>
                  <a:pt x="51051" y="217703"/>
                </a:cubicBezTo>
                <a:cubicBezTo>
                  <a:pt x="60039" y="237461"/>
                  <a:pt x="60398" y="277697"/>
                  <a:pt x="60758" y="279134"/>
                </a:cubicBezTo>
                <a:cubicBezTo>
                  <a:pt x="60758" y="281648"/>
                  <a:pt x="58601" y="283804"/>
                  <a:pt x="56444" y="283804"/>
                </a:cubicBezTo>
                <a:cubicBezTo>
                  <a:pt x="53927" y="283804"/>
                  <a:pt x="52130" y="281648"/>
                  <a:pt x="52130" y="279493"/>
                </a:cubicBezTo>
                <a:cubicBezTo>
                  <a:pt x="52130" y="279134"/>
                  <a:pt x="51410" y="239257"/>
                  <a:pt x="43142" y="221295"/>
                </a:cubicBezTo>
                <a:cubicBezTo>
                  <a:pt x="39546" y="213033"/>
                  <a:pt x="33435" y="203333"/>
                  <a:pt x="26963" y="192915"/>
                </a:cubicBezTo>
                <a:cubicBezTo>
                  <a:pt x="23009" y="186808"/>
                  <a:pt x="19054" y="180341"/>
                  <a:pt x="15818" y="174593"/>
                </a:cubicBezTo>
                <a:cubicBezTo>
                  <a:pt x="15818" y="174234"/>
                  <a:pt x="15818" y="174234"/>
                  <a:pt x="15459" y="174234"/>
                </a:cubicBezTo>
                <a:cubicBezTo>
                  <a:pt x="5752" y="156990"/>
                  <a:pt x="0" y="136873"/>
                  <a:pt x="0" y="116396"/>
                </a:cubicBezTo>
                <a:cubicBezTo>
                  <a:pt x="0" y="52090"/>
                  <a:pt x="52489" y="0"/>
                  <a:pt x="1164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7" name="Freeform 1045">
            <a:extLst>
              <a:ext uri="{FF2B5EF4-FFF2-40B4-BE49-F238E27FC236}">
                <a16:creationId xmlns:a16="http://schemas.microsoft.com/office/drawing/2014/main" id="{22C85771-0D8C-D90A-70DD-D4BADEA1D6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53181" y="2285703"/>
            <a:ext cx="526365" cy="526365"/>
          </a:xfrm>
          <a:custGeom>
            <a:avLst/>
            <a:gdLst>
              <a:gd name="T0" fmla="*/ 1715332 w 283803"/>
              <a:gd name="T1" fmla="*/ 5101162 h 283804"/>
              <a:gd name="T2" fmla="*/ 1649710 w 283803"/>
              <a:gd name="T3" fmla="*/ 4346955 h 283804"/>
              <a:gd name="T4" fmla="*/ 1649710 w 283803"/>
              <a:gd name="T5" fmla="*/ 4529725 h 283804"/>
              <a:gd name="T6" fmla="*/ 1200177 w 283803"/>
              <a:gd name="T7" fmla="*/ 4346955 h 283804"/>
              <a:gd name="T8" fmla="*/ 602831 w 283803"/>
              <a:gd name="T9" fmla="*/ 4438361 h 283804"/>
              <a:gd name="T10" fmla="*/ 4561335 w 283803"/>
              <a:gd name="T11" fmla="*/ 4282097 h 283804"/>
              <a:gd name="T12" fmla="*/ 5021272 w 283803"/>
              <a:gd name="T13" fmla="*/ 4112093 h 283804"/>
              <a:gd name="T14" fmla="*/ 3443430 w 283803"/>
              <a:gd name="T15" fmla="*/ 4112093 h 283804"/>
              <a:gd name="T16" fmla="*/ 3910685 w 283803"/>
              <a:gd name="T17" fmla="*/ 4282097 h 283804"/>
              <a:gd name="T18" fmla="*/ 4707319 w 283803"/>
              <a:gd name="T19" fmla="*/ 3807567 h 283804"/>
              <a:gd name="T20" fmla="*/ 4875242 w 283803"/>
              <a:gd name="T21" fmla="*/ 4593718 h 283804"/>
              <a:gd name="T22" fmla="*/ 4707319 w 283803"/>
              <a:gd name="T23" fmla="*/ 3807567 h 283804"/>
              <a:gd name="T24" fmla="*/ 4085923 w 283803"/>
              <a:gd name="T25" fmla="*/ 4282097 h 283804"/>
              <a:gd name="T26" fmla="*/ 3268217 w 283803"/>
              <a:gd name="T27" fmla="*/ 4112093 h 283804"/>
              <a:gd name="T28" fmla="*/ 1293303 w 283803"/>
              <a:gd name="T29" fmla="*/ 3941783 h 283804"/>
              <a:gd name="T30" fmla="*/ 1201926 w 283803"/>
              <a:gd name="T31" fmla="*/ 3458536 h 283804"/>
              <a:gd name="T32" fmla="*/ 694239 w 283803"/>
              <a:gd name="T33" fmla="*/ 3990873 h 283804"/>
              <a:gd name="T34" fmla="*/ 1733735 w 283803"/>
              <a:gd name="T35" fmla="*/ 3141256 h 283804"/>
              <a:gd name="T36" fmla="*/ 1649981 w 283803"/>
              <a:gd name="T37" fmla="*/ 3942972 h 283804"/>
              <a:gd name="T38" fmla="*/ 2372163 w 283803"/>
              <a:gd name="T39" fmla="*/ 2998961 h 283804"/>
              <a:gd name="T40" fmla="*/ 2189386 w 283803"/>
              <a:gd name="T41" fmla="*/ 2998961 h 283804"/>
              <a:gd name="T42" fmla="*/ 4561335 w 283803"/>
              <a:gd name="T43" fmla="*/ 3161744 h 283804"/>
              <a:gd name="T44" fmla="*/ 5021272 w 283803"/>
              <a:gd name="T45" fmla="*/ 2986506 h 283804"/>
              <a:gd name="T46" fmla="*/ 3443430 w 283803"/>
              <a:gd name="T47" fmla="*/ 2986506 h 283804"/>
              <a:gd name="T48" fmla="*/ 3910685 w 283803"/>
              <a:gd name="T49" fmla="*/ 3161744 h 283804"/>
              <a:gd name="T50" fmla="*/ 4707319 w 283803"/>
              <a:gd name="T51" fmla="*/ 2665284 h 283804"/>
              <a:gd name="T52" fmla="*/ 4875242 w 283803"/>
              <a:gd name="T53" fmla="*/ 3482946 h 283804"/>
              <a:gd name="T54" fmla="*/ 4707319 w 283803"/>
              <a:gd name="T55" fmla="*/ 2665284 h 283804"/>
              <a:gd name="T56" fmla="*/ 4085923 w 283803"/>
              <a:gd name="T57" fmla="*/ 3161744 h 283804"/>
              <a:gd name="T58" fmla="*/ 3268217 w 283803"/>
              <a:gd name="T59" fmla="*/ 2986506 h 283804"/>
              <a:gd name="T60" fmla="*/ 1801446 w 283803"/>
              <a:gd name="T61" fmla="*/ 2490779 h 283804"/>
              <a:gd name="T62" fmla="*/ 689030 w 283803"/>
              <a:gd name="T63" fmla="*/ 2411450 h 283804"/>
              <a:gd name="T64" fmla="*/ 5363377 w 283803"/>
              <a:gd name="T65" fmla="*/ 4918481 h 283804"/>
              <a:gd name="T66" fmla="*/ 688885 w 283803"/>
              <a:gd name="T67" fmla="*/ 1840326 h 283804"/>
              <a:gd name="T68" fmla="*/ 688885 w 283803"/>
              <a:gd name="T69" fmla="*/ 2023052 h 283804"/>
              <a:gd name="T70" fmla="*/ 5236785 w 283803"/>
              <a:gd name="T71" fmla="*/ 1750009 h 283804"/>
              <a:gd name="T72" fmla="*/ 5099711 w 283803"/>
              <a:gd name="T73" fmla="*/ 1867151 h 283804"/>
              <a:gd name="T74" fmla="*/ 4303116 w 283803"/>
              <a:gd name="T75" fmla="*/ 1750009 h 283804"/>
              <a:gd name="T76" fmla="*/ 4185983 w 283803"/>
              <a:gd name="T77" fmla="*/ 1867151 h 283804"/>
              <a:gd name="T78" fmla="*/ 4783683 w 283803"/>
              <a:gd name="T79" fmla="*/ 1804787 h 283804"/>
              <a:gd name="T80" fmla="*/ 3062757 w 283803"/>
              <a:gd name="T81" fmla="*/ 1428904 h 283804"/>
              <a:gd name="T82" fmla="*/ 5507180 w 283803"/>
              <a:gd name="T83" fmla="*/ 1572520 h 283804"/>
              <a:gd name="T84" fmla="*/ 2285493 w 283803"/>
              <a:gd name="T85" fmla="*/ 1237459 h 283804"/>
              <a:gd name="T86" fmla="*/ 1618251 w 283803"/>
              <a:gd name="T87" fmla="*/ 1328815 h 283804"/>
              <a:gd name="T88" fmla="*/ 1357067 w 283803"/>
              <a:gd name="T89" fmla="*/ 1328815 h 283804"/>
              <a:gd name="T90" fmla="*/ 690756 w 283803"/>
              <a:gd name="T91" fmla="*/ 1237459 h 283804"/>
              <a:gd name="T92" fmla="*/ 2954886 w 283803"/>
              <a:gd name="T93" fmla="*/ 682082 h 283804"/>
              <a:gd name="T94" fmla="*/ 546440 w 283803"/>
              <a:gd name="T95" fmla="*/ 172340 h 283804"/>
              <a:gd name="T96" fmla="*/ 3982993 w 283803"/>
              <a:gd name="T97" fmla="*/ 5492937 h 283804"/>
              <a:gd name="T98" fmla="*/ 2753573 w 283803"/>
              <a:gd name="T99" fmla="*/ 4782063 h 283804"/>
              <a:gd name="T100" fmla="*/ 4356853 w 283803"/>
              <a:gd name="T101" fmla="*/ 538492 h 283804"/>
              <a:gd name="T102" fmla="*/ 2954886 w 283803"/>
              <a:gd name="T103" fmla="*/ 854425 h 283804"/>
              <a:gd name="T104" fmla="*/ 546440 w 283803"/>
              <a:gd name="T105" fmla="*/ 172340 h 283804"/>
              <a:gd name="T106" fmla="*/ 4529394 w 283803"/>
              <a:gd name="T107" fmla="*/ 1256587 h 283804"/>
              <a:gd name="T108" fmla="*/ 5363377 w 283803"/>
              <a:gd name="T109" fmla="*/ 5097997 h 283804"/>
              <a:gd name="T110" fmla="*/ 546440 w 283803"/>
              <a:gd name="T111" fmla="*/ 5672411 h 2838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83803" h="283804">
                <a:moveTo>
                  <a:pt x="34471" y="246063"/>
                </a:moveTo>
                <a:lnTo>
                  <a:pt x="85819" y="246063"/>
                </a:lnTo>
                <a:cubicBezTo>
                  <a:pt x="88333" y="246063"/>
                  <a:pt x="90128" y="248261"/>
                  <a:pt x="90128" y="250826"/>
                </a:cubicBezTo>
                <a:cubicBezTo>
                  <a:pt x="90128" y="253024"/>
                  <a:pt x="88333" y="255222"/>
                  <a:pt x="85819" y="255222"/>
                </a:cubicBezTo>
                <a:lnTo>
                  <a:pt x="34471" y="255222"/>
                </a:lnTo>
                <a:cubicBezTo>
                  <a:pt x="31958" y="255222"/>
                  <a:pt x="30162" y="253024"/>
                  <a:pt x="30162" y="250826"/>
                </a:cubicBezTo>
                <a:cubicBezTo>
                  <a:pt x="30162" y="248261"/>
                  <a:pt x="31958" y="246063"/>
                  <a:pt x="34471" y="246063"/>
                </a:cubicBezTo>
                <a:close/>
                <a:moveTo>
                  <a:pt x="82536" y="217488"/>
                </a:moveTo>
                <a:lnTo>
                  <a:pt x="114314" y="217488"/>
                </a:lnTo>
                <a:cubicBezTo>
                  <a:pt x="116505" y="217488"/>
                  <a:pt x="118697" y="219774"/>
                  <a:pt x="118697" y="222060"/>
                </a:cubicBezTo>
                <a:cubicBezTo>
                  <a:pt x="118697" y="224346"/>
                  <a:pt x="116505" y="226632"/>
                  <a:pt x="114314" y="226632"/>
                </a:cubicBezTo>
                <a:lnTo>
                  <a:pt x="82536" y="226632"/>
                </a:lnTo>
                <a:cubicBezTo>
                  <a:pt x="79979" y="226632"/>
                  <a:pt x="77787" y="224346"/>
                  <a:pt x="77787" y="222060"/>
                </a:cubicBezTo>
                <a:cubicBezTo>
                  <a:pt x="77787" y="219774"/>
                  <a:pt x="79979" y="217488"/>
                  <a:pt x="82536" y="217488"/>
                </a:cubicBezTo>
                <a:close/>
                <a:moveTo>
                  <a:pt x="34483" y="217488"/>
                </a:moveTo>
                <a:lnTo>
                  <a:pt x="60047" y="217488"/>
                </a:lnTo>
                <a:cubicBezTo>
                  <a:pt x="62567" y="217488"/>
                  <a:pt x="64727" y="219774"/>
                  <a:pt x="64727" y="222060"/>
                </a:cubicBezTo>
                <a:cubicBezTo>
                  <a:pt x="64727" y="224346"/>
                  <a:pt x="62567" y="226632"/>
                  <a:pt x="60047" y="226632"/>
                </a:cubicBezTo>
                <a:lnTo>
                  <a:pt x="34483" y="226632"/>
                </a:lnTo>
                <a:cubicBezTo>
                  <a:pt x="31963" y="226632"/>
                  <a:pt x="30162" y="224346"/>
                  <a:pt x="30162" y="222060"/>
                </a:cubicBezTo>
                <a:cubicBezTo>
                  <a:pt x="30162" y="219774"/>
                  <a:pt x="31963" y="217488"/>
                  <a:pt x="34483" y="217488"/>
                </a:cubicBezTo>
                <a:close/>
                <a:moveTo>
                  <a:pt x="235512" y="198650"/>
                </a:moveTo>
                <a:cubicBezTo>
                  <a:pt x="231129" y="198650"/>
                  <a:pt x="228207" y="202194"/>
                  <a:pt x="228207" y="205737"/>
                </a:cubicBezTo>
                <a:lnTo>
                  <a:pt x="228207" y="214242"/>
                </a:lnTo>
                <a:cubicBezTo>
                  <a:pt x="228207" y="218494"/>
                  <a:pt x="231129" y="221329"/>
                  <a:pt x="235512" y="221329"/>
                </a:cubicBezTo>
                <a:lnTo>
                  <a:pt x="243913" y="221329"/>
                </a:lnTo>
                <a:cubicBezTo>
                  <a:pt x="247931" y="221329"/>
                  <a:pt x="251219" y="218494"/>
                  <a:pt x="251219" y="214242"/>
                </a:cubicBezTo>
                <a:lnTo>
                  <a:pt x="251219" y="205737"/>
                </a:lnTo>
                <a:cubicBezTo>
                  <a:pt x="251219" y="202194"/>
                  <a:pt x="247931" y="198650"/>
                  <a:pt x="243913" y="198650"/>
                </a:cubicBezTo>
                <a:lnTo>
                  <a:pt x="235512" y="198650"/>
                </a:lnTo>
                <a:close/>
                <a:moveTo>
                  <a:pt x="179584" y="198650"/>
                </a:moveTo>
                <a:cubicBezTo>
                  <a:pt x="175566" y="198650"/>
                  <a:pt x="172279" y="202194"/>
                  <a:pt x="172279" y="205737"/>
                </a:cubicBezTo>
                <a:lnTo>
                  <a:pt x="172279" y="214242"/>
                </a:lnTo>
                <a:cubicBezTo>
                  <a:pt x="172279" y="218494"/>
                  <a:pt x="175566" y="221329"/>
                  <a:pt x="179584" y="221329"/>
                </a:cubicBezTo>
                <a:lnTo>
                  <a:pt x="188350" y="221329"/>
                </a:lnTo>
                <a:cubicBezTo>
                  <a:pt x="192368" y="221329"/>
                  <a:pt x="195656" y="218494"/>
                  <a:pt x="195656" y="214242"/>
                </a:cubicBezTo>
                <a:lnTo>
                  <a:pt x="195656" y="205737"/>
                </a:lnTo>
                <a:cubicBezTo>
                  <a:pt x="195656" y="202194"/>
                  <a:pt x="192368" y="198650"/>
                  <a:pt x="188350" y="198650"/>
                </a:cubicBezTo>
                <a:lnTo>
                  <a:pt x="179584" y="198650"/>
                </a:lnTo>
                <a:close/>
                <a:moveTo>
                  <a:pt x="235512" y="190500"/>
                </a:moveTo>
                <a:lnTo>
                  <a:pt x="243913" y="190500"/>
                </a:lnTo>
                <a:cubicBezTo>
                  <a:pt x="253045" y="190500"/>
                  <a:pt x="259985" y="197233"/>
                  <a:pt x="259985" y="205737"/>
                </a:cubicBezTo>
                <a:lnTo>
                  <a:pt x="259985" y="214242"/>
                </a:lnTo>
                <a:cubicBezTo>
                  <a:pt x="259985" y="222746"/>
                  <a:pt x="253045" y="229834"/>
                  <a:pt x="243913" y="229834"/>
                </a:cubicBezTo>
                <a:lnTo>
                  <a:pt x="235512" y="229834"/>
                </a:lnTo>
                <a:cubicBezTo>
                  <a:pt x="226381" y="229834"/>
                  <a:pt x="219075" y="222746"/>
                  <a:pt x="219075" y="214242"/>
                </a:cubicBezTo>
                <a:lnTo>
                  <a:pt x="219075" y="205737"/>
                </a:lnTo>
                <a:cubicBezTo>
                  <a:pt x="219075" y="197233"/>
                  <a:pt x="226381" y="190500"/>
                  <a:pt x="235512" y="190500"/>
                </a:cubicBezTo>
                <a:close/>
                <a:moveTo>
                  <a:pt x="179584" y="190500"/>
                </a:moveTo>
                <a:lnTo>
                  <a:pt x="188350" y="190500"/>
                </a:lnTo>
                <a:cubicBezTo>
                  <a:pt x="197117" y="190500"/>
                  <a:pt x="204422" y="197233"/>
                  <a:pt x="204422" y="205737"/>
                </a:cubicBezTo>
                <a:lnTo>
                  <a:pt x="204422" y="214242"/>
                </a:lnTo>
                <a:cubicBezTo>
                  <a:pt x="204422" y="222746"/>
                  <a:pt x="197117" y="229834"/>
                  <a:pt x="188350" y="229834"/>
                </a:cubicBezTo>
                <a:lnTo>
                  <a:pt x="179584" y="229834"/>
                </a:lnTo>
                <a:cubicBezTo>
                  <a:pt x="170818" y="229834"/>
                  <a:pt x="163512" y="222746"/>
                  <a:pt x="163512" y="214242"/>
                </a:cubicBezTo>
                <a:lnTo>
                  <a:pt x="163512" y="205737"/>
                </a:lnTo>
                <a:cubicBezTo>
                  <a:pt x="163512" y="197233"/>
                  <a:pt x="170818" y="190500"/>
                  <a:pt x="179584" y="190500"/>
                </a:cubicBezTo>
                <a:close/>
                <a:moveTo>
                  <a:pt x="60134" y="173038"/>
                </a:moveTo>
                <a:cubicBezTo>
                  <a:pt x="62801" y="173038"/>
                  <a:pt x="64706" y="175236"/>
                  <a:pt x="64706" y="177434"/>
                </a:cubicBezTo>
                <a:lnTo>
                  <a:pt x="64706" y="197217"/>
                </a:lnTo>
                <a:cubicBezTo>
                  <a:pt x="64706" y="199415"/>
                  <a:pt x="62801" y="201247"/>
                  <a:pt x="60134" y="201247"/>
                </a:cubicBezTo>
                <a:cubicBezTo>
                  <a:pt x="57467" y="201247"/>
                  <a:pt x="55562" y="199415"/>
                  <a:pt x="55562" y="197217"/>
                </a:cubicBezTo>
                <a:lnTo>
                  <a:pt x="55562" y="177434"/>
                </a:lnTo>
                <a:cubicBezTo>
                  <a:pt x="55562" y="175236"/>
                  <a:pt x="57467" y="173038"/>
                  <a:pt x="60134" y="173038"/>
                </a:cubicBezTo>
                <a:close/>
                <a:moveTo>
                  <a:pt x="34734" y="161925"/>
                </a:moveTo>
                <a:cubicBezTo>
                  <a:pt x="37020" y="161925"/>
                  <a:pt x="39306" y="163689"/>
                  <a:pt x="39306" y="166158"/>
                </a:cubicBezTo>
                <a:lnTo>
                  <a:pt x="39306" y="195792"/>
                </a:lnTo>
                <a:cubicBezTo>
                  <a:pt x="39306" y="197908"/>
                  <a:pt x="37020" y="199672"/>
                  <a:pt x="34734" y="199672"/>
                </a:cubicBezTo>
                <a:cubicBezTo>
                  <a:pt x="32067" y="199672"/>
                  <a:pt x="30162" y="197908"/>
                  <a:pt x="30162" y="195792"/>
                </a:cubicBezTo>
                <a:lnTo>
                  <a:pt x="30162" y="166158"/>
                </a:lnTo>
                <a:cubicBezTo>
                  <a:pt x="30162" y="163689"/>
                  <a:pt x="32067" y="161925"/>
                  <a:pt x="34734" y="161925"/>
                </a:cubicBezTo>
                <a:close/>
                <a:moveTo>
                  <a:pt x="86741" y="157163"/>
                </a:moveTo>
                <a:cubicBezTo>
                  <a:pt x="89408" y="157163"/>
                  <a:pt x="91694" y="158970"/>
                  <a:pt x="91694" y="161500"/>
                </a:cubicBezTo>
                <a:lnTo>
                  <a:pt x="91694" y="197276"/>
                </a:lnTo>
                <a:cubicBezTo>
                  <a:pt x="91694" y="199445"/>
                  <a:pt x="89408" y="201252"/>
                  <a:pt x="86741" y="201252"/>
                </a:cubicBezTo>
                <a:cubicBezTo>
                  <a:pt x="84455" y="201252"/>
                  <a:pt x="82550" y="199445"/>
                  <a:pt x="82550" y="197276"/>
                </a:cubicBezTo>
                <a:lnTo>
                  <a:pt x="82550" y="161500"/>
                </a:lnTo>
                <a:cubicBezTo>
                  <a:pt x="82550" y="158970"/>
                  <a:pt x="84455" y="157163"/>
                  <a:pt x="86741" y="157163"/>
                </a:cubicBezTo>
                <a:close/>
                <a:moveTo>
                  <a:pt x="114109" y="146050"/>
                </a:moveTo>
                <a:cubicBezTo>
                  <a:pt x="116395" y="146050"/>
                  <a:pt x="118681" y="147866"/>
                  <a:pt x="118681" y="150045"/>
                </a:cubicBezTo>
                <a:lnTo>
                  <a:pt x="118681" y="197255"/>
                </a:lnTo>
                <a:cubicBezTo>
                  <a:pt x="118681" y="199434"/>
                  <a:pt x="116395" y="201250"/>
                  <a:pt x="114109" y="201250"/>
                </a:cubicBezTo>
                <a:cubicBezTo>
                  <a:pt x="111823" y="201250"/>
                  <a:pt x="109537" y="199434"/>
                  <a:pt x="109537" y="197255"/>
                </a:cubicBezTo>
                <a:lnTo>
                  <a:pt x="109537" y="150045"/>
                </a:lnTo>
                <a:cubicBezTo>
                  <a:pt x="109537" y="147866"/>
                  <a:pt x="111823" y="146050"/>
                  <a:pt x="114109" y="146050"/>
                </a:cubicBezTo>
                <a:close/>
                <a:moveTo>
                  <a:pt x="235512" y="142116"/>
                </a:moveTo>
                <a:cubicBezTo>
                  <a:pt x="231129" y="142116"/>
                  <a:pt x="228207" y="145404"/>
                  <a:pt x="228207" y="149422"/>
                </a:cubicBezTo>
                <a:lnTo>
                  <a:pt x="228207" y="158188"/>
                </a:lnTo>
                <a:cubicBezTo>
                  <a:pt x="228207" y="162206"/>
                  <a:pt x="231129" y="165493"/>
                  <a:pt x="235512" y="165493"/>
                </a:cubicBezTo>
                <a:lnTo>
                  <a:pt x="243913" y="165493"/>
                </a:lnTo>
                <a:cubicBezTo>
                  <a:pt x="247931" y="165493"/>
                  <a:pt x="251219" y="162206"/>
                  <a:pt x="251219" y="158188"/>
                </a:cubicBezTo>
                <a:lnTo>
                  <a:pt x="251219" y="149422"/>
                </a:lnTo>
                <a:cubicBezTo>
                  <a:pt x="251219" y="145404"/>
                  <a:pt x="247931" y="142116"/>
                  <a:pt x="243913" y="142116"/>
                </a:cubicBezTo>
                <a:lnTo>
                  <a:pt x="235512" y="142116"/>
                </a:lnTo>
                <a:close/>
                <a:moveTo>
                  <a:pt x="179584" y="142116"/>
                </a:moveTo>
                <a:cubicBezTo>
                  <a:pt x="175566" y="142116"/>
                  <a:pt x="172279" y="145404"/>
                  <a:pt x="172279" y="149422"/>
                </a:cubicBezTo>
                <a:lnTo>
                  <a:pt x="172279" y="158188"/>
                </a:lnTo>
                <a:cubicBezTo>
                  <a:pt x="172279" y="162206"/>
                  <a:pt x="175566" y="165493"/>
                  <a:pt x="179584" y="165493"/>
                </a:cubicBezTo>
                <a:lnTo>
                  <a:pt x="188350" y="165493"/>
                </a:lnTo>
                <a:cubicBezTo>
                  <a:pt x="192368" y="165493"/>
                  <a:pt x="195656" y="162206"/>
                  <a:pt x="195656" y="158188"/>
                </a:cubicBezTo>
                <a:lnTo>
                  <a:pt x="195656" y="149422"/>
                </a:lnTo>
                <a:cubicBezTo>
                  <a:pt x="195656" y="145404"/>
                  <a:pt x="192368" y="142116"/>
                  <a:pt x="188350" y="142116"/>
                </a:cubicBezTo>
                <a:lnTo>
                  <a:pt x="179584" y="142116"/>
                </a:lnTo>
                <a:close/>
                <a:moveTo>
                  <a:pt x="235512" y="133350"/>
                </a:moveTo>
                <a:lnTo>
                  <a:pt x="243913" y="133350"/>
                </a:lnTo>
                <a:cubicBezTo>
                  <a:pt x="253045" y="133350"/>
                  <a:pt x="259985" y="140655"/>
                  <a:pt x="259985" y="149422"/>
                </a:cubicBezTo>
                <a:lnTo>
                  <a:pt x="259985" y="158188"/>
                </a:lnTo>
                <a:cubicBezTo>
                  <a:pt x="259985" y="166954"/>
                  <a:pt x="253045" y="174260"/>
                  <a:pt x="243913" y="174260"/>
                </a:cubicBezTo>
                <a:lnTo>
                  <a:pt x="235512" y="174260"/>
                </a:lnTo>
                <a:cubicBezTo>
                  <a:pt x="226381" y="174260"/>
                  <a:pt x="219075" y="166954"/>
                  <a:pt x="219075" y="158188"/>
                </a:cubicBezTo>
                <a:lnTo>
                  <a:pt x="219075" y="149422"/>
                </a:lnTo>
                <a:cubicBezTo>
                  <a:pt x="219075" y="140655"/>
                  <a:pt x="226381" y="133350"/>
                  <a:pt x="235512" y="133350"/>
                </a:cubicBezTo>
                <a:close/>
                <a:moveTo>
                  <a:pt x="179584" y="133350"/>
                </a:moveTo>
                <a:lnTo>
                  <a:pt x="188350" y="133350"/>
                </a:lnTo>
                <a:cubicBezTo>
                  <a:pt x="197117" y="133350"/>
                  <a:pt x="204422" y="140655"/>
                  <a:pt x="204422" y="149422"/>
                </a:cubicBezTo>
                <a:lnTo>
                  <a:pt x="204422" y="158188"/>
                </a:lnTo>
                <a:cubicBezTo>
                  <a:pt x="204422" y="166954"/>
                  <a:pt x="197117" y="174260"/>
                  <a:pt x="188350" y="174260"/>
                </a:cubicBezTo>
                <a:lnTo>
                  <a:pt x="179584" y="174260"/>
                </a:lnTo>
                <a:cubicBezTo>
                  <a:pt x="170818" y="174260"/>
                  <a:pt x="163512" y="166954"/>
                  <a:pt x="163512" y="158188"/>
                </a:cubicBezTo>
                <a:lnTo>
                  <a:pt x="163512" y="149422"/>
                </a:lnTo>
                <a:cubicBezTo>
                  <a:pt x="163512" y="140655"/>
                  <a:pt x="170818" y="133350"/>
                  <a:pt x="179584" y="133350"/>
                </a:cubicBezTo>
                <a:close/>
                <a:moveTo>
                  <a:pt x="34471" y="120650"/>
                </a:moveTo>
                <a:lnTo>
                  <a:pt x="85819" y="120650"/>
                </a:lnTo>
                <a:cubicBezTo>
                  <a:pt x="88333" y="120650"/>
                  <a:pt x="90128" y="122304"/>
                  <a:pt x="90128" y="124619"/>
                </a:cubicBezTo>
                <a:cubicBezTo>
                  <a:pt x="90128" y="126603"/>
                  <a:pt x="88333" y="128257"/>
                  <a:pt x="85819" y="128257"/>
                </a:cubicBezTo>
                <a:lnTo>
                  <a:pt x="34471" y="128257"/>
                </a:lnTo>
                <a:cubicBezTo>
                  <a:pt x="31958" y="128257"/>
                  <a:pt x="30162" y="126603"/>
                  <a:pt x="30162" y="124619"/>
                </a:cubicBezTo>
                <a:cubicBezTo>
                  <a:pt x="30162" y="122304"/>
                  <a:pt x="31958" y="120650"/>
                  <a:pt x="34471" y="120650"/>
                </a:cubicBezTo>
                <a:close/>
                <a:moveTo>
                  <a:pt x="146398" y="117473"/>
                </a:moveTo>
                <a:lnTo>
                  <a:pt x="146398" y="239257"/>
                </a:lnTo>
                <a:cubicBezTo>
                  <a:pt x="146398" y="243209"/>
                  <a:pt x="149635" y="246083"/>
                  <a:pt x="153232" y="246083"/>
                </a:cubicBezTo>
                <a:lnTo>
                  <a:pt x="268335" y="246083"/>
                </a:lnTo>
                <a:cubicBezTo>
                  <a:pt x="272292" y="246083"/>
                  <a:pt x="275529" y="243209"/>
                  <a:pt x="275529" y="239257"/>
                </a:cubicBezTo>
                <a:lnTo>
                  <a:pt x="275529" y="117473"/>
                </a:lnTo>
                <a:lnTo>
                  <a:pt x="146398" y="117473"/>
                </a:lnTo>
                <a:close/>
                <a:moveTo>
                  <a:pt x="34464" y="92075"/>
                </a:moveTo>
                <a:lnTo>
                  <a:pt x="114402" y="92075"/>
                </a:lnTo>
                <a:cubicBezTo>
                  <a:pt x="116553" y="92075"/>
                  <a:pt x="118704" y="93980"/>
                  <a:pt x="118704" y="96647"/>
                </a:cubicBezTo>
                <a:cubicBezTo>
                  <a:pt x="118704" y="98933"/>
                  <a:pt x="116553" y="101219"/>
                  <a:pt x="114402" y="101219"/>
                </a:cubicBezTo>
                <a:lnTo>
                  <a:pt x="34464" y="101219"/>
                </a:lnTo>
                <a:cubicBezTo>
                  <a:pt x="31955" y="101219"/>
                  <a:pt x="30162" y="98933"/>
                  <a:pt x="30162" y="96647"/>
                </a:cubicBezTo>
                <a:cubicBezTo>
                  <a:pt x="30162" y="93980"/>
                  <a:pt x="31955" y="92075"/>
                  <a:pt x="34464" y="92075"/>
                </a:cubicBezTo>
                <a:close/>
                <a:moveTo>
                  <a:pt x="255143" y="87557"/>
                </a:moveTo>
                <a:cubicBezTo>
                  <a:pt x="257048" y="85725"/>
                  <a:pt x="260096" y="85725"/>
                  <a:pt x="262001" y="87557"/>
                </a:cubicBezTo>
                <a:cubicBezTo>
                  <a:pt x="262763" y="88289"/>
                  <a:pt x="263144" y="89388"/>
                  <a:pt x="263144" y="90487"/>
                </a:cubicBezTo>
                <a:cubicBezTo>
                  <a:pt x="263144" y="91586"/>
                  <a:pt x="262763" y="92686"/>
                  <a:pt x="262001" y="93418"/>
                </a:cubicBezTo>
                <a:cubicBezTo>
                  <a:pt x="260858" y="94517"/>
                  <a:pt x="259715" y="94884"/>
                  <a:pt x="258572" y="94884"/>
                </a:cubicBezTo>
                <a:cubicBezTo>
                  <a:pt x="257429" y="94884"/>
                  <a:pt x="256286" y="94517"/>
                  <a:pt x="255143" y="93418"/>
                </a:cubicBezTo>
                <a:cubicBezTo>
                  <a:pt x="254381" y="92686"/>
                  <a:pt x="254000" y="91586"/>
                  <a:pt x="254000" y="90487"/>
                </a:cubicBezTo>
                <a:cubicBezTo>
                  <a:pt x="254000" y="89388"/>
                  <a:pt x="254381" y="88289"/>
                  <a:pt x="255143" y="87557"/>
                </a:cubicBezTo>
                <a:close/>
                <a:moveTo>
                  <a:pt x="209428" y="87557"/>
                </a:moveTo>
                <a:cubicBezTo>
                  <a:pt x="210893" y="85725"/>
                  <a:pt x="213824" y="85725"/>
                  <a:pt x="215289" y="87557"/>
                </a:cubicBezTo>
                <a:cubicBezTo>
                  <a:pt x="216388" y="88289"/>
                  <a:pt x="217121" y="89388"/>
                  <a:pt x="217121" y="90487"/>
                </a:cubicBezTo>
                <a:cubicBezTo>
                  <a:pt x="217121" y="91586"/>
                  <a:pt x="216388" y="92686"/>
                  <a:pt x="215656" y="93418"/>
                </a:cubicBezTo>
                <a:cubicBezTo>
                  <a:pt x="214923" y="94517"/>
                  <a:pt x="213457" y="94884"/>
                  <a:pt x="212358" y="94884"/>
                </a:cubicBezTo>
                <a:cubicBezTo>
                  <a:pt x="211259" y="94884"/>
                  <a:pt x="210160" y="94517"/>
                  <a:pt x="209428" y="93418"/>
                </a:cubicBezTo>
                <a:cubicBezTo>
                  <a:pt x="208695" y="92686"/>
                  <a:pt x="207962" y="91586"/>
                  <a:pt x="207962" y="90487"/>
                </a:cubicBezTo>
                <a:cubicBezTo>
                  <a:pt x="207962" y="89388"/>
                  <a:pt x="208695" y="88289"/>
                  <a:pt x="209428" y="87557"/>
                </a:cubicBezTo>
                <a:close/>
                <a:moveTo>
                  <a:pt x="234759" y="85725"/>
                </a:moveTo>
                <a:cubicBezTo>
                  <a:pt x="237426" y="85725"/>
                  <a:pt x="239331" y="88011"/>
                  <a:pt x="239331" y="90297"/>
                </a:cubicBezTo>
                <a:cubicBezTo>
                  <a:pt x="239331" y="92583"/>
                  <a:pt x="237426" y="94869"/>
                  <a:pt x="234759" y="94869"/>
                </a:cubicBezTo>
                <a:cubicBezTo>
                  <a:pt x="232092" y="94869"/>
                  <a:pt x="230187" y="92583"/>
                  <a:pt x="230187" y="90297"/>
                </a:cubicBezTo>
                <a:cubicBezTo>
                  <a:pt x="230187" y="88011"/>
                  <a:pt x="232092" y="85725"/>
                  <a:pt x="234759" y="85725"/>
                </a:cubicBezTo>
                <a:close/>
                <a:moveTo>
                  <a:pt x="153232" y="71490"/>
                </a:moveTo>
                <a:cubicBezTo>
                  <a:pt x="149635" y="71490"/>
                  <a:pt x="146398" y="74723"/>
                  <a:pt x="146398" y="78675"/>
                </a:cubicBezTo>
                <a:lnTo>
                  <a:pt x="146398" y="108851"/>
                </a:lnTo>
                <a:lnTo>
                  <a:pt x="275529" y="108851"/>
                </a:lnTo>
                <a:lnTo>
                  <a:pt x="275529" y="78675"/>
                </a:lnTo>
                <a:cubicBezTo>
                  <a:pt x="275529" y="74723"/>
                  <a:pt x="272292" y="71490"/>
                  <a:pt x="268335" y="71490"/>
                </a:cubicBezTo>
                <a:lnTo>
                  <a:pt x="153232" y="71490"/>
                </a:lnTo>
                <a:close/>
                <a:moveTo>
                  <a:pt x="85317" y="61913"/>
                </a:moveTo>
                <a:lnTo>
                  <a:pt x="114345" y="61913"/>
                </a:lnTo>
                <a:cubicBezTo>
                  <a:pt x="116522" y="61913"/>
                  <a:pt x="118699" y="63818"/>
                  <a:pt x="118699" y="66485"/>
                </a:cubicBezTo>
                <a:cubicBezTo>
                  <a:pt x="118699" y="69152"/>
                  <a:pt x="116522" y="71057"/>
                  <a:pt x="114345" y="71057"/>
                </a:cubicBezTo>
                <a:lnTo>
                  <a:pt x="85317" y="71057"/>
                </a:lnTo>
                <a:cubicBezTo>
                  <a:pt x="83139" y="71057"/>
                  <a:pt x="80962" y="69152"/>
                  <a:pt x="80962" y="66485"/>
                </a:cubicBezTo>
                <a:cubicBezTo>
                  <a:pt x="80962" y="63818"/>
                  <a:pt x="83139" y="61913"/>
                  <a:pt x="85317" y="61913"/>
                </a:cubicBezTo>
                <a:close/>
                <a:moveTo>
                  <a:pt x="34558" y="61913"/>
                </a:moveTo>
                <a:lnTo>
                  <a:pt x="63500" y="61913"/>
                </a:lnTo>
                <a:cubicBezTo>
                  <a:pt x="66064" y="61913"/>
                  <a:pt x="67896" y="63818"/>
                  <a:pt x="67896" y="66485"/>
                </a:cubicBezTo>
                <a:cubicBezTo>
                  <a:pt x="67896" y="69152"/>
                  <a:pt x="66064" y="71057"/>
                  <a:pt x="63500" y="71057"/>
                </a:cubicBezTo>
                <a:lnTo>
                  <a:pt x="34558" y="71057"/>
                </a:lnTo>
                <a:cubicBezTo>
                  <a:pt x="31994" y="71057"/>
                  <a:pt x="30162" y="69152"/>
                  <a:pt x="30162" y="66485"/>
                </a:cubicBezTo>
                <a:cubicBezTo>
                  <a:pt x="30162" y="63818"/>
                  <a:pt x="31994" y="61913"/>
                  <a:pt x="34558" y="61913"/>
                </a:cubicBezTo>
                <a:close/>
                <a:moveTo>
                  <a:pt x="65825" y="8622"/>
                </a:moveTo>
                <a:lnTo>
                  <a:pt x="65825" y="21555"/>
                </a:lnTo>
                <a:cubicBezTo>
                  <a:pt x="65825" y="28380"/>
                  <a:pt x="71580" y="34128"/>
                  <a:pt x="78774" y="34128"/>
                </a:cubicBezTo>
                <a:lnTo>
                  <a:pt x="147836" y="34128"/>
                </a:lnTo>
                <a:cubicBezTo>
                  <a:pt x="155030" y="34128"/>
                  <a:pt x="160426" y="28380"/>
                  <a:pt x="160426" y="21555"/>
                </a:cubicBezTo>
                <a:lnTo>
                  <a:pt x="160426" y="8622"/>
                </a:lnTo>
                <a:lnTo>
                  <a:pt x="65825" y="8622"/>
                </a:lnTo>
                <a:close/>
                <a:moveTo>
                  <a:pt x="27337" y="8622"/>
                </a:moveTo>
                <a:cubicBezTo>
                  <a:pt x="16906" y="8622"/>
                  <a:pt x="8633" y="16525"/>
                  <a:pt x="8633" y="26943"/>
                </a:cubicBezTo>
                <a:lnTo>
                  <a:pt x="8633" y="256501"/>
                </a:lnTo>
                <a:cubicBezTo>
                  <a:pt x="8633" y="266919"/>
                  <a:pt x="16906" y="274823"/>
                  <a:pt x="27337" y="274823"/>
                </a:cubicBezTo>
                <a:lnTo>
                  <a:pt x="199273" y="274823"/>
                </a:lnTo>
                <a:cubicBezTo>
                  <a:pt x="209705" y="274823"/>
                  <a:pt x="217978" y="266919"/>
                  <a:pt x="217978" y="256501"/>
                </a:cubicBezTo>
                <a:lnTo>
                  <a:pt x="217978" y="255064"/>
                </a:lnTo>
                <a:lnTo>
                  <a:pt x="153232" y="255064"/>
                </a:lnTo>
                <a:cubicBezTo>
                  <a:pt x="144599" y="255064"/>
                  <a:pt x="137765" y="247879"/>
                  <a:pt x="137765" y="239257"/>
                </a:cubicBezTo>
                <a:lnTo>
                  <a:pt x="137765" y="78675"/>
                </a:lnTo>
                <a:cubicBezTo>
                  <a:pt x="137765" y="70053"/>
                  <a:pt x="144599" y="62868"/>
                  <a:pt x="153232" y="62868"/>
                </a:cubicBezTo>
                <a:lnTo>
                  <a:pt x="217978" y="62868"/>
                </a:lnTo>
                <a:lnTo>
                  <a:pt x="217978" y="26943"/>
                </a:lnTo>
                <a:cubicBezTo>
                  <a:pt x="217978" y="16525"/>
                  <a:pt x="209705" y="8622"/>
                  <a:pt x="199273" y="8622"/>
                </a:cubicBezTo>
                <a:lnTo>
                  <a:pt x="169418" y="8622"/>
                </a:lnTo>
                <a:lnTo>
                  <a:pt x="169418" y="21555"/>
                </a:lnTo>
                <a:cubicBezTo>
                  <a:pt x="169418" y="33410"/>
                  <a:pt x="159347" y="42750"/>
                  <a:pt x="147836" y="42750"/>
                </a:cubicBezTo>
                <a:lnTo>
                  <a:pt x="78774" y="42750"/>
                </a:lnTo>
                <a:cubicBezTo>
                  <a:pt x="66904" y="42750"/>
                  <a:pt x="57192" y="33410"/>
                  <a:pt x="57192" y="21555"/>
                </a:cubicBezTo>
                <a:lnTo>
                  <a:pt x="57192" y="8622"/>
                </a:lnTo>
                <a:lnTo>
                  <a:pt x="27337" y="8622"/>
                </a:lnTo>
                <a:close/>
                <a:moveTo>
                  <a:pt x="27337" y="0"/>
                </a:moveTo>
                <a:lnTo>
                  <a:pt x="199273" y="0"/>
                </a:lnTo>
                <a:cubicBezTo>
                  <a:pt x="214381" y="0"/>
                  <a:pt x="226610" y="12214"/>
                  <a:pt x="226610" y="26943"/>
                </a:cubicBezTo>
                <a:lnTo>
                  <a:pt x="226610" y="62868"/>
                </a:lnTo>
                <a:lnTo>
                  <a:pt x="268335" y="62868"/>
                </a:lnTo>
                <a:cubicBezTo>
                  <a:pt x="276968" y="62868"/>
                  <a:pt x="283803" y="70053"/>
                  <a:pt x="283803" y="78675"/>
                </a:cubicBezTo>
                <a:lnTo>
                  <a:pt x="283803" y="239257"/>
                </a:lnTo>
                <a:cubicBezTo>
                  <a:pt x="283803" y="247879"/>
                  <a:pt x="276968" y="255064"/>
                  <a:pt x="268335" y="255064"/>
                </a:cubicBezTo>
                <a:lnTo>
                  <a:pt x="226610" y="255064"/>
                </a:lnTo>
                <a:lnTo>
                  <a:pt x="226610" y="256501"/>
                </a:lnTo>
                <a:cubicBezTo>
                  <a:pt x="226610" y="271230"/>
                  <a:pt x="214381" y="283804"/>
                  <a:pt x="199273" y="283804"/>
                </a:cubicBezTo>
                <a:lnTo>
                  <a:pt x="27337" y="283804"/>
                </a:lnTo>
                <a:cubicBezTo>
                  <a:pt x="12230" y="283804"/>
                  <a:pt x="0" y="271230"/>
                  <a:pt x="0" y="256501"/>
                </a:cubicBezTo>
                <a:lnTo>
                  <a:pt x="0" y="26943"/>
                </a:lnTo>
                <a:cubicBezTo>
                  <a:pt x="0" y="12214"/>
                  <a:pt x="12230" y="0"/>
                  <a:pt x="273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8" name="Freeform 1042">
            <a:extLst>
              <a:ext uri="{FF2B5EF4-FFF2-40B4-BE49-F238E27FC236}">
                <a16:creationId xmlns:a16="http://schemas.microsoft.com/office/drawing/2014/main" id="{81614E40-089F-B3A4-9BF6-19F2105F0D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2855" y="5101850"/>
            <a:ext cx="527985" cy="526365"/>
          </a:xfrm>
          <a:custGeom>
            <a:avLst/>
            <a:gdLst>
              <a:gd name="T0" fmla="*/ 3133397 w 285397"/>
              <a:gd name="T1" fmla="*/ 5013279 h 283804"/>
              <a:gd name="T2" fmla="*/ 1727268 w 285397"/>
              <a:gd name="T3" fmla="*/ 5013279 h 283804"/>
              <a:gd name="T4" fmla="*/ 1383863 w 285397"/>
              <a:gd name="T5" fmla="*/ 4918076 h 283804"/>
              <a:gd name="T6" fmla="*/ 681815 w 285397"/>
              <a:gd name="T7" fmla="*/ 5101162 h 283804"/>
              <a:gd name="T8" fmla="*/ 2595179 w 285397"/>
              <a:gd name="T9" fmla="*/ 3499961 h 283804"/>
              <a:gd name="T10" fmla="*/ 3558767 w 285397"/>
              <a:gd name="T11" fmla="*/ 3499961 h 283804"/>
              <a:gd name="T12" fmla="*/ 1453160 w 285397"/>
              <a:gd name="T13" fmla="*/ 4357227 h 283804"/>
              <a:gd name="T14" fmla="*/ 1453160 w 285397"/>
              <a:gd name="T15" fmla="*/ 3499961 h 283804"/>
              <a:gd name="T16" fmla="*/ 1281869 w 285397"/>
              <a:gd name="T17" fmla="*/ 4357227 h 283804"/>
              <a:gd name="T18" fmla="*/ 2595179 w 285397"/>
              <a:gd name="T19" fmla="*/ 2570664 h 283804"/>
              <a:gd name="T20" fmla="*/ 3558767 w 285397"/>
              <a:gd name="T21" fmla="*/ 2570664 h 283804"/>
              <a:gd name="T22" fmla="*/ 1453160 w 285397"/>
              <a:gd name="T23" fmla="*/ 3319899 h 283804"/>
              <a:gd name="T24" fmla="*/ 1453160 w 285397"/>
              <a:gd name="T25" fmla="*/ 2570664 h 283804"/>
              <a:gd name="T26" fmla="*/ 1281869 w 285397"/>
              <a:gd name="T27" fmla="*/ 3319899 h 283804"/>
              <a:gd name="T28" fmla="*/ 2595179 w 285397"/>
              <a:gd name="T29" fmla="*/ 1886309 h 283804"/>
              <a:gd name="T30" fmla="*/ 3558767 w 285397"/>
              <a:gd name="T31" fmla="*/ 1886309 h 283804"/>
              <a:gd name="T32" fmla="*/ 1453160 w 285397"/>
              <a:gd name="T33" fmla="*/ 2404985 h 283804"/>
              <a:gd name="T34" fmla="*/ 1453160 w 285397"/>
              <a:gd name="T35" fmla="*/ 1886309 h 283804"/>
              <a:gd name="T36" fmla="*/ 1281869 w 285397"/>
              <a:gd name="T37" fmla="*/ 2404985 h 283804"/>
              <a:gd name="T38" fmla="*/ 682370 w 285397"/>
              <a:gd name="T39" fmla="*/ 1713421 h 283804"/>
              <a:gd name="T40" fmla="*/ 3730058 w 285397"/>
              <a:gd name="T41" fmla="*/ 4443678 h 283804"/>
              <a:gd name="T42" fmla="*/ 596654 w 285397"/>
              <a:gd name="T43" fmla="*/ 4443678 h 283804"/>
              <a:gd name="T44" fmla="*/ 1969773 w 285397"/>
              <a:gd name="T45" fmla="*/ 1142254 h 283804"/>
              <a:gd name="T46" fmla="*/ 2475498 w 285397"/>
              <a:gd name="T47" fmla="*/ 1325318 h 283804"/>
              <a:gd name="T48" fmla="*/ 1969773 w 285397"/>
              <a:gd name="T49" fmla="*/ 1142254 h 283804"/>
              <a:gd name="T50" fmla="*/ 1625925 w 285397"/>
              <a:gd name="T51" fmla="*/ 1230122 h 283804"/>
              <a:gd name="T52" fmla="*/ 596654 w 285397"/>
              <a:gd name="T53" fmla="*/ 1230122 h 283804"/>
              <a:gd name="T54" fmla="*/ 2476583 w 285397"/>
              <a:gd name="T55" fmla="*/ 571104 h 283804"/>
              <a:gd name="T56" fmla="*/ 1553527 w 285397"/>
              <a:gd name="T57" fmla="*/ 754217 h 283804"/>
              <a:gd name="T58" fmla="*/ 684339 w 285397"/>
              <a:gd name="T59" fmla="*/ 571104 h 283804"/>
              <a:gd name="T60" fmla="*/ 1129867 w 285397"/>
              <a:gd name="T61" fmla="*/ 754217 h 283804"/>
              <a:gd name="T62" fmla="*/ 684339 w 285397"/>
              <a:gd name="T63" fmla="*/ 571104 h 283804"/>
              <a:gd name="T64" fmla="*/ 3972115 w 285397"/>
              <a:gd name="T65" fmla="*/ 1141659 h 283804"/>
              <a:gd name="T66" fmla="*/ 170879 w 285397"/>
              <a:gd name="T67" fmla="*/ 5492937 h 283804"/>
              <a:gd name="T68" fmla="*/ 3039603 w 285397"/>
              <a:gd name="T69" fmla="*/ 1321191 h 283804"/>
              <a:gd name="T70" fmla="*/ 170879 w 285397"/>
              <a:gd name="T71" fmla="*/ 172340 h 283804"/>
              <a:gd name="T72" fmla="*/ 5645909 w 285397"/>
              <a:gd name="T73" fmla="*/ 78987 h 283804"/>
              <a:gd name="T74" fmla="*/ 5227204 w 285397"/>
              <a:gd name="T75" fmla="*/ 5672411 h 283804"/>
              <a:gd name="T76" fmla="*/ 5478455 w 285397"/>
              <a:gd name="T77" fmla="*/ 5492937 h 283804"/>
              <a:gd name="T78" fmla="*/ 5150423 w 285397"/>
              <a:gd name="T79" fmla="*/ 78987 h 283804"/>
              <a:gd name="T80" fmla="*/ 4869793 w 285397"/>
              <a:gd name="T81" fmla="*/ 0 h 283804"/>
              <a:gd name="T82" fmla="*/ 4869793 w 285397"/>
              <a:gd name="T83" fmla="*/ 5672411 h 283804"/>
              <a:gd name="T84" fmla="*/ 4529416 w 285397"/>
              <a:gd name="T85" fmla="*/ 5492937 h 283804"/>
              <a:gd name="T86" fmla="*/ 3508236 w 285397"/>
              <a:gd name="T87" fmla="*/ 172340 h 283804"/>
              <a:gd name="T88" fmla="*/ 85376 w 285397"/>
              <a:gd name="T89" fmla="*/ 0 h 283804"/>
              <a:gd name="T90" fmla="*/ 4235477 w 285397"/>
              <a:gd name="T91" fmla="*/ 1170352 h 283804"/>
              <a:gd name="T92" fmla="*/ 4178551 w 285397"/>
              <a:gd name="T93" fmla="*/ 5672411 h 283804"/>
              <a:gd name="T94" fmla="*/ 0 w 285397"/>
              <a:gd name="T95" fmla="*/ 78987 h 2838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85397" h="283804">
                <a:moveTo>
                  <a:pt x="91620" y="246063"/>
                </a:moveTo>
                <a:lnTo>
                  <a:pt x="153724" y="246063"/>
                </a:lnTo>
                <a:cubicBezTo>
                  <a:pt x="156237" y="246063"/>
                  <a:pt x="158391" y="248261"/>
                  <a:pt x="158391" y="250826"/>
                </a:cubicBezTo>
                <a:cubicBezTo>
                  <a:pt x="158391" y="253024"/>
                  <a:pt x="156237" y="255222"/>
                  <a:pt x="153724" y="255222"/>
                </a:cubicBezTo>
                <a:lnTo>
                  <a:pt x="91620" y="255222"/>
                </a:lnTo>
                <a:cubicBezTo>
                  <a:pt x="89466" y="255222"/>
                  <a:pt x="87312" y="253024"/>
                  <a:pt x="87312" y="250826"/>
                </a:cubicBezTo>
                <a:cubicBezTo>
                  <a:pt x="87312" y="248261"/>
                  <a:pt x="89466" y="246063"/>
                  <a:pt x="91620" y="246063"/>
                </a:cubicBezTo>
                <a:close/>
                <a:moveTo>
                  <a:pt x="34464" y="246063"/>
                </a:moveTo>
                <a:lnTo>
                  <a:pt x="69952" y="246063"/>
                </a:lnTo>
                <a:cubicBezTo>
                  <a:pt x="72103" y="246063"/>
                  <a:pt x="74254" y="248261"/>
                  <a:pt x="74254" y="250826"/>
                </a:cubicBezTo>
                <a:cubicBezTo>
                  <a:pt x="74254" y="253024"/>
                  <a:pt x="72103" y="255222"/>
                  <a:pt x="69952" y="255222"/>
                </a:cubicBezTo>
                <a:lnTo>
                  <a:pt x="34464" y="255222"/>
                </a:lnTo>
                <a:cubicBezTo>
                  <a:pt x="31954" y="255222"/>
                  <a:pt x="30162" y="253024"/>
                  <a:pt x="30162" y="250826"/>
                </a:cubicBezTo>
                <a:cubicBezTo>
                  <a:pt x="30162" y="248261"/>
                  <a:pt x="31954" y="246063"/>
                  <a:pt x="34464" y="246063"/>
                </a:cubicBezTo>
                <a:close/>
                <a:moveTo>
                  <a:pt x="131185" y="175111"/>
                </a:moveTo>
                <a:lnTo>
                  <a:pt x="131185" y="218002"/>
                </a:lnTo>
                <a:lnTo>
                  <a:pt x="179892" y="218002"/>
                </a:lnTo>
                <a:lnTo>
                  <a:pt x="179892" y="175111"/>
                </a:lnTo>
                <a:lnTo>
                  <a:pt x="131185" y="175111"/>
                </a:lnTo>
                <a:close/>
                <a:moveTo>
                  <a:pt x="73457" y="175111"/>
                </a:moveTo>
                <a:lnTo>
                  <a:pt x="73457" y="218002"/>
                </a:lnTo>
                <a:lnTo>
                  <a:pt x="122165" y="218002"/>
                </a:lnTo>
                <a:lnTo>
                  <a:pt x="122165" y="175111"/>
                </a:lnTo>
                <a:lnTo>
                  <a:pt x="73457" y="175111"/>
                </a:lnTo>
                <a:close/>
                <a:moveTo>
                  <a:pt x="38821" y="175111"/>
                </a:moveTo>
                <a:lnTo>
                  <a:pt x="38821" y="218002"/>
                </a:lnTo>
                <a:lnTo>
                  <a:pt x="64798" y="218002"/>
                </a:lnTo>
                <a:lnTo>
                  <a:pt x="64798" y="175111"/>
                </a:lnTo>
                <a:lnTo>
                  <a:pt x="38821" y="175111"/>
                </a:lnTo>
                <a:close/>
                <a:moveTo>
                  <a:pt x="131185" y="128616"/>
                </a:moveTo>
                <a:lnTo>
                  <a:pt x="131185" y="166101"/>
                </a:lnTo>
                <a:lnTo>
                  <a:pt x="179892" y="166101"/>
                </a:lnTo>
                <a:lnTo>
                  <a:pt x="179892" y="128616"/>
                </a:lnTo>
                <a:lnTo>
                  <a:pt x="131185" y="128616"/>
                </a:lnTo>
                <a:close/>
                <a:moveTo>
                  <a:pt x="73457" y="128616"/>
                </a:moveTo>
                <a:lnTo>
                  <a:pt x="73457" y="166101"/>
                </a:lnTo>
                <a:lnTo>
                  <a:pt x="122165" y="166101"/>
                </a:lnTo>
                <a:lnTo>
                  <a:pt x="122165" y="128616"/>
                </a:lnTo>
                <a:lnTo>
                  <a:pt x="73457" y="128616"/>
                </a:lnTo>
                <a:close/>
                <a:moveTo>
                  <a:pt x="38821" y="128616"/>
                </a:moveTo>
                <a:lnTo>
                  <a:pt x="38821" y="166101"/>
                </a:lnTo>
                <a:lnTo>
                  <a:pt x="64798" y="166101"/>
                </a:lnTo>
                <a:lnTo>
                  <a:pt x="64798" y="128616"/>
                </a:lnTo>
                <a:lnTo>
                  <a:pt x="38821" y="128616"/>
                </a:lnTo>
                <a:close/>
                <a:moveTo>
                  <a:pt x="131185" y="94375"/>
                </a:moveTo>
                <a:lnTo>
                  <a:pt x="131185" y="120326"/>
                </a:lnTo>
                <a:lnTo>
                  <a:pt x="179892" y="120326"/>
                </a:lnTo>
                <a:lnTo>
                  <a:pt x="179892" y="94375"/>
                </a:lnTo>
                <a:lnTo>
                  <a:pt x="131185" y="94375"/>
                </a:lnTo>
                <a:close/>
                <a:moveTo>
                  <a:pt x="73457" y="94375"/>
                </a:moveTo>
                <a:lnTo>
                  <a:pt x="73457" y="120326"/>
                </a:lnTo>
                <a:lnTo>
                  <a:pt x="122165" y="120326"/>
                </a:lnTo>
                <a:lnTo>
                  <a:pt x="122165" y="94375"/>
                </a:lnTo>
                <a:lnTo>
                  <a:pt x="73457" y="94375"/>
                </a:lnTo>
                <a:close/>
                <a:moveTo>
                  <a:pt x="38821" y="94375"/>
                </a:moveTo>
                <a:lnTo>
                  <a:pt x="38821" y="120326"/>
                </a:lnTo>
                <a:lnTo>
                  <a:pt x="64798" y="120326"/>
                </a:lnTo>
                <a:lnTo>
                  <a:pt x="64798" y="94375"/>
                </a:lnTo>
                <a:lnTo>
                  <a:pt x="38821" y="94375"/>
                </a:lnTo>
                <a:close/>
                <a:moveTo>
                  <a:pt x="34492" y="85725"/>
                </a:moveTo>
                <a:lnTo>
                  <a:pt x="184222" y="85725"/>
                </a:lnTo>
                <a:cubicBezTo>
                  <a:pt x="186747" y="85725"/>
                  <a:pt x="188551" y="87888"/>
                  <a:pt x="188551" y="90050"/>
                </a:cubicBezTo>
                <a:lnTo>
                  <a:pt x="188551" y="222327"/>
                </a:lnTo>
                <a:cubicBezTo>
                  <a:pt x="188551" y="224490"/>
                  <a:pt x="186747" y="226653"/>
                  <a:pt x="184222" y="226653"/>
                </a:cubicBezTo>
                <a:lnTo>
                  <a:pt x="34492" y="226653"/>
                </a:lnTo>
                <a:cubicBezTo>
                  <a:pt x="31966" y="226653"/>
                  <a:pt x="30162" y="224490"/>
                  <a:pt x="30162" y="222327"/>
                </a:cubicBezTo>
                <a:lnTo>
                  <a:pt x="30162" y="90050"/>
                </a:lnTo>
                <a:cubicBezTo>
                  <a:pt x="30162" y="87888"/>
                  <a:pt x="31966" y="85725"/>
                  <a:pt x="34492" y="85725"/>
                </a:cubicBezTo>
                <a:close/>
                <a:moveTo>
                  <a:pt x="99571" y="57150"/>
                </a:moveTo>
                <a:lnTo>
                  <a:pt x="125134" y="57150"/>
                </a:lnTo>
                <a:cubicBezTo>
                  <a:pt x="127655" y="57150"/>
                  <a:pt x="129815" y="59348"/>
                  <a:pt x="129815" y="61546"/>
                </a:cubicBezTo>
                <a:cubicBezTo>
                  <a:pt x="129815" y="63744"/>
                  <a:pt x="127655" y="66309"/>
                  <a:pt x="125134" y="66309"/>
                </a:cubicBezTo>
                <a:lnTo>
                  <a:pt x="99571" y="66309"/>
                </a:lnTo>
                <a:cubicBezTo>
                  <a:pt x="97410" y="66309"/>
                  <a:pt x="95250" y="63744"/>
                  <a:pt x="95250" y="61546"/>
                </a:cubicBezTo>
                <a:cubicBezTo>
                  <a:pt x="95250" y="59348"/>
                  <a:pt x="97410" y="57150"/>
                  <a:pt x="99571" y="57150"/>
                </a:cubicBezTo>
                <a:close/>
                <a:moveTo>
                  <a:pt x="34498" y="57150"/>
                </a:moveTo>
                <a:lnTo>
                  <a:pt x="78214" y="57150"/>
                </a:lnTo>
                <a:cubicBezTo>
                  <a:pt x="80382" y="57150"/>
                  <a:pt x="82189" y="59348"/>
                  <a:pt x="82189" y="61546"/>
                </a:cubicBezTo>
                <a:cubicBezTo>
                  <a:pt x="82189" y="63744"/>
                  <a:pt x="80382" y="66309"/>
                  <a:pt x="78214" y="66309"/>
                </a:cubicBezTo>
                <a:lnTo>
                  <a:pt x="34498" y="66309"/>
                </a:lnTo>
                <a:cubicBezTo>
                  <a:pt x="31968" y="66309"/>
                  <a:pt x="30162" y="63744"/>
                  <a:pt x="30162" y="61546"/>
                </a:cubicBezTo>
                <a:cubicBezTo>
                  <a:pt x="30162" y="59348"/>
                  <a:pt x="31968" y="57150"/>
                  <a:pt x="34498" y="57150"/>
                </a:cubicBezTo>
                <a:close/>
                <a:moveTo>
                  <a:pt x="78530" y="28575"/>
                </a:moveTo>
                <a:lnTo>
                  <a:pt x="125189" y="28575"/>
                </a:lnTo>
                <a:cubicBezTo>
                  <a:pt x="127682" y="28575"/>
                  <a:pt x="129819" y="30773"/>
                  <a:pt x="129819" y="32971"/>
                </a:cubicBezTo>
                <a:cubicBezTo>
                  <a:pt x="129819" y="35536"/>
                  <a:pt x="127682" y="37734"/>
                  <a:pt x="125189" y="37734"/>
                </a:cubicBezTo>
                <a:lnTo>
                  <a:pt x="78530" y="37734"/>
                </a:lnTo>
                <a:cubicBezTo>
                  <a:pt x="76393" y="37734"/>
                  <a:pt x="74612" y="35536"/>
                  <a:pt x="74612" y="32971"/>
                </a:cubicBezTo>
                <a:cubicBezTo>
                  <a:pt x="74612" y="30773"/>
                  <a:pt x="76393" y="28575"/>
                  <a:pt x="78530" y="28575"/>
                </a:cubicBezTo>
                <a:close/>
                <a:moveTo>
                  <a:pt x="34592" y="28575"/>
                </a:moveTo>
                <a:lnTo>
                  <a:pt x="57113" y="28575"/>
                </a:lnTo>
                <a:cubicBezTo>
                  <a:pt x="59697" y="28575"/>
                  <a:pt x="61543" y="30773"/>
                  <a:pt x="61543" y="32971"/>
                </a:cubicBezTo>
                <a:cubicBezTo>
                  <a:pt x="61543" y="35536"/>
                  <a:pt x="59697" y="37734"/>
                  <a:pt x="57113" y="37734"/>
                </a:cubicBezTo>
                <a:lnTo>
                  <a:pt x="34592" y="37734"/>
                </a:lnTo>
                <a:cubicBezTo>
                  <a:pt x="32008" y="37734"/>
                  <a:pt x="30162" y="35536"/>
                  <a:pt x="30162" y="32971"/>
                </a:cubicBezTo>
                <a:cubicBezTo>
                  <a:pt x="30162" y="30773"/>
                  <a:pt x="32008" y="28575"/>
                  <a:pt x="34592" y="28575"/>
                </a:cubicBezTo>
                <a:close/>
                <a:moveTo>
                  <a:pt x="158327" y="14729"/>
                </a:moveTo>
                <a:lnTo>
                  <a:pt x="158327" y="57120"/>
                </a:lnTo>
                <a:lnTo>
                  <a:pt x="200787" y="57120"/>
                </a:lnTo>
                <a:lnTo>
                  <a:pt x="158327" y="14729"/>
                </a:lnTo>
                <a:close/>
                <a:moveTo>
                  <a:pt x="8636" y="8622"/>
                </a:moveTo>
                <a:lnTo>
                  <a:pt x="8636" y="274823"/>
                </a:lnTo>
                <a:lnTo>
                  <a:pt x="206904" y="274823"/>
                </a:lnTo>
                <a:lnTo>
                  <a:pt x="206904" y="66101"/>
                </a:lnTo>
                <a:lnTo>
                  <a:pt x="153649" y="66101"/>
                </a:lnTo>
                <a:cubicBezTo>
                  <a:pt x="151490" y="66101"/>
                  <a:pt x="149331" y="63586"/>
                  <a:pt x="149331" y="61431"/>
                </a:cubicBezTo>
                <a:lnTo>
                  <a:pt x="149331" y="8622"/>
                </a:lnTo>
                <a:lnTo>
                  <a:pt x="8636" y="8622"/>
                </a:lnTo>
                <a:close/>
                <a:moveTo>
                  <a:pt x="264231" y="0"/>
                </a:moveTo>
                <a:lnTo>
                  <a:pt x="281164" y="0"/>
                </a:lnTo>
                <a:cubicBezTo>
                  <a:pt x="283633" y="0"/>
                  <a:pt x="285397" y="1796"/>
                  <a:pt x="285397" y="3952"/>
                </a:cubicBezTo>
                <a:lnTo>
                  <a:pt x="285397" y="279134"/>
                </a:lnTo>
                <a:cubicBezTo>
                  <a:pt x="285397" y="281648"/>
                  <a:pt x="283633" y="283804"/>
                  <a:pt x="281164" y="283804"/>
                </a:cubicBezTo>
                <a:lnTo>
                  <a:pt x="264231" y="283804"/>
                </a:lnTo>
                <a:cubicBezTo>
                  <a:pt x="262114" y="283804"/>
                  <a:pt x="260350" y="281648"/>
                  <a:pt x="260350" y="279134"/>
                </a:cubicBezTo>
                <a:cubicBezTo>
                  <a:pt x="260350" y="276978"/>
                  <a:pt x="262114" y="274823"/>
                  <a:pt x="264231" y="274823"/>
                </a:cubicBezTo>
                <a:lnTo>
                  <a:pt x="276931" y="274823"/>
                </a:lnTo>
                <a:lnTo>
                  <a:pt x="276931" y="8622"/>
                </a:lnTo>
                <a:lnTo>
                  <a:pt x="264231" y="8622"/>
                </a:lnTo>
                <a:cubicBezTo>
                  <a:pt x="262114" y="8622"/>
                  <a:pt x="260350" y="6466"/>
                  <a:pt x="260350" y="3952"/>
                </a:cubicBezTo>
                <a:cubicBezTo>
                  <a:pt x="260350" y="1796"/>
                  <a:pt x="262114" y="0"/>
                  <a:pt x="264231" y="0"/>
                </a:cubicBezTo>
                <a:close/>
                <a:moveTo>
                  <a:pt x="177339" y="0"/>
                </a:moveTo>
                <a:lnTo>
                  <a:pt x="246165" y="0"/>
                </a:lnTo>
                <a:cubicBezTo>
                  <a:pt x="248316" y="0"/>
                  <a:pt x="250467" y="1796"/>
                  <a:pt x="250467" y="3952"/>
                </a:cubicBezTo>
                <a:lnTo>
                  <a:pt x="250467" y="279134"/>
                </a:lnTo>
                <a:cubicBezTo>
                  <a:pt x="250467" y="281648"/>
                  <a:pt x="248316" y="283804"/>
                  <a:pt x="246165" y="283804"/>
                </a:cubicBezTo>
                <a:lnTo>
                  <a:pt x="228958" y="283804"/>
                </a:lnTo>
                <a:cubicBezTo>
                  <a:pt x="226449" y="283804"/>
                  <a:pt x="224657" y="281648"/>
                  <a:pt x="224657" y="279134"/>
                </a:cubicBezTo>
                <a:cubicBezTo>
                  <a:pt x="224657" y="276978"/>
                  <a:pt x="226449" y="274823"/>
                  <a:pt x="228958" y="274823"/>
                </a:cubicBezTo>
                <a:lnTo>
                  <a:pt x="241505" y="274823"/>
                </a:lnTo>
                <a:lnTo>
                  <a:pt x="241505" y="8622"/>
                </a:lnTo>
                <a:lnTo>
                  <a:pt x="177339" y="8622"/>
                </a:lnTo>
                <a:cubicBezTo>
                  <a:pt x="175188" y="8622"/>
                  <a:pt x="173037" y="6466"/>
                  <a:pt x="173037" y="3952"/>
                </a:cubicBezTo>
                <a:cubicBezTo>
                  <a:pt x="173037" y="1796"/>
                  <a:pt x="175188" y="0"/>
                  <a:pt x="177339" y="0"/>
                </a:cubicBezTo>
                <a:close/>
                <a:moveTo>
                  <a:pt x="4318" y="0"/>
                </a:moveTo>
                <a:lnTo>
                  <a:pt x="153649" y="0"/>
                </a:lnTo>
                <a:cubicBezTo>
                  <a:pt x="155088" y="0"/>
                  <a:pt x="156168" y="359"/>
                  <a:pt x="156887" y="1078"/>
                </a:cubicBezTo>
                <a:lnTo>
                  <a:pt x="214101" y="58557"/>
                </a:lnTo>
                <a:cubicBezTo>
                  <a:pt x="214820" y="59275"/>
                  <a:pt x="215540" y="60353"/>
                  <a:pt x="215540" y="61431"/>
                </a:cubicBezTo>
                <a:lnTo>
                  <a:pt x="215540" y="279134"/>
                </a:lnTo>
                <a:cubicBezTo>
                  <a:pt x="215540" y="281648"/>
                  <a:pt x="213741" y="283804"/>
                  <a:pt x="211222" y="283804"/>
                </a:cubicBezTo>
                <a:lnTo>
                  <a:pt x="4318" y="283804"/>
                </a:lnTo>
                <a:cubicBezTo>
                  <a:pt x="2159" y="283804"/>
                  <a:pt x="0" y="281648"/>
                  <a:pt x="0" y="279134"/>
                </a:cubicBezTo>
                <a:lnTo>
                  <a:pt x="0" y="3952"/>
                </a:lnTo>
                <a:cubicBezTo>
                  <a:pt x="0" y="1796"/>
                  <a:pt x="215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9" name="Freeform 954">
            <a:extLst>
              <a:ext uri="{FF2B5EF4-FFF2-40B4-BE49-F238E27FC236}">
                <a16:creationId xmlns:a16="http://schemas.microsoft.com/office/drawing/2014/main" id="{56FD081D-10FE-B9F2-ABB3-F0B13E14FE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57851" y="3862094"/>
            <a:ext cx="526365" cy="526365"/>
          </a:xfrm>
          <a:custGeom>
            <a:avLst/>
            <a:gdLst>
              <a:gd name="T0" fmla="*/ 1349872 w 283805"/>
              <a:gd name="T1" fmla="*/ 4638523 h 283804"/>
              <a:gd name="T2" fmla="*/ 2434076 w 283805"/>
              <a:gd name="T3" fmla="*/ 3547067 h 283804"/>
              <a:gd name="T4" fmla="*/ 2635111 w 283805"/>
              <a:gd name="T5" fmla="*/ 3748148 h 283804"/>
              <a:gd name="T6" fmla="*/ 5586427 w 283805"/>
              <a:gd name="T7" fmla="*/ 2728752 h 283804"/>
              <a:gd name="T8" fmla="*/ 3417465 w 283805"/>
              <a:gd name="T9" fmla="*/ 2880822 h 283804"/>
              <a:gd name="T10" fmla="*/ 3288529 w 283805"/>
              <a:gd name="T11" fmla="*/ 1658643 h 283804"/>
              <a:gd name="T12" fmla="*/ 3496755 w 283805"/>
              <a:gd name="T13" fmla="*/ 1859728 h 283804"/>
              <a:gd name="T14" fmla="*/ 2540077 w 283805"/>
              <a:gd name="T15" fmla="*/ 1491334 h 283804"/>
              <a:gd name="T16" fmla="*/ 879533 w 283805"/>
              <a:gd name="T17" fmla="*/ 1674053 h 283804"/>
              <a:gd name="T18" fmla="*/ 1792835 w 283805"/>
              <a:gd name="T19" fmla="*/ 920133 h 283804"/>
              <a:gd name="T20" fmla="*/ 3237656 w 283805"/>
              <a:gd name="T21" fmla="*/ 1072194 h 283804"/>
              <a:gd name="T22" fmla="*/ 1792835 w 283805"/>
              <a:gd name="T23" fmla="*/ 920133 h 283804"/>
              <a:gd name="T24" fmla="*/ 1420702 w 283805"/>
              <a:gd name="T25" fmla="*/ 992898 h 283804"/>
              <a:gd name="T26" fmla="*/ 793207 w 283805"/>
              <a:gd name="T27" fmla="*/ 992898 h 283804"/>
              <a:gd name="T28" fmla="*/ 4121394 w 283805"/>
              <a:gd name="T29" fmla="*/ 710837 h 283804"/>
              <a:gd name="T30" fmla="*/ 4322452 w 283805"/>
              <a:gd name="T31" fmla="*/ 509757 h 283804"/>
              <a:gd name="T32" fmla="*/ 3324456 w 283805"/>
              <a:gd name="T33" fmla="*/ 396614 h 283804"/>
              <a:gd name="T34" fmla="*/ 2443145 w 283805"/>
              <a:gd name="T35" fmla="*/ 396614 h 283804"/>
              <a:gd name="T36" fmla="*/ 2063236 w 283805"/>
              <a:gd name="T37" fmla="*/ 317279 h 283804"/>
              <a:gd name="T38" fmla="*/ 880353 w 283805"/>
              <a:gd name="T39" fmla="*/ 469364 h 283804"/>
              <a:gd name="T40" fmla="*/ 430757 w 283805"/>
              <a:gd name="T41" fmla="*/ 0 h 283804"/>
              <a:gd name="T42" fmla="*/ 983654 w 283805"/>
              <a:gd name="T43" fmla="*/ 4351274 h 283804"/>
              <a:gd name="T44" fmla="*/ 2089438 w 283805"/>
              <a:gd name="T45" fmla="*/ 3870200 h 283804"/>
              <a:gd name="T46" fmla="*/ 2505878 w 283805"/>
              <a:gd name="T47" fmla="*/ 3389107 h 283804"/>
              <a:gd name="T48" fmla="*/ 804198 w 283805"/>
              <a:gd name="T49" fmla="*/ 2836250 h 283804"/>
              <a:gd name="T50" fmla="*/ 3065936 w 283805"/>
              <a:gd name="T51" fmla="*/ 2154138 h 283804"/>
              <a:gd name="T52" fmla="*/ 3468017 w 283805"/>
              <a:gd name="T53" fmla="*/ 1529404 h 283804"/>
              <a:gd name="T54" fmla="*/ 4322452 w 283805"/>
              <a:gd name="T55" fmla="*/ 337413 h 283804"/>
              <a:gd name="T56" fmla="*/ 5212782 w 283805"/>
              <a:gd name="T57" fmla="*/ 495392 h 283804"/>
              <a:gd name="T58" fmla="*/ 5212782 w 283805"/>
              <a:gd name="T59" fmla="*/ 797046 h 283804"/>
              <a:gd name="T60" fmla="*/ 4150139 w 283805"/>
              <a:gd name="T61" fmla="*/ 1033999 h 283804"/>
              <a:gd name="T62" fmla="*/ 3288529 w 283805"/>
              <a:gd name="T63" fmla="*/ 2225885 h 283804"/>
              <a:gd name="T64" fmla="*/ 2807428 w 283805"/>
              <a:gd name="T65" fmla="*/ 3748148 h 283804"/>
              <a:gd name="T66" fmla="*/ 1694501 w 283805"/>
              <a:gd name="T67" fmla="*/ 4315364 h 283804"/>
              <a:gd name="T68" fmla="*/ 983654 w 283805"/>
              <a:gd name="T69" fmla="*/ 4523611 h 283804"/>
              <a:gd name="T70" fmla="*/ 5586156 w 283805"/>
              <a:gd name="T71" fmla="*/ 5155479 h 283804"/>
              <a:gd name="T72" fmla="*/ 5327671 w 283805"/>
              <a:gd name="T73" fmla="*/ 5327803 h 283804"/>
              <a:gd name="T74" fmla="*/ 5155333 w 283805"/>
              <a:gd name="T75" fmla="*/ 5586312 h 283804"/>
              <a:gd name="T76" fmla="*/ 4523491 w 283805"/>
              <a:gd name="T77" fmla="*/ 5586312 h 283804"/>
              <a:gd name="T78" fmla="*/ 4351175 w 283805"/>
              <a:gd name="T79" fmla="*/ 5327803 h 283804"/>
              <a:gd name="T80" fmla="*/ 3640346 w 283805"/>
              <a:gd name="T81" fmla="*/ 5672457 h 283804"/>
              <a:gd name="T82" fmla="*/ 2922319 w 283805"/>
              <a:gd name="T83" fmla="*/ 5327803 h 283804"/>
              <a:gd name="T84" fmla="*/ 2750003 w 283805"/>
              <a:gd name="T85" fmla="*/ 5586312 h 283804"/>
              <a:gd name="T86" fmla="*/ 2118163 w 283805"/>
              <a:gd name="T87" fmla="*/ 5586312 h 283804"/>
              <a:gd name="T88" fmla="*/ 1945821 w 283805"/>
              <a:gd name="T89" fmla="*/ 5327803 h 283804"/>
              <a:gd name="T90" fmla="*/ 1234963 w 283805"/>
              <a:gd name="T91" fmla="*/ 5672457 h 283804"/>
              <a:gd name="T92" fmla="*/ 516991 w 283805"/>
              <a:gd name="T93" fmla="*/ 5327803 h 283804"/>
              <a:gd name="T94" fmla="*/ 344669 w 283805"/>
              <a:gd name="T95" fmla="*/ 5586312 h 283804"/>
              <a:gd name="T96" fmla="*/ 0 w 283805"/>
              <a:gd name="T97" fmla="*/ 5241644 h 283804"/>
              <a:gd name="T98" fmla="*/ 344669 w 283805"/>
              <a:gd name="T99" fmla="*/ 4523611 h 283804"/>
              <a:gd name="T100" fmla="*/ 86112 w 283805"/>
              <a:gd name="T101" fmla="*/ 4351274 h 283804"/>
              <a:gd name="T102" fmla="*/ 86112 w 283805"/>
              <a:gd name="T103" fmla="*/ 3726583 h 283804"/>
              <a:gd name="T104" fmla="*/ 344669 w 283805"/>
              <a:gd name="T105" fmla="*/ 3547067 h 283804"/>
              <a:gd name="T106" fmla="*/ 0 w 283805"/>
              <a:gd name="T107" fmla="*/ 2836250 h 283804"/>
              <a:gd name="T108" fmla="*/ 344669 w 283805"/>
              <a:gd name="T109" fmla="*/ 2118192 h 283804"/>
              <a:gd name="T110" fmla="*/ 86112 w 283805"/>
              <a:gd name="T111" fmla="*/ 1945873 h 283804"/>
              <a:gd name="T112" fmla="*/ 86112 w 283805"/>
              <a:gd name="T113" fmla="*/ 1313958 h 283804"/>
              <a:gd name="T114" fmla="*/ 344669 w 283805"/>
              <a:gd name="T115" fmla="*/ 1141670 h 283804"/>
              <a:gd name="T116" fmla="*/ 0 w 283805"/>
              <a:gd name="T117" fmla="*/ 430788 h 283804"/>
              <a:gd name="T118" fmla="*/ 344669 w 283805"/>
              <a:gd name="T119" fmla="*/ 86116 h 28380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3805" h="283804">
                <a:moveTo>
                  <a:pt x="67538" y="211955"/>
                </a:moveTo>
                <a:cubicBezTo>
                  <a:pt x="61790" y="211955"/>
                  <a:pt x="57479" y="216625"/>
                  <a:pt x="57479" y="222014"/>
                </a:cubicBezTo>
                <a:cubicBezTo>
                  <a:pt x="57479" y="227762"/>
                  <a:pt x="61790" y="232073"/>
                  <a:pt x="67538" y="232073"/>
                </a:cubicBezTo>
                <a:cubicBezTo>
                  <a:pt x="72927" y="232073"/>
                  <a:pt x="77238" y="227762"/>
                  <a:pt x="77238" y="222014"/>
                </a:cubicBezTo>
                <a:cubicBezTo>
                  <a:pt x="77238" y="216625"/>
                  <a:pt x="72927" y="211955"/>
                  <a:pt x="67538" y="211955"/>
                </a:cubicBezTo>
                <a:close/>
                <a:moveTo>
                  <a:pt x="121784" y="177467"/>
                </a:moveTo>
                <a:cubicBezTo>
                  <a:pt x="116396" y="177467"/>
                  <a:pt x="111726" y="182137"/>
                  <a:pt x="111726" y="187526"/>
                </a:cubicBezTo>
                <a:cubicBezTo>
                  <a:pt x="111726" y="193274"/>
                  <a:pt x="116396" y="197585"/>
                  <a:pt x="121784" y="197585"/>
                </a:cubicBezTo>
                <a:cubicBezTo>
                  <a:pt x="127173" y="197585"/>
                  <a:pt x="131843" y="193274"/>
                  <a:pt x="131843" y="187526"/>
                </a:cubicBezTo>
                <a:cubicBezTo>
                  <a:pt x="131843" y="182137"/>
                  <a:pt x="127173" y="177467"/>
                  <a:pt x="121784" y="177467"/>
                </a:cubicBezTo>
                <a:close/>
                <a:moveTo>
                  <a:pt x="170986" y="136525"/>
                </a:moveTo>
                <a:lnTo>
                  <a:pt x="279507" y="136525"/>
                </a:lnTo>
                <a:cubicBezTo>
                  <a:pt x="281656" y="136525"/>
                  <a:pt x="283805" y="138179"/>
                  <a:pt x="283805" y="140494"/>
                </a:cubicBezTo>
                <a:cubicBezTo>
                  <a:pt x="283805" y="142479"/>
                  <a:pt x="281656" y="144132"/>
                  <a:pt x="279507" y="144132"/>
                </a:cubicBezTo>
                <a:lnTo>
                  <a:pt x="170986" y="144132"/>
                </a:lnTo>
                <a:cubicBezTo>
                  <a:pt x="168479" y="144132"/>
                  <a:pt x="166688" y="142479"/>
                  <a:pt x="166688" y="140494"/>
                </a:cubicBezTo>
                <a:cubicBezTo>
                  <a:pt x="166688" y="138179"/>
                  <a:pt x="168479" y="136525"/>
                  <a:pt x="170986" y="136525"/>
                </a:cubicBezTo>
                <a:close/>
                <a:moveTo>
                  <a:pt x="164535" y="82986"/>
                </a:moveTo>
                <a:cubicBezTo>
                  <a:pt x="159146" y="82986"/>
                  <a:pt x="154835" y="87297"/>
                  <a:pt x="154835" y="93045"/>
                </a:cubicBezTo>
                <a:cubicBezTo>
                  <a:pt x="154835" y="98433"/>
                  <a:pt x="159146" y="103103"/>
                  <a:pt x="164535" y="103103"/>
                </a:cubicBezTo>
                <a:cubicBezTo>
                  <a:pt x="170282" y="103103"/>
                  <a:pt x="174953" y="98433"/>
                  <a:pt x="174953" y="93045"/>
                </a:cubicBezTo>
                <a:cubicBezTo>
                  <a:pt x="174953" y="87297"/>
                  <a:pt x="170282" y="82986"/>
                  <a:pt x="164535" y="82986"/>
                </a:cubicBezTo>
                <a:close/>
                <a:moveTo>
                  <a:pt x="44004" y="74613"/>
                </a:moveTo>
                <a:lnTo>
                  <a:pt x="127088" y="74613"/>
                </a:lnTo>
                <a:cubicBezTo>
                  <a:pt x="129605" y="74613"/>
                  <a:pt x="131404" y="76518"/>
                  <a:pt x="131404" y="79185"/>
                </a:cubicBezTo>
                <a:cubicBezTo>
                  <a:pt x="131404" y="81852"/>
                  <a:pt x="129605" y="83757"/>
                  <a:pt x="127088" y="83757"/>
                </a:cubicBezTo>
                <a:lnTo>
                  <a:pt x="44004" y="83757"/>
                </a:lnTo>
                <a:cubicBezTo>
                  <a:pt x="41487" y="83757"/>
                  <a:pt x="39688" y="81852"/>
                  <a:pt x="39688" y="79185"/>
                </a:cubicBezTo>
                <a:cubicBezTo>
                  <a:pt x="39688" y="76518"/>
                  <a:pt x="41487" y="74613"/>
                  <a:pt x="44004" y="74613"/>
                </a:cubicBezTo>
                <a:close/>
                <a:moveTo>
                  <a:pt x="89701" y="46038"/>
                </a:moveTo>
                <a:lnTo>
                  <a:pt x="161990" y="46038"/>
                </a:lnTo>
                <a:cubicBezTo>
                  <a:pt x="164158" y="46038"/>
                  <a:pt x="166327" y="47691"/>
                  <a:pt x="166327" y="50006"/>
                </a:cubicBezTo>
                <a:cubicBezTo>
                  <a:pt x="166327" y="51991"/>
                  <a:pt x="164158" y="53644"/>
                  <a:pt x="161990" y="53644"/>
                </a:cubicBezTo>
                <a:lnTo>
                  <a:pt x="89701" y="53644"/>
                </a:lnTo>
                <a:cubicBezTo>
                  <a:pt x="87532" y="53644"/>
                  <a:pt x="85725" y="51991"/>
                  <a:pt x="85725" y="50006"/>
                </a:cubicBezTo>
                <a:cubicBezTo>
                  <a:pt x="85725" y="47691"/>
                  <a:pt x="87532" y="46038"/>
                  <a:pt x="89701" y="46038"/>
                </a:cubicBezTo>
                <a:close/>
                <a:moveTo>
                  <a:pt x="43969" y="46038"/>
                </a:moveTo>
                <a:lnTo>
                  <a:pt x="66801" y="46038"/>
                </a:lnTo>
                <a:cubicBezTo>
                  <a:pt x="68941" y="46038"/>
                  <a:pt x="71082" y="47691"/>
                  <a:pt x="71082" y="49676"/>
                </a:cubicBezTo>
                <a:cubicBezTo>
                  <a:pt x="71082" y="51991"/>
                  <a:pt x="68941" y="53644"/>
                  <a:pt x="66801" y="53644"/>
                </a:cubicBezTo>
                <a:lnTo>
                  <a:pt x="43969" y="53644"/>
                </a:lnTo>
                <a:cubicBezTo>
                  <a:pt x="41472" y="53644"/>
                  <a:pt x="39688" y="51991"/>
                  <a:pt x="39688" y="49676"/>
                </a:cubicBezTo>
                <a:cubicBezTo>
                  <a:pt x="39688" y="47691"/>
                  <a:pt x="41472" y="46038"/>
                  <a:pt x="43969" y="46038"/>
                </a:cubicBezTo>
                <a:close/>
                <a:moveTo>
                  <a:pt x="216266" y="25506"/>
                </a:moveTo>
                <a:cubicBezTo>
                  <a:pt x="210877" y="25506"/>
                  <a:pt x="206207" y="29817"/>
                  <a:pt x="206207" y="35565"/>
                </a:cubicBezTo>
                <a:cubicBezTo>
                  <a:pt x="206207" y="41313"/>
                  <a:pt x="210877" y="45624"/>
                  <a:pt x="216266" y="45624"/>
                </a:cubicBezTo>
                <a:cubicBezTo>
                  <a:pt x="222014" y="45624"/>
                  <a:pt x="226325" y="41313"/>
                  <a:pt x="226325" y="35565"/>
                </a:cubicBezTo>
                <a:cubicBezTo>
                  <a:pt x="226325" y="29817"/>
                  <a:pt x="222014" y="25506"/>
                  <a:pt x="216266" y="25506"/>
                </a:cubicBezTo>
                <a:close/>
                <a:moveTo>
                  <a:pt x="126505" y="15875"/>
                </a:moveTo>
                <a:lnTo>
                  <a:pt x="162065" y="15875"/>
                </a:lnTo>
                <a:cubicBezTo>
                  <a:pt x="164199" y="15875"/>
                  <a:pt x="166333" y="17529"/>
                  <a:pt x="166333" y="19844"/>
                </a:cubicBezTo>
                <a:cubicBezTo>
                  <a:pt x="166333" y="21828"/>
                  <a:pt x="164199" y="23482"/>
                  <a:pt x="162065" y="23482"/>
                </a:cubicBezTo>
                <a:lnTo>
                  <a:pt x="126505" y="23482"/>
                </a:lnTo>
                <a:cubicBezTo>
                  <a:pt x="124016" y="23482"/>
                  <a:pt x="122238" y="21828"/>
                  <a:pt x="122238" y="19844"/>
                </a:cubicBezTo>
                <a:cubicBezTo>
                  <a:pt x="122238" y="17529"/>
                  <a:pt x="124016" y="15875"/>
                  <a:pt x="126505" y="15875"/>
                </a:cubicBezTo>
                <a:close/>
                <a:moveTo>
                  <a:pt x="44045" y="15875"/>
                </a:moveTo>
                <a:lnTo>
                  <a:pt x="103230" y="15875"/>
                </a:lnTo>
                <a:cubicBezTo>
                  <a:pt x="105772" y="15875"/>
                  <a:pt x="107587" y="17529"/>
                  <a:pt x="107587" y="19844"/>
                </a:cubicBezTo>
                <a:cubicBezTo>
                  <a:pt x="107587" y="21828"/>
                  <a:pt x="105772" y="23482"/>
                  <a:pt x="103230" y="23482"/>
                </a:cubicBezTo>
                <a:lnTo>
                  <a:pt x="44045" y="23482"/>
                </a:lnTo>
                <a:cubicBezTo>
                  <a:pt x="41504" y="23482"/>
                  <a:pt x="39688" y="21828"/>
                  <a:pt x="39688" y="19844"/>
                </a:cubicBezTo>
                <a:cubicBezTo>
                  <a:pt x="39688" y="17529"/>
                  <a:pt x="41504" y="15875"/>
                  <a:pt x="44045" y="15875"/>
                </a:cubicBezTo>
                <a:close/>
                <a:moveTo>
                  <a:pt x="21554" y="0"/>
                </a:moveTo>
                <a:cubicBezTo>
                  <a:pt x="24069" y="0"/>
                  <a:pt x="25865" y="1796"/>
                  <a:pt x="25865" y="4311"/>
                </a:cubicBezTo>
                <a:lnTo>
                  <a:pt x="25865" y="217703"/>
                </a:lnTo>
                <a:lnTo>
                  <a:pt x="49217" y="217703"/>
                </a:lnTo>
                <a:cubicBezTo>
                  <a:pt x="51013" y="209440"/>
                  <a:pt x="58557" y="203333"/>
                  <a:pt x="67538" y="203333"/>
                </a:cubicBezTo>
                <a:cubicBezTo>
                  <a:pt x="72568" y="203333"/>
                  <a:pt x="76879" y="205488"/>
                  <a:pt x="80112" y="208722"/>
                </a:cubicBezTo>
                <a:lnTo>
                  <a:pt x="104541" y="193633"/>
                </a:lnTo>
                <a:cubicBezTo>
                  <a:pt x="103822" y="191837"/>
                  <a:pt x="103104" y="189682"/>
                  <a:pt x="103104" y="187526"/>
                </a:cubicBezTo>
                <a:cubicBezTo>
                  <a:pt x="103104" y="177467"/>
                  <a:pt x="111726" y="169205"/>
                  <a:pt x="121784" y="169205"/>
                </a:cubicBezTo>
                <a:cubicBezTo>
                  <a:pt x="123221" y="169205"/>
                  <a:pt x="124299" y="169205"/>
                  <a:pt x="125377" y="169564"/>
                </a:cubicBezTo>
                <a:lnTo>
                  <a:pt x="136154" y="145854"/>
                </a:lnTo>
                <a:lnTo>
                  <a:pt x="44547" y="145854"/>
                </a:lnTo>
                <a:cubicBezTo>
                  <a:pt x="42032" y="145854"/>
                  <a:pt x="40236" y="144057"/>
                  <a:pt x="40236" y="141902"/>
                </a:cubicBezTo>
                <a:cubicBezTo>
                  <a:pt x="40236" y="139387"/>
                  <a:pt x="42032" y="137591"/>
                  <a:pt x="44547" y="137591"/>
                </a:cubicBezTo>
                <a:lnTo>
                  <a:pt x="139747" y="137591"/>
                </a:lnTo>
                <a:lnTo>
                  <a:pt x="153398" y="107774"/>
                </a:lnTo>
                <a:cubicBezTo>
                  <a:pt x="149087" y="104181"/>
                  <a:pt x="146213" y="98793"/>
                  <a:pt x="146213" y="93045"/>
                </a:cubicBezTo>
                <a:cubicBezTo>
                  <a:pt x="146213" y="82626"/>
                  <a:pt x="154476" y="74364"/>
                  <a:pt x="164535" y="74364"/>
                </a:cubicBezTo>
                <a:cubicBezTo>
                  <a:pt x="168127" y="74364"/>
                  <a:pt x="171001" y="75082"/>
                  <a:pt x="173516" y="76519"/>
                </a:cubicBezTo>
                <a:lnTo>
                  <a:pt x="200818" y="45983"/>
                </a:lnTo>
                <a:cubicBezTo>
                  <a:pt x="199022" y="43109"/>
                  <a:pt x="197944" y="39517"/>
                  <a:pt x="197944" y="35565"/>
                </a:cubicBezTo>
                <a:cubicBezTo>
                  <a:pt x="197944" y="25147"/>
                  <a:pt x="206207" y="16884"/>
                  <a:pt x="216266" y="16884"/>
                </a:cubicBezTo>
                <a:cubicBezTo>
                  <a:pt x="225247" y="16884"/>
                  <a:pt x="232432" y="22992"/>
                  <a:pt x="234587" y="31254"/>
                </a:cubicBezTo>
                <a:lnTo>
                  <a:pt x="260812" y="31254"/>
                </a:lnTo>
                <a:lnTo>
                  <a:pt x="260812" y="24788"/>
                </a:lnTo>
                <a:lnTo>
                  <a:pt x="279493" y="35565"/>
                </a:lnTo>
                <a:lnTo>
                  <a:pt x="260812" y="46343"/>
                </a:lnTo>
                <a:lnTo>
                  <a:pt x="260812" y="39876"/>
                </a:lnTo>
                <a:lnTo>
                  <a:pt x="234587" y="39876"/>
                </a:lnTo>
                <a:cubicBezTo>
                  <a:pt x="232432" y="48139"/>
                  <a:pt x="225247" y="54246"/>
                  <a:pt x="216266" y="54246"/>
                </a:cubicBezTo>
                <a:cubicBezTo>
                  <a:pt x="213392" y="54246"/>
                  <a:pt x="210159" y="53168"/>
                  <a:pt x="207644" y="51731"/>
                </a:cubicBezTo>
                <a:lnTo>
                  <a:pt x="179982" y="82267"/>
                </a:lnTo>
                <a:cubicBezTo>
                  <a:pt x="182138" y="85141"/>
                  <a:pt x="183575" y="88734"/>
                  <a:pt x="183575" y="93045"/>
                </a:cubicBezTo>
                <a:cubicBezTo>
                  <a:pt x="183575" y="103103"/>
                  <a:pt x="174953" y="111366"/>
                  <a:pt x="164535" y="111366"/>
                </a:cubicBezTo>
                <a:cubicBezTo>
                  <a:pt x="163457" y="111366"/>
                  <a:pt x="162379" y="111366"/>
                  <a:pt x="161301" y="111366"/>
                </a:cubicBezTo>
                <a:lnTo>
                  <a:pt x="133280" y="173156"/>
                </a:lnTo>
                <a:cubicBezTo>
                  <a:pt x="137591" y="176389"/>
                  <a:pt x="140465" y="181778"/>
                  <a:pt x="140465" y="187526"/>
                </a:cubicBezTo>
                <a:cubicBezTo>
                  <a:pt x="140465" y="197944"/>
                  <a:pt x="131843" y="206207"/>
                  <a:pt x="121784" y="206207"/>
                </a:cubicBezTo>
                <a:cubicBezTo>
                  <a:pt x="116755" y="206207"/>
                  <a:pt x="112085" y="204051"/>
                  <a:pt x="108852" y="200818"/>
                </a:cubicBezTo>
                <a:lnTo>
                  <a:pt x="84782" y="215906"/>
                </a:lnTo>
                <a:cubicBezTo>
                  <a:pt x="85501" y="218062"/>
                  <a:pt x="86219" y="219858"/>
                  <a:pt x="86219" y="222014"/>
                </a:cubicBezTo>
                <a:cubicBezTo>
                  <a:pt x="86219" y="232432"/>
                  <a:pt x="77597" y="240694"/>
                  <a:pt x="67538" y="240694"/>
                </a:cubicBezTo>
                <a:cubicBezTo>
                  <a:pt x="58557" y="240694"/>
                  <a:pt x="51013" y="234587"/>
                  <a:pt x="49217" y="226325"/>
                </a:cubicBezTo>
                <a:lnTo>
                  <a:pt x="25865" y="226325"/>
                </a:lnTo>
                <a:lnTo>
                  <a:pt x="25865" y="257938"/>
                </a:lnTo>
                <a:lnTo>
                  <a:pt x="279493" y="257938"/>
                </a:lnTo>
                <a:cubicBezTo>
                  <a:pt x="281649" y="257938"/>
                  <a:pt x="283804" y="259734"/>
                  <a:pt x="283804" y="262249"/>
                </a:cubicBezTo>
                <a:cubicBezTo>
                  <a:pt x="283804" y="264764"/>
                  <a:pt x="281649" y="266560"/>
                  <a:pt x="279493" y="266560"/>
                </a:cubicBezTo>
                <a:lnTo>
                  <a:pt x="266560" y="266560"/>
                </a:lnTo>
                <a:lnTo>
                  <a:pt x="266560" y="279493"/>
                </a:lnTo>
                <a:cubicBezTo>
                  <a:pt x="266560" y="281648"/>
                  <a:pt x="264764" y="283804"/>
                  <a:pt x="262249" y="283804"/>
                </a:cubicBezTo>
                <a:cubicBezTo>
                  <a:pt x="259735" y="283804"/>
                  <a:pt x="257938" y="281648"/>
                  <a:pt x="257938" y="279493"/>
                </a:cubicBezTo>
                <a:lnTo>
                  <a:pt x="257938" y="266560"/>
                </a:lnTo>
                <a:lnTo>
                  <a:pt x="226325" y="266560"/>
                </a:lnTo>
                <a:lnTo>
                  <a:pt x="226325" y="279493"/>
                </a:lnTo>
                <a:cubicBezTo>
                  <a:pt x="226325" y="281648"/>
                  <a:pt x="224529" y="283804"/>
                  <a:pt x="222014" y="283804"/>
                </a:cubicBezTo>
                <a:cubicBezTo>
                  <a:pt x="219858" y="283804"/>
                  <a:pt x="217703" y="281648"/>
                  <a:pt x="217703" y="279493"/>
                </a:cubicBezTo>
                <a:lnTo>
                  <a:pt x="217703" y="266560"/>
                </a:lnTo>
                <a:lnTo>
                  <a:pt x="186089" y="266560"/>
                </a:lnTo>
                <a:lnTo>
                  <a:pt x="186089" y="279493"/>
                </a:lnTo>
                <a:cubicBezTo>
                  <a:pt x="186089" y="281648"/>
                  <a:pt x="184293" y="283804"/>
                  <a:pt x="182138" y="283804"/>
                </a:cubicBezTo>
                <a:cubicBezTo>
                  <a:pt x="179623" y="283804"/>
                  <a:pt x="177827" y="281648"/>
                  <a:pt x="177827" y="279493"/>
                </a:cubicBezTo>
                <a:lnTo>
                  <a:pt x="177827" y="266560"/>
                </a:lnTo>
                <a:lnTo>
                  <a:pt x="146213" y="266560"/>
                </a:lnTo>
                <a:lnTo>
                  <a:pt x="146213" y="279493"/>
                </a:lnTo>
                <a:cubicBezTo>
                  <a:pt x="146213" y="281648"/>
                  <a:pt x="144417" y="283804"/>
                  <a:pt x="141902" y="283804"/>
                </a:cubicBezTo>
                <a:cubicBezTo>
                  <a:pt x="139747" y="283804"/>
                  <a:pt x="137591" y="281648"/>
                  <a:pt x="137591" y="279493"/>
                </a:cubicBezTo>
                <a:lnTo>
                  <a:pt x="137591" y="266560"/>
                </a:lnTo>
                <a:lnTo>
                  <a:pt x="105978" y="266560"/>
                </a:lnTo>
                <a:lnTo>
                  <a:pt x="105978" y="279493"/>
                </a:lnTo>
                <a:cubicBezTo>
                  <a:pt x="105978" y="281648"/>
                  <a:pt x="104181" y="283804"/>
                  <a:pt x="101667" y="283804"/>
                </a:cubicBezTo>
                <a:cubicBezTo>
                  <a:pt x="99152" y="283804"/>
                  <a:pt x="97356" y="281648"/>
                  <a:pt x="97356" y="279493"/>
                </a:cubicBezTo>
                <a:lnTo>
                  <a:pt x="97356" y="266560"/>
                </a:lnTo>
                <a:lnTo>
                  <a:pt x="65742" y="266560"/>
                </a:lnTo>
                <a:lnTo>
                  <a:pt x="65742" y="279493"/>
                </a:lnTo>
                <a:cubicBezTo>
                  <a:pt x="65742" y="281648"/>
                  <a:pt x="63946" y="283804"/>
                  <a:pt x="61790" y="283804"/>
                </a:cubicBezTo>
                <a:cubicBezTo>
                  <a:pt x="59276" y="283804"/>
                  <a:pt x="57479" y="281648"/>
                  <a:pt x="57479" y="279493"/>
                </a:cubicBezTo>
                <a:lnTo>
                  <a:pt x="57479" y="266560"/>
                </a:lnTo>
                <a:lnTo>
                  <a:pt x="25865" y="266560"/>
                </a:lnTo>
                <a:lnTo>
                  <a:pt x="25865" y="279493"/>
                </a:lnTo>
                <a:cubicBezTo>
                  <a:pt x="25865" y="281648"/>
                  <a:pt x="24069" y="283804"/>
                  <a:pt x="21554" y="283804"/>
                </a:cubicBezTo>
                <a:cubicBezTo>
                  <a:pt x="19040" y="283804"/>
                  <a:pt x="17244" y="281648"/>
                  <a:pt x="17244" y="279493"/>
                </a:cubicBezTo>
                <a:lnTo>
                  <a:pt x="17244" y="266560"/>
                </a:lnTo>
                <a:lnTo>
                  <a:pt x="4311" y="266560"/>
                </a:lnTo>
                <a:cubicBezTo>
                  <a:pt x="2155" y="266560"/>
                  <a:pt x="0" y="264764"/>
                  <a:pt x="0" y="262249"/>
                </a:cubicBezTo>
                <a:cubicBezTo>
                  <a:pt x="0" y="259734"/>
                  <a:pt x="2155" y="257938"/>
                  <a:pt x="4311" y="257938"/>
                </a:cubicBezTo>
                <a:lnTo>
                  <a:pt x="17244" y="257938"/>
                </a:lnTo>
                <a:lnTo>
                  <a:pt x="17244" y="226325"/>
                </a:lnTo>
                <a:lnTo>
                  <a:pt x="4311" y="226325"/>
                </a:lnTo>
                <a:cubicBezTo>
                  <a:pt x="2155" y="226325"/>
                  <a:pt x="0" y="224528"/>
                  <a:pt x="0" y="222014"/>
                </a:cubicBezTo>
                <a:cubicBezTo>
                  <a:pt x="0" y="219499"/>
                  <a:pt x="2155" y="217703"/>
                  <a:pt x="4311" y="217703"/>
                </a:cubicBezTo>
                <a:lnTo>
                  <a:pt x="17244" y="217703"/>
                </a:lnTo>
                <a:lnTo>
                  <a:pt x="17244" y="186448"/>
                </a:lnTo>
                <a:lnTo>
                  <a:pt x="4311" y="186448"/>
                </a:lnTo>
                <a:cubicBezTo>
                  <a:pt x="2155" y="186448"/>
                  <a:pt x="0" y="184293"/>
                  <a:pt x="0" y="181778"/>
                </a:cubicBezTo>
                <a:cubicBezTo>
                  <a:pt x="0" y="179623"/>
                  <a:pt x="2155" y="177467"/>
                  <a:pt x="4311" y="177467"/>
                </a:cubicBezTo>
                <a:lnTo>
                  <a:pt x="17244" y="177467"/>
                </a:lnTo>
                <a:lnTo>
                  <a:pt x="17244" y="145854"/>
                </a:lnTo>
                <a:lnTo>
                  <a:pt x="4311" y="145854"/>
                </a:lnTo>
                <a:cubicBezTo>
                  <a:pt x="2155" y="145854"/>
                  <a:pt x="0" y="144057"/>
                  <a:pt x="0" y="141902"/>
                </a:cubicBezTo>
                <a:cubicBezTo>
                  <a:pt x="0" y="139387"/>
                  <a:pt x="2155" y="137591"/>
                  <a:pt x="4311" y="137591"/>
                </a:cubicBezTo>
                <a:lnTo>
                  <a:pt x="17244" y="137591"/>
                </a:lnTo>
                <a:lnTo>
                  <a:pt x="17244" y="105977"/>
                </a:lnTo>
                <a:lnTo>
                  <a:pt x="4311" y="105977"/>
                </a:lnTo>
                <a:cubicBezTo>
                  <a:pt x="2155" y="105977"/>
                  <a:pt x="0" y="104181"/>
                  <a:pt x="0" y="101666"/>
                </a:cubicBezTo>
                <a:cubicBezTo>
                  <a:pt x="0" y="99511"/>
                  <a:pt x="2155" y="97356"/>
                  <a:pt x="4311" y="97356"/>
                </a:cubicBezTo>
                <a:lnTo>
                  <a:pt x="17244" y="97356"/>
                </a:lnTo>
                <a:lnTo>
                  <a:pt x="17244" y="65742"/>
                </a:lnTo>
                <a:lnTo>
                  <a:pt x="4311" y="65742"/>
                </a:lnTo>
                <a:cubicBezTo>
                  <a:pt x="2155" y="65742"/>
                  <a:pt x="0" y="63946"/>
                  <a:pt x="0" y="61431"/>
                </a:cubicBezTo>
                <a:cubicBezTo>
                  <a:pt x="0" y="59275"/>
                  <a:pt x="2155" y="57120"/>
                  <a:pt x="4311" y="57120"/>
                </a:cubicBezTo>
                <a:lnTo>
                  <a:pt x="17244" y="57120"/>
                </a:lnTo>
                <a:lnTo>
                  <a:pt x="17244" y="25506"/>
                </a:lnTo>
                <a:lnTo>
                  <a:pt x="4311" y="25506"/>
                </a:lnTo>
                <a:cubicBezTo>
                  <a:pt x="2155" y="25506"/>
                  <a:pt x="0" y="23710"/>
                  <a:pt x="0" y="21555"/>
                </a:cubicBezTo>
                <a:cubicBezTo>
                  <a:pt x="0" y="19040"/>
                  <a:pt x="2155" y="17244"/>
                  <a:pt x="4311" y="17244"/>
                </a:cubicBezTo>
                <a:lnTo>
                  <a:pt x="17244" y="17244"/>
                </a:lnTo>
                <a:lnTo>
                  <a:pt x="17244" y="4311"/>
                </a:lnTo>
                <a:cubicBezTo>
                  <a:pt x="17244" y="1796"/>
                  <a:pt x="19040" y="0"/>
                  <a:pt x="215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20" name="Freeform 1044">
            <a:extLst>
              <a:ext uri="{FF2B5EF4-FFF2-40B4-BE49-F238E27FC236}">
                <a16:creationId xmlns:a16="http://schemas.microsoft.com/office/drawing/2014/main" id="{6D104F14-E5CB-B864-ABB4-66AAA81273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34032" y="2167444"/>
            <a:ext cx="526365" cy="526365"/>
          </a:xfrm>
          <a:custGeom>
            <a:avLst/>
            <a:gdLst>
              <a:gd name="T0" fmla="*/ 3070224 w 283803"/>
              <a:gd name="T1" fmla="*/ 5298901 h 283804"/>
              <a:gd name="T2" fmla="*/ 2910288 w 283803"/>
              <a:gd name="T3" fmla="*/ 5364794 h 283804"/>
              <a:gd name="T4" fmla="*/ 1289064 w 283803"/>
              <a:gd name="T5" fmla="*/ 5232988 h 283804"/>
              <a:gd name="T6" fmla="*/ 1401414 w 283803"/>
              <a:gd name="T7" fmla="*/ 5364794 h 283804"/>
              <a:gd name="T8" fmla="*/ 1269230 w 283803"/>
              <a:gd name="T9" fmla="*/ 5298901 h 283804"/>
              <a:gd name="T10" fmla="*/ 2276965 w 283803"/>
              <a:gd name="T11" fmla="*/ 5295071 h 283804"/>
              <a:gd name="T12" fmla="*/ 2185575 w 283803"/>
              <a:gd name="T13" fmla="*/ 5203680 h 283804"/>
              <a:gd name="T14" fmla="*/ 316316 w 283803"/>
              <a:gd name="T15" fmla="*/ 5500132 h 283804"/>
              <a:gd name="T16" fmla="*/ 4126783 w 283803"/>
              <a:gd name="T17" fmla="*/ 5098039 h 283804"/>
              <a:gd name="T18" fmla="*/ 2411789 w 283803"/>
              <a:gd name="T19" fmla="*/ 4346985 h 283804"/>
              <a:gd name="T20" fmla="*/ 1769302 w 283803"/>
              <a:gd name="T21" fmla="*/ 4529759 h 283804"/>
              <a:gd name="T22" fmla="*/ 631436 w 283803"/>
              <a:gd name="T23" fmla="*/ 4346985 h 283804"/>
              <a:gd name="T24" fmla="*/ 1304114 w 283803"/>
              <a:gd name="T25" fmla="*/ 4529759 h 283804"/>
              <a:gd name="T26" fmla="*/ 631436 w 283803"/>
              <a:gd name="T27" fmla="*/ 4346985 h 283804"/>
              <a:gd name="T28" fmla="*/ 3875164 w 283803"/>
              <a:gd name="T29" fmla="*/ 4466193 h 283804"/>
              <a:gd name="T30" fmla="*/ 3875164 w 283803"/>
              <a:gd name="T31" fmla="*/ 3776869 h 283804"/>
              <a:gd name="T32" fmla="*/ 1229851 w 283803"/>
              <a:gd name="T33" fmla="*/ 3133337 h 283804"/>
              <a:gd name="T34" fmla="*/ 1047105 w 283803"/>
              <a:gd name="T35" fmla="*/ 3998641 h 283804"/>
              <a:gd name="T36" fmla="*/ 638423 w 283803"/>
              <a:gd name="T37" fmla="*/ 2792209 h 283804"/>
              <a:gd name="T38" fmla="*/ 638423 w 283803"/>
              <a:gd name="T39" fmla="*/ 4054197 h 283804"/>
              <a:gd name="T40" fmla="*/ 638423 w 283803"/>
              <a:gd name="T41" fmla="*/ 2792209 h 283804"/>
              <a:gd name="T42" fmla="*/ 1737549 w 283803"/>
              <a:gd name="T43" fmla="*/ 3968614 h 283804"/>
              <a:gd name="T44" fmla="*/ 1554794 w 283803"/>
              <a:gd name="T45" fmla="*/ 2433677 h 283804"/>
              <a:gd name="T46" fmla="*/ 4766673 w 283803"/>
              <a:gd name="T47" fmla="*/ 2534671 h 283804"/>
              <a:gd name="T48" fmla="*/ 5018305 w 283803"/>
              <a:gd name="T49" fmla="*/ 3992273 h 283804"/>
              <a:gd name="T50" fmla="*/ 3879885 w 283803"/>
              <a:gd name="T51" fmla="*/ 2157645 h 283804"/>
              <a:gd name="T52" fmla="*/ 4191793 w 283803"/>
              <a:gd name="T53" fmla="*/ 2483554 h 283804"/>
              <a:gd name="T54" fmla="*/ 3879885 w 283803"/>
              <a:gd name="T55" fmla="*/ 2454603 h 283804"/>
              <a:gd name="T56" fmla="*/ 4213061 w 283803"/>
              <a:gd name="T57" fmla="*/ 3048483 h 283804"/>
              <a:gd name="T58" fmla="*/ 3879885 w 283803"/>
              <a:gd name="T59" fmla="*/ 3483038 h 283804"/>
              <a:gd name="T60" fmla="*/ 3575071 w 283803"/>
              <a:gd name="T61" fmla="*/ 3164381 h 283804"/>
              <a:gd name="T62" fmla="*/ 3886982 w 283803"/>
              <a:gd name="T63" fmla="*/ 3186083 h 283804"/>
              <a:gd name="T64" fmla="*/ 3553785 w 283803"/>
              <a:gd name="T65" fmla="*/ 2592183 h 283804"/>
              <a:gd name="T66" fmla="*/ 3879885 w 283803"/>
              <a:gd name="T67" fmla="*/ 2157645 h 283804"/>
              <a:gd name="T68" fmla="*/ 3875164 w 283803"/>
              <a:gd name="T69" fmla="*/ 3604529 h 283804"/>
              <a:gd name="T70" fmla="*/ 633563 w 283803"/>
              <a:gd name="T71" fmla="*/ 1713430 h 283804"/>
              <a:gd name="T72" fmla="*/ 2031745 w 283803"/>
              <a:gd name="T73" fmla="*/ 1896145 h 283804"/>
              <a:gd name="T74" fmla="*/ 633563 w 283803"/>
              <a:gd name="T75" fmla="*/ 1713430 h 283804"/>
              <a:gd name="T76" fmla="*/ 4701949 w 283803"/>
              <a:gd name="T77" fmla="*/ 2383833 h 283804"/>
              <a:gd name="T78" fmla="*/ 3781715 w 283803"/>
              <a:gd name="T79" fmla="*/ 1206307 h 283804"/>
              <a:gd name="T80" fmla="*/ 3091510 w 283803"/>
              <a:gd name="T81" fmla="*/ 3367588 h 283804"/>
              <a:gd name="T82" fmla="*/ 3781715 w 283803"/>
              <a:gd name="T83" fmla="*/ 1206307 h 283804"/>
              <a:gd name="T84" fmla="*/ 2531206 w 283803"/>
              <a:gd name="T85" fmla="*/ 1233625 h 283804"/>
              <a:gd name="T86" fmla="*/ 1491337 w 283803"/>
              <a:gd name="T87" fmla="*/ 1233625 h 283804"/>
              <a:gd name="T88" fmla="*/ 1143934 w 283803"/>
              <a:gd name="T89" fmla="*/ 1142259 h 283804"/>
              <a:gd name="T90" fmla="*/ 632943 w 283803"/>
              <a:gd name="T91" fmla="*/ 1325033 h 283804"/>
              <a:gd name="T92" fmla="*/ 172566 w 283803"/>
              <a:gd name="T93" fmla="*/ 739583 h 283804"/>
              <a:gd name="T94" fmla="*/ 4126783 w 283803"/>
              <a:gd name="T95" fmla="*/ 4616966 h 283804"/>
              <a:gd name="T96" fmla="*/ 3875164 w 283803"/>
              <a:gd name="T97" fmla="*/ 1026779 h 283804"/>
              <a:gd name="T98" fmla="*/ 172566 w 283803"/>
              <a:gd name="T99" fmla="*/ 739583 h 283804"/>
              <a:gd name="T100" fmla="*/ 2185575 w 283803"/>
              <a:gd name="T101" fmla="*/ 437625 h 283804"/>
              <a:gd name="T102" fmla="*/ 316316 w 283803"/>
              <a:gd name="T103" fmla="*/ 172344 h 283804"/>
              <a:gd name="T104" fmla="*/ 4126783 w 283803"/>
              <a:gd name="T105" fmla="*/ 574385 h 283804"/>
              <a:gd name="T106" fmla="*/ 316316 w 283803"/>
              <a:gd name="T107" fmla="*/ 172344 h 283804"/>
              <a:gd name="T108" fmla="*/ 4299326 w 283803"/>
              <a:gd name="T109" fmla="*/ 308800 h 283804"/>
              <a:gd name="T110" fmla="*/ 4299326 w 283803"/>
              <a:gd name="T111" fmla="*/ 4581083 h 283804"/>
              <a:gd name="T112" fmla="*/ 316316 w 283803"/>
              <a:gd name="T113" fmla="*/ 5672457 h 283804"/>
              <a:gd name="T114" fmla="*/ 316316 w 283803"/>
              <a:gd name="T115" fmla="*/ 0 h 2838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83803" h="283804">
                <a:moveTo>
                  <a:pt x="145605" y="261816"/>
                </a:moveTo>
                <a:cubicBezTo>
                  <a:pt x="147510" y="260350"/>
                  <a:pt x="150558" y="260350"/>
                  <a:pt x="152463" y="261816"/>
                </a:cubicBezTo>
                <a:cubicBezTo>
                  <a:pt x="152844" y="262915"/>
                  <a:pt x="153606" y="264014"/>
                  <a:pt x="153606" y="265113"/>
                </a:cubicBezTo>
                <a:cubicBezTo>
                  <a:pt x="153606" y="265845"/>
                  <a:pt x="152844" y="267311"/>
                  <a:pt x="152463" y="268410"/>
                </a:cubicBezTo>
                <a:cubicBezTo>
                  <a:pt x="151320" y="268776"/>
                  <a:pt x="149796" y="269509"/>
                  <a:pt x="149034" y="269509"/>
                </a:cubicBezTo>
                <a:cubicBezTo>
                  <a:pt x="147891" y="269509"/>
                  <a:pt x="146748" y="268776"/>
                  <a:pt x="145605" y="268410"/>
                </a:cubicBezTo>
                <a:cubicBezTo>
                  <a:pt x="144843" y="267311"/>
                  <a:pt x="144462" y="265845"/>
                  <a:pt x="144462" y="265113"/>
                </a:cubicBezTo>
                <a:cubicBezTo>
                  <a:pt x="144462" y="264014"/>
                  <a:pt x="144843" y="262915"/>
                  <a:pt x="145605" y="261816"/>
                </a:cubicBezTo>
                <a:close/>
                <a:moveTo>
                  <a:pt x="64492" y="261816"/>
                </a:moveTo>
                <a:cubicBezTo>
                  <a:pt x="65815" y="260350"/>
                  <a:pt x="68461" y="260350"/>
                  <a:pt x="70114" y="261816"/>
                </a:cubicBezTo>
                <a:cubicBezTo>
                  <a:pt x="70776" y="262915"/>
                  <a:pt x="71107" y="264014"/>
                  <a:pt x="71107" y="265113"/>
                </a:cubicBezTo>
                <a:cubicBezTo>
                  <a:pt x="71107" y="265845"/>
                  <a:pt x="70776" y="267311"/>
                  <a:pt x="70114" y="268410"/>
                </a:cubicBezTo>
                <a:cubicBezTo>
                  <a:pt x="69122" y="268776"/>
                  <a:pt x="68130" y="269509"/>
                  <a:pt x="67469" y="269509"/>
                </a:cubicBezTo>
                <a:cubicBezTo>
                  <a:pt x="66146" y="269509"/>
                  <a:pt x="65154" y="268776"/>
                  <a:pt x="64492" y="268410"/>
                </a:cubicBezTo>
                <a:cubicBezTo>
                  <a:pt x="63831" y="267311"/>
                  <a:pt x="63500" y="266212"/>
                  <a:pt x="63500" y="265113"/>
                </a:cubicBezTo>
                <a:cubicBezTo>
                  <a:pt x="63500" y="264014"/>
                  <a:pt x="63831" y="262915"/>
                  <a:pt x="64492" y="261816"/>
                </a:cubicBezTo>
                <a:close/>
                <a:moveTo>
                  <a:pt x="109347" y="260350"/>
                </a:moveTo>
                <a:cubicBezTo>
                  <a:pt x="112014" y="260350"/>
                  <a:pt x="113919" y="262255"/>
                  <a:pt x="113919" y="264922"/>
                </a:cubicBezTo>
                <a:cubicBezTo>
                  <a:pt x="113919" y="267208"/>
                  <a:pt x="112014" y="269494"/>
                  <a:pt x="109347" y="269494"/>
                </a:cubicBezTo>
                <a:cubicBezTo>
                  <a:pt x="106680" y="269494"/>
                  <a:pt x="104775" y="267208"/>
                  <a:pt x="104775" y="264922"/>
                </a:cubicBezTo>
                <a:cubicBezTo>
                  <a:pt x="104775" y="262255"/>
                  <a:pt x="106680" y="260350"/>
                  <a:pt x="109347" y="260350"/>
                </a:cubicBezTo>
                <a:close/>
                <a:moveTo>
                  <a:pt x="8633" y="255064"/>
                </a:moveTo>
                <a:lnTo>
                  <a:pt x="8633" y="267997"/>
                </a:lnTo>
                <a:cubicBezTo>
                  <a:pt x="8633" y="271949"/>
                  <a:pt x="11870" y="275182"/>
                  <a:pt x="15826" y="275182"/>
                </a:cubicBezTo>
                <a:lnTo>
                  <a:pt x="199273" y="275182"/>
                </a:lnTo>
                <a:cubicBezTo>
                  <a:pt x="203230" y="275182"/>
                  <a:pt x="206467" y="271949"/>
                  <a:pt x="206467" y="267997"/>
                </a:cubicBezTo>
                <a:lnTo>
                  <a:pt x="206467" y="255064"/>
                </a:lnTo>
                <a:lnTo>
                  <a:pt x="8633" y="255064"/>
                </a:lnTo>
                <a:close/>
                <a:moveTo>
                  <a:pt x="88520" y="217488"/>
                </a:moveTo>
                <a:lnTo>
                  <a:pt x="120664" y="217488"/>
                </a:lnTo>
                <a:cubicBezTo>
                  <a:pt x="123221" y="217488"/>
                  <a:pt x="125047" y="219393"/>
                  <a:pt x="125047" y="222060"/>
                </a:cubicBezTo>
                <a:cubicBezTo>
                  <a:pt x="125047" y="224727"/>
                  <a:pt x="123221" y="226632"/>
                  <a:pt x="120664" y="226632"/>
                </a:cubicBezTo>
                <a:lnTo>
                  <a:pt x="88520" y="226632"/>
                </a:lnTo>
                <a:cubicBezTo>
                  <a:pt x="86329" y="226632"/>
                  <a:pt x="84137" y="224727"/>
                  <a:pt x="84137" y="222060"/>
                </a:cubicBezTo>
                <a:cubicBezTo>
                  <a:pt x="84137" y="219393"/>
                  <a:pt x="86329" y="217488"/>
                  <a:pt x="88520" y="217488"/>
                </a:cubicBezTo>
                <a:close/>
                <a:moveTo>
                  <a:pt x="31592" y="217488"/>
                </a:moveTo>
                <a:lnTo>
                  <a:pt x="65245" y="217488"/>
                </a:lnTo>
                <a:cubicBezTo>
                  <a:pt x="67725" y="217488"/>
                  <a:pt x="69496" y="219393"/>
                  <a:pt x="69496" y="222060"/>
                </a:cubicBezTo>
                <a:cubicBezTo>
                  <a:pt x="69496" y="224727"/>
                  <a:pt x="67725" y="226632"/>
                  <a:pt x="65245" y="226632"/>
                </a:cubicBezTo>
                <a:lnTo>
                  <a:pt x="31592" y="226632"/>
                </a:lnTo>
                <a:cubicBezTo>
                  <a:pt x="29113" y="226632"/>
                  <a:pt x="26987" y="224727"/>
                  <a:pt x="26987" y="222060"/>
                </a:cubicBezTo>
                <a:cubicBezTo>
                  <a:pt x="26987" y="219393"/>
                  <a:pt x="29113" y="217488"/>
                  <a:pt x="31592" y="217488"/>
                </a:cubicBezTo>
                <a:close/>
                <a:moveTo>
                  <a:pt x="160066" y="174953"/>
                </a:moveTo>
                <a:lnTo>
                  <a:pt x="133448" y="196866"/>
                </a:lnTo>
                <a:cubicBezTo>
                  <a:pt x="148556" y="213392"/>
                  <a:pt x="169778" y="223451"/>
                  <a:pt x="193878" y="223451"/>
                </a:cubicBezTo>
                <a:cubicBezTo>
                  <a:pt x="212942" y="223451"/>
                  <a:pt x="230927" y="216625"/>
                  <a:pt x="244955" y="205488"/>
                </a:cubicBezTo>
                <a:lnTo>
                  <a:pt x="221934" y="179623"/>
                </a:lnTo>
                <a:cubicBezTo>
                  <a:pt x="214021" y="185730"/>
                  <a:pt x="204309" y="188963"/>
                  <a:pt x="193878" y="188963"/>
                </a:cubicBezTo>
                <a:cubicBezTo>
                  <a:pt x="180569" y="188963"/>
                  <a:pt x="168699" y="183934"/>
                  <a:pt x="160066" y="174953"/>
                </a:cubicBezTo>
                <a:close/>
                <a:moveTo>
                  <a:pt x="56959" y="152400"/>
                </a:moveTo>
                <a:cubicBezTo>
                  <a:pt x="59245" y="152400"/>
                  <a:pt x="61531" y="154219"/>
                  <a:pt x="61531" y="156766"/>
                </a:cubicBezTo>
                <a:lnTo>
                  <a:pt x="61531" y="200059"/>
                </a:lnTo>
                <a:cubicBezTo>
                  <a:pt x="61531" y="202605"/>
                  <a:pt x="59245" y="204424"/>
                  <a:pt x="56959" y="204424"/>
                </a:cubicBezTo>
                <a:cubicBezTo>
                  <a:pt x="54292" y="204424"/>
                  <a:pt x="52387" y="202605"/>
                  <a:pt x="52387" y="200059"/>
                </a:cubicBezTo>
                <a:lnTo>
                  <a:pt x="52387" y="156766"/>
                </a:lnTo>
                <a:cubicBezTo>
                  <a:pt x="52387" y="154219"/>
                  <a:pt x="54292" y="152400"/>
                  <a:pt x="56959" y="152400"/>
                </a:cubicBezTo>
                <a:close/>
                <a:moveTo>
                  <a:pt x="31940" y="139700"/>
                </a:moveTo>
                <a:cubicBezTo>
                  <a:pt x="34226" y="139700"/>
                  <a:pt x="36131" y="141504"/>
                  <a:pt x="36131" y="144030"/>
                </a:cubicBezTo>
                <a:lnTo>
                  <a:pt x="36131" y="198510"/>
                </a:lnTo>
                <a:cubicBezTo>
                  <a:pt x="36131" y="201035"/>
                  <a:pt x="34226" y="202839"/>
                  <a:pt x="31940" y="202839"/>
                </a:cubicBezTo>
                <a:cubicBezTo>
                  <a:pt x="29273" y="202839"/>
                  <a:pt x="26987" y="201035"/>
                  <a:pt x="26987" y="198510"/>
                </a:cubicBezTo>
                <a:lnTo>
                  <a:pt x="26987" y="144030"/>
                </a:lnTo>
                <a:cubicBezTo>
                  <a:pt x="26987" y="141504"/>
                  <a:pt x="29273" y="139700"/>
                  <a:pt x="31940" y="139700"/>
                </a:cubicBezTo>
                <a:close/>
                <a:moveTo>
                  <a:pt x="82359" y="117475"/>
                </a:moveTo>
                <a:cubicBezTo>
                  <a:pt x="85026" y="117475"/>
                  <a:pt x="86931" y="119261"/>
                  <a:pt x="86931" y="121761"/>
                </a:cubicBezTo>
                <a:lnTo>
                  <a:pt x="86931" y="198557"/>
                </a:lnTo>
                <a:cubicBezTo>
                  <a:pt x="86931" y="201057"/>
                  <a:pt x="85026" y="202843"/>
                  <a:pt x="82359" y="202843"/>
                </a:cubicBezTo>
                <a:cubicBezTo>
                  <a:pt x="80073" y="202843"/>
                  <a:pt x="77787" y="201057"/>
                  <a:pt x="77787" y="198557"/>
                </a:cubicBezTo>
                <a:lnTo>
                  <a:pt x="77787" y="121761"/>
                </a:lnTo>
                <a:cubicBezTo>
                  <a:pt x="77787" y="119261"/>
                  <a:pt x="80073" y="117475"/>
                  <a:pt x="82359" y="117475"/>
                </a:cubicBezTo>
                <a:close/>
                <a:moveTo>
                  <a:pt x="270134" y="113162"/>
                </a:moveTo>
                <a:lnTo>
                  <a:pt x="238481" y="126814"/>
                </a:lnTo>
                <a:cubicBezTo>
                  <a:pt x="240279" y="131484"/>
                  <a:pt x="240998" y="136873"/>
                  <a:pt x="240998" y="141902"/>
                </a:cubicBezTo>
                <a:cubicBezTo>
                  <a:pt x="240998" y="154116"/>
                  <a:pt x="236322" y="165612"/>
                  <a:pt x="228049" y="173875"/>
                </a:cubicBezTo>
                <a:lnTo>
                  <a:pt x="251070" y="199740"/>
                </a:lnTo>
                <a:cubicBezTo>
                  <a:pt x="266177" y="184652"/>
                  <a:pt x="275529" y="164175"/>
                  <a:pt x="275529" y="141902"/>
                </a:cubicBezTo>
                <a:cubicBezTo>
                  <a:pt x="275529" y="131843"/>
                  <a:pt x="273731" y="122143"/>
                  <a:pt x="270134" y="113162"/>
                </a:cubicBezTo>
                <a:close/>
                <a:moveTo>
                  <a:pt x="194114" y="107950"/>
                </a:moveTo>
                <a:cubicBezTo>
                  <a:pt x="196597" y="107950"/>
                  <a:pt x="198725" y="109762"/>
                  <a:pt x="198725" y="112298"/>
                </a:cubicBezTo>
                <a:lnTo>
                  <a:pt x="198725" y="114835"/>
                </a:lnTo>
                <a:cubicBezTo>
                  <a:pt x="203335" y="115922"/>
                  <a:pt x="207591" y="119546"/>
                  <a:pt x="209719" y="124256"/>
                </a:cubicBezTo>
                <a:cubicBezTo>
                  <a:pt x="210428" y="126068"/>
                  <a:pt x="209364" y="128967"/>
                  <a:pt x="207236" y="129692"/>
                </a:cubicBezTo>
                <a:cubicBezTo>
                  <a:pt x="205108" y="130779"/>
                  <a:pt x="202626" y="129692"/>
                  <a:pt x="201562" y="127518"/>
                </a:cubicBezTo>
                <a:cubicBezTo>
                  <a:pt x="200498" y="124981"/>
                  <a:pt x="197661" y="122807"/>
                  <a:pt x="194114" y="122807"/>
                </a:cubicBezTo>
                <a:cubicBezTo>
                  <a:pt x="189858" y="122807"/>
                  <a:pt x="186312" y="126068"/>
                  <a:pt x="186312" y="129692"/>
                </a:cubicBezTo>
                <a:cubicBezTo>
                  <a:pt x="186312" y="134403"/>
                  <a:pt x="188794" y="136939"/>
                  <a:pt x="194114" y="136939"/>
                </a:cubicBezTo>
                <a:cubicBezTo>
                  <a:pt x="204399" y="136939"/>
                  <a:pt x="210783" y="143099"/>
                  <a:pt x="210783" y="152521"/>
                </a:cubicBezTo>
                <a:cubicBezTo>
                  <a:pt x="210783" y="159768"/>
                  <a:pt x="205463" y="165928"/>
                  <a:pt x="198725" y="167378"/>
                </a:cubicBezTo>
                <a:lnTo>
                  <a:pt x="198725" y="169914"/>
                </a:lnTo>
                <a:cubicBezTo>
                  <a:pt x="198725" y="172451"/>
                  <a:pt x="196597" y="174263"/>
                  <a:pt x="194114" y="174263"/>
                </a:cubicBezTo>
                <a:cubicBezTo>
                  <a:pt x="191986" y="174263"/>
                  <a:pt x="189858" y="172451"/>
                  <a:pt x="189858" y="169914"/>
                </a:cubicBezTo>
                <a:lnTo>
                  <a:pt x="189858" y="167378"/>
                </a:lnTo>
                <a:cubicBezTo>
                  <a:pt x="184893" y="166291"/>
                  <a:pt x="180992" y="163029"/>
                  <a:pt x="178864" y="158319"/>
                </a:cubicBezTo>
                <a:cubicBezTo>
                  <a:pt x="178155" y="156144"/>
                  <a:pt x="179219" y="153608"/>
                  <a:pt x="181347" y="152521"/>
                </a:cubicBezTo>
                <a:cubicBezTo>
                  <a:pt x="183475" y="151434"/>
                  <a:pt x="185957" y="152521"/>
                  <a:pt x="187021" y="154695"/>
                </a:cubicBezTo>
                <a:cubicBezTo>
                  <a:pt x="188085" y="157956"/>
                  <a:pt x="190922" y="159406"/>
                  <a:pt x="194469" y="159406"/>
                </a:cubicBezTo>
                <a:cubicBezTo>
                  <a:pt x="198725" y="159406"/>
                  <a:pt x="202271" y="156507"/>
                  <a:pt x="202271" y="152521"/>
                </a:cubicBezTo>
                <a:cubicBezTo>
                  <a:pt x="202271" y="147810"/>
                  <a:pt x="199434" y="145274"/>
                  <a:pt x="194114" y="145274"/>
                </a:cubicBezTo>
                <a:cubicBezTo>
                  <a:pt x="184184" y="145274"/>
                  <a:pt x="177800" y="139476"/>
                  <a:pt x="177800" y="129692"/>
                </a:cubicBezTo>
                <a:cubicBezTo>
                  <a:pt x="177800" y="122445"/>
                  <a:pt x="182765" y="116284"/>
                  <a:pt x="189858" y="114835"/>
                </a:cubicBezTo>
                <a:lnTo>
                  <a:pt x="189858" y="112298"/>
                </a:lnTo>
                <a:cubicBezTo>
                  <a:pt x="189858" y="109762"/>
                  <a:pt x="191986" y="107950"/>
                  <a:pt x="194114" y="107950"/>
                </a:cubicBezTo>
                <a:close/>
                <a:moveTo>
                  <a:pt x="193878" y="103103"/>
                </a:moveTo>
                <a:cubicBezTo>
                  <a:pt x="172296" y="103103"/>
                  <a:pt x="155030" y="120347"/>
                  <a:pt x="155030" y="141902"/>
                </a:cubicBezTo>
                <a:cubicBezTo>
                  <a:pt x="155030" y="163097"/>
                  <a:pt x="172296" y="180341"/>
                  <a:pt x="193878" y="180341"/>
                </a:cubicBezTo>
                <a:cubicBezTo>
                  <a:pt x="215100" y="180341"/>
                  <a:pt x="232366" y="163097"/>
                  <a:pt x="232366" y="141902"/>
                </a:cubicBezTo>
                <a:cubicBezTo>
                  <a:pt x="232366" y="120347"/>
                  <a:pt x="215100" y="103103"/>
                  <a:pt x="193878" y="103103"/>
                </a:cubicBezTo>
                <a:close/>
                <a:moveTo>
                  <a:pt x="31699" y="85725"/>
                </a:moveTo>
                <a:lnTo>
                  <a:pt x="101650" y="85725"/>
                </a:lnTo>
                <a:cubicBezTo>
                  <a:pt x="103825" y="85725"/>
                  <a:pt x="106000" y="87630"/>
                  <a:pt x="106000" y="90297"/>
                </a:cubicBezTo>
                <a:cubicBezTo>
                  <a:pt x="106000" y="92964"/>
                  <a:pt x="103825" y="94869"/>
                  <a:pt x="101650" y="94869"/>
                </a:cubicBezTo>
                <a:lnTo>
                  <a:pt x="31699" y="94869"/>
                </a:lnTo>
                <a:cubicBezTo>
                  <a:pt x="29162" y="94869"/>
                  <a:pt x="26987" y="92964"/>
                  <a:pt x="26987" y="90297"/>
                </a:cubicBezTo>
                <a:cubicBezTo>
                  <a:pt x="26987" y="87630"/>
                  <a:pt x="29162" y="85725"/>
                  <a:pt x="31699" y="85725"/>
                </a:cubicBezTo>
                <a:close/>
                <a:moveTo>
                  <a:pt x="198194" y="60353"/>
                </a:moveTo>
                <a:lnTo>
                  <a:pt x="198194" y="94841"/>
                </a:lnTo>
                <a:cubicBezTo>
                  <a:pt x="214021" y="96278"/>
                  <a:pt x="227690" y="105618"/>
                  <a:pt x="235243" y="119269"/>
                </a:cubicBezTo>
                <a:lnTo>
                  <a:pt x="266897" y="105618"/>
                </a:lnTo>
                <a:cubicBezTo>
                  <a:pt x="253948" y="79752"/>
                  <a:pt x="228049" y="62149"/>
                  <a:pt x="198194" y="60353"/>
                </a:cubicBezTo>
                <a:close/>
                <a:moveTo>
                  <a:pt x="189202" y="60353"/>
                </a:moveTo>
                <a:cubicBezTo>
                  <a:pt x="146398" y="62509"/>
                  <a:pt x="111867" y="98433"/>
                  <a:pt x="111867" y="141902"/>
                </a:cubicBezTo>
                <a:cubicBezTo>
                  <a:pt x="111867" y="159864"/>
                  <a:pt x="117981" y="176749"/>
                  <a:pt x="128053" y="190400"/>
                </a:cubicBezTo>
                <a:lnTo>
                  <a:pt x="154671" y="168486"/>
                </a:lnTo>
                <a:cubicBezTo>
                  <a:pt x="149275" y="160942"/>
                  <a:pt x="146398" y="151602"/>
                  <a:pt x="146398" y="141902"/>
                </a:cubicBezTo>
                <a:cubicBezTo>
                  <a:pt x="146398" y="117114"/>
                  <a:pt x="165462" y="96996"/>
                  <a:pt x="189202" y="94841"/>
                </a:cubicBezTo>
                <a:lnTo>
                  <a:pt x="189202" y="60353"/>
                </a:lnTo>
                <a:close/>
                <a:moveTo>
                  <a:pt x="78948" y="57150"/>
                </a:moveTo>
                <a:lnTo>
                  <a:pt x="122303" y="57150"/>
                </a:lnTo>
                <a:cubicBezTo>
                  <a:pt x="124471" y="57150"/>
                  <a:pt x="126639" y="59436"/>
                  <a:pt x="126639" y="61722"/>
                </a:cubicBezTo>
                <a:cubicBezTo>
                  <a:pt x="126639" y="64389"/>
                  <a:pt x="124471" y="66294"/>
                  <a:pt x="122303" y="66294"/>
                </a:cubicBezTo>
                <a:lnTo>
                  <a:pt x="78948" y="66294"/>
                </a:lnTo>
                <a:cubicBezTo>
                  <a:pt x="76419" y="66294"/>
                  <a:pt x="74612" y="64389"/>
                  <a:pt x="74612" y="61722"/>
                </a:cubicBezTo>
                <a:cubicBezTo>
                  <a:pt x="74612" y="59436"/>
                  <a:pt x="76419" y="57150"/>
                  <a:pt x="78948" y="57150"/>
                </a:cubicBezTo>
                <a:close/>
                <a:moveTo>
                  <a:pt x="31668" y="57150"/>
                </a:moveTo>
                <a:lnTo>
                  <a:pt x="57232" y="57150"/>
                </a:lnTo>
                <a:cubicBezTo>
                  <a:pt x="59392" y="57150"/>
                  <a:pt x="61552" y="59436"/>
                  <a:pt x="61552" y="61722"/>
                </a:cubicBezTo>
                <a:cubicBezTo>
                  <a:pt x="61552" y="64389"/>
                  <a:pt x="59392" y="66294"/>
                  <a:pt x="57232" y="66294"/>
                </a:cubicBezTo>
                <a:lnTo>
                  <a:pt x="31668" y="66294"/>
                </a:lnTo>
                <a:cubicBezTo>
                  <a:pt x="29148" y="66294"/>
                  <a:pt x="26987" y="64389"/>
                  <a:pt x="26987" y="61722"/>
                </a:cubicBezTo>
                <a:cubicBezTo>
                  <a:pt x="26987" y="59436"/>
                  <a:pt x="29148" y="57150"/>
                  <a:pt x="31668" y="57150"/>
                </a:cubicBezTo>
                <a:close/>
                <a:moveTo>
                  <a:pt x="8633" y="37002"/>
                </a:moveTo>
                <a:lnTo>
                  <a:pt x="8633" y="246442"/>
                </a:lnTo>
                <a:lnTo>
                  <a:pt x="206467" y="246442"/>
                </a:lnTo>
                <a:lnTo>
                  <a:pt x="206467" y="230995"/>
                </a:lnTo>
                <a:cubicBezTo>
                  <a:pt x="202511" y="231713"/>
                  <a:pt x="198194" y="232073"/>
                  <a:pt x="193878" y="232073"/>
                </a:cubicBezTo>
                <a:cubicBezTo>
                  <a:pt x="143880" y="232073"/>
                  <a:pt x="103234" y="191478"/>
                  <a:pt x="103234" y="141902"/>
                </a:cubicBezTo>
                <a:cubicBezTo>
                  <a:pt x="103234" y="91967"/>
                  <a:pt x="143880" y="51372"/>
                  <a:pt x="193878" y="51372"/>
                </a:cubicBezTo>
                <a:cubicBezTo>
                  <a:pt x="198194" y="51372"/>
                  <a:pt x="202511" y="51731"/>
                  <a:pt x="206467" y="52450"/>
                </a:cubicBezTo>
                <a:lnTo>
                  <a:pt x="206467" y="37002"/>
                </a:lnTo>
                <a:lnTo>
                  <a:pt x="8633" y="37002"/>
                </a:lnTo>
                <a:close/>
                <a:moveTo>
                  <a:pt x="109347" y="14288"/>
                </a:moveTo>
                <a:cubicBezTo>
                  <a:pt x="112014" y="14288"/>
                  <a:pt x="113919" y="15941"/>
                  <a:pt x="113919" y="18256"/>
                </a:cubicBezTo>
                <a:cubicBezTo>
                  <a:pt x="113919" y="20241"/>
                  <a:pt x="112014" y="21894"/>
                  <a:pt x="109347" y="21894"/>
                </a:cubicBezTo>
                <a:cubicBezTo>
                  <a:pt x="106680" y="21894"/>
                  <a:pt x="104775" y="20241"/>
                  <a:pt x="104775" y="18256"/>
                </a:cubicBezTo>
                <a:cubicBezTo>
                  <a:pt x="104775" y="15941"/>
                  <a:pt x="106680" y="14288"/>
                  <a:pt x="109347" y="14288"/>
                </a:cubicBezTo>
                <a:close/>
                <a:moveTo>
                  <a:pt x="15826" y="8622"/>
                </a:moveTo>
                <a:cubicBezTo>
                  <a:pt x="11870" y="8622"/>
                  <a:pt x="8633" y="11855"/>
                  <a:pt x="8633" y="15447"/>
                </a:cubicBezTo>
                <a:lnTo>
                  <a:pt x="8633" y="28740"/>
                </a:lnTo>
                <a:lnTo>
                  <a:pt x="206467" y="28740"/>
                </a:lnTo>
                <a:lnTo>
                  <a:pt x="206467" y="15447"/>
                </a:lnTo>
                <a:cubicBezTo>
                  <a:pt x="206467" y="11855"/>
                  <a:pt x="203230" y="8622"/>
                  <a:pt x="199273" y="8622"/>
                </a:cubicBezTo>
                <a:lnTo>
                  <a:pt x="15826" y="8622"/>
                </a:lnTo>
                <a:close/>
                <a:moveTo>
                  <a:pt x="15826" y="0"/>
                </a:moveTo>
                <a:lnTo>
                  <a:pt x="199273" y="0"/>
                </a:lnTo>
                <a:cubicBezTo>
                  <a:pt x="208266" y="0"/>
                  <a:pt x="215100" y="6826"/>
                  <a:pt x="215100" y="15447"/>
                </a:cubicBezTo>
                <a:lnTo>
                  <a:pt x="215100" y="54246"/>
                </a:lnTo>
                <a:cubicBezTo>
                  <a:pt x="254667" y="63946"/>
                  <a:pt x="283803" y="99511"/>
                  <a:pt x="283803" y="141902"/>
                </a:cubicBezTo>
                <a:cubicBezTo>
                  <a:pt x="283803" y="184293"/>
                  <a:pt x="254667" y="219499"/>
                  <a:pt x="215100" y="229199"/>
                </a:cubicBezTo>
                <a:lnTo>
                  <a:pt x="215100" y="267997"/>
                </a:lnTo>
                <a:cubicBezTo>
                  <a:pt x="215100" y="276619"/>
                  <a:pt x="208266" y="283804"/>
                  <a:pt x="199273" y="283804"/>
                </a:cubicBezTo>
                <a:lnTo>
                  <a:pt x="15826" y="283804"/>
                </a:lnTo>
                <a:cubicBezTo>
                  <a:pt x="6834" y="283804"/>
                  <a:pt x="0" y="276619"/>
                  <a:pt x="0" y="267997"/>
                </a:cubicBezTo>
                <a:lnTo>
                  <a:pt x="0" y="15447"/>
                </a:lnTo>
                <a:cubicBezTo>
                  <a:pt x="0" y="6826"/>
                  <a:pt x="6834" y="0"/>
                  <a:pt x="158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21" name="Freeform 1043">
            <a:extLst>
              <a:ext uri="{FF2B5EF4-FFF2-40B4-BE49-F238E27FC236}">
                <a16:creationId xmlns:a16="http://schemas.microsoft.com/office/drawing/2014/main" id="{0CEF8F03-1EDA-3D9D-808F-840716DD5D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8860" y="3307459"/>
            <a:ext cx="527985" cy="526365"/>
          </a:xfrm>
          <a:custGeom>
            <a:avLst/>
            <a:gdLst>
              <a:gd name="T0" fmla="*/ 402722 w 285392"/>
              <a:gd name="T1" fmla="*/ 5500295 h 283805"/>
              <a:gd name="T2" fmla="*/ 1356333 w 285392"/>
              <a:gd name="T3" fmla="*/ 4296670 h 283805"/>
              <a:gd name="T4" fmla="*/ 84725 w 285392"/>
              <a:gd name="T5" fmla="*/ 4124715 h 283805"/>
              <a:gd name="T6" fmla="*/ 1751951 w 285392"/>
              <a:gd name="T7" fmla="*/ 4210700 h 283805"/>
              <a:gd name="T8" fmla="*/ 1525887 w 285392"/>
              <a:gd name="T9" fmla="*/ 4296670 h 283805"/>
              <a:gd name="T10" fmla="*/ 1441134 w 285392"/>
              <a:gd name="T11" fmla="*/ 5672258 h 283805"/>
              <a:gd name="T12" fmla="*/ 226018 w 285392"/>
              <a:gd name="T13" fmla="*/ 5586288 h 283805"/>
              <a:gd name="T14" fmla="*/ 84725 w 285392"/>
              <a:gd name="T15" fmla="*/ 4296670 h 283805"/>
              <a:gd name="T16" fmla="*/ 84725 w 285392"/>
              <a:gd name="T17" fmla="*/ 4124715 h 283805"/>
              <a:gd name="T18" fmla="*/ 4292158 w 285392"/>
              <a:gd name="T19" fmla="*/ 5498908 h 283805"/>
              <a:gd name="T20" fmla="*/ 5249693 w 285392"/>
              <a:gd name="T21" fmla="*/ 3599966 h 283805"/>
              <a:gd name="T22" fmla="*/ 3980104 w 285392"/>
              <a:gd name="T23" fmla="*/ 3426695 h 283805"/>
              <a:gd name="T24" fmla="*/ 5646896 w 285392"/>
              <a:gd name="T25" fmla="*/ 3506121 h 283805"/>
              <a:gd name="T26" fmla="*/ 5419937 w 285392"/>
              <a:gd name="T27" fmla="*/ 3599966 h 283805"/>
              <a:gd name="T28" fmla="*/ 5334802 w 285392"/>
              <a:gd name="T29" fmla="*/ 5672202 h 283805"/>
              <a:gd name="T30" fmla="*/ 4121954 w 285392"/>
              <a:gd name="T31" fmla="*/ 5585578 h 283805"/>
              <a:gd name="T32" fmla="*/ 3980104 w 285392"/>
              <a:gd name="T33" fmla="*/ 3599966 h 283805"/>
              <a:gd name="T34" fmla="*/ 3980104 w 285392"/>
              <a:gd name="T35" fmla="*/ 3426695 h 283805"/>
              <a:gd name="T36" fmla="*/ 2337601 w 285392"/>
              <a:gd name="T37" fmla="*/ 5498613 h 283805"/>
              <a:gd name="T38" fmla="*/ 3302209 w 285392"/>
              <a:gd name="T39" fmla="*/ 2902258 h 283805"/>
              <a:gd name="T40" fmla="*/ 891655 w 285392"/>
              <a:gd name="T41" fmla="*/ 2891900 h 283805"/>
              <a:gd name="T42" fmla="*/ 891655 w 285392"/>
              <a:gd name="T43" fmla="*/ 3630011 h 283805"/>
              <a:gd name="T44" fmla="*/ 891655 w 285392"/>
              <a:gd name="T45" fmla="*/ 2891900 h 283805"/>
              <a:gd name="T46" fmla="*/ 3614301 w 285392"/>
              <a:gd name="T47" fmla="*/ 2728669 h 283805"/>
              <a:gd name="T48" fmla="*/ 3614301 w 285392"/>
              <a:gd name="T49" fmla="*/ 2894994 h 283805"/>
              <a:gd name="T50" fmla="*/ 3472453 w 285392"/>
              <a:gd name="T51" fmla="*/ 5585412 h 283805"/>
              <a:gd name="T52" fmla="*/ 2259579 w 285392"/>
              <a:gd name="T53" fmla="*/ 5672178 h 283805"/>
              <a:gd name="T54" fmla="*/ 2174469 w 285392"/>
              <a:gd name="T55" fmla="*/ 2894994 h 283805"/>
              <a:gd name="T56" fmla="*/ 1947484 w 285392"/>
              <a:gd name="T57" fmla="*/ 2815436 h 283805"/>
              <a:gd name="T58" fmla="*/ 891655 w 285392"/>
              <a:gd name="T59" fmla="*/ 2728669 h 283805"/>
              <a:gd name="T60" fmla="*/ 891655 w 285392"/>
              <a:gd name="T61" fmla="*/ 3800335 h 283805"/>
              <a:gd name="T62" fmla="*/ 891655 w 285392"/>
              <a:gd name="T63" fmla="*/ 2728669 h 283805"/>
              <a:gd name="T64" fmla="*/ 4286910 w 285392"/>
              <a:gd name="T65" fmla="*/ 2471236 h 283805"/>
              <a:gd name="T66" fmla="*/ 5254861 w 285392"/>
              <a:gd name="T67" fmla="*/ 2471236 h 283805"/>
              <a:gd name="T68" fmla="*/ 4774492 w 285392"/>
              <a:gd name="T69" fmla="*/ 1808533 h 283805"/>
              <a:gd name="T70" fmla="*/ 4774492 w 285392"/>
              <a:gd name="T71" fmla="*/ 3133935 h 283805"/>
              <a:gd name="T72" fmla="*/ 4774492 w 285392"/>
              <a:gd name="T73" fmla="*/ 1808533 h 283805"/>
              <a:gd name="T74" fmla="*/ 3605033 w 285392"/>
              <a:gd name="T75" fmla="*/ 1233606 h 283805"/>
              <a:gd name="T76" fmla="*/ 3423792 w 285392"/>
              <a:gd name="T77" fmla="*/ 1233606 h 283805"/>
              <a:gd name="T78" fmla="*/ 2163598 w 285392"/>
              <a:gd name="T79" fmla="*/ 1142201 h 283805"/>
              <a:gd name="T80" fmla="*/ 2163598 w 285392"/>
              <a:gd name="T81" fmla="*/ 1325007 h 283805"/>
              <a:gd name="T82" fmla="*/ 2163598 w 285392"/>
              <a:gd name="T83" fmla="*/ 1142201 h 283805"/>
              <a:gd name="T84" fmla="*/ 2908657 w 285392"/>
              <a:gd name="T85" fmla="*/ 467772 h 283805"/>
              <a:gd name="T86" fmla="*/ 3199816 w 285392"/>
              <a:gd name="T87" fmla="*/ 779362 h 283805"/>
              <a:gd name="T88" fmla="*/ 3043578 w 285392"/>
              <a:gd name="T89" fmla="*/ 851897 h 283805"/>
              <a:gd name="T90" fmla="*/ 2589079 w 285392"/>
              <a:gd name="T91" fmla="*/ 924353 h 283805"/>
              <a:gd name="T92" fmla="*/ 3228237 w 285392"/>
              <a:gd name="T93" fmla="*/ 1511514 h 283805"/>
              <a:gd name="T94" fmla="*/ 2908657 w 285392"/>
              <a:gd name="T95" fmla="*/ 1968136 h 283805"/>
              <a:gd name="T96" fmla="*/ 2738223 w 285392"/>
              <a:gd name="T97" fmla="*/ 1968136 h 283805"/>
              <a:gd name="T98" fmla="*/ 2447057 w 285392"/>
              <a:gd name="T99" fmla="*/ 1649175 h 283805"/>
              <a:gd name="T100" fmla="*/ 2603278 w 285392"/>
              <a:gd name="T101" fmla="*/ 1583947 h 283805"/>
              <a:gd name="T102" fmla="*/ 3057795 w 285392"/>
              <a:gd name="T103" fmla="*/ 1511514 h 283805"/>
              <a:gd name="T104" fmla="*/ 2418643 w 285392"/>
              <a:gd name="T105" fmla="*/ 924353 h 283805"/>
              <a:gd name="T106" fmla="*/ 2738223 w 285392"/>
              <a:gd name="T107" fmla="*/ 467772 h 283805"/>
              <a:gd name="T108" fmla="*/ 2823426 w 285392"/>
              <a:gd name="T109" fmla="*/ 172669 h 283805"/>
              <a:gd name="T110" fmla="*/ 2823426 w 285392"/>
              <a:gd name="T111" fmla="*/ 2294947 h 283805"/>
              <a:gd name="T112" fmla="*/ 2823426 w 285392"/>
              <a:gd name="T113" fmla="*/ 172669 h 283805"/>
              <a:gd name="T114" fmla="*/ 4044910 w 285392"/>
              <a:gd name="T115" fmla="*/ 1230236 h 283805"/>
              <a:gd name="T116" fmla="*/ 1601970 w 285392"/>
              <a:gd name="T117" fmla="*/ 1230236 h 28380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5392" h="283805">
                <a:moveTo>
                  <a:pt x="20351" y="214978"/>
                </a:moveTo>
                <a:lnTo>
                  <a:pt x="20351" y="275201"/>
                </a:lnTo>
                <a:lnTo>
                  <a:pt x="68549" y="275201"/>
                </a:lnTo>
                <a:lnTo>
                  <a:pt x="68549" y="214978"/>
                </a:lnTo>
                <a:lnTo>
                  <a:pt x="20351" y="214978"/>
                </a:lnTo>
                <a:close/>
                <a:moveTo>
                  <a:pt x="4284" y="206375"/>
                </a:moveTo>
                <a:lnTo>
                  <a:pt x="84259" y="206375"/>
                </a:lnTo>
                <a:cubicBezTo>
                  <a:pt x="86401" y="206375"/>
                  <a:pt x="88543" y="208526"/>
                  <a:pt x="88543" y="210677"/>
                </a:cubicBezTo>
                <a:cubicBezTo>
                  <a:pt x="88543" y="213186"/>
                  <a:pt x="86401" y="214978"/>
                  <a:pt x="84259" y="214978"/>
                </a:cubicBezTo>
                <a:lnTo>
                  <a:pt x="77118" y="214978"/>
                </a:lnTo>
                <a:lnTo>
                  <a:pt x="77118" y="279503"/>
                </a:lnTo>
                <a:cubicBezTo>
                  <a:pt x="77118" y="281654"/>
                  <a:pt x="75333" y="283805"/>
                  <a:pt x="72834" y="283805"/>
                </a:cubicBezTo>
                <a:lnTo>
                  <a:pt x="15709" y="283805"/>
                </a:lnTo>
                <a:cubicBezTo>
                  <a:pt x="13567" y="283805"/>
                  <a:pt x="11425" y="281654"/>
                  <a:pt x="11425" y="279503"/>
                </a:cubicBezTo>
                <a:lnTo>
                  <a:pt x="11425" y="214978"/>
                </a:lnTo>
                <a:lnTo>
                  <a:pt x="4284" y="214978"/>
                </a:lnTo>
                <a:cubicBezTo>
                  <a:pt x="2142" y="214978"/>
                  <a:pt x="0" y="213186"/>
                  <a:pt x="0" y="210677"/>
                </a:cubicBezTo>
                <a:cubicBezTo>
                  <a:pt x="0" y="208526"/>
                  <a:pt x="2142" y="206375"/>
                  <a:pt x="4284" y="206375"/>
                </a:cubicBezTo>
                <a:close/>
                <a:moveTo>
                  <a:pt x="216924" y="180120"/>
                </a:moveTo>
                <a:lnTo>
                  <a:pt x="216924" y="275132"/>
                </a:lnTo>
                <a:lnTo>
                  <a:pt x="265317" y="275132"/>
                </a:lnTo>
                <a:lnTo>
                  <a:pt x="265317" y="180120"/>
                </a:lnTo>
                <a:lnTo>
                  <a:pt x="216924" y="180120"/>
                </a:lnTo>
                <a:close/>
                <a:moveTo>
                  <a:pt x="201152" y="171450"/>
                </a:moveTo>
                <a:lnTo>
                  <a:pt x="281090" y="171450"/>
                </a:lnTo>
                <a:cubicBezTo>
                  <a:pt x="283599" y="171450"/>
                  <a:pt x="285392" y="173256"/>
                  <a:pt x="285392" y="175424"/>
                </a:cubicBezTo>
                <a:cubicBezTo>
                  <a:pt x="285392" y="177953"/>
                  <a:pt x="283599" y="180120"/>
                  <a:pt x="281090" y="180120"/>
                </a:cubicBezTo>
                <a:lnTo>
                  <a:pt x="273921" y="180120"/>
                </a:lnTo>
                <a:lnTo>
                  <a:pt x="273921" y="279467"/>
                </a:lnTo>
                <a:cubicBezTo>
                  <a:pt x="273921" y="281634"/>
                  <a:pt x="272128" y="283802"/>
                  <a:pt x="269619" y="283802"/>
                </a:cubicBezTo>
                <a:lnTo>
                  <a:pt x="212623" y="283802"/>
                </a:lnTo>
                <a:cubicBezTo>
                  <a:pt x="210113" y="283802"/>
                  <a:pt x="208321" y="281634"/>
                  <a:pt x="208321" y="279467"/>
                </a:cubicBezTo>
                <a:lnTo>
                  <a:pt x="208321" y="180120"/>
                </a:lnTo>
                <a:lnTo>
                  <a:pt x="201152" y="180120"/>
                </a:lnTo>
                <a:cubicBezTo>
                  <a:pt x="198642" y="180120"/>
                  <a:pt x="196850" y="177953"/>
                  <a:pt x="196850" y="175424"/>
                </a:cubicBezTo>
                <a:cubicBezTo>
                  <a:pt x="196850" y="173256"/>
                  <a:pt x="198642" y="171450"/>
                  <a:pt x="201152" y="171450"/>
                </a:cubicBezTo>
                <a:close/>
                <a:moveTo>
                  <a:pt x="118141" y="145210"/>
                </a:moveTo>
                <a:lnTo>
                  <a:pt x="118141" y="275117"/>
                </a:lnTo>
                <a:lnTo>
                  <a:pt x="166892" y="275117"/>
                </a:lnTo>
                <a:lnTo>
                  <a:pt x="166892" y="145210"/>
                </a:lnTo>
                <a:lnTo>
                  <a:pt x="118141" y="145210"/>
                </a:lnTo>
                <a:close/>
                <a:moveTo>
                  <a:pt x="45062" y="144692"/>
                </a:moveTo>
                <a:cubicBezTo>
                  <a:pt x="34530" y="144692"/>
                  <a:pt x="26178" y="153215"/>
                  <a:pt x="26178" y="163513"/>
                </a:cubicBezTo>
                <a:cubicBezTo>
                  <a:pt x="26178" y="173455"/>
                  <a:pt x="34530" y="181623"/>
                  <a:pt x="45062" y="181623"/>
                </a:cubicBezTo>
                <a:cubicBezTo>
                  <a:pt x="55593" y="181623"/>
                  <a:pt x="63946" y="173455"/>
                  <a:pt x="63946" y="163513"/>
                </a:cubicBezTo>
                <a:cubicBezTo>
                  <a:pt x="63946" y="153215"/>
                  <a:pt x="55593" y="144692"/>
                  <a:pt x="45062" y="144692"/>
                </a:cubicBezTo>
                <a:close/>
                <a:moveTo>
                  <a:pt x="102727" y="136525"/>
                </a:moveTo>
                <a:lnTo>
                  <a:pt x="182665" y="136525"/>
                </a:lnTo>
                <a:cubicBezTo>
                  <a:pt x="185174" y="136525"/>
                  <a:pt x="186967" y="138334"/>
                  <a:pt x="186967" y="140867"/>
                </a:cubicBezTo>
                <a:cubicBezTo>
                  <a:pt x="186967" y="143039"/>
                  <a:pt x="185174" y="144848"/>
                  <a:pt x="182665" y="144848"/>
                </a:cubicBezTo>
                <a:lnTo>
                  <a:pt x="175496" y="144848"/>
                </a:lnTo>
                <a:lnTo>
                  <a:pt x="175496" y="279459"/>
                </a:lnTo>
                <a:cubicBezTo>
                  <a:pt x="175496" y="281630"/>
                  <a:pt x="173703" y="283801"/>
                  <a:pt x="171194" y="283801"/>
                </a:cubicBezTo>
                <a:lnTo>
                  <a:pt x="114198" y="283801"/>
                </a:lnTo>
                <a:cubicBezTo>
                  <a:pt x="111688" y="283801"/>
                  <a:pt x="109896" y="281630"/>
                  <a:pt x="109896" y="279459"/>
                </a:cubicBezTo>
                <a:lnTo>
                  <a:pt x="109896" y="144848"/>
                </a:lnTo>
                <a:lnTo>
                  <a:pt x="102727" y="144848"/>
                </a:lnTo>
                <a:cubicBezTo>
                  <a:pt x="100217" y="144848"/>
                  <a:pt x="98425" y="143039"/>
                  <a:pt x="98425" y="140867"/>
                </a:cubicBezTo>
                <a:cubicBezTo>
                  <a:pt x="98425" y="138334"/>
                  <a:pt x="100217" y="136525"/>
                  <a:pt x="102727" y="136525"/>
                </a:cubicBezTo>
                <a:close/>
                <a:moveTo>
                  <a:pt x="45062" y="136525"/>
                </a:moveTo>
                <a:cubicBezTo>
                  <a:pt x="60315" y="136525"/>
                  <a:pt x="72662" y="148598"/>
                  <a:pt x="72662" y="163513"/>
                </a:cubicBezTo>
                <a:cubicBezTo>
                  <a:pt x="72662" y="178072"/>
                  <a:pt x="60315" y="190145"/>
                  <a:pt x="45062" y="190145"/>
                </a:cubicBezTo>
                <a:cubicBezTo>
                  <a:pt x="29809" y="190145"/>
                  <a:pt x="17462" y="178072"/>
                  <a:pt x="17462" y="163513"/>
                </a:cubicBezTo>
                <a:cubicBezTo>
                  <a:pt x="17462" y="148598"/>
                  <a:pt x="29809" y="136525"/>
                  <a:pt x="45062" y="136525"/>
                </a:cubicBezTo>
                <a:close/>
                <a:moveTo>
                  <a:pt x="241300" y="99138"/>
                </a:moveTo>
                <a:cubicBezTo>
                  <a:pt x="227530" y="99138"/>
                  <a:pt x="216659" y="110310"/>
                  <a:pt x="216659" y="123645"/>
                </a:cubicBezTo>
                <a:cubicBezTo>
                  <a:pt x="216659" y="136980"/>
                  <a:pt x="227530" y="148153"/>
                  <a:pt x="241300" y="148153"/>
                </a:cubicBezTo>
                <a:cubicBezTo>
                  <a:pt x="254707" y="148153"/>
                  <a:pt x="265578" y="136980"/>
                  <a:pt x="265578" y="123645"/>
                </a:cubicBezTo>
                <a:cubicBezTo>
                  <a:pt x="265578" y="110310"/>
                  <a:pt x="254707" y="99138"/>
                  <a:pt x="241300" y="99138"/>
                </a:cubicBezTo>
                <a:close/>
                <a:moveTo>
                  <a:pt x="241300" y="90488"/>
                </a:moveTo>
                <a:cubicBezTo>
                  <a:pt x="259418" y="90488"/>
                  <a:pt x="274275" y="105265"/>
                  <a:pt x="274275" y="123645"/>
                </a:cubicBezTo>
                <a:cubicBezTo>
                  <a:pt x="274275" y="142026"/>
                  <a:pt x="259418" y="156803"/>
                  <a:pt x="241300" y="156803"/>
                </a:cubicBezTo>
                <a:cubicBezTo>
                  <a:pt x="222819" y="156803"/>
                  <a:pt x="207962" y="142026"/>
                  <a:pt x="207962" y="123645"/>
                </a:cubicBezTo>
                <a:cubicBezTo>
                  <a:pt x="207962" y="105265"/>
                  <a:pt x="222819" y="90488"/>
                  <a:pt x="241300" y="90488"/>
                </a:cubicBezTo>
                <a:close/>
                <a:moveTo>
                  <a:pt x="177800" y="57150"/>
                </a:moveTo>
                <a:cubicBezTo>
                  <a:pt x="179998" y="57150"/>
                  <a:pt x="182196" y="59436"/>
                  <a:pt x="182196" y="61722"/>
                </a:cubicBezTo>
                <a:cubicBezTo>
                  <a:pt x="182196" y="64389"/>
                  <a:pt x="179998" y="66294"/>
                  <a:pt x="177800" y="66294"/>
                </a:cubicBezTo>
                <a:cubicBezTo>
                  <a:pt x="175235" y="66294"/>
                  <a:pt x="173037" y="64389"/>
                  <a:pt x="173037" y="61722"/>
                </a:cubicBezTo>
                <a:cubicBezTo>
                  <a:pt x="173037" y="59436"/>
                  <a:pt x="175235" y="57150"/>
                  <a:pt x="177800" y="57150"/>
                </a:cubicBezTo>
                <a:close/>
                <a:moveTo>
                  <a:pt x="109347" y="57150"/>
                </a:moveTo>
                <a:cubicBezTo>
                  <a:pt x="112014" y="57150"/>
                  <a:pt x="113919" y="59436"/>
                  <a:pt x="113919" y="61722"/>
                </a:cubicBezTo>
                <a:cubicBezTo>
                  <a:pt x="113919" y="64389"/>
                  <a:pt x="112014" y="66294"/>
                  <a:pt x="109347" y="66294"/>
                </a:cubicBezTo>
                <a:cubicBezTo>
                  <a:pt x="107061" y="66294"/>
                  <a:pt x="104775" y="64389"/>
                  <a:pt x="104775" y="61722"/>
                </a:cubicBezTo>
                <a:cubicBezTo>
                  <a:pt x="104775" y="59436"/>
                  <a:pt x="107061" y="57150"/>
                  <a:pt x="109347" y="57150"/>
                </a:cubicBezTo>
                <a:close/>
                <a:moveTo>
                  <a:pt x="142695" y="19050"/>
                </a:moveTo>
                <a:cubicBezTo>
                  <a:pt x="145207" y="19050"/>
                  <a:pt x="147002" y="20863"/>
                  <a:pt x="147002" y="23402"/>
                </a:cubicBezTo>
                <a:lnTo>
                  <a:pt x="147002" y="27391"/>
                </a:lnTo>
                <a:cubicBezTo>
                  <a:pt x="153462" y="28842"/>
                  <a:pt x="159205" y="33194"/>
                  <a:pt x="161717" y="38996"/>
                </a:cubicBezTo>
                <a:cubicBezTo>
                  <a:pt x="162435" y="41535"/>
                  <a:pt x="161359" y="43711"/>
                  <a:pt x="159564" y="45162"/>
                </a:cubicBezTo>
                <a:cubicBezTo>
                  <a:pt x="157052" y="45887"/>
                  <a:pt x="154539" y="44799"/>
                  <a:pt x="153821" y="42623"/>
                </a:cubicBezTo>
                <a:cubicBezTo>
                  <a:pt x="152027" y="38634"/>
                  <a:pt x="147720" y="35732"/>
                  <a:pt x="142695" y="35732"/>
                </a:cubicBezTo>
                <a:cubicBezTo>
                  <a:pt x="136235" y="35732"/>
                  <a:pt x="130851" y="40447"/>
                  <a:pt x="130851" y="46250"/>
                </a:cubicBezTo>
                <a:cubicBezTo>
                  <a:pt x="130851" y="53140"/>
                  <a:pt x="134799" y="56404"/>
                  <a:pt x="142695" y="56404"/>
                </a:cubicBezTo>
                <a:cubicBezTo>
                  <a:pt x="157769" y="56404"/>
                  <a:pt x="163153" y="66559"/>
                  <a:pt x="163153" y="75625"/>
                </a:cubicBezTo>
                <a:cubicBezTo>
                  <a:pt x="163153" y="84692"/>
                  <a:pt x="156334" y="92671"/>
                  <a:pt x="147002" y="94484"/>
                </a:cubicBezTo>
                <a:lnTo>
                  <a:pt x="147002" y="98473"/>
                </a:lnTo>
                <a:cubicBezTo>
                  <a:pt x="147002" y="101012"/>
                  <a:pt x="145207" y="102825"/>
                  <a:pt x="142695" y="102825"/>
                </a:cubicBezTo>
                <a:cubicBezTo>
                  <a:pt x="140183" y="102825"/>
                  <a:pt x="138388" y="101012"/>
                  <a:pt x="138388" y="98473"/>
                </a:cubicBezTo>
                <a:lnTo>
                  <a:pt x="138388" y="94121"/>
                </a:lnTo>
                <a:cubicBezTo>
                  <a:pt x="131569" y="93033"/>
                  <a:pt x="126185" y="88681"/>
                  <a:pt x="123673" y="82516"/>
                </a:cubicBezTo>
                <a:cubicBezTo>
                  <a:pt x="122955" y="80340"/>
                  <a:pt x="123673" y="77801"/>
                  <a:pt x="126185" y="77076"/>
                </a:cubicBezTo>
                <a:cubicBezTo>
                  <a:pt x="127980" y="75988"/>
                  <a:pt x="130851" y="77076"/>
                  <a:pt x="131569" y="79252"/>
                </a:cubicBezTo>
                <a:cubicBezTo>
                  <a:pt x="133363" y="83241"/>
                  <a:pt x="138029" y="86143"/>
                  <a:pt x="142695" y="86143"/>
                </a:cubicBezTo>
                <a:cubicBezTo>
                  <a:pt x="149155" y="86143"/>
                  <a:pt x="154539" y="81428"/>
                  <a:pt x="154539" y="75625"/>
                </a:cubicBezTo>
                <a:cubicBezTo>
                  <a:pt x="154539" y="68735"/>
                  <a:pt x="150591" y="65108"/>
                  <a:pt x="142695" y="65108"/>
                </a:cubicBezTo>
                <a:cubicBezTo>
                  <a:pt x="127621" y="65108"/>
                  <a:pt x="122237" y="55316"/>
                  <a:pt x="122237" y="46250"/>
                </a:cubicBezTo>
                <a:cubicBezTo>
                  <a:pt x="122237" y="37183"/>
                  <a:pt x="129415" y="29567"/>
                  <a:pt x="138388" y="27391"/>
                </a:cubicBezTo>
                <a:lnTo>
                  <a:pt x="138388" y="23402"/>
                </a:lnTo>
                <a:cubicBezTo>
                  <a:pt x="138388" y="20863"/>
                  <a:pt x="140183" y="19050"/>
                  <a:pt x="142695" y="19050"/>
                </a:cubicBezTo>
                <a:close/>
                <a:moveTo>
                  <a:pt x="142695" y="8639"/>
                </a:moveTo>
                <a:cubicBezTo>
                  <a:pt x="113264" y="8639"/>
                  <a:pt x="89935" y="32396"/>
                  <a:pt x="89935" y="61552"/>
                </a:cubicBezTo>
                <a:cubicBezTo>
                  <a:pt x="89935" y="90709"/>
                  <a:pt x="113264" y="114826"/>
                  <a:pt x="142695" y="114826"/>
                </a:cubicBezTo>
                <a:cubicBezTo>
                  <a:pt x="171767" y="114826"/>
                  <a:pt x="195814" y="90709"/>
                  <a:pt x="195814" y="61552"/>
                </a:cubicBezTo>
                <a:cubicBezTo>
                  <a:pt x="195814" y="32396"/>
                  <a:pt x="171767" y="8639"/>
                  <a:pt x="142695" y="8639"/>
                </a:cubicBezTo>
                <a:close/>
                <a:moveTo>
                  <a:pt x="142695" y="0"/>
                </a:moveTo>
                <a:cubicBezTo>
                  <a:pt x="176792" y="0"/>
                  <a:pt x="204428" y="27717"/>
                  <a:pt x="204428" y="61552"/>
                </a:cubicBezTo>
                <a:cubicBezTo>
                  <a:pt x="204428" y="95748"/>
                  <a:pt x="176792" y="123465"/>
                  <a:pt x="142695" y="123465"/>
                </a:cubicBezTo>
                <a:cubicBezTo>
                  <a:pt x="108957" y="123465"/>
                  <a:pt x="80962" y="95748"/>
                  <a:pt x="80962" y="61552"/>
                </a:cubicBezTo>
                <a:cubicBezTo>
                  <a:pt x="80962" y="27717"/>
                  <a:pt x="108957" y="0"/>
                  <a:pt x="1426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B2B197-C769-1FA4-C32D-971527B96F09}"/>
              </a:ext>
            </a:extLst>
          </p:cNvPr>
          <p:cNvGrpSpPr/>
          <p:nvPr/>
        </p:nvGrpSpPr>
        <p:grpSpPr>
          <a:xfrm>
            <a:off x="8542721" y="2980909"/>
            <a:ext cx="3277804" cy="1745328"/>
            <a:chOff x="7707320" y="2980909"/>
            <a:chExt cx="4113205" cy="1745328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DF72D01-0AA0-AC4F-DD67-F20ECE37A9F5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93D0C0F7-4F6B-EB50-D0BC-E29C9009EB06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A828CC7F-19EA-1E63-81C1-36AE85F697E8}"/>
              </a:ext>
            </a:extLst>
          </p:cNvPr>
          <p:cNvGrpSpPr/>
          <p:nvPr/>
        </p:nvGrpSpPr>
        <p:grpSpPr>
          <a:xfrm>
            <a:off x="384175" y="2980909"/>
            <a:ext cx="3287772" cy="1745328"/>
            <a:chOff x="384174" y="2980909"/>
            <a:chExt cx="4113205" cy="1745328"/>
          </a:xfrm>
        </p:grpSpPr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C378964-7347-BA70-8705-EB119F1A3A7E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2CD6CB03-BF9B-2B60-C11B-4F29EB25F604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25">
            <a:extLst>
              <a:ext uri="{FF2B5EF4-FFF2-40B4-BE49-F238E27FC236}">
                <a16:creationId xmlns:a16="http://schemas.microsoft.com/office/drawing/2014/main" id="{D1B0F98F-828F-EB2E-1537-2AB1A1C2CDA0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2" name="TextBox 25">
            <a:extLst>
              <a:ext uri="{FF2B5EF4-FFF2-40B4-BE49-F238E27FC236}">
                <a16:creationId xmlns:a16="http://schemas.microsoft.com/office/drawing/2014/main" id="{247BBEC1-481E-DBBA-529F-3ABD05279BA0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A6A77421-F85B-F920-38CB-9E84D4053BA1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C1E73F7B-E33B-76E8-719C-A27520904F36}"/>
              </a:ext>
            </a:extLst>
          </p:cNvPr>
          <p:cNvSpPr txBox="1"/>
          <p:nvPr/>
        </p:nvSpPr>
        <p:spPr>
          <a:xfrm>
            <a:off x="8542721" y="3543303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DBCF3C1D-318B-03C1-595C-81D1A15BFE1F}"/>
              </a:ext>
            </a:extLst>
          </p:cNvPr>
          <p:cNvSpPr txBox="1"/>
          <p:nvPr/>
        </p:nvSpPr>
        <p:spPr>
          <a:xfrm>
            <a:off x="8528833" y="2099791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2CC6BAC0-BD1F-B68C-D1D9-E6045FC82530}"/>
              </a:ext>
            </a:extLst>
          </p:cNvPr>
          <p:cNvSpPr txBox="1"/>
          <p:nvPr/>
        </p:nvSpPr>
        <p:spPr>
          <a:xfrm>
            <a:off x="8542721" y="5140244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29CB3A-DD40-3183-49A8-127C33783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4" name="Título 23">
            <a:extLst>
              <a:ext uri="{FF2B5EF4-FFF2-40B4-BE49-F238E27FC236}">
                <a16:creationId xmlns:a16="http://schemas.microsoft.com/office/drawing/2014/main" id="{0543BF6B-1323-0338-86C3-39A6C6D61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Circular process</a:t>
            </a:r>
          </a:p>
        </p:txBody>
      </p:sp>
    </p:spTree>
    <p:extLst>
      <p:ext uri="{BB962C8B-B14F-4D97-AF65-F5344CB8AC3E}">
        <p14:creationId xmlns:p14="http://schemas.microsoft.com/office/powerpoint/2010/main" val="95694625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09382C0E-31B4-30BD-AB2E-997FFA674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6466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09382C0E-31B4-30BD-AB2E-997FFA674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A97EDA11-A44B-2D21-B009-1862F62BE9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B2B197-C769-1FA4-C32D-971527B96F09}"/>
              </a:ext>
            </a:extLst>
          </p:cNvPr>
          <p:cNvGrpSpPr/>
          <p:nvPr/>
        </p:nvGrpSpPr>
        <p:grpSpPr>
          <a:xfrm>
            <a:off x="8542721" y="2980909"/>
            <a:ext cx="3277804" cy="1745328"/>
            <a:chOff x="7707320" y="2980909"/>
            <a:chExt cx="4113205" cy="1745328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DF72D01-0AA0-AC4F-DD67-F20ECE37A9F5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93D0C0F7-4F6B-EB50-D0BC-E29C9009EB06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A828CC7F-19EA-1E63-81C1-36AE85F697E8}"/>
              </a:ext>
            </a:extLst>
          </p:cNvPr>
          <p:cNvGrpSpPr/>
          <p:nvPr/>
        </p:nvGrpSpPr>
        <p:grpSpPr>
          <a:xfrm>
            <a:off x="384175" y="2980909"/>
            <a:ext cx="3287772" cy="1745328"/>
            <a:chOff x="384174" y="2980909"/>
            <a:chExt cx="4113205" cy="1745328"/>
          </a:xfrm>
        </p:grpSpPr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C378964-7347-BA70-8705-EB119F1A3A7E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2CD6CB03-BF9B-2B60-C11B-4F29EB25F604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25">
            <a:extLst>
              <a:ext uri="{FF2B5EF4-FFF2-40B4-BE49-F238E27FC236}">
                <a16:creationId xmlns:a16="http://schemas.microsoft.com/office/drawing/2014/main" id="{D1B0F98F-828F-EB2E-1537-2AB1A1C2CDA0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2" name="TextBox 25">
            <a:extLst>
              <a:ext uri="{FF2B5EF4-FFF2-40B4-BE49-F238E27FC236}">
                <a16:creationId xmlns:a16="http://schemas.microsoft.com/office/drawing/2014/main" id="{247BBEC1-481E-DBBA-529F-3ABD05279BA0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A6A77421-F85B-F920-38CB-9E84D4053BA1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C1E73F7B-E33B-76E8-719C-A27520904F36}"/>
              </a:ext>
            </a:extLst>
          </p:cNvPr>
          <p:cNvSpPr txBox="1"/>
          <p:nvPr/>
        </p:nvSpPr>
        <p:spPr>
          <a:xfrm>
            <a:off x="8542721" y="3543303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DBCF3C1D-318B-03C1-595C-81D1A15BFE1F}"/>
              </a:ext>
            </a:extLst>
          </p:cNvPr>
          <p:cNvSpPr txBox="1"/>
          <p:nvPr/>
        </p:nvSpPr>
        <p:spPr>
          <a:xfrm>
            <a:off x="8528833" y="2099791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2CC6BAC0-BD1F-B68C-D1D9-E6045FC82530}"/>
              </a:ext>
            </a:extLst>
          </p:cNvPr>
          <p:cNvSpPr txBox="1"/>
          <p:nvPr/>
        </p:nvSpPr>
        <p:spPr>
          <a:xfrm>
            <a:off x="8542721" y="5140244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2" name="Freeform 15">
            <a:extLst>
              <a:ext uri="{FF2B5EF4-FFF2-40B4-BE49-F238E27FC236}">
                <a16:creationId xmlns:a16="http://schemas.microsoft.com/office/drawing/2014/main" id="{68FD5000-627B-C37C-1A18-AD491457A572}"/>
              </a:ext>
            </a:extLst>
          </p:cNvPr>
          <p:cNvSpPr/>
          <p:nvPr/>
        </p:nvSpPr>
        <p:spPr>
          <a:xfrm rot="5400000">
            <a:off x="6119214" y="2824406"/>
            <a:ext cx="1482555" cy="1482555"/>
          </a:xfrm>
          <a:custGeom>
            <a:avLst/>
            <a:gdLst>
              <a:gd name="connsiteX0" fmla="*/ 0 w 4610387"/>
              <a:gd name="connsiteY0" fmla="*/ 0 h 4610386"/>
              <a:gd name="connsiteX1" fmla="*/ 168871 w 4610387"/>
              <a:gd name="connsiteY1" fmla="*/ 4270 h 4610386"/>
              <a:gd name="connsiteX2" fmla="*/ 4606117 w 4610387"/>
              <a:gd name="connsiteY2" fmla="*/ 4441516 h 4610386"/>
              <a:gd name="connsiteX3" fmla="*/ 4610387 w 4610387"/>
              <a:gd name="connsiteY3" fmla="*/ 4610386 h 4610386"/>
              <a:gd name="connsiteX4" fmla="*/ 1999450 w 4610387"/>
              <a:gd name="connsiteY4" fmla="*/ 4610386 h 4610386"/>
              <a:gd name="connsiteX5" fmla="*/ 1992381 w 4610387"/>
              <a:gd name="connsiteY5" fmla="*/ 4470389 h 4610386"/>
              <a:gd name="connsiteX6" fmla="*/ 139998 w 4610387"/>
              <a:gd name="connsiteY6" fmla="*/ 2618006 h 4610386"/>
              <a:gd name="connsiteX7" fmla="*/ 0 w 4610387"/>
              <a:gd name="connsiteY7" fmla="*/ 2610937 h 4610386"/>
              <a:gd name="connsiteX8" fmla="*/ 0 w 4610387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6">
                <a:moveTo>
                  <a:pt x="0" y="0"/>
                </a:moveTo>
                <a:lnTo>
                  <a:pt x="168871" y="4270"/>
                </a:lnTo>
                <a:cubicBezTo>
                  <a:pt x="2564125" y="125686"/>
                  <a:pt x="4484701" y="2046262"/>
                  <a:pt x="4606117" y="4441516"/>
                </a:cubicBezTo>
                <a:lnTo>
                  <a:pt x="4610387" y="4610386"/>
                </a:lnTo>
                <a:lnTo>
                  <a:pt x="1999450" y="4610386"/>
                </a:lnTo>
                <a:lnTo>
                  <a:pt x="1992381" y="4470389"/>
                </a:lnTo>
                <a:cubicBezTo>
                  <a:pt x="1893190" y="3493681"/>
                  <a:pt x="1116707" y="2717197"/>
                  <a:pt x="139998" y="2618006"/>
                </a:cubicBezTo>
                <a:lnTo>
                  <a:pt x="0" y="26109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Freeform 14">
            <a:extLst>
              <a:ext uri="{FF2B5EF4-FFF2-40B4-BE49-F238E27FC236}">
                <a16:creationId xmlns:a16="http://schemas.microsoft.com/office/drawing/2014/main" id="{00B6F0E8-901D-9C6D-BE15-5E054726C585}"/>
              </a:ext>
            </a:extLst>
          </p:cNvPr>
          <p:cNvSpPr/>
          <p:nvPr/>
        </p:nvSpPr>
        <p:spPr>
          <a:xfrm rot="5400000">
            <a:off x="6119215" y="1295424"/>
            <a:ext cx="1482554" cy="1482555"/>
          </a:xfrm>
          <a:custGeom>
            <a:avLst/>
            <a:gdLst>
              <a:gd name="connsiteX0" fmla="*/ 4610384 w 4610384"/>
              <a:gd name="connsiteY0" fmla="*/ 0 h 4610386"/>
              <a:gd name="connsiteX1" fmla="*/ 4610384 w 4610384"/>
              <a:gd name="connsiteY1" fmla="*/ 2610937 h 4610386"/>
              <a:gd name="connsiteX2" fmla="*/ 4470389 w 4610384"/>
              <a:gd name="connsiteY2" fmla="*/ 2618006 h 4610386"/>
              <a:gd name="connsiteX3" fmla="*/ 2618006 w 4610384"/>
              <a:gd name="connsiteY3" fmla="*/ 4470389 h 4610386"/>
              <a:gd name="connsiteX4" fmla="*/ 2610937 w 4610384"/>
              <a:gd name="connsiteY4" fmla="*/ 4610386 h 4610386"/>
              <a:gd name="connsiteX5" fmla="*/ 0 w 4610384"/>
              <a:gd name="connsiteY5" fmla="*/ 4610386 h 4610386"/>
              <a:gd name="connsiteX6" fmla="*/ 4270 w 4610384"/>
              <a:gd name="connsiteY6" fmla="*/ 4441516 h 4610386"/>
              <a:gd name="connsiteX7" fmla="*/ 4441516 w 4610384"/>
              <a:gd name="connsiteY7" fmla="*/ 4270 h 4610386"/>
              <a:gd name="connsiteX8" fmla="*/ 4610384 w 4610384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6">
                <a:moveTo>
                  <a:pt x="4610384" y="0"/>
                </a:moveTo>
                <a:lnTo>
                  <a:pt x="4610384" y="2610937"/>
                </a:lnTo>
                <a:lnTo>
                  <a:pt x="4470389" y="2618006"/>
                </a:lnTo>
                <a:cubicBezTo>
                  <a:pt x="3493681" y="2717197"/>
                  <a:pt x="2717197" y="3493681"/>
                  <a:pt x="2618006" y="4470389"/>
                </a:cubicBezTo>
                <a:lnTo>
                  <a:pt x="2610937" y="4610386"/>
                </a:lnTo>
                <a:lnTo>
                  <a:pt x="0" y="4610386"/>
                </a:lnTo>
                <a:lnTo>
                  <a:pt x="4270" y="4441516"/>
                </a:lnTo>
                <a:cubicBezTo>
                  <a:pt x="125686" y="2046262"/>
                  <a:pt x="2046262" y="125686"/>
                  <a:pt x="4441516" y="4270"/>
                </a:cubicBezTo>
                <a:lnTo>
                  <a:pt x="4610384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FA8DEB36-B5A5-BE25-E0C8-1EFD437CAA1B}"/>
              </a:ext>
            </a:extLst>
          </p:cNvPr>
          <p:cNvSpPr/>
          <p:nvPr/>
        </p:nvSpPr>
        <p:spPr>
          <a:xfrm rot="5400000">
            <a:off x="4590233" y="1295424"/>
            <a:ext cx="1482554" cy="1482554"/>
          </a:xfrm>
          <a:custGeom>
            <a:avLst/>
            <a:gdLst>
              <a:gd name="connsiteX0" fmla="*/ 0 w 4610384"/>
              <a:gd name="connsiteY0" fmla="*/ 0 h 4610385"/>
              <a:gd name="connsiteX1" fmla="*/ 2610937 w 4610384"/>
              <a:gd name="connsiteY1" fmla="*/ 0 h 4610385"/>
              <a:gd name="connsiteX2" fmla="*/ 2618006 w 4610384"/>
              <a:gd name="connsiteY2" fmla="*/ 139996 h 4610385"/>
              <a:gd name="connsiteX3" fmla="*/ 4470389 w 4610384"/>
              <a:gd name="connsiteY3" fmla="*/ 1992379 h 4610385"/>
              <a:gd name="connsiteX4" fmla="*/ 4610384 w 4610384"/>
              <a:gd name="connsiteY4" fmla="*/ 1999448 h 4610385"/>
              <a:gd name="connsiteX5" fmla="*/ 4610384 w 4610384"/>
              <a:gd name="connsiteY5" fmla="*/ 4610385 h 4610385"/>
              <a:gd name="connsiteX6" fmla="*/ 4441516 w 4610384"/>
              <a:gd name="connsiteY6" fmla="*/ 4606115 h 4610385"/>
              <a:gd name="connsiteX7" fmla="*/ 4270 w 4610384"/>
              <a:gd name="connsiteY7" fmla="*/ 168869 h 4610385"/>
              <a:gd name="connsiteX8" fmla="*/ 0 w 4610384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5">
                <a:moveTo>
                  <a:pt x="0" y="0"/>
                </a:moveTo>
                <a:lnTo>
                  <a:pt x="2610937" y="0"/>
                </a:lnTo>
                <a:lnTo>
                  <a:pt x="2618006" y="139996"/>
                </a:lnTo>
                <a:cubicBezTo>
                  <a:pt x="2717197" y="1116705"/>
                  <a:pt x="3493681" y="1893188"/>
                  <a:pt x="4470389" y="1992379"/>
                </a:cubicBezTo>
                <a:lnTo>
                  <a:pt x="4610384" y="1999448"/>
                </a:lnTo>
                <a:lnTo>
                  <a:pt x="4610384" y="4610385"/>
                </a:lnTo>
                <a:lnTo>
                  <a:pt x="4441516" y="4606115"/>
                </a:lnTo>
                <a:cubicBezTo>
                  <a:pt x="2046262" y="4484699"/>
                  <a:pt x="125686" y="2564123"/>
                  <a:pt x="4270" y="168869"/>
                </a:cubicBez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Freeform 27">
            <a:extLst>
              <a:ext uri="{FF2B5EF4-FFF2-40B4-BE49-F238E27FC236}">
                <a16:creationId xmlns:a16="http://schemas.microsoft.com/office/drawing/2014/main" id="{45A2EC68-4D3F-3806-64FC-0FE5A0DAE3F4}"/>
              </a:ext>
            </a:extLst>
          </p:cNvPr>
          <p:cNvSpPr/>
          <p:nvPr/>
        </p:nvSpPr>
        <p:spPr>
          <a:xfrm rot="5400000">
            <a:off x="6119214" y="4994445"/>
            <a:ext cx="1482555" cy="1482555"/>
          </a:xfrm>
          <a:custGeom>
            <a:avLst/>
            <a:gdLst>
              <a:gd name="connsiteX0" fmla="*/ 0 w 4610387"/>
              <a:gd name="connsiteY0" fmla="*/ 0 h 4610386"/>
              <a:gd name="connsiteX1" fmla="*/ 168871 w 4610387"/>
              <a:gd name="connsiteY1" fmla="*/ 4270 h 4610386"/>
              <a:gd name="connsiteX2" fmla="*/ 4606117 w 4610387"/>
              <a:gd name="connsiteY2" fmla="*/ 4441516 h 4610386"/>
              <a:gd name="connsiteX3" fmla="*/ 4610387 w 4610387"/>
              <a:gd name="connsiteY3" fmla="*/ 4610386 h 4610386"/>
              <a:gd name="connsiteX4" fmla="*/ 1999450 w 4610387"/>
              <a:gd name="connsiteY4" fmla="*/ 4610386 h 4610386"/>
              <a:gd name="connsiteX5" fmla="*/ 1992381 w 4610387"/>
              <a:gd name="connsiteY5" fmla="*/ 4470389 h 4610386"/>
              <a:gd name="connsiteX6" fmla="*/ 139998 w 4610387"/>
              <a:gd name="connsiteY6" fmla="*/ 2618006 h 4610386"/>
              <a:gd name="connsiteX7" fmla="*/ 0 w 4610387"/>
              <a:gd name="connsiteY7" fmla="*/ 2610937 h 4610386"/>
              <a:gd name="connsiteX8" fmla="*/ 0 w 4610387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6">
                <a:moveTo>
                  <a:pt x="0" y="0"/>
                </a:moveTo>
                <a:lnTo>
                  <a:pt x="168871" y="4270"/>
                </a:lnTo>
                <a:cubicBezTo>
                  <a:pt x="2564125" y="125686"/>
                  <a:pt x="4484701" y="2046262"/>
                  <a:pt x="4606117" y="4441516"/>
                </a:cubicBezTo>
                <a:lnTo>
                  <a:pt x="4610387" y="4610386"/>
                </a:lnTo>
                <a:lnTo>
                  <a:pt x="1999450" y="4610386"/>
                </a:lnTo>
                <a:lnTo>
                  <a:pt x="1992381" y="4470389"/>
                </a:lnTo>
                <a:cubicBezTo>
                  <a:pt x="1893190" y="3493681"/>
                  <a:pt x="1116707" y="2717197"/>
                  <a:pt x="139998" y="2618006"/>
                </a:cubicBezTo>
                <a:lnTo>
                  <a:pt x="0" y="26109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Freeform 29">
            <a:extLst>
              <a:ext uri="{FF2B5EF4-FFF2-40B4-BE49-F238E27FC236}">
                <a16:creationId xmlns:a16="http://schemas.microsoft.com/office/drawing/2014/main" id="{6CB78D8A-56EA-A81E-20B5-E9F4387F35BF}"/>
              </a:ext>
            </a:extLst>
          </p:cNvPr>
          <p:cNvSpPr/>
          <p:nvPr/>
        </p:nvSpPr>
        <p:spPr>
          <a:xfrm rot="5400000">
            <a:off x="4590233" y="3465464"/>
            <a:ext cx="1482554" cy="1482554"/>
          </a:xfrm>
          <a:custGeom>
            <a:avLst/>
            <a:gdLst>
              <a:gd name="connsiteX0" fmla="*/ 0 w 4610384"/>
              <a:gd name="connsiteY0" fmla="*/ 0 h 4610385"/>
              <a:gd name="connsiteX1" fmla="*/ 2610937 w 4610384"/>
              <a:gd name="connsiteY1" fmla="*/ 0 h 4610385"/>
              <a:gd name="connsiteX2" fmla="*/ 2618006 w 4610384"/>
              <a:gd name="connsiteY2" fmla="*/ 139996 h 4610385"/>
              <a:gd name="connsiteX3" fmla="*/ 4470389 w 4610384"/>
              <a:gd name="connsiteY3" fmla="*/ 1992379 h 4610385"/>
              <a:gd name="connsiteX4" fmla="*/ 4610384 w 4610384"/>
              <a:gd name="connsiteY4" fmla="*/ 1999448 h 4610385"/>
              <a:gd name="connsiteX5" fmla="*/ 4610384 w 4610384"/>
              <a:gd name="connsiteY5" fmla="*/ 4610385 h 4610385"/>
              <a:gd name="connsiteX6" fmla="*/ 4441516 w 4610384"/>
              <a:gd name="connsiteY6" fmla="*/ 4606115 h 4610385"/>
              <a:gd name="connsiteX7" fmla="*/ 4270 w 4610384"/>
              <a:gd name="connsiteY7" fmla="*/ 168869 h 4610385"/>
              <a:gd name="connsiteX8" fmla="*/ 0 w 4610384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5">
                <a:moveTo>
                  <a:pt x="0" y="0"/>
                </a:moveTo>
                <a:lnTo>
                  <a:pt x="2610937" y="0"/>
                </a:lnTo>
                <a:lnTo>
                  <a:pt x="2618006" y="139996"/>
                </a:lnTo>
                <a:cubicBezTo>
                  <a:pt x="2717197" y="1116705"/>
                  <a:pt x="3493681" y="1893188"/>
                  <a:pt x="4470389" y="1992379"/>
                </a:cubicBezTo>
                <a:lnTo>
                  <a:pt x="4610384" y="1999448"/>
                </a:lnTo>
                <a:lnTo>
                  <a:pt x="4610384" y="4610385"/>
                </a:lnTo>
                <a:lnTo>
                  <a:pt x="4441516" y="4606115"/>
                </a:lnTo>
                <a:cubicBezTo>
                  <a:pt x="2046262" y="4484699"/>
                  <a:pt x="125686" y="2564123"/>
                  <a:pt x="4270" y="16886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Freeform 30">
            <a:extLst>
              <a:ext uri="{FF2B5EF4-FFF2-40B4-BE49-F238E27FC236}">
                <a16:creationId xmlns:a16="http://schemas.microsoft.com/office/drawing/2014/main" id="{EF73C607-48B1-7377-4E5D-E6B5DE7E4AC1}"/>
              </a:ext>
            </a:extLst>
          </p:cNvPr>
          <p:cNvSpPr/>
          <p:nvPr/>
        </p:nvSpPr>
        <p:spPr>
          <a:xfrm rot="5400000">
            <a:off x="4590232" y="4994445"/>
            <a:ext cx="1482555" cy="1482554"/>
          </a:xfrm>
          <a:custGeom>
            <a:avLst/>
            <a:gdLst>
              <a:gd name="connsiteX0" fmla="*/ 1999450 w 4610387"/>
              <a:gd name="connsiteY0" fmla="*/ 0 h 4610385"/>
              <a:gd name="connsiteX1" fmla="*/ 4610387 w 4610387"/>
              <a:gd name="connsiteY1" fmla="*/ 0 h 4610385"/>
              <a:gd name="connsiteX2" fmla="*/ 4606117 w 4610387"/>
              <a:gd name="connsiteY2" fmla="*/ 168869 h 4610385"/>
              <a:gd name="connsiteX3" fmla="*/ 168871 w 4610387"/>
              <a:gd name="connsiteY3" fmla="*/ 4606115 h 4610385"/>
              <a:gd name="connsiteX4" fmla="*/ 0 w 4610387"/>
              <a:gd name="connsiteY4" fmla="*/ 4610385 h 4610385"/>
              <a:gd name="connsiteX5" fmla="*/ 0 w 4610387"/>
              <a:gd name="connsiteY5" fmla="*/ 1999448 h 4610385"/>
              <a:gd name="connsiteX6" fmla="*/ 139998 w 4610387"/>
              <a:gd name="connsiteY6" fmla="*/ 1992379 h 4610385"/>
              <a:gd name="connsiteX7" fmla="*/ 1992381 w 4610387"/>
              <a:gd name="connsiteY7" fmla="*/ 139996 h 4610385"/>
              <a:gd name="connsiteX8" fmla="*/ 1999450 w 4610387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5">
                <a:moveTo>
                  <a:pt x="1999450" y="0"/>
                </a:moveTo>
                <a:lnTo>
                  <a:pt x="4610387" y="0"/>
                </a:lnTo>
                <a:lnTo>
                  <a:pt x="4606117" y="168869"/>
                </a:lnTo>
                <a:cubicBezTo>
                  <a:pt x="4484701" y="2564123"/>
                  <a:pt x="2564125" y="4484699"/>
                  <a:pt x="168871" y="4606115"/>
                </a:cubicBezTo>
                <a:lnTo>
                  <a:pt x="0" y="4610385"/>
                </a:lnTo>
                <a:lnTo>
                  <a:pt x="0" y="1999448"/>
                </a:lnTo>
                <a:lnTo>
                  <a:pt x="139998" y="1992379"/>
                </a:lnTo>
                <a:cubicBezTo>
                  <a:pt x="1116707" y="1893188"/>
                  <a:pt x="1893190" y="1116705"/>
                  <a:pt x="1992381" y="139996"/>
                </a:cubicBezTo>
                <a:lnTo>
                  <a:pt x="199945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Freeform 976">
            <a:extLst>
              <a:ext uri="{FF2B5EF4-FFF2-40B4-BE49-F238E27FC236}">
                <a16:creationId xmlns:a16="http://schemas.microsoft.com/office/drawing/2014/main" id="{2A4B4DC0-BFCC-FDEE-B046-1DAD195D525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9373" y="5540073"/>
            <a:ext cx="386615" cy="388957"/>
          </a:xfrm>
          <a:custGeom>
            <a:avLst/>
            <a:gdLst>
              <a:gd name="T0" fmla="*/ 2665413 w 288565"/>
              <a:gd name="T1" fmla="*/ 5564652 h 290375"/>
              <a:gd name="T2" fmla="*/ 5084255 w 288565"/>
              <a:gd name="T3" fmla="*/ 5173107 h 290375"/>
              <a:gd name="T4" fmla="*/ 2923043 w 288565"/>
              <a:gd name="T5" fmla="*/ 5173107 h 290375"/>
              <a:gd name="T6" fmla="*/ 4798003 w 288565"/>
              <a:gd name="T7" fmla="*/ 5002233 h 290375"/>
              <a:gd name="T8" fmla="*/ 3667290 w 288565"/>
              <a:gd name="T9" fmla="*/ 2930558 h 290375"/>
              <a:gd name="T10" fmla="*/ 4347172 w 288565"/>
              <a:gd name="T11" fmla="*/ 2930558 h 290375"/>
              <a:gd name="T12" fmla="*/ 2386458 w 288565"/>
              <a:gd name="T13" fmla="*/ 2629569 h 290375"/>
              <a:gd name="T14" fmla="*/ 2689951 w 288565"/>
              <a:gd name="T15" fmla="*/ 3120212 h 290375"/>
              <a:gd name="T16" fmla="*/ 2003488 w 288565"/>
              <a:gd name="T17" fmla="*/ 3155780 h 290375"/>
              <a:gd name="T18" fmla="*/ 2386458 w 288565"/>
              <a:gd name="T19" fmla="*/ 4250779 h 290375"/>
              <a:gd name="T20" fmla="*/ 2213041 w 288565"/>
              <a:gd name="T21" fmla="*/ 4364557 h 290375"/>
              <a:gd name="T22" fmla="*/ 1909549 w 288565"/>
              <a:gd name="T23" fmla="*/ 3873911 h 290375"/>
              <a:gd name="T24" fmla="*/ 2588788 w 288565"/>
              <a:gd name="T25" fmla="*/ 3838380 h 290375"/>
              <a:gd name="T26" fmla="*/ 2213041 w 288565"/>
              <a:gd name="T27" fmla="*/ 2743368 h 290375"/>
              <a:gd name="T28" fmla="*/ 3488401 w 288565"/>
              <a:gd name="T29" fmla="*/ 2076193 h 290375"/>
              <a:gd name="T30" fmla="*/ 4526059 w 288565"/>
              <a:gd name="T31" fmla="*/ 2076193 h 290375"/>
              <a:gd name="T32" fmla="*/ 4096667 w 288565"/>
              <a:gd name="T33" fmla="*/ 1563620 h 290375"/>
              <a:gd name="T34" fmla="*/ 4719294 w 288565"/>
              <a:gd name="T35" fmla="*/ 1940933 h 290375"/>
              <a:gd name="T36" fmla="*/ 4647722 w 288565"/>
              <a:gd name="T37" fmla="*/ 2759613 h 290375"/>
              <a:gd name="T38" fmla="*/ 4526059 w 288565"/>
              <a:gd name="T39" fmla="*/ 2930558 h 290375"/>
              <a:gd name="T40" fmla="*/ 4740758 w 288565"/>
              <a:gd name="T41" fmla="*/ 3414580 h 290375"/>
              <a:gd name="T42" fmla="*/ 5041305 w 288565"/>
              <a:gd name="T43" fmla="*/ 5002233 h 290375"/>
              <a:gd name="T44" fmla="*/ 5520813 w 288565"/>
              <a:gd name="T45" fmla="*/ 5564652 h 290375"/>
              <a:gd name="T46" fmla="*/ 5649590 w 288565"/>
              <a:gd name="T47" fmla="*/ 5735516 h 290375"/>
              <a:gd name="T48" fmla="*/ 2357709 w 288565"/>
              <a:gd name="T49" fmla="*/ 5564652 h 290375"/>
              <a:gd name="T50" fmla="*/ 2923043 w 288565"/>
              <a:gd name="T51" fmla="*/ 5002233 h 290375"/>
              <a:gd name="T52" fmla="*/ 3359581 w 288565"/>
              <a:gd name="T53" fmla="*/ 3500006 h 290375"/>
              <a:gd name="T54" fmla="*/ 3488401 w 288565"/>
              <a:gd name="T55" fmla="*/ 3329161 h 290375"/>
              <a:gd name="T56" fmla="*/ 3273697 w 288565"/>
              <a:gd name="T57" fmla="*/ 2845075 h 290375"/>
              <a:gd name="T58" fmla="*/ 3280848 w 288565"/>
              <a:gd name="T59" fmla="*/ 2019265 h 290375"/>
              <a:gd name="T60" fmla="*/ 3917770 w 288565"/>
              <a:gd name="T61" fmla="*/ 1905323 h 290375"/>
              <a:gd name="T62" fmla="*/ 1652320 w 288565"/>
              <a:gd name="T63" fmla="*/ 185772 h 290375"/>
              <a:gd name="T64" fmla="*/ 1773915 w 288565"/>
              <a:gd name="T65" fmla="*/ 1249759 h 290375"/>
              <a:gd name="T66" fmla="*/ 2024287 w 288565"/>
              <a:gd name="T67" fmla="*/ 703623 h 290375"/>
              <a:gd name="T68" fmla="*/ 2310396 w 288565"/>
              <a:gd name="T69" fmla="*/ 1455466 h 290375"/>
              <a:gd name="T70" fmla="*/ 2596513 w 288565"/>
              <a:gd name="T71" fmla="*/ 703623 h 290375"/>
              <a:gd name="T72" fmla="*/ 2846874 w 288565"/>
              <a:gd name="T73" fmla="*/ 1249759 h 290375"/>
              <a:gd name="T74" fmla="*/ 2961315 w 288565"/>
              <a:gd name="T75" fmla="*/ 185772 h 290375"/>
              <a:gd name="T76" fmla="*/ 1652320 w 288565"/>
              <a:gd name="T77" fmla="*/ 185772 h 290375"/>
              <a:gd name="T78" fmla="*/ 2482062 w 288565"/>
              <a:gd name="T79" fmla="*/ 178702 h 290375"/>
              <a:gd name="T80" fmla="*/ 3318958 w 288565"/>
              <a:gd name="T81" fmla="*/ 419879 h 290375"/>
              <a:gd name="T82" fmla="*/ 3333262 w 288565"/>
              <a:gd name="T83" fmla="*/ 1689577 h 290375"/>
              <a:gd name="T84" fmla="*/ 2310396 w 288565"/>
              <a:gd name="T85" fmla="*/ 1625684 h 290375"/>
              <a:gd name="T86" fmla="*/ 279007 w 288565"/>
              <a:gd name="T87" fmla="*/ 5023246 h 290375"/>
              <a:gd name="T88" fmla="*/ 1981363 w 288565"/>
              <a:gd name="T89" fmla="*/ 5526860 h 290375"/>
              <a:gd name="T90" fmla="*/ 1766759 w 288565"/>
              <a:gd name="T91" fmla="*/ 5704168 h 290375"/>
              <a:gd name="T92" fmla="*/ 0 w 288565"/>
              <a:gd name="T93" fmla="*/ 5477223 h 290375"/>
              <a:gd name="T94" fmla="*/ 1587950 w 288565"/>
              <a:gd name="T95" fmla="*/ 1263900 h 290375"/>
              <a:gd name="T96" fmla="*/ 1716688 w 288565"/>
              <a:gd name="T97" fmla="*/ 22748 h 29037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288565" h="290375">
                <a:moveTo>
                  <a:pt x="147065" y="261900"/>
                </a:moveTo>
                <a:cubicBezTo>
                  <a:pt x="139864" y="261900"/>
                  <a:pt x="134103" y="267667"/>
                  <a:pt x="134103" y="274876"/>
                </a:cubicBezTo>
                <a:lnTo>
                  <a:pt x="134103" y="281724"/>
                </a:lnTo>
                <a:lnTo>
                  <a:pt x="269122" y="281724"/>
                </a:lnTo>
                <a:lnTo>
                  <a:pt x="269122" y="274876"/>
                </a:lnTo>
                <a:cubicBezTo>
                  <a:pt x="269122" y="267667"/>
                  <a:pt x="263361" y="261900"/>
                  <a:pt x="255800" y="261900"/>
                </a:cubicBezTo>
                <a:lnTo>
                  <a:pt x="251840" y="261900"/>
                </a:lnTo>
                <a:lnTo>
                  <a:pt x="151385" y="261900"/>
                </a:lnTo>
                <a:lnTo>
                  <a:pt x="147065" y="261900"/>
                </a:lnTo>
                <a:close/>
                <a:moveTo>
                  <a:pt x="184150" y="177198"/>
                </a:moveTo>
                <a:cubicBezTo>
                  <a:pt x="183430" y="218648"/>
                  <a:pt x="170468" y="242077"/>
                  <a:pt x="161467" y="253250"/>
                </a:cubicBezTo>
                <a:lnTo>
                  <a:pt x="241398" y="253250"/>
                </a:lnTo>
                <a:cubicBezTo>
                  <a:pt x="232757" y="242077"/>
                  <a:pt x="219795" y="218648"/>
                  <a:pt x="219075" y="177198"/>
                </a:cubicBezTo>
                <a:lnTo>
                  <a:pt x="184150" y="177198"/>
                </a:lnTo>
                <a:close/>
                <a:moveTo>
                  <a:pt x="184510" y="148364"/>
                </a:moveTo>
                <a:lnTo>
                  <a:pt x="184510" y="168548"/>
                </a:lnTo>
                <a:lnTo>
                  <a:pt x="218715" y="168548"/>
                </a:lnTo>
                <a:lnTo>
                  <a:pt x="218715" y="148364"/>
                </a:lnTo>
                <a:lnTo>
                  <a:pt x="184510" y="148364"/>
                </a:lnTo>
                <a:close/>
                <a:moveTo>
                  <a:pt x="115706" y="128810"/>
                </a:moveTo>
                <a:cubicBezTo>
                  <a:pt x="118251" y="128810"/>
                  <a:pt x="120068" y="130610"/>
                  <a:pt x="120068" y="133130"/>
                </a:cubicBezTo>
                <a:lnTo>
                  <a:pt x="120068" y="138890"/>
                </a:lnTo>
                <a:cubicBezTo>
                  <a:pt x="128067" y="139970"/>
                  <a:pt x="134610" y="145010"/>
                  <a:pt x="137519" y="152209"/>
                </a:cubicBezTo>
                <a:cubicBezTo>
                  <a:pt x="138609" y="154369"/>
                  <a:pt x="137519" y="156889"/>
                  <a:pt x="135338" y="157969"/>
                </a:cubicBezTo>
                <a:cubicBezTo>
                  <a:pt x="132793" y="158689"/>
                  <a:pt x="130248" y="157609"/>
                  <a:pt x="129521" y="155449"/>
                </a:cubicBezTo>
                <a:cubicBezTo>
                  <a:pt x="127339" y="150409"/>
                  <a:pt x="121886" y="147170"/>
                  <a:pt x="115706" y="147170"/>
                </a:cubicBezTo>
                <a:cubicBezTo>
                  <a:pt x="107344" y="147170"/>
                  <a:pt x="100800" y="152569"/>
                  <a:pt x="100800" y="159769"/>
                </a:cubicBezTo>
                <a:cubicBezTo>
                  <a:pt x="100800" y="165529"/>
                  <a:pt x="103345" y="172729"/>
                  <a:pt x="115706" y="172729"/>
                </a:cubicBezTo>
                <a:cubicBezTo>
                  <a:pt x="133156" y="172729"/>
                  <a:pt x="139337" y="183888"/>
                  <a:pt x="139337" y="194328"/>
                </a:cubicBezTo>
                <a:cubicBezTo>
                  <a:pt x="139337" y="204768"/>
                  <a:pt x="130975" y="213408"/>
                  <a:pt x="120068" y="215207"/>
                </a:cubicBezTo>
                <a:lnTo>
                  <a:pt x="120068" y="220967"/>
                </a:lnTo>
                <a:cubicBezTo>
                  <a:pt x="120068" y="223487"/>
                  <a:pt x="118251" y="225287"/>
                  <a:pt x="115706" y="225287"/>
                </a:cubicBezTo>
                <a:cubicBezTo>
                  <a:pt x="113161" y="225287"/>
                  <a:pt x="111343" y="223487"/>
                  <a:pt x="111343" y="220967"/>
                </a:cubicBezTo>
                <a:lnTo>
                  <a:pt x="111343" y="215207"/>
                </a:lnTo>
                <a:cubicBezTo>
                  <a:pt x="103345" y="214127"/>
                  <a:pt x="96801" y="209088"/>
                  <a:pt x="93893" y="201888"/>
                </a:cubicBezTo>
                <a:cubicBezTo>
                  <a:pt x="92802" y="199728"/>
                  <a:pt x="93893" y="197568"/>
                  <a:pt x="96074" y="196128"/>
                </a:cubicBezTo>
                <a:cubicBezTo>
                  <a:pt x="98255" y="195408"/>
                  <a:pt x="100800" y="196488"/>
                  <a:pt x="101891" y="198648"/>
                </a:cubicBezTo>
                <a:cubicBezTo>
                  <a:pt x="104072" y="203688"/>
                  <a:pt x="109525" y="206928"/>
                  <a:pt x="115706" y="206928"/>
                </a:cubicBezTo>
                <a:cubicBezTo>
                  <a:pt x="123704" y="206928"/>
                  <a:pt x="130248" y="201528"/>
                  <a:pt x="130248" y="194328"/>
                </a:cubicBezTo>
                <a:cubicBezTo>
                  <a:pt x="130248" y="188568"/>
                  <a:pt x="127703" y="181368"/>
                  <a:pt x="115706" y="181368"/>
                </a:cubicBezTo>
                <a:cubicBezTo>
                  <a:pt x="98255" y="181368"/>
                  <a:pt x="92075" y="170209"/>
                  <a:pt x="92075" y="159769"/>
                </a:cubicBezTo>
                <a:cubicBezTo>
                  <a:pt x="92075" y="149329"/>
                  <a:pt x="100437" y="140690"/>
                  <a:pt x="111343" y="138890"/>
                </a:cubicBezTo>
                <a:lnTo>
                  <a:pt x="111343" y="133130"/>
                </a:lnTo>
                <a:cubicBezTo>
                  <a:pt x="111343" y="130610"/>
                  <a:pt x="113161" y="128810"/>
                  <a:pt x="115706" y="128810"/>
                </a:cubicBezTo>
                <a:close/>
                <a:moveTo>
                  <a:pt x="175509" y="105112"/>
                </a:moveTo>
                <a:lnTo>
                  <a:pt x="186670" y="139713"/>
                </a:lnTo>
                <a:lnTo>
                  <a:pt x="216195" y="139713"/>
                </a:lnTo>
                <a:lnTo>
                  <a:pt x="227716" y="105112"/>
                </a:lnTo>
                <a:lnTo>
                  <a:pt x="175509" y="105112"/>
                </a:lnTo>
                <a:close/>
                <a:moveTo>
                  <a:pt x="201433" y="74835"/>
                </a:moveTo>
                <a:cubicBezTo>
                  <a:pt x="203953" y="74835"/>
                  <a:pt x="206113" y="76637"/>
                  <a:pt x="206113" y="79160"/>
                </a:cubicBezTo>
                <a:lnTo>
                  <a:pt x="206113" y="96461"/>
                </a:lnTo>
                <a:lnTo>
                  <a:pt x="233837" y="96461"/>
                </a:lnTo>
                <a:cubicBezTo>
                  <a:pt x="235277" y="96461"/>
                  <a:pt x="236718" y="97182"/>
                  <a:pt x="237438" y="98263"/>
                </a:cubicBezTo>
                <a:cubicBezTo>
                  <a:pt x="238518" y="99345"/>
                  <a:pt x="238518" y="100786"/>
                  <a:pt x="238158" y="102228"/>
                </a:cubicBezTo>
                <a:lnTo>
                  <a:pt x="225556" y="139713"/>
                </a:lnTo>
                <a:lnTo>
                  <a:pt x="233837" y="139713"/>
                </a:lnTo>
                <a:cubicBezTo>
                  <a:pt x="236358" y="139713"/>
                  <a:pt x="238518" y="141515"/>
                  <a:pt x="238518" y="144038"/>
                </a:cubicBezTo>
                <a:cubicBezTo>
                  <a:pt x="238518" y="146201"/>
                  <a:pt x="236358" y="148364"/>
                  <a:pt x="233837" y="148364"/>
                </a:cubicBezTo>
                <a:lnTo>
                  <a:pt x="227716" y="148364"/>
                </a:lnTo>
                <a:lnTo>
                  <a:pt x="227716" y="168548"/>
                </a:lnTo>
                <a:lnTo>
                  <a:pt x="233837" y="168548"/>
                </a:lnTo>
                <a:cubicBezTo>
                  <a:pt x="236358" y="168548"/>
                  <a:pt x="238518" y="170350"/>
                  <a:pt x="238518" y="172873"/>
                </a:cubicBezTo>
                <a:cubicBezTo>
                  <a:pt x="238518" y="175036"/>
                  <a:pt x="236358" y="177198"/>
                  <a:pt x="233837" y="177198"/>
                </a:cubicBezTo>
                <a:lnTo>
                  <a:pt x="227716" y="177198"/>
                </a:lnTo>
                <a:cubicBezTo>
                  <a:pt x="228797" y="228020"/>
                  <a:pt x="248959" y="248925"/>
                  <a:pt x="253640" y="253250"/>
                </a:cubicBezTo>
                <a:lnTo>
                  <a:pt x="255800" y="253250"/>
                </a:lnTo>
                <a:cubicBezTo>
                  <a:pt x="268042" y="253250"/>
                  <a:pt x="277764" y="262621"/>
                  <a:pt x="277764" y="274876"/>
                </a:cubicBezTo>
                <a:lnTo>
                  <a:pt x="277764" y="281724"/>
                </a:lnTo>
                <a:lnTo>
                  <a:pt x="284244" y="281724"/>
                </a:lnTo>
                <a:cubicBezTo>
                  <a:pt x="286765" y="281724"/>
                  <a:pt x="288565" y="283887"/>
                  <a:pt x="288565" y="286049"/>
                </a:cubicBezTo>
                <a:cubicBezTo>
                  <a:pt x="288565" y="288573"/>
                  <a:pt x="286765" y="290375"/>
                  <a:pt x="284244" y="290375"/>
                </a:cubicBezTo>
                <a:lnTo>
                  <a:pt x="118621" y="290375"/>
                </a:lnTo>
                <a:cubicBezTo>
                  <a:pt x="116460" y="290375"/>
                  <a:pt x="114300" y="288573"/>
                  <a:pt x="114300" y="286049"/>
                </a:cubicBezTo>
                <a:cubicBezTo>
                  <a:pt x="114300" y="283887"/>
                  <a:pt x="116460" y="281724"/>
                  <a:pt x="118621" y="281724"/>
                </a:cubicBezTo>
                <a:lnTo>
                  <a:pt x="125102" y="281724"/>
                </a:lnTo>
                <a:lnTo>
                  <a:pt x="125102" y="274876"/>
                </a:lnTo>
                <a:cubicBezTo>
                  <a:pt x="125102" y="262621"/>
                  <a:pt x="134823" y="253250"/>
                  <a:pt x="147065" y="253250"/>
                </a:cubicBezTo>
                <a:lnTo>
                  <a:pt x="149585" y="253250"/>
                </a:lnTo>
                <a:cubicBezTo>
                  <a:pt x="154266" y="248925"/>
                  <a:pt x="174429" y="227659"/>
                  <a:pt x="175509" y="177198"/>
                </a:cubicBezTo>
                <a:lnTo>
                  <a:pt x="169028" y="177198"/>
                </a:lnTo>
                <a:cubicBezTo>
                  <a:pt x="166868" y="177198"/>
                  <a:pt x="164707" y="175036"/>
                  <a:pt x="164707" y="172873"/>
                </a:cubicBezTo>
                <a:cubicBezTo>
                  <a:pt x="164707" y="170350"/>
                  <a:pt x="166868" y="168548"/>
                  <a:pt x="169028" y="168548"/>
                </a:cubicBezTo>
                <a:lnTo>
                  <a:pt x="175509" y="168548"/>
                </a:lnTo>
                <a:lnTo>
                  <a:pt x="175509" y="148364"/>
                </a:lnTo>
                <a:lnTo>
                  <a:pt x="169028" y="148364"/>
                </a:lnTo>
                <a:cubicBezTo>
                  <a:pt x="166868" y="148364"/>
                  <a:pt x="164707" y="146201"/>
                  <a:pt x="164707" y="144038"/>
                </a:cubicBezTo>
                <a:cubicBezTo>
                  <a:pt x="164707" y="141515"/>
                  <a:pt x="166868" y="139713"/>
                  <a:pt x="169028" y="139713"/>
                </a:cubicBezTo>
                <a:lnTo>
                  <a:pt x="177669" y="139713"/>
                </a:lnTo>
                <a:lnTo>
                  <a:pt x="165067" y="102228"/>
                </a:lnTo>
                <a:cubicBezTo>
                  <a:pt x="164707" y="100786"/>
                  <a:pt x="164707" y="99345"/>
                  <a:pt x="165427" y="98263"/>
                </a:cubicBezTo>
                <a:cubicBezTo>
                  <a:pt x="166508" y="97182"/>
                  <a:pt x="167948" y="96461"/>
                  <a:pt x="169028" y="96461"/>
                </a:cubicBezTo>
                <a:lnTo>
                  <a:pt x="197112" y="96461"/>
                </a:lnTo>
                <a:lnTo>
                  <a:pt x="197112" y="79160"/>
                </a:lnTo>
                <a:cubicBezTo>
                  <a:pt x="197112" y="76637"/>
                  <a:pt x="198912" y="74835"/>
                  <a:pt x="201433" y="74835"/>
                </a:cubicBezTo>
                <a:close/>
                <a:moveTo>
                  <a:pt x="83132" y="9408"/>
                </a:moveTo>
                <a:cubicBezTo>
                  <a:pt x="80613" y="8331"/>
                  <a:pt x="77374" y="9049"/>
                  <a:pt x="75215" y="10844"/>
                </a:cubicBezTo>
                <a:cubicBezTo>
                  <a:pt x="73415" y="12999"/>
                  <a:pt x="72695" y="15872"/>
                  <a:pt x="73415" y="18744"/>
                </a:cubicBezTo>
                <a:lnTo>
                  <a:pt x="89250" y="63273"/>
                </a:lnTo>
                <a:cubicBezTo>
                  <a:pt x="92129" y="66864"/>
                  <a:pt x="96448" y="69378"/>
                  <a:pt x="101846" y="71173"/>
                </a:cubicBezTo>
                <a:lnTo>
                  <a:pt x="97887" y="40650"/>
                </a:lnTo>
                <a:cubicBezTo>
                  <a:pt x="97887" y="38136"/>
                  <a:pt x="99327" y="35981"/>
                  <a:pt x="101846" y="35622"/>
                </a:cubicBezTo>
                <a:cubicBezTo>
                  <a:pt x="104365" y="35622"/>
                  <a:pt x="106524" y="37059"/>
                  <a:pt x="106524" y="39572"/>
                </a:cubicBezTo>
                <a:lnTo>
                  <a:pt x="110843" y="73328"/>
                </a:lnTo>
                <a:cubicBezTo>
                  <a:pt x="112642" y="73328"/>
                  <a:pt x="114442" y="73687"/>
                  <a:pt x="116241" y="73687"/>
                </a:cubicBezTo>
                <a:cubicBezTo>
                  <a:pt x="118041" y="73687"/>
                  <a:pt x="119840" y="73328"/>
                  <a:pt x="121639" y="73328"/>
                </a:cubicBezTo>
                <a:lnTo>
                  <a:pt x="125598" y="39572"/>
                </a:lnTo>
                <a:cubicBezTo>
                  <a:pt x="125958" y="37059"/>
                  <a:pt x="128117" y="35622"/>
                  <a:pt x="130636" y="35622"/>
                </a:cubicBezTo>
                <a:cubicBezTo>
                  <a:pt x="132796" y="35981"/>
                  <a:pt x="134955" y="38136"/>
                  <a:pt x="134235" y="40650"/>
                </a:cubicBezTo>
                <a:lnTo>
                  <a:pt x="130636" y="71173"/>
                </a:lnTo>
                <a:cubicBezTo>
                  <a:pt x="135675" y="69378"/>
                  <a:pt x="140353" y="66864"/>
                  <a:pt x="143232" y="63273"/>
                </a:cubicBezTo>
                <a:lnTo>
                  <a:pt x="158707" y="18744"/>
                </a:lnTo>
                <a:cubicBezTo>
                  <a:pt x="159787" y="15872"/>
                  <a:pt x="159067" y="12999"/>
                  <a:pt x="156907" y="10844"/>
                </a:cubicBezTo>
                <a:cubicBezTo>
                  <a:pt x="154748" y="9049"/>
                  <a:pt x="152229" y="8331"/>
                  <a:pt x="148990" y="9408"/>
                </a:cubicBezTo>
                <a:lnTo>
                  <a:pt x="128117" y="17308"/>
                </a:lnTo>
                <a:cubicBezTo>
                  <a:pt x="120560" y="20181"/>
                  <a:pt x="111922" y="20181"/>
                  <a:pt x="104005" y="17308"/>
                </a:cubicBezTo>
                <a:lnTo>
                  <a:pt x="83132" y="9408"/>
                </a:lnTo>
                <a:close/>
                <a:moveTo>
                  <a:pt x="86371" y="1149"/>
                </a:moveTo>
                <a:lnTo>
                  <a:pt x="107244" y="9049"/>
                </a:lnTo>
                <a:cubicBezTo>
                  <a:pt x="113002" y="11203"/>
                  <a:pt x="119480" y="11203"/>
                  <a:pt x="124878" y="9049"/>
                </a:cubicBezTo>
                <a:lnTo>
                  <a:pt x="146111" y="1149"/>
                </a:lnTo>
                <a:cubicBezTo>
                  <a:pt x="152229" y="-1365"/>
                  <a:pt x="158707" y="430"/>
                  <a:pt x="163025" y="4740"/>
                </a:cubicBezTo>
                <a:cubicBezTo>
                  <a:pt x="167704" y="9049"/>
                  <a:pt x="169143" y="15513"/>
                  <a:pt x="166984" y="21258"/>
                </a:cubicBezTo>
                <a:lnTo>
                  <a:pt x="152229" y="63991"/>
                </a:lnTo>
                <a:cubicBezTo>
                  <a:pt x="155468" y="66864"/>
                  <a:pt x="161226" y="71891"/>
                  <a:pt x="168064" y="79433"/>
                </a:cubicBezTo>
                <a:cubicBezTo>
                  <a:pt x="169503" y="81587"/>
                  <a:pt x="169503" y="84101"/>
                  <a:pt x="167704" y="85537"/>
                </a:cubicBezTo>
                <a:cubicBezTo>
                  <a:pt x="165545" y="87333"/>
                  <a:pt x="163025" y="87333"/>
                  <a:pt x="161586" y="85178"/>
                </a:cubicBezTo>
                <a:cubicBezTo>
                  <a:pt x="155468" y="78714"/>
                  <a:pt x="150790" y="74046"/>
                  <a:pt x="147551" y="71532"/>
                </a:cubicBezTo>
                <a:cubicBezTo>
                  <a:pt x="139993" y="78355"/>
                  <a:pt x="128837" y="82305"/>
                  <a:pt x="116241" y="82305"/>
                </a:cubicBezTo>
                <a:cubicBezTo>
                  <a:pt x="103645" y="82305"/>
                  <a:pt x="92129" y="78355"/>
                  <a:pt x="84931" y="71532"/>
                </a:cubicBezTo>
                <a:cubicBezTo>
                  <a:pt x="72336" y="82665"/>
                  <a:pt x="23752" y="130784"/>
                  <a:pt x="24472" y="217686"/>
                </a:cubicBezTo>
                <a:cubicBezTo>
                  <a:pt x="24472" y="230255"/>
                  <a:pt x="20873" y="243182"/>
                  <a:pt x="14035" y="254314"/>
                </a:cubicBezTo>
                <a:cubicBezTo>
                  <a:pt x="11876" y="258624"/>
                  <a:pt x="9357" y="266165"/>
                  <a:pt x="8997" y="276220"/>
                </a:cubicBezTo>
                <a:cubicBezTo>
                  <a:pt x="16914" y="280529"/>
                  <a:pt x="65138" y="280170"/>
                  <a:pt x="88890" y="279811"/>
                </a:cubicBezTo>
                <a:lnTo>
                  <a:pt x="99686" y="279811"/>
                </a:lnTo>
                <a:cubicBezTo>
                  <a:pt x="102206" y="279811"/>
                  <a:pt x="104005" y="281965"/>
                  <a:pt x="104005" y="284120"/>
                </a:cubicBezTo>
                <a:cubicBezTo>
                  <a:pt x="104005" y="286633"/>
                  <a:pt x="102206" y="288429"/>
                  <a:pt x="99686" y="288429"/>
                </a:cubicBezTo>
                <a:lnTo>
                  <a:pt x="88890" y="288788"/>
                </a:lnTo>
                <a:cubicBezTo>
                  <a:pt x="81333" y="288788"/>
                  <a:pt x="74495" y="288788"/>
                  <a:pt x="68017" y="288788"/>
                </a:cubicBezTo>
                <a:cubicBezTo>
                  <a:pt x="28070" y="288788"/>
                  <a:pt x="7917" y="287352"/>
                  <a:pt x="2159" y="281965"/>
                </a:cubicBezTo>
                <a:cubicBezTo>
                  <a:pt x="720" y="280170"/>
                  <a:pt x="0" y="278374"/>
                  <a:pt x="0" y="277297"/>
                </a:cubicBezTo>
                <a:cubicBezTo>
                  <a:pt x="0" y="267242"/>
                  <a:pt x="2519" y="256828"/>
                  <a:pt x="6838" y="250005"/>
                </a:cubicBezTo>
                <a:cubicBezTo>
                  <a:pt x="12596" y="239950"/>
                  <a:pt x="15835" y="228818"/>
                  <a:pt x="15475" y="217686"/>
                </a:cubicBezTo>
                <a:cubicBezTo>
                  <a:pt x="14755" y="123961"/>
                  <a:pt x="67657" y="74405"/>
                  <a:pt x="79893" y="63991"/>
                </a:cubicBezTo>
                <a:lnTo>
                  <a:pt x="65138" y="21258"/>
                </a:lnTo>
                <a:cubicBezTo>
                  <a:pt x="62979" y="15513"/>
                  <a:pt x="64778" y="9049"/>
                  <a:pt x="69457" y="4740"/>
                </a:cubicBezTo>
                <a:cubicBezTo>
                  <a:pt x="73775" y="430"/>
                  <a:pt x="80613" y="-1365"/>
                  <a:pt x="86371" y="11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2" name="Freeform 975">
            <a:extLst>
              <a:ext uri="{FF2B5EF4-FFF2-40B4-BE49-F238E27FC236}">
                <a16:creationId xmlns:a16="http://schemas.microsoft.com/office/drawing/2014/main" id="{004686BA-0275-A661-AEAA-04767A30E1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7031" y="1844991"/>
            <a:ext cx="388957" cy="388957"/>
          </a:xfrm>
          <a:custGeom>
            <a:avLst/>
            <a:gdLst>
              <a:gd name="T0" fmla="*/ 3853139 w 290152"/>
              <a:gd name="T1" fmla="*/ 5082436 h 290152"/>
              <a:gd name="T2" fmla="*/ 438459 w 290152"/>
              <a:gd name="T3" fmla="*/ 4902739 h 290152"/>
              <a:gd name="T4" fmla="*/ 172546 w 290152"/>
              <a:gd name="T5" fmla="*/ 4377960 h 290152"/>
              <a:gd name="T6" fmla="*/ 1121409 w 290152"/>
              <a:gd name="T7" fmla="*/ 3608772 h 290152"/>
              <a:gd name="T8" fmla="*/ 4925810 w 290152"/>
              <a:gd name="T9" fmla="*/ 3471204 h 290152"/>
              <a:gd name="T10" fmla="*/ 4015803 w 290152"/>
              <a:gd name="T11" fmla="*/ 3383636 h 290152"/>
              <a:gd name="T12" fmla="*/ 2293199 w 290152"/>
              <a:gd name="T13" fmla="*/ 2911468 h 290152"/>
              <a:gd name="T14" fmla="*/ 5273713 w 290152"/>
              <a:gd name="T15" fmla="*/ 2873868 h 290152"/>
              <a:gd name="T16" fmla="*/ 4015201 w 290152"/>
              <a:gd name="T17" fmla="*/ 2782794 h 290152"/>
              <a:gd name="T18" fmla="*/ 1121409 w 290152"/>
              <a:gd name="T19" fmla="*/ 2817982 h 290152"/>
              <a:gd name="T20" fmla="*/ 3457762 w 290152"/>
              <a:gd name="T21" fmla="*/ 4205430 h 290152"/>
              <a:gd name="T22" fmla="*/ 1940940 w 290152"/>
              <a:gd name="T23" fmla="*/ 2070354 h 290152"/>
              <a:gd name="T24" fmla="*/ 529638 w 290152"/>
              <a:gd name="T25" fmla="*/ 1739260 h 290152"/>
              <a:gd name="T26" fmla="*/ 529638 w 290152"/>
              <a:gd name="T27" fmla="*/ 1921401 h 290152"/>
              <a:gd name="T28" fmla="*/ 3105494 w 290152"/>
              <a:gd name="T29" fmla="*/ 1524028 h 290152"/>
              <a:gd name="T30" fmla="*/ 1130466 w 290152"/>
              <a:gd name="T31" fmla="*/ 1170028 h 290152"/>
              <a:gd name="T32" fmla="*/ 1130466 w 290152"/>
              <a:gd name="T33" fmla="*/ 1352212 h 290152"/>
              <a:gd name="T34" fmla="*/ 634846 w 290152"/>
              <a:gd name="T35" fmla="*/ 1170028 h 290152"/>
              <a:gd name="T36" fmla="*/ 442752 w 290152"/>
              <a:gd name="T37" fmla="*/ 1261119 h 290152"/>
              <a:gd name="T38" fmla="*/ 3629403 w 290152"/>
              <a:gd name="T39" fmla="*/ 684339 h 290152"/>
              <a:gd name="T40" fmla="*/ 2267931 w 290152"/>
              <a:gd name="T41" fmla="*/ 600882 h 290152"/>
              <a:gd name="T42" fmla="*/ 1773579 w 290152"/>
              <a:gd name="T43" fmla="*/ 782977 h 290152"/>
              <a:gd name="T44" fmla="*/ 528080 w 290152"/>
              <a:gd name="T45" fmla="*/ 600882 h 290152"/>
              <a:gd name="T46" fmla="*/ 528080 w 290152"/>
              <a:gd name="T47" fmla="*/ 782977 h 290152"/>
              <a:gd name="T48" fmla="*/ 4675756 w 290152"/>
              <a:gd name="T49" fmla="*/ 655247 h 290152"/>
              <a:gd name="T50" fmla="*/ 4856784 w 290152"/>
              <a:gd name="T51" fmla="*/ 1099864 h 290152"/>
              <a:gd name="T52" fmla="*/ 5052345 w 290152"/>
              <a:gd name="T53" fmla="*/ 1874332 h 290152"/>
              <a:gd name="T54" fmla="*/ 4494707 w 290152"/>
              <a:gd name="T55" fmla="*/ 2404974 h 290152"/>
              <a:gd name="T56" fmla="*/ 4306438 w 290152"/>
              <a:gd name="T57" fmla="*/ 1967551 h 290152"/>
              <a:gd name="T58" fmla="*/ 4110902 w 290152"/>
              <a:gd name="T59" fmla="*/ 1185892 h 290152"/>
              <a:gd name="T60" fmla="*/ 438459 w 290152"/>
              <a:gd name="T61" fmla="*/ 172546 h 290152"/>
              <a:gd name="T62" fmla="*/ 948863 w 290152"/>
              <a:gd name="T63" fmla="*/ 2465758 h 290152"/>
              <a:gd name="T64" fmla="*/ 2113430 w 290152"/>
              <a:gd name="T65" fmla="*/ 1718120 h 290152"/>
              <a:gd name="T66" fmla="*/ 3285233 w 290152"/>
              <a:gd name="T67" fmla="*/ 1171750 h 290152"/>
              <a:gd name="T68" fmla="*/ 2465721 w 290152"/>
              <a:gd name="T69" fmla="*/ 2005664 h 290152"/>
              <a:gd name="T70" fmla="*/ 1279559 w 290152"/>
              <a:gd name="T71" fmla="*/ 2710148 h 290152"/>
              <a:gd name="T72" fmla="*/ 172546 w 290152"/>
              <a:gd name="T73" fmla="*/ 3062402 h 290152"/>
              <a:gd name="T74" fmla="*/ 682944 w 290152"/>
              <a:gd name="T75" fmla="*/ 3436253 h 290152"/>
              <a:gd name="T76" fmla="*/ 1768442 w 290152"/>
              <a:gd name="T77" fmla="*/ 4205430 h 290152"/>
              <a:gd name="T78" fmla="*/ 2465721 w 290152"/>
              <a:gd name="T79" fmla="*/ 2817982 h 290152"/>
              <a:gd name="T80" fmla="*/ 3026441 w 290152"/>
              <a:gd name="T81" fmla="*/ 2221331 h 290152"/>
              <a:gd name="T82" fmla="*/ 5607190 w 290152"/>
              <a:gd name="T83" fmla="*/ 4205430 h 290152"/>
              <a:gd name="T84" fmla="*/ 438459 w 290152"/>
              <a:gd name="T85" fmla="*/ 0 h 290152"/>
              <a:gd name="T86" fmla="*/ 5779691 w 290152"/>
              <a:gd name="T87" fmla="*/ 4636751 h 290152"/>
              <a:gd name="T88" fmla="*/ 4643888 w 290152"/>
              <a:gd name="T89" fmla="*/ 5607243 h 290152"/>
              <a:gd name="T90" fmla="*/ 1056716 w 290152"/>
              <a:gd name="T91" fmla="*/ 5693510 h 290152"/>
              <a:gd name="T92" fmla="*/ 438459 w 290152"/>
              <a:gd name="T93" fmla="*/ 5082436 h 290152"/>
              <a:gd name="T94" fmla="*/ 438459 w 290152"/>
              <a:gd name="T95" fmla="*/ 0 h 29015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90152" h="290152">
                <a:moveTo>
                  <a:pt x="96717" y="255146"/>
                </a:moveTo>
                <a:lnTo>
                  <a:pt x="96717" y="281491"/>
                </a:lnTo>
                <a:lnTo>
                  <a:pt x="193435" y="281491"/>
                </a:lnTo>
                <a:lnTo>
                  <a:pt x="193435" y="255146"/>
                </a:lnTo>
                <a:lnTo>
                  <a:pt x="96717" y="255146"/>
                </a:lnTo>
                <a:close/>
                <a:moveTo>
                  <a:pt x="8661" y="219780"/>
                </a:moveTo>
                <a:lnTo>
                  <a:pt x="8661" y="232771"/>
                </a:lnTo>
                <a:cubicBezTo>
                  <a:pt x="8661" y="240350"/>
                  <a:pt x="14796" y="246124"/>
                  <a:pt x="22014" y="246124"/>
                </a:cubicBezTo>
                <a:lnTo>
                  <a:pt x="268138" y="246124"/>
                </a:lnTo>
                <a:cubicBezTo>
                  <a:pt x="275717" y="246124"/>
                  <a:pt x="281491" y="240350"/>
                  <a:pt x="281491" y="232771"/>
                </a:cubicBezTo>
                <a:lnTo>
                  <a:pt x="281491" y="219780"/>
                </a:lnTo>
                <a:lnTo>
                  <a:pt x="8661" y="219780"/>
                </a:lnTo>
                <a:close/>
                <a:moveTo>
                  <a:pt x="38975" y="181165"/>
                </a:moveTo>
                <a:lnTo>
                  <a:pt x="38975" y="211118"/>
                </a:lnTo>
                <a:lnTo>
                  <a:pt x="56298" y="211118"/>
                </a:lnTo>
                <a:lnTo>
                  <a:pt x="56298" y="181165"/>
                </a:lnTo>
                <a:lnTo>
                  <a:pt x="38975" y="181165"/>
                </a:lnTo>
                <a:close/>
                <a:moveTo>
                  <a:pt x="201601" y="169863"/>
                </a:moveTo>
                <a:lnTo>
                  <a:pt x="243265" y="169863"/>
                </a:lnTo>
                <a:cubicBezTo>
                  <a:pt x="245457" y="169863"/>
                  <a:pt x="247285" y="172061"/>
                  <a:pt x="247285" y="174259"/>
                </a:cubicBezTo>
                <a:cubicBezTo>
                  <a:pt x="247285" y="176824"/>
                  <a:pt x="245457" y="179022"/>
                  <a:pt x="243265" y="179022"/>
                </a:cubicBezTo>
                <a:lnTo>
                  <a:pt x="201601" y="179022"/>
                </a:lnTo>
                <a:cubicBezTo>
                  <a:pt x="199043" y="179022"/>
                  <a:pt x="196850" y="176824"/>
                  <a:pt x="196850" y="174259"/>
                </a:cubicBezTo>
                <a:cubicBezTo>
                  <a:pt x="196850" y="172061"/>
                  <a:pt x="199043" y="169863"/>
                  <a:pt x="201601" y="169863"/>
                </a:cubicBezTo>
                <a:close/>
                <a:moveTo>
                  <a:pt x="97439" y="146159"/>
                </a:moveTo>
                <a:lnTo>
                  <a:pt x="97439" y="211118"/>
                </a:lnTo>
                <a:lnTo>
                  <a:pt x="115122" y="211118"/>
                </a:lnTo>
                <a:lnTo>
                  <a:pt x="115122" y="146159"/>
                </a:lnTo>
                <a:lnTo>
                  <a:pt x="97439" y="146159"/>
                </a:lnTo>
                <a:close/>
                <a:moveTo>
                  <a:pt x="201571" y="139700"/>
                </a:moveTo>
                <a:lnTo>
                  <a:pt x="260393" y="139700"/>
                </a:lnTo>
                <a:cubicBezTo>
                  <a:pt x="262935" y="139700"/>
                  <a:pt x="264750" y="141605"/>
                  <a:pt x="264750" y="144272"/>
                </a:cubicBezTo>
                <a:cubicBezTo>
                  <a:pt x="264750" y="146939"/>
                  <a:pt x="262935" y="148844"/>
                  <a:pt x="260393" y="148844"/>
                </a:cubicBezTo>
                <a:lnTo>
                  <a:pt x="201571" y="148844"/>
                </a:lnTo>
                <a:cubicBezTo>
                  <a:pt x="199029" y="148844"/>
                  <a:pt x="196850" y="146939"/>
                  <a:pt x="196850" y="144272"/>
                </a:cubicBezTo>
                <a:cubicBezTo>
                  <a:pt x="196850" y="141605"/>
                  <a:pt x="199029" y="139700"/>
                  <a:pt x="201571" y="139700"/>
                </a:cubicBezTo>
                <a:close/>
                <a:moveTo>
                  <a:pt x="47637" y="132445"/>
                </a:moveTo>
                <a:cubicBezTo>
                  <a:pt x="42945" y="132445"/>
                  <a:pt x="38975" y="136415"/>
                  <a:pt x="38975" y="141467"/>
                </a:cubicBezTo>
                <a:cubicBezTo>
                  <a:pt x="38975" y="146159"/>
                  <a:pt x="42945" y="150128"/>
                  <a:pt x="47637" y="150128"/>
                </a:cubicBezTo>
                <a:cubicBezTo>
                  <a:pt x="52689" y="150128"/>
                  <a:pt x="56298" y="146159"/>
                  <a:pt x="56298" y="141467"/>
                </a:cubicBezTo>
                <a:cubicBezTo>
                  <a:pt x="56298" y="136415"/>
                  <a:pt x="52689" y="132445"/>
                  <a:pt x="47637" y="132445"/>
                </a:cubicBezTo>
                <a:close/>
                <a:moveTo>
                  <a:pt x="155902" y="120175"/>
                </a:moveTo>
                <a:lnTo>
                  <a:pt x="155902" y="211118"/>
                </a:lnTo>
                <a:lnTo>
                  <a:pt x="173586" y="211118"/>
                </a:lnTo>
                <a:lnTo>
                  <a:pt x="173586" y="120175"/>
                </a:lnTo>
                <a:lnTo>
                  <a:pt x="155902" y="120175"/>
                </a:lnTo>
                <a:close/>
                <a:moveTo>
                  <a:pt x="106100" y="94913"/>
                </a:moveTo>
                <a:cubicBezTo>
                  <a:pt x="101409" y="94913"/>
                  <a:pt x="97439" y="98883"/>
                  <a:pt x="97439" y="103935"/>
                </a:cubicBezTo>
                <a:cubicBezTo>
                  <a:pt x="97439" y="108626"/>
                  <a:pt x="101409" y="112596"/>
                  <a:pt x="106100" y="112596"/>
                </a:cubicBezTo>
                <a:cubicBezTo>
                  <a:pt x="111153" y="112596"/>
                  <a:pt x="115122" y="108626"/>
                  <a:pt x="115122" y="103935"/>
                </a:cubicBezTo>
                <a:cubicBezTo>
                  <a:pt x="115122" y="98883"/>
                  <a:pt x="111153" y="94913"/>
                  <a:pt x="106100" y="94913"/>
                </a:cubicBezTo>
                <a:close/>
                <a:moveTo>
                  <a:pt x="26590" y="87313"/>
                </a:moveTo>
                <a:lnTo>
                  <a:pt x="69519" y="87313"/>
                </a:lnTo>
                <a:cubicBezTo>
                  <a:pt x="72066" y="87313"/>
                  <a:pt x="74249" y="89218"/>
                  <a:pt x="74249" y="91885"/>
                </a:cubicBezTo>
                <a:cubicBezTo>
                  <a:pt x="74249" y="94552"/>
                  <a:pt x="72066" y="96457"/>
                  <a:pt x="69519" y="96457"/>
                </a:cubicBezTo>
                <a:lnTo>
                  <a:pt x="26590" y="96457"/>
                </a:lnTo>
                <a:cubicBezTo>
                  <a:pt x="24408" y="96457"/>
                  <a:pt x="22225" y="94552"/>
                  <a:pt x="22225" y="91885"/>
                </a:cubicBezTo>
                <a:cubicBezTo>
                  <a:pt x="22225" y="89218"/>
                  <a:pt x="24408" y="87313"/>
                  <a:pt x="26590" y="87313"/>
                </a:cubicBezTo>
                <a:close/>
                <a:moveTo>
                  <a:pt x="164925" y="67846"/>
                </a:moveTo>
                <a:cubicBezTo>
                  <a:pt x="160233" y="67846"/>
                  <a:pt x="155902" y="71455"/>
                  <a:pt x="155902" y="76508"/>
                </a:cubicBezTo>
                <a:cubicBezTo>
                  <a:pt x="155902" y="81560"/>
                  <a:pt x="160233" y="85530"/>
                  <a:pt x="164925" y="85530"/>
                </a:cubicBezTo>
                <a:cubicBezTo>
                  <a:pt x="169977" y="85530"/>
                  <a:pt x="173586" y="81560"/>
                  <a:pt x="173586" y="76508"/>
                </a:cubicBezTo>
                <a:cubicBezTo>
                  <a:pt x="173586" y="71455"/>
                  <a:pt x="169977" y="67846"/>
                  <a:pt x="164925" y="67846"/>
                </a:cubicBezTo>
                <a:close/>
                <a:moveTo>
                  <a:pt x="56750" y="58738"/>
                </a:moveTo>
                <a:lnTo>
                  <a:pt x="125813" y="58738"/>
                </a:lnTo>
                <a:cubicBezTo>
                  <a:pt x="127994" y="58738"/>
                  <a:pt x="129811" y="60643"/>
                  <a:pt x="129811" y="63310"/>
                </a:cubicBezTo>
                <a:cubicBezTo>
                  <a:pt x="129811" y="65977"/>
                  <a:pt x="127994" y="67882"/>
                  <a:pt x="125813" y="67882"/>
                </a:cubicBezTo>
                <a:lnTo>
                  <a:pt x="56750" y="67882"/>
                </a:lnTo>
                <a:cubicBezTo>
                  <a:pt x="54569" y="67882"/>
                  <a:pt x="52388" y="65977"/>
                  <a:pt x="52388" y="63310"/>
                </a:cubicBezTo>
                <a:cubicBezTo>
                  <a:pt x="52388" y="60643"/>
                  <a:pt x="54569" y="58738"/>
                  <a:pt x="56750" y="58738"/>
                </a:cubicBezTo>
                <a:close/>
                <a:moveTo>
                  <a:pt x="26511" y="58738"/>
                </a:moveTo>
                <a:lnTo>
                  <a:pt x="31869" y="58738"/>
                </a:lnTo>
                <a:cubicBezTo>
                  <a:pt x="34370" y="58738"/>
                  <a:pt x="36156" y="60643"/>
                  <a:pt x="36156" y="63310"/>
                </a:cubicBezTo>
                <a:cubicBezTo>
                  <a:pt x="36156" y="65977"/>
                  <a:pt x="34370" y="67882"/>
                  <a:pt x="31869" y="67882"/>
                </a:cubicBezTo>
                <a:lnTo>
                  <a:pt x="26511" y="67882"/>
                </a:lnTo>
                <a:cubicBezTo>
                  <a:pt x="24368" y="67882"/>
                  <a:pt x="22225" y="65977"/>
                  <a:pt x="22225" y="63310"/>
                </a:cubicBezTo>
                <a:cubicBezTo>
                  <a:pt x="22225" y="60643"/>
                  <a:pt x="24368" y="58738"/>
                  <a:pt x="26511" y="58738"/>
                </a:cubicBezTo>
                <a:close/>
                <a:moveTo>
                  <a:pt x="113854" y="30163"/>
                </a:moveTo>
                <a:lnTo>
                  <a:pt x="177886" y="30163"/>
                </a:lnTo>
                <a:cubicBezTo>
                  <a:pt x="180404" y="30163"/>
                  <a:pt x="182203" y="32068"/>
                  <a:pt x="182203" y="34354"/>
                </a:cubicBezTo>
                <a:cubicBezTo>
                  <a:pt x="182203" y="37021"/>
                  <a:pt x="180404" y="39307"/>
                  <a:pt x="177886" y="39307"/>
                </a:cubicBezTo>
                <a:lnTo>
                  <a:pt x="113854" y="39307"/>
                </a:lnTo>
                <a:cubicBezTo>
                  <a:pt x="111336" y="39307"/>
                  <a:pt x="109538" y="37021"/>
                  <a:pt x="109538" y="34354"/>
                </a:cubicBezTo>
                <a:cubicBezTo>
                  <a:pt x="109538" y="32068"/>
                  <a:pt x="111336" y="30163"/>
                  <a:pt x="113854" y="30163"/>
                </a:cubicBezTo>
                <a:close/>
                <a:moveTo>
                  <a:pt x="56658" y="30163"/>
                </a:moveTo>
                <a:lnTo>
                  <a:pt x="89037" y="30163"/>
                </a:lnTo>
                <a:cubicBezTo>
                  <a:pt x="91172" y="30163"/>
                  <a:pt x="93307" y="32068"/>
                  <a:pt x="93307" y="34354"/>
                </a:cubicBezTo>
                <a:cubicBezTo>
                  <a:pt x="93307" y="37021"/>
                  <a:pt x="91172" y="39307"/>
                  <a:pt x="89037" y="39307"/>
                </a:cubicBezTo>
                <a:lnTo>
                  <a:pt x="56658" y="39307"/>
                </a:lnTo>
                <a:cubicBezTo>
                  <a:pt x="54523" y="39307"/>
                  <a:pt x="52388" y="37021"/>
                  <a:pt x="52388" y="34354"/>
                </a:cubicBezTo>
                <a:cubicBezTo>
                  <a:pt x="52388" y="32068"/>
                  <a:pt x="54523" y="30163"/>
                  <a:pt x="56658" y="30163"/>
                </a:cubicBezTo>
                <a:close/>
                <a:moveTo>
                  <a:pt x="26511" y="30163"/>
                </a:moveTo>
                <a:lnTo>
                  <a:pt x="31869" y="30163"/>
                </a:lnTo>
                <a:cubicBezTo>
                  <a:pt x="34370" y="30163"/>
                  <a:pt x="36156" y="32068"/>
                  <a:pt x="36156" y="34354"/>
                </a:cubicBezTo>
                <a:cubicBezTo>
                  <a:pt x="36156" y="37021"/>
                  <a:pt x="34370" y="39307"/>
                  <a:pt x="31869" y="39307"/>
                </a:cubicBezTo>
                <a:lnTo>
                  <a:pt x="26511" y="39307"/>
                </a:lnTo>
                <a:cubicBezTo>
                  <a:pt x="24368" y="39307"/>
                  <a:pt x="22225" y="37021"/>
                  <a:pt x="22225" y="34354"/>
                </a:cubicBezTo>
                <a:cubicBezTo>
                  <a:pt x="22225" y="32068"/>
                  <a:pt x="24368" y="30163"/>
                  <a:pt x="26511" y="30163"/>
                </a:cubicBezTo>
                <a:close/>
                <a:moveTo>
                  <a:pt x="230006" y="28575"/>
                </a:moveTo>
                <a:cubicBezTo>
                  <a:pt x="232187" y="28575"/>
                  <a:pt x="234732" y="30735"/>
                  <a:pt x="234732" y="32895"/>
                </a:cubicBezTo>
                <a:lnTo>
                  <a:pt x="234732" y="38655"/>
                </a:lnTo>
                <a:cubicBezTo>
                  <a:pt x="242367" y="40095"/>
                  <a:pt x="248911" y="44775"/>
                  <a:pt x="251819" y="51974"/>
                </a:cubicBezTo>
                <a:cubicBezTo>
                  <a:pt x="252910" y="54134"/>
                  <a:pt x="251819" y="56654"/>
                  <a:pt x="249638" y="57734"/>
                </a:cubicBezTo>
                <a:cubicBezTo>
                  <a:pt x="247456" y="58814"/>
                  <a:pt x="244912" y="57734"/>
                  <a:pt x="243821" y="55214"/>
                </a:cubicBezTo>
                <a:cubicBezTo>
                  <a:pt x="241640" y="50534"/>
                  <a:pt x="235823" y="46934"/>
                  <a:pt x="230006" y="46934"/>
                </a:cubicBezTo>
                <a:cubicBezTo>
                  <a:pt x="222008" y="46934"/>
                  <a:pt x="215464" y="52694"/>
                  <a:pt x="215464" y="59534"/>
                </a:cubicBezTo>
                <a:cubicBezTo>
                  <a:pt x="215464" y="65654"/>
                  <a:pt x="218009" y="72494"/>
                  <a:pt x="230006" y="72494"/>
                </a:cubicBezTo>
                <a:cubicBezTo>
                  <a:pt x="247456" y="72494"/>
                  <a:pt x="253637" y="83654"/>
                  <a:pt x="253637" y="94094"/>
                </a:cubicBezTo>
                <a:cubicBezTo>
                  <a:pt x="253637" y="104893"/>
                  <a:pt x="245275" y="113533"/>
                  <a:pt x="234732" y="115333"/>
                </a:cubicBezTo>
                <a:lnTo>
                  <a:pt x="234732" y="120733"/>
                </a:lnTo>
                <a:cubicBezTo>
                  <a:pt x="234732" y="123253"/>
                  <a:pt x="232187" y="125053"/>
                  <a:pt x="230006" y="125053"/>
                </a:cubicBezTo>
                <a:cubicBezTo>
                  <a:pt x="227461" y="125053"/>
                  <a:pt x="225643" y="123253"/>
                  <a:pt x="225643" y="120733"/>
                </a:cubicBezTo>
                <a:lnTo>
                  <a:pt x="225643" y="115333"/>
                </a:lnTo>
                <a:cubicBezTo>
                  <a:pt x="217645" y="113893"/>
                  <a:pt x="211101" y="108853"/>
                  <a:pt x="208193" y="102013"/>
                </a:cubicBezTo>
                <a:cubicBezTo>
                  <a:pt x="207102" y="99853"/>
                  <a:pt x="208193" y="96973"/>
                  <a:pt x="210374" y="96253"/>
                </a:cubicBezTo>
                <a:cubicBezTo>
                  <a:pt x="212919" y="95173"/>
                  <a:pt x="215464" y="96253"/>
                  <a:pt x="216191" y="98773"/>
                </a:cubicBezTo>
                <a:cubicBezTo>
                  <a:pt x="218372" y="103453"/>
                  <a:pt x="223826" y="107053"/>
                  <a:pt x="230006" y="107053"/>
                </a:cubicBezTo>
                <a:cubicBezTo>
                  <a:pt x="238368" y="107053"/>
                  <a:pt x="244912" y="101293"/>
                  <a:pt x="244912" y="94094"/>
                </a:cubicBezTo>
                <a:cubicBezTo>
                  <a:pt x="244912" y="88334"/>
                  <a:pt x="242367" y="81134"/>
                  <a:pt x="230006" y="81134"/>
                </a:cubicBezTo>
                <a:cubicBezTo>
                  <a:pt x="212556" y="81134"/>
                  <a:pt x="206375" y="70334"/>
                  <a:pt x="206375" y="59534"/>
                </a:cubicBezTo>
                <a:cubicBezTo>
                  <a:pt x="206375" y="49454"/>
                  <a:pt x="214737" y="40455"/>
                  <a:pt x="225643" y="38655"/>
                </a:cubicBezTo>
                <a:lnTo>
                  <a:pt x="225643" y="32895"/>
                </a:lnTo>
                <a:cubicBezTo>
                  <a:pt x="225643" y="30735"/>
                  <a:pt x="227461" y="28575"/>
                  <a:pt x="230006" y="28575"/>
                </a:cubicBezTo>
                <a:close/>
                <a:moveTo>
                  <a:pt x="22014" y="8661"/>
                </a:moveTo>
                <a:cubicBezTo>
                  <a:pt x="14796" y="8661"/>
                  <a:pt x="8661" y="14796"/>
                  <a:pt x="8661" y="22014"/>
                </a:cubicBezTo>
                <a:lnTo>
                  <a:pt x="8661" y="144354"/>
                </a:lnTo>
                <a:lnTo>
                  <a:pt x="30314" y="140384"/>
                </a:lnTo>
                <a:cubicBezTo>
                  <a:pt x="30675" y="131362"/>
                  <a:pt x="38615" y="123784"/>
                  <a:pt x="47637" y="123784"/>
                </a:cubicBezTo>
                <a:cubicBezTo>
                  <a:pt x="52328" y="123784"/>
                  <a:pt x="56298" y="125588"/>
                  <a:pt x="59546" y="128475"/>
                </a:cubicBezTo>
                <a:lnTo>
                  <a:pt x="89860" y="108987"/>
                </a:lnTo>
                <a:cubicBezTo>
                  <a:pt x="89139" y="107544"/>
                  <a:pt x="88778" y="105739"/>
                  <a:pt x="88778" y="103935"/>
                </a:cubicBezTo>
                <a:cubicBezTo>
                  <a:pt x="88778" y="94191"/>
                  <a:pt x="96717" y="86252"/>
                  <a:pt x="106100" y="86252"/>
                </a:cubicBezTo>
                <a:cubicBezTo>
                  <a:pt x="111874" y="86252"/>
                  <a:pt x="116566" y="88778"/>
                  <a:pt x="119814" y="92747"/>
                </a:cubicBezTo>
                <a:lnTo>
                  <a:pt x="147602" y="79756"/>
                </a:lnTo>
                <a:cubicBezTo>
                  <a:pt x="147602" y="78673"/>
                  <a:pt x="147241" y="77590"/>
                  <a:pt x="147241" y="76508"/>
                </a:cubicBezTo>
                <a:cubicBezTo>
                  <a:pt x="147241" y="66764"/>
                  <a:pt x="155181" y="58824"/>
                  <a:pt x="164925" y="58824"/>
                </a:cubicBezTo>
                <a:cubicBezTo>
                  <a:pt x="174668" y="58824"/>
                  <a:pt x="182608" y="66764"/>
                  <a:pt x="182608" y="76508"/>
                </a:cubicBezTo>
                <a:cubicBezTo>
                  <a:pt x="182608" y="86252"/>
                  <a:pt x="174668" y="94191"/>
                  <a:pt x="164925" y="94191"/>
                </a:cubicBezTo>
                <a:cubicBezTo>
                  <a:pt x="159511" y="94191"/>
                  <a:pt x="154459" y="91665"/>
                  <a:pt x="151572" y="87695"/>
                </a:cubicBezTo>
                <a:lnTo>
                  <a:pt x="123784" y="100687"/>
                </a:lnTo>
                <a:cubicBezTo>
                  <a:pt x="123784" y="101409"/>
                  <a:pt x="123784" y="102491"/>
                  <a:pt x="123784" y="103935"/>
                </a:cubicBezTo>
                <a:cubicBezTo>
                  <a:pt x="123784" y="113318"/>
                  <a:pt x="115844" y="121618"/>
                  <a:pt x="106100" y="121618"/>
                </a:cubicBezTo>
                <a:cubicBezTo>
                  <a:pt x="101770" y="121618"/>
                  <a:pt x="97439" y="119453"/>
                  <a:pt x="94552" y="116566"/>
                </a:cubicBezTo>
                <a:lnTo>
                  <a:pt x="64237" y="136054"/>
                </a:lnTo>
                <a:cubicBezTo>
                  <a:pt x="64959" y="137497"/>
                  <a:pt x="65320" y="139663"/>
                  <a:pt x="65320" y="141467"/>
                </a:cubicBezTo>
                <a:cubicBezTo>
                  <a:pt x="65320" y="150850"/>
                  <a:pt x="57381" y="158790"/>
                  <a:pt x="47637" y="158790"/>
                </a:cubicBezTo>
                <a:cubicBezTo>
                  <a:pt x="40780" y="158790"/>
                  <a:pt x="35006" y="154820"/>
                  <a:pt x="31758" y="149046"/>
                </a:cubicBezTo>
                <a:lnTo>
                  <a:pt x="8661" y="153737"/>
                </a:lnTo>
                <a:lnTo>
                  <a:pt x="8661" y="211118"/>
                </a:lnTo>
                <a:lnTo>
                  <a:pt x="30314" y="211118"/>
                </a:lnTo>
                <a:lnTo>
                  <a:pt x="30314" y="176834"/>
                </a:lnTo>
                <a:cubicBezTo>
                  <a:pt x="30314" y="174308"/>
                  <a:pt x="32119" y="172504"/>
                  <a:pt x="34284" y="172504"/>
                </a:cubicBezTo>
                <a:lnTo>
                  <a:pt x="60989" y="172504"/>
                </a:lnTo>
                <a:cubicBezTo>
                  <a:pt x="63155" y="172504"/>
                  <a:pt x="65320" y="174308"/>
                  <a:pt x="65320" y="176834"/>
                </a:cubicBezTo>
                <a:lnTo>
                  <a:pt x="65320" y="211118"/>
                </a:lnTo>
                <a:lnTo>
                  <a:pt x="88778" y="211118"/>
                </a:lnTo>
                <a:lnTo>
                  <a:pt x="88778" y="141467"/>
                </a:lnTo>
                <a:cubicBezTo>
                  <a:pt x="88778" y="139302"/>
                  <a:pt x="90943" y="137136"/>
                  <a:pt x="93108" y="137136"/>
                </a:cubicBezTo>
                <a:lnTo>
                  <a:pt x="119453" y="137136"/>
                </a:lnTo>
                <a:cubicBezTo>
                  <a:pt x="121979" y="137136"/>
                  <a:pt x="123784" y="139302"/>
                  <a:pt x="123784" y="141467"/>
                </a:cubicBezTo>
                <a:lnTo>
                  <a:pt x="123784" y="211118"/>
                </a:lnTo>
                <a:lnTo>
                  <a:pt x="147241" y="211118"/>
                </a:lnTo>
                <a:lnTo>
                  <a:pt x="147241" y="115844"/>
                </a:lnTo>
                <a:cubicBezTo>
                  <a:pt x="147241" y="113318"/>
                  <a:pt x="149406" y="111514"/>
                  <a:pt x="151933" y="111514"/>
                </a:cubicBezTo>
                <a:lnTo>
                  <a:pt x="178277" y="111514"/>
                </a:lnTo>
                <a:cubicBezTo>
                  <a:pt x="180804" y="111514"/>
                  <a:pt x="182608" y="113318"/>
                  <a:pt x="182608" y="115844"/>
                </a:cubicBezTo>
                <a:lnTo>
                  <a:pt x="182608" y="211118"/>
                </a:lnTo>
                <a:lnTo>
                  <a:pt x="281491" y="211118"/>
                </a:lnTo>
                <a:lnTo>
                  <a:pt x="281491" y="22014"/>
                </a:lnTo>
                <a:cubicBezTo>
                  <a:pt x="281491" y="14796"/>
                  <a:pt x="275717" y="8661"/>
                  <a:pt x="268138" y="8661"/>
                </a:cubicBezTo>
                <a:lnTo>
                  <a:pt x="22014" y="8661"/>
                </a:lnTo>
                <a:close/>
                <a:moveTo>
                  <a:pt x="22014" y="0"/>
                </a:moveTo>
                <a:lnTo>
                  <a:pt x="268138" y="0"/>
                </a:lnTo>
                <a:cubicBezTo>
                  <a:pt x="280408" y="0"/>
                  <a:pt x="290152" y="9744"/>
                  <a:pt x="290152" y="22014"/>
                </a:cubicBezTo>
                <a:lnTo>
                  <a:pt x="290152" y="215449"/>
                </a:lnTo>
                <a:lnTo>
                  <a:pt x="290152" y="232771"/>
                </a:lnTo>
                <a:cubicBezTo>
                  <a:pt x="290152" y="245402"/>
                  <a:pt x="280408" y="255146"/>
                  <a:pt x="268138" y="255146"/>
                </a:cubicBezTo>
                <a:lnTo>
                  <a:pt x="202457" y="255146"/>
                </a:lnTo>
                <a:lnTo>
                  <a:pt x="202457" y="281491"/>
                </a:lnTo>
                <a:lnTo>
                  <a:pt x="233132" y="281491"/>
                </a:lnTo>
                <a:cubicBezTo>
                  <a:pt x="235659" y="281491"/>
                  <a:pt x="237463" y="283295"/>
                  <a:pt x="237463" y="285822"/>
                </a:cubicBezTo>
                <a:cubicBezTo>
                  <a:pt x="237463" y="288348"/>
                  <a:pt x="235659" y="290152"/>
                  <a:pt x="233132" y="290152"/>
                </a:cubicBezTo>
                <a:lnTo>
                  <a:pt x="57381" y="290152"/>
                </a:lnTo>
                <a:cubicBezTo>
                  <a:pt x="54854" y="290152"/>
                  <a:pt x="53050" y="288348"/>
                  <a:pt x="53050" y="285822"/>
                </a:cubicBezTo>
                <a:cubicBezTo>
                  <a:pt x="53050" y="283295"/>
                  <a:pt x="54854" y="281491"/>
                  <a:pt x="57381" y="281491"/>
                </a:cubicBezTo>
                <a:lnTo>
                  <a:pt x="88056" y="281491"/>
                </a:lnTo>
                <a:lnTo>
                  <a:pt x="88056" y="255146"/>
                </a:lnTo>
                <a:lnTo>
                  <a:pt x="22014" y="255146"/>
                </a:lnTo>
                <a:cubicBezTo>
                  <a:pt x="10105" y="255146"/>
                  <a:pt x="0" y="245402"/>
                  <a:pt x="0" y="232771"/>
                </a:cubicBezTo>
                <a:lnTo>
                  <a:pt x="0" y="215449"/>
                </a:lnTo>
                <a:lnTo>
                  <a:pt x="0" y="22014"/>
                </a:lnTo>
                <a:cubicBezTo>
                  <a:pt x="0" y="9744"/>
                  <a:pt x="10105" y="0"/>
                  <a:pt x="220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3" name="Freeform 974">
            <a:extLst>
              <a:ext uri="{FF2B5EF4-FFF2-40B4-BE49-F238E27FC236}">
                <a16:creationId xmlns:a16="http://schemas.microsoft.com/office/drawing/2014/main" id="{4F00F1A4-C011-A9B8-56CF-2E26BA08AA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3372376"/>
            <a:ext cx="388957" cy="386615"/>
          </a:xfrm>
          <a:custGeom>
            <a:avLst/>
            <a:gdLst>
              <a:gd name="T0" fmla="*/ 2562819 w 290153"/>
              <a:gd name="T1" fmla="*/ 4648840 h 288566"/>
              <a:gd name="T2" fmla="*/ 4454966 w 290153"/>
              <a:gd name="T3" fmla="*/ 4710983 h 288566"/>
              <a:gd name="T4" fmla="*/ 4894049 w 290153"/>
              <a:gd name="T5" fmla="*/ 4445216 h 288566"/>
              <a:gd name="T6" fmla="*/ 954780 w 290153"/>
              <a:gd name="T7" fmla="*/ 3724807 h 288566"/>
              <a:gd name="T8" fmla="*/ 954780 w 290153"/>
              <a:gd name="T9" fmla="*/ 3724807 h 288566"/>
              <a:gd name="T10" fmla="*/ 4141849 w 290153"/>
              <a:gd name="T11" fmla="*/ 3765847 h 288566"/>
              <a:gd name="T12" fmla="*/ 3798577 w 290153"/>
              <a:gd name="T13" fmla="*/ 4008450 h 288566"/>
              <a:gd name="T14" fmla="*/ 3348029 w 290153"/>
              <a:gd name="T15" fmla="*/ 4308147 h 288566"/>
              <a:gd name="T16" fmla="*/ 3769948 w 290153"/>
              <a:gd name="T17" fmla="*/ 4664923 h 288566"/>
              <a:gd name="T18" fmla="*/ 3762827 w 290153"/>
              <a:gd name="T19" fmla="*/ 5314289 h 288566"/>
              <a:gd name="T20" fmla="*/ 4292034 w 290153"/>
              <a:gd name="T21" fmla="*/ 5207247 h 288566"/>
              <a:gd name="T22" fmla="*/ 4706794 w 290153"/>
              <a:gd name="T23" fmla="*/ 5135869 h 288566"/>
              <a:gd name="T24" fmla="*/ 5357574 w 290153"/>
              <a:gd name="T25" fmla="*/ 5143036 h 288566"/>
              <a:gd name="T26" fmla="*/ 5243133 w 290153"/>
              <a:gd name="T27" fmla="*/ 4607853 h 288566"/>
              <a:gd name="T28" fmla="*/ 5243133 w 290153"/>
              <a:gd name="T29" fmla="*/ 4251062 h 288566"/>
              <a:gd name="T30" fmla="*/ 5357574 w 290153"/>
              <a:gd name="T31" fmla="*/ 3723017 h 288566"/>
              <a:gd name="T32" fmla="*/ 4706794 w 290153"/>
              <a:gd name="T33" fmla="*/ 3730157 h 288566"/>
              <a:gd name="T34" fmla="*/ 4256246 w 290153"/>
              <a:gd name="T35" fmla="*/ 3145044 h 288566"/>
              <a:gd name="T36" fmla="*/ 4835512 w 290153"/>
              <a:gd name="T37" fmla="*/ 3587451 h 288566"/>
              <a:gd name="T38" fmla="*/ 5529181 w 290153"/>
              <a:gd name="T39" fmla="*/ 3772960 h 288566"/>
              <a:gd name="T40" fmla="*/ 5758046 w 290153"/>
              <a:gd name="T41" fmla="*/ 4215414 h 288566"/>
              <a:gd name="T42" fmla="*/ 5321824 w 290153"/>
              <a:gd name="T43" fmla="*/ 4771982 h 288566"/>
              <a:gd name="T44" fmla="*/ 5235976 w 290153"/>
              <a:gd name="T45" fmla="*/ 5492681 h 288566"/>
              <a:gd name="T46" fmla="*/ 4756852 w 290153"/>
              <a:gd name="T47" fmla="*/ 5649675 h 288566"/>
              <a:gd name="T48" fmla="*/ 4184752 w 290153"/>
              <a:gd name="T49" fmla="*/ 5649675 h 288566"/>
              <a:gd name="T50" fmla="*/ 3705595 w 290153"/>
              <a:gd name="T51" fmla="*/ 5492681 h 288566"/>
              <a:gd name="T52" fmla="*/ 3619787 w 290153"/>
              <a:gd name="T53" fmla="*/ 4771982 h 288566"/>
              <a:gd name="T54" fmla="*/ 3183553 w 290153"/>
              <a:gd name="T55" fmla="*/ 4215414 h 288566"/>
              <a:gd name="T56" fmla="*/ 3412402 w 290153"/>
              <a:gd name="T57" fmla="*/ 3772960 h 288566"/>
              <a:gd name="T58" fmla="*/ 4113220 w 290153"/>
              <a:gd name="T59" fmla="*/ 3587451 h 288566"/>
              <a:gd name="T60" fmla="*/ 179448 w 290153"/>
              <a:gd name="T61" fmla="*/ 2736288 h 288566"/>
              <a:gd name="T62" fmla="*/ 179448 w 290153"/>
              <a:gd name="T63" fmla="*/ 2736288 h 288566"/>
              <a:gd name="T64" fmla="*/ 3731294 w 290153"/>
              <a:gd name="T65" fmla="*/ 2643056 h 288566"/>
              <a:gd name="T66" fmla="*/ 1517792 w 290153"/>
              <a:gd name="T67" fmla="*/ 2737733 h 288566"/>
              <a:gd name="T68" fmla="*/ 4436542 w 290153"/>
              <a:gd name="T69" fmla="*/ 1719142 h 288566"/>
              <a:gd name="T70" fmla="*/ 466607 w 290153"/>
              <a:gd name="T71" fmla="*/ 1489914 h 288566"/>
              <a:gd name="T72" fmla="*/ 466607 w 290153"/>
              <a:gd name="T73" fmla="*/ 1489914 h 288566"/>
              <a:gd name="T74" fmla="*/ 3238397 w 290153"/>
              <a:gd name="T75" fmla="*/ 1947692 h 288566"/>
              <a:gd name="T76" fmla="*/ 2227447 w 290153"/>
              <a:gd name="T77" fmla="*/ 2148019 h 288566"/>
              <a:gd name="T78" fmla="*/ 2758031 w 290153"/>
              <a:gd name="T79" fmla="*/ 3850966 h 288566"/>
              <a:gd name="T80" fmla="*/ 2098389 w 290153"/>
              <a:gd name="T81" fmla="*/ 3314305 h 288566"/>
              <a:gd name="T82" fmla="*/ 3109347 w 290153"/>
              <a:gd name="T83" fmla="*/ 3113978 h 288566"/>
              <a:gd name="T84" fmla="*/ 2578762 w 290153"/>
              <a:gd name="T85" fmla="*/ 1411042 h 288566"/>
              <a:gd name="T86" fmla="*/ 4350374 w 290153"/>
              <a:gd name="T87" fmla="*/ 1568720 h 288566"/>
              <a:gd name="T88" fmla="*/ 552755 w 290153"/>
              <a:gd name="T89" fmla="*/ 1339488 h 288566"/>
              <a:gd name="T90" fmla="*/ 2742335 w 290153"/>
              <a:gd name="T91" fmla="*/ 179046 h 288566"/>
              <a:gd name="T92" fmla="*/ 2742335 w 290153"/>
              <a:gd name="T93" fmla="*/ 179046 h 288566"/>
              <a:gd name="T94" fmla="*/ 2562819 w 290153"/>
              <a:gd name="T95" fmla="*/ 644667 h 288566"/>
              <a:gd name="T96" fmla="*/ 5247725 w 290153"/>
              <a:gd name="T97" fmla="*/ 3194738 h 288566"/>
              <a:gd name="T98" fmla="*/ 4659047 w 290153"/>
              <a:gd name="T99" fmla="*/ 2736288 h 288566"/>
              <a:gd name="T100" fmla="*/ 4486783 w 290153"/>
              <a:gd name="T101" fmla="*/ 2643152 h 288566"/>
              <a:gd name="T102" fmla="*/ 2936148 w 290153"/>
              <a:gd name="T103" fmla="*/ 4462612 h 288566"/>
              <a:gd name="T104" fmla="*/ 2742335 w 290153"/>
              <a:gd name="T105" fmla="*/ 5114472 h 288566"/>
              <a:gd name="T106" fmla="*/ 2648991 w 290153"/>
              <a:gd name="T107" fmla="*/ 5293538 h 28856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0153" h="288566">
                <a:moveTo>
                  <a:pt x="86497" y="222731"/>
                </a:moveTo>
                <a:lnTo>
                  <a:pt x="74604" y="242913"/>
                </a:lnTo>
                <a:cubicBezTo>
                  <a:pt x="90822" y="251563"/>
                  <a:pt x="109563" y="256609"/>
                  <a:pt x="128664" y="257330"/>
                </a:cubicBezTo>
                <a:lnTo>
                  <a:pt x="128664" y="233903"/>
                </a:lnTo>
                <a:cubicBezTo>
                  <a:pt x="113527" y="233182"/>
                  <a:pt x="99111" y="229218"/>
                  <a:pt x="86497" y="222731"/>
                </a:cubicBezTo>
                <a:close/>
                <a:moveTo>
                  <a:pt x="223657" y="210648"/>
                </a:moveTo>
                <a:cubicBezTo>
                  <a:pt x="216429" y="210648"/>
                  <a:pt x="210647" y="216430"/>
                  <a:pt x="210647" y="223657"/>
                </a:cubicBezTo>
                <a:cubicBezTo>
                  <a:pt x="210647" y="230885"/>
                  <a:pt x="216429" y="237029"/>
                  <a:pt x="223657" y="237029"/>
                </a:cubicBezTo>
                <a:cubicBezTo>
                  <a:pt x="230884" y="237029"/>
                  <a:pt x="237028" y="230885"/>
                  <a:pt x="237028" y="223657"/>
                </a:cubicBezTo>
                <a:cubicBezTo>
                  <a:pt x="237028" y="216430"/>
                  <a:pt x="230884" y="210648"/>
                  <a:pt x="223657" y="210648"/>
                </a:cubicBezTo>
                <a:close/>
                <a:moveTo>
                  <a:pt x="223657" y="201613"/>
                </a:moveTo>
                <a:cubicBezTo>
                  <a:pt x="235944" y="201613"/>
                  <a:pt x="245701" y="211732"/>
                  <a:pt x="245701" y="223657"/>
                </a:cubicBezTo>
                <a:cubicBezTo>
                  <a:pt x="245701" y="235944"/>
                  <a:pt x="235944" y="245702"/>
                  <a:pt x="223657" y="245702"/>
                </a:cubicBezTo>
                <a:cubicBezTo>
                  <a:pt x="211731" y="245702"/>
                  <a:pt x="201612" y="235944"/>
                  <a:pt x="201612" y="223657"/>
                </a:cubicBezTo>
                <a:cubicBezTo>
                  <a:pt x="201612" y="211732"/>
                  <a:pt x="211731" y="201613"/>
                  <a:pt x="223657" y="201613"/>
                </a:cubicBezTo>
                <a:close/>
                <a:moveTo>
                  <a:pt x="47934" y="187411"/>
                </a:moveTo>
                <a:lnTo>
                  <a:pt x="27751" y="198944"/>
                </a:lnTo>
                <a:cubicBezTo>
                  <a:pt x="37842" y="215162"/>
                  <a:pt x="51177" y="228497"/>
                  <a:pt x="67396" y="238589"/>
                </a:cubicBezTo>
                <a:lnTo>
                  <a:pt x="78929" y="218045"/>
                </a:lnTo>
                <a:cubicBezTo>
                  <a:pt x="66314" y="210477"/>
                  <a:pt x="56223" y="199664"/>
                  <a:pt x="47934" y="187411"/>
                </a:cubicBezTo>
                <a:close/>
                <a:moveTo>
                  <a:pt x="218348" y="166498"/>
                </a:moveTo>
                <a:lnTo>
                  <a:pt x="215476" y="184090"/>
                </a:lnTo>
                <a:cubicBezTo>
                  <a:pt x="215476" y="185885"/>
                  <a:pt x="214399" y="186962"/>
                  <a:pt x="212604" y="187680"/>
                </a:cubicBezTo>
                <a:cubicBezTo>
                  <a:pt x="211168" y="188039"/>
                  <a:pt x="209373" y="188757"/>
                  <a:pt x="207937" y="189475"/>
                </a:cubicBezTo>
                <a:cubicBezTo>
                  <a:pt x="206501" y="190193"/>
                  <a:pt x="204705" y="190193"/>
                  <a:pt x="203269" y="189475"/>
                </a:cubicBezTo>
                <a:lnTo>
                  <a:pt x="188908" y="178704"/>
                </a:lnTo>
                <a:cubicBezTo>
                  <a:pt x="185677" y="181218"/>
                  <a:pt x="182804" y="184090"/>
                  <a:pt x="180291" y="187321"/>
                </a:cubicBezTo>
                <a:lnTo>
                  <a:pt x="190703" y="201682"/>
                </a:lnTo>
                <a:cubicBezTo>
                  <a:pt x="191780" y="203118"/>
                  <a:pt x="191780" y="204913"/>
                  <a:pt x="191062" y="206349"/>
                </a:cubicBezTo>
                <a:cubicBezTo>
                  <a:pt x="190344" y="207786"/>
                  <a:pt x="189626" y="209581"/>
                  <a:pt x="189267" y="211017"/>
                </a:cubicBezTo>
                <a:cubicBezTo>
                  <a:pt x="188549" y="212812"/>
                  <a:pt x="187113" y="213889"/>
                  <a:pt x="185677" y="214248"/>
                </a:cubicBezTo>
                <a:lnTo>
                  <a:pt x="168084" y="216761"/>
                </a:lnTo>
                <a:cubicBezTo>
                  <a:pt x="167725" y="218915"/>
                  <a:pt x="167725" y="220710"/>
                  <a:pt x="167725" y="222865"/>
                </a:cubicBezTo>
                <a:cubicBezTo>
                  <a:pt x="167725" y="225019"/>
                  <a:pt x="167725" y="227173"/>
                  <a:pt x="168084" y="229327"/>
                </a:cubicBezTo>
                <a:lnTo>
                  <a:pt x="185677" y="231840"/>
                </a:lnTo>
                <a:cubicBezTo>
                  <a:pt x="187113" y="232199"/>
                  <a:pt x="188549" y="233276"/>
                  <a:pt x="189267" y="234712"/>
                </a:cubicBezTo>
                <a:cubicBezTo>
                  <a:pt x="189626" y="236508"/>
                  <a:pt x="190344" y="237944"/>
                  <a:pt x="191062" y="239739"/>
                </a:cubicBezTo>
                <a:cubicBezTo>
                  <a:pt x="191780" y="241175"/>
                  <a:pt x="191780" y="242970"/>
                  <a:pt x="190703" y="244047"/>
                </a:cubicBezTo>
                <a:lnTo>
                  <a:pt x="180291" y="258767"/>
                </a:lnTo>
                <a:cubicBezTo>
                  <a:pt x="182804" y="261998"/>
                  <a:pt x="185677" y="264870"/>
                  <a:pt x="188908" y="267384"/>
                </a:cubicBezTo>
                <a:lnTo>
                  <a:pt x="203269" y="256613"/>
                </a:lnTo>
                <a:cubicBezTo>
                  <a:pt x="204705" y="255895"/>
                  <a:pt x="206501" y="255536"/>
                  <a:pt x="207937" y="256613"/>
                </a:cubicBezTo>
                <a:cubicBezTo>
                  <a:pt x="209373" y="256972"/>
                  <a:pt x="210809" y="257690"/>
                  <a:pt x="212604" y="258408"/>
                </a:cubicBezTo>
                <a:cubicBezTo>
                  <a:pt x="214399" y="258767"/>
                  <a:pt x="215476" y="260203"/>
                  <a:pt x="215476" y="261998"/>
                </a:cubicBezTo>
                <a:lnTo>
                  <a:pt x="218348" y="279590"/>
                </a:lnTo>
                <a:cubicBezTo>
                  <a:pt x="222298" y="279950"/>
                  <a:pt x="226606" y="279950"/>
                  <a:pt x="230555" y="279590"/>
                </a:cubicBezTo>
                <a:lnTo>
                  <a:pt x="233427" y="261998"/>
                </a:lnTo>
                <a:cubicBezTo>
                  <a:pt x="233786" y="260203"/>
                  <a:pt x="234863" y="258767"/>
                  <a:pt x="236300" y="258408"/>
                </a:cubicBezTo>
                <a:cubicBezTo>
                  <a:pt x="237736" y="257690"/>
                  <a:pt x="239531" y="256972"/>
                  <a:pt x="241326" y="256254"/>
                </a:cubicBezTo>
                <a:cubicBezTo>
                  <a:pt x="242762" y="255536"/>
                  <a:pt x="244557" y="255895"/>
                  <a:pt x="245634" y="256613"/>
                </a:cubicBezTo>
                <a:lnTo>
                  <a:pt x="259995" y="267384"/>
                </a:lnTo>
                <a:cubicBezTo>
                  <a:pt x="263226" y="264870"/>
                  <a:pt x="266458" y="261998"/>
                  <a:pt x="268971" y="258767"/>
                </a:cubicBezTo>
                <a:lnTo>
                  <a:pt x="258200" y="244047"/>
                </a:lnTo>
                <a:cubicBezTo>
                  <a:pt x="257482" y="242970"/>
                  <a:pt x="257123" y="241175"/>
                  <a:pt x="257841" y="239739"/>
                </a:cubicBezTo>
                <a:cubicBezTo>
                  <a:pt x="258918" y="237944"/>
                  <a:pt x="259277" y="236508"/>
                  <a:pt x="259995" y="234712"/>
                </a:cubicBezTo>
                <a:cubicBezTo>
                  <a:pt x="260354" y="233276"/>
                  <a:pt x="261790" y="232199"/>
                  <a:pt x="263226" y="231840"/>
                </a:cubicBezTo>
                <a:lnTo>
                  <a:pt x="281178" y="229327"/>
                </a:lnTo>
                <a:cubicBezTo>
                  <a:pt x="281178" y="227173"/>
                  <a:pt x="281178" y="225019"/>
                  <a:pt x="281178" y="222865"/>
                </a:cubicBezTo>
                <a:cubicBezTo>
                  <a:pt x="281178" y="220710"/>
                  <a:pt x="281178" y="218915"/>
                  <a:pt x="281178" y="216761"/>
                </a:cubicBezTo>
                <a:lnTo>
                  <a:pt x="263226" y="213889"/>
                </a:lnTo>
                <a:cubicBezTo>
                  <a:pt x="261790" y="213889"/>
                  <a:pt x="260354" y="212812"/>
                  <a:pt x="259995" y="211017"/>
                </a:cubicBezTo>
                <a:cubicBezTo>
                  <a:pt x="259277" y="209581"/>
                  <a:pt x="258918" y="207786"/>
                  <a:pt x="257841" y="206349"/>
                </a:cubicBezTo>
                <a:cubicBezTo>
                  <a:pt x="257123" y="204913"/>
                  <a:pt x="257123" y="203118"/>
                  <a:pt x="258200" y="201682"/>
                </a:cubicBezTo>
                <a:lnTo>
                  <a:pt x="268971" y="187321"/>
                </a:lnTo>
                <a:cubicBezTo>
                  <a:pt x="266458" y="184090"/>
                  <a:pt x="263226" y="181218"/>
                  <a:pt x="259995" y="178704"/>
                </a:cubicBezTo>
                <a:lnTo>
                  <a:pt x="245634" y="189116"/>
                </a:lnTo>
                <a:cubicBezTo>
                  <a:pt x="244557" y="190193"/>
                  <a:pt x="242403" y="190193"/>
                  <a:pt x="240967" y="189475"/>
                </a:cubicBezTo>
                <a:cubicBezTo>
                  <a:pt x="239890" y="188757"/>
                  <a:pt x="238095" y="188039"/>
                  <a:pt x="236300" y="187680"/>
                </a:cubicBezTo>
                <a:cubicBezTo>
                  <a:pt x="234863" y="186962"/>
                  <a:pt x="233786" y="185885"/>
                  <a:pt x="233427" y="184090"/>
                </a:cubicBezTo>
                <a:lnTo>
                  <a:pt x="230555" y="166498"/>
                </a:lnTo>
                <a:cubicBezTo>
                  <a:pt x="226606" y="166138"/>
                  <a:pt x="222298" y="166138"/>
                  <a:pt x="218348" y="166498"/>
                </a:cubicBezTo>
                <a:close/>
                <a:moveTo>
                  <a:pt x="213681" y="158240"/>
                </a:moveTo>
                <a:cubicBezTo>
                  <a:pt x="220861" y="157163"/>
                  <a:pt x="228401" y="157163"/>
                  <a:pt x="235222" y="158240"/>
                </a:cubicBezTo>
                <a:cubicBezTo>
                  <a:pt x="237018" y="158599"/>
                  <a:pt x="238454" y="160035"/>
                  <a:pt x="238813" y="161830"/>
                </a:cubicBezTo>
                <a:lnTo>
                  <a:pt x="241685" y="180140"/>
                </a:lnTo>
                <a:cubicBezTo>
                  <a:pt x="242044" y="180140"/>
                  <a:pt x="242403" y="180499"/>
                  <a:pt x="242762" y="180499"/>
                </a:cubicBezTo>
                <a:lnTo>
                  <a:pt x="257841" y="169729"/>
                </a:lnTo>
                <a:cubicBezTo>
                  <a:pt x="259277" y="168652"/>
                  <a:pt x="261431" y="168652"/>
                  <a:pt x="262867" y="169729"/>
                </a:cubicBezTo>
                <a:cubicBezTo>
                  <a:pt x="268612" y="174037"/>
                  <a:pt x="273638" y="179063"/>
                  <a:pt x="277946" y="184449"/>
                </a:cubicBezTo>
                <a:cubicBezTo>
                  <a:pt x="279023" y="186244"/>
                  <a:pt x="279023" y="188039"/>
                  <a:pt x="277587" y="189834"/>
                </a:cubicBezTo>
                <a:lnTo>
                  <a:pt x="266817" y="204913"/>
                </a:lnTo>
                <a:lnTo>
                  <a:pt x="267176" y="205631"/>
                </a:lnTo>
                <a:lnTo>
                  <a:pt x="285845" y="208504"/>
                </a:lnTo>
                <a:cubicBezTo>
                  <a:pt x="287281" y="209222"/>
                  <a:pt x="288717" y="210299"/>
                  <a:pt x="289076" y="212094"/>
                </a:cubicBezTo>
                <a:cubicBezTo>
                  <a:pt x="289794" y="215684"/>
                  <a:pt x="290153" y="219274"/>
                  <a:pt x="290153" y="222865"/>
                </a:cubicBezTo>
                <a:cubicBezTo>
                  <a:pt x="290153" y="226455"/>
                  <a:pt x="289794" y="230045"/>
                  <a:pt x="289076" y="233635"/>
                </a:cubicBezTo>
                <a:cubicBezTo>
                  <a:pt x="288717" y="235430"/>
                  <a:pt x="287281" y="236867"/>
                  <a:pt x="285845" y="237226"/>
                </a:cubicBezTo>
                <a:lnTo>
                  <a:pt x="267176" y="240098"/>
                </a:lnTo>
                <a:cubicBezTo>
                  <a:pt x="267176" y="240457"/>
                  <a:pt x="266817" y="240816"/>
                  <a:pt x="266817" y="241175"/>
                </a:cubicBezTo>
                <a:lnTo>
                  <a:pt x="277587" y="256254"/>
                </a:lnTo>
                <a:cubicBezTo>
                  <a:pt x="279023" y="257690"/>
                  <a:pt x="279023" y="259844"/>
                  <a:pt x="277946" y="261280"/>
                </a:cubicBezTo>
                <a:cubicBezTo>
                  <a:pt x="273638" y="267025"/>
                  <a:pt x="268612" y="272051"/>
                  <a:pt x="262867" y="276359"/>
                </a:cubicBezTo>
                <a:cubicBezTo>
                  <a:pt x="261431" y="277436"/>
                  <a:pt x="259277" y="277436"/>
                  <a:pt x="257841" y="276359"/>
                </a:cubicBezTo>
                <a:lnTo>
                  <a:pt x="242762" y="265589"/>
                </a:lnTo>
                <a:cubicBezTo>
                  <a:pt x="242403" y="265589"/>
                  <a:pt x="242044" y="265589"/>
                  <a:pt x="241685" y="265948"/>
                </a:cubicBezTo>
                <a:lnTo>
                  <a:pt x="238813" y="284258"/>
                </a:lnTo>
                <a:cubicBezTo>
                  <a:pt x="238454" y="285694"/>
                  <a:pt x="237018" y="287489"/>
                  <a:pt x="235222" y="287848"/>
                </a:cubicBezTo>
                <a:cubicBezTo>
                  <a:pt x="231632" y="288207"/>
                  <a:pt x="228042" y="288566"/>
                  <a:pt x="224452" y="288566"/>
                </a:cubicBezTo>
                <a:cubicBezTo>
                  <a:pt x="220861" y="288566"/>
                  <a:pt x="217271" y="288207"/>
                  <a:pt x="213681" y="287848"/>
                </a:cubicBezTo>
                <a:cubicBezTo>
                  <a:pt x="211886" y="287489"/>
                  <a:pt x="210809" y="286053"/>
                  <a:pt x="210091" y="284258"/>
                </a:cubicBezTo>
                <a:lnTo>
                  <a:pt x="207219" y="265948"/>
                </a:lnTo>
                <a:cubicBezTo>
                  <a:pt x="207219" y="265589"/>
                  <a:pt x="206501" y="265589"/>
                  <a:pt x="206501" y="265589"/>
                </a:cubicBezTo>
                <a:lnTo>
                  <a:pt x="191062" y="276359"/>
                </a:lnTo>
                <a:cubicBezTo>
                  <a:pt x="189626" y="277436"/>
                  <a:pt x="187472" y="277436"/>
                  <a:pt x="186036" y="276359"/>
                </a:cubicBezTo>
                <a:cubicBezTo>
                  <a:pt x="180291" y="272051"/>
                  <a:pt x="175265" y="267025"/>
                  <a:pt x="171316" y="261280"/>
                </a:cubicBezTo>
                <a:cubicBezTo>
                  <a:pt x="170239" y="259844"/>
                  <a:pt x="170239" y="257690"/>
                  <a:pt x="171316" y="256254"/>
                </a:cubicBezTo>
                <a:lnTo>
                  <a:pt x="182086" y="241175"/>
                </a:lnTo>
                <a:cubicBezTo>
                  <a:pt x="182086" y="240816"/>
                  <a:pt x="181727" y="240457"/>
                  <a:pt x="181727" y="240098"/>
                </a:cubicBezTo>
                <a:lnTo>
                  <a:pt x="163417" y="237226"/>
                </a:lnTo>
                <a:cubicBezTo>
                  <a:pt x="161622" y="236867"/>
                  <a:pt x="160186" y="235430"/>
                  <a:pt x="159827" y="233635"/>
                </a:cubicBezTo>
                <a:cubicBezTo>
                  <a:pt x="159109" y="230045"/>
                  <a:pt x="158750" y="226455"/>
                  <a:pt x="158750" y="222865"/>
                </a:cubicBezTo>
                <a:cubicBezTo>
                  <a:pt x="158750" y="219274"/>
                  <a:pt x="159109" y="215684"/>
                  <a:pt x="159827" y="212094"/>
                </a:cubicBezTo>
                <a:cubicBezTo>
                  <a:pt x="160186" y="210658"/>
                  <a:pt x="161622" y="209222"/>
                  <a:pt x="163417" y="208504"/>
                </a:cubicBezTo>
                <a:lnTo>
                  <a:pt x="181727" y="205631"/>
                </a:lnTo>
                <a:lnTo>
                  <a:pt x="182086" y="204913"/>
                </a:lnTo>
                <a:lnTo>
                  <a:pt x="171316" y="189834"/>
                </a:lnTo>
                <a:cubicBezTo>
                  <a:pt x="170239" y="188398"/>
                  <a:pt x="170239" y="186244"/>
                  <a:pt x="171316" y="184808"/>
                </a:cubicBezTo>
                <a:cubicBezTo>
                  <a:pt x="175265" y="179063"/>
                  <a:pt x="180291" y="174037"/>
                  <a:pt x="186036" y="169729"/>
                </a:cubicBezTo>
                <a:cubicBezTo>
                  <a:pt x="187472" y="168652"/>
                  <a:pt x="189626" y="168652"/>
                  <a:pt x="191062" y="169729"/>
                </a:cubicBezTo>
                <a:lnTo>
                  <a:pt x="206501" y="180499"/>
                </a:lnTo>
                <a:cubicBezTo>
                  <a:pt x="206501" y="180499"/>
                  <a:pt x="207219" y="180499"/>
                  <a:pt x="207219" y="180140"/>
                </a:cubicBezTo>
                <a:lnTo>
                  <a:pt x="210091" y="161830"/>
                </a:lnTo>
                <a:cubicBezTo>
                  <a:pt x="210809" y="160035"/>
                  <a:pt x="211886" y="158599"/>
                  <a:pt x="213681" y="158240"/>
                </a:cubicBezTo>
                <a:close/>
                <a:moveTo>
                  <a:pt x="9010" y="137675"/>
                </a:moveTo>
                <a:cubicBezTo>
                  <a:pt x="9731" y="157137"/>
                  <a:pt x="14416" y="175157"/>
                  <a:pt x="23426" y="191375"/>
                </a:cubicBezTo>
                <a:lnTo>
                  <a:pt x="43609" y="179842"/>
                </a:lnTo>
                <a:cubicBezTo>
                  <a:pt x="37122" y="166868"/>
                  <a:pt x="32797" y="152812"/>
                  <a:pt x="32436" y="137675"/>
                </a:cubicBezTo>
                <a:lnTo>
                  <a:pt x="9010" y="137675"/>
                </a:lnTo>
                <a:close/>
                <a:moveTo>
                  <a:pt x="191897" y="128588"/>
                </a:moveTo>
                <a:cubicBezTo>
                  <a:pt x="194564" y="128588"/>
                  <a:pt x="196469" y="130786"/>
                  <a:pt x="196469" y="132984"/>
                </a:cubicBezTo>
                <a:cubicBezTo>
                  <a:pt x="196469" y="135915"/>
                  <a:pt x="194564" y="137747"/>
                  <a:pt x="191897" y="137747"/>
                </a:cubicBezTo>
                <a:cubicBezTo>
                  <a:pt x="189230" y="137747"/>
                  <a:pt x="187325" y="135915"/>
                  <a:pt x="187325" y="132984"/>
                </a:cubicBezTo>
                <a:cubicBezTo>
                  <a:pt x="187325" y="130786"/>
                  <a:pt x="189230" y="128588"/>
                  <a:pt x="191897" y="128588"/>
                </a:cubicBezTo>
                <a:close/>
                <a:moveTo>
                  <a:pt x="76199" y="128588"/>
                </a:moveTo>
                <a:cubicBezTo>
                  <a:pt x="78397" y="128588"/>
                  <a:pt x="80595" y="130786"/>
                  <a:pt x="80595" y="132984"/>
                </a:cubicBezTo>
                <a:cubicBezTo>
                  <a:pt x="80595" y="135915"/>
                  <a:pt x="78397" y="137747"/>
                  <a:pt x="76199" y="137747"/>
                </a:cubicBezTo>
                <a:cubicBezTo>
                  <a:pt x="73635" y="137747"/>
                  <a:pt x="71437" y="135915"/>
                  <a:pt x="71437" y="132984"/>
                </a:cubicBezTo>
                <a:cubicBezTo>
                  <a:pt x="71437" y="130786"/>
                  <a:pt x="73635" y="128588"/>
                  <a:pt x="76199" y="128588"/>
                </a:cubicBezTo>
                <a:close/>
                <a:moveTo>
                  <a:pt x="242913" y="74964"/>
                </a:moveTo>
                <a:lnTo>
                  <a:pt x="222731" y="86497"/>
                </a:lnTo>
                <a:cubicBezTo>
                  <a:pt x="229218" y="99472"/>
                  <a:pt x="233183" y="113888"/>
                  <a:pt x="233903" y="128665"/>
                </a:cubicBezTo>
                <a:lnTo>
                  <a:pt x="257330" y="128665"/>
                </a:lnTo>
                <a:cubicBezTo>
                  <a:pt x="256609" y="109563"/>
                  <a:pt x="251563" y="91182"/>
                  <a:pt x="242913" y="74964"/>
                </a:cubicBezTo>
                <a:close/>
                <a:moveTo>
                  <a:pt x="23426" y="74964"/>
                </a:moveTo>
                <a:cubicBezTo>
                  <a:pt x="14416" y="91182"/>
                  <a:pt x="9731" y="109563"/>
                  <a:pt x="9010" y="128665"/>
                </a:cubicBezTo>
                <a:lnTo>
                  <a:pt x="32436" y="128665"/>
                </a:lnTo>
                <a:cubicBezTo>
                  <a:pt x="32797" y="113888"/>
                  <a:pt x="37122" y="99472"/>
                  <a:pt x="43609" y="86497"/>
                </a:cubicBezTo>
                <a:lnTo>
                  <a:pt x="23426" y="74964"/>
                </a:lnTo>
                <a:close/>
                <a:moveTo>
                  <a:pt x="133783" y="66675"/>
                </a:moveTo>
                <a:cubicBezTo>
                  <a:pt x="136303" y="66675"/>
                  <a:pt x="138463" y="68835"/>
                  <a:pt x="138463" y="70995"/>
                </a:cubicBezTo>
                <a:lnTo>
                  <a:pt x="138463" y="80355"/>
                </a:lnTo>
                <a:cubicBezTo>
                  <a:pt x="149262" y="81435"/>
                  <a:pt x="158261" y="88275"/>
                  <a:pt x="162580" y="97996"/>
                </a:cubicBezTo>
                <a:cubicBezTo>
                  <a:pt x="163660" y="100156"/>
                  <a:pt x="162580" y="103036"/>
                  <a:pt x="160420" y="103756"/>
                </a:cubicBezTo>
                <a:cubicBezTo>
                  <a:pt x="157901" y="104836"/>
                  <a:pt x="155381" y="103756"/>
                  <a:pt x="154661" y="101596"/>
                </a:cubicBezTo>
                <a:cubicBezTo>
                  <a:pt x="151061" y="94035"/>
                  <a:pt x="143142" y="88635"/>
                  <a:pt x="133783" y="88635"/>
                </a:cubicBezTo>
                <a:cubicBezTo>
                  <a:pt x="121545" y="88635"/>
                  <a:pt x="111826" y="97636"/>
                  <a:pt x="111826" y="108076"/>
                </a:cubicBezTo>
                <a:cubicBezTo>
                  <a:pt x="111826" y="121036"/>
                  <a:pt x="119745" y="127876"/>
                  <a:pt x="133783" y="127876"/>
                </a:cubicBezTo>
                <a:cubicBezTo>
                  <a:pt x="156821" y="127876"/>
                  <a:pt x="164740" y="142637"/>
                  <a:pt x="164740" y="156677"/>
                </a:cubicBezTo>
                <a:cubicBezTo>
                  <a:pt x="164740" y="170717"/>
                  <a:pt x="153221" y="182598"/>
                  <a:pt x="138463" y="184398"/>
                </a:cubicBezTo>
                <a:lnTo>
                  <a:pt x="138463" y="193758"/>
                </a:lnTo>
                <a:cubicBezTo>
                  <a:pt x="138463" y="195918"/>
                  <a:pt x="136303" y="198078"/>
                  <a:pt x="133783" y="198078"/>
                </a:cubicBezTo>
                <a:cubicBezTo>
                  <a:pt x="131264" y="198078"/>
                  <a:pt x="129464" y="195918"/>
                  <a:pt x="129464" y="193758"/>
                </a:cubicBezTo>
                <a:lnTo>
                  <a:pt x="129464" y="184398"/>
                </a:lnTo>
                <a:cubicBezTo>
                  <a:pt x="118665" y="182958"/>
                  <a:pt x="109306" y="176477"/>
                  <a:pt x="105347" y="166757"/>
                </a:cubicBezTo>
                <a:cubicBezTo>
                  <a:pt x="104267" y="164597"/>
                  <a:pt x="105347" y="162077"/>
                  <a:pt x="107506" y="160997"/>
                </a:cubicBezTo>
                <a:cubicBezTo>
                  <a:pt x="109666" y="160277"/>
                  <a:pt x="112546" y="160997"/>
                  <a:pt x="113266" y="163157"/>
                </a:cubicBezTo>
                <a:cubicBezTo>
                  <a:pt x="116505" y="170717"/>
                  <a:pt x="124784" y="176117"/>
                  <a:pt x="133783" y="176117"/>
                </a:cubicBezTo>
                <a:cubicBezTo>
                  <a:pt x="146022" y="176117"/>
                  <a:pt x="156101" y="167117"/>
                  <a:pt x="156101" y="156677"/>
                </a:cubicBezTo>
                <a:cubicBezTo>
                  <a:pt x="156101" y="143717"/>
                  <a:pt x="148182" y="136876"/>
                  <a:pt x="133783" y="136876"/>
                </a:cubicBezTo>
                <a:cubicBezTo>
                  <a:pt x="114705" y="136876"/>
                  <a:pt x="103187" y="125716"/>
                  <a:pt x="103187" y="108076"/>
                </a:cubicBezTo>
                <a:cubicBezTo>
                  <a:pt x="103187" y="94035"/>
                  <a:pt x="114705" y="82155"/>
                  <a:pt x="129464" y="80355"/>
                </a:cubicBezTo>
                <a:lnTo>
                  <a:pt x="129464" y="70995"/>
                </a:lnTo>
                <a:cubicBezTo>
                  <a:pt x="129464" y="68835"/>
                  <a:pt x="131264" y="66675"/>
                  <a:pt x="133783" y="66675"/>
                </a:cubicBezTo>
                <a:close/>
                <a:moveTo>
                  <a:pt x="198944" y="27751"/>
                </a:moveTo>
                <a:lnTo>
                  <a:pt x="187411" y="47934"/>
                </a:lnTo>
                <a:cubicBezTo>
                  <a:pt x="199664" y="56223"/>
                  <a:pt x="210117" y="66314"/>
                  <a:pt x="218406" y="78929"/>
                </a:cubicBezTo>
                <a:lnTo>
                  <a:pt x="238589" y="67396"/>
                </a:lnTo>
                <a:cubicBezTo>
                  <a:pt x="228497" y="51538"/>
                  <a:pt x="215162" y="37842"/>
                  <a:pt x="198944" y="27751"/>
                </a:cubicBezTo>
                <a:close/>
                <a:moveTo>
                  <a:pt x="67396" y="27751"/>
                </a:moveTo>
                <a:cubicBezTo>
                  <a:pt x="51177" y="37842"/>
                  <a:pt x="37842" y="51538"/>
                  <a:pt x="27751" y="67396"/>
                </a:cubicBezTo>
                <a:lnTo>
                  <a:pt x="47934" y="78929"/>
                </a:lnTo>
                <a:cubicBezTo>
                  <a:pt x="56223" y="66314"/>
                  <a:pt x="66314" y="56223"/>
                  <a:pt x="78929" y="47934"/>
                </a:cubicBezTo>
                <a:lnTo>
                  <a:pt x="67396" y="27751"/>
                </a:lnTo>
                <a:close/>
                <a:moveTo>
                  <a:pt x="137675" y="9010"/>
                </a:moveTo>
                <a:lnTo>
                  <a:pt x="137675" y="32436"/>
                </a:lnTo>
                <a:cubicBezTo>
                  <a:pt x="152451" y="33157"/>
                  <a:pt x="166867" y="37122"/>
                  <a:pt x="179482" y="43609"/>
                </a:cubicBezTo>
                <a:lnTo>
                  <a:pt x="191735" y="23426"/>
                </a:lnTo>
                <a:cubicBezTo>
                  <a:pt x="175157" y="14776"/>
                  <a:pt x="157137" y="9731"/>
                  <a:pt x="137675" y="9010"/>
                </a:cubicBezTo>
                <a:close/>
                <a:moveTo>
                  <a:pt x="128664" y="9010"/>
                </a:moveTo>
                <a:cubicBezTo>
                  <a:pt x="109563" y="9731"/>
                  <a:pt x="90822" y="14776"/>
                  <a:pt x="74604" y="23426"/>
                </a:cubicBezTo>
                <a:lnTo>
                  <a:pt x="86497" y="43609"/>
                </a:lnTo>
                <a:cubicBezTo>
                  <a:pt x="99111" y="37122"/>
                  <a:pt x="113527" y="33157"/>
                  <a:pt x="128664" y="32436"/>
                </a:cubicBezTo>
                <a:lnTo>
                  <a:pt x="128664" y="9010"/>
                </a:lnTo>
                <a:close/>
                <a:moveTo>
                  <a:pt x="132989" y="0"/>
                </a:moveTo>
                <a:cubicBezTo>
                  <a:pt x="206513" y="0"/>
                  <a:pt x="266340" y="59827"/>
                  <a:pt x="266340" y="132989"/>
                </a:cubicBezTo>
                <a:cubicBezTo>
                  <a:pt x="266340" y="142360"/>
                  <a:pt x="265619" y="151731"/>
                  <a:pt x="263457" y="160741"/>
                </a:cubicBezTo>
                <a:cubicBezTo>
                  <a:pt x="262736" y="162903"/>
                  <a:pt x="260573" y="164705"/>
                  <a:pt x="258411" y="163984"/>
                </a:cubicBezTo>
                <a:cubicBezTo>
                  <a:pt x="255888" y="163624"/>
                  <a:pt x="254446" y="161461"/>
                  <a:pt x="254807" y="158939"/>
                </a:cubicBezTo>
                <a:cubicBezTo>
                  <a:pt x="256248" y="152091"/>
                  <a:pt x="257330" y="144883"/>
                  <a:pt x="257330" y="137675"/>
                </a:cubicBezTo>
                <a:lnTo>
                  <a:pt x="233903" y="137675"/>
                </a:lnTo>
                <a:cubicBezTo>
                  <a:pt x="233903" y="141279"/>
                  <a:pt x="233543" y="144883"/>
                  <a:pt x="233183" y="148487"/>
                </a:cubicBezTo>
                <a:cubicBezTo>
                  <a:pt x="232462" y="151010"/>
                  <a:pt x="230299" y="152451"/>
                  <a:pt x="228137" y="152091"/>
                </a:cubicBezTo>
                <a:cubicBezTo>
                  <a:pt x="225614" y="152091"/>
                  <a:pt x="223812" y="149568"/>
                  <a:pt x="224533" y="147406"/>
                </a:cubicBezTo>
                <a:cubicBezTo>
                  <a:pt x="224893" y="142720"/>
                  <a:pt x="225254" y="137675"/>
                  <a:pt x="225254" y="132989"/>
                </a:cubicBezTo>
                <a:cubicBezTo>
                  <a:pt x="225254" y="82172"/>
                  <a:pt x="183807" y="41086"/>
                  <a:pt x="132989" y="41086"/>
                </a:cubicBezTo>
                <a:cubicBezTo>
                  <a:pt x="82533" y="41086"/>
                  <a:pt x="40726" y="82172"/>
                  <a:pt x="40726" y="132989"/>
                </a:cubicBezTo>
                <a:cubicBezTo>
                  <a:pt x="40726" y="183807"/>
                  <a:pt x="82533" y="225254"/>
                  <a:pt x="132989" y="225254"/>
                </a:cubicBezTo>
                <a:cubicBezTo>
                  <a:pt x="137675" y="225254"/>
                  <a:pt x="142720" y="224893"/>
                  <a:pt x="147406" y="224533"/>
                </a:cubicBezTo>
                <a:cubicBezTo>
                  <a:pt x="149568" y="223812"/>
                  <a:pt x="152091" y="225614"/>
                  <a:pt x="152091" y="228137"/>
                </a:cubicBezTo>
                <a:cubicBezTo>
                  <a:pt x="152451" y="230299"/>
                  <a:pt x="151010" y="232462"/>
                  <a:pt x="148487" y="233182"/>
                </a:cubicBezTo>
                <a:cubicBezTo>
                  <a:pt x="144883" y="233543"/>
                  <a:pt x="141279" y="233903"/>
                  <a:pt x="137675" y="233903"/>
                </a:cubicBezTo>
                <a:lnTo>
                  <a:pt x="137675" y="257330"/>
                </a:lnTo>
                <a:cubicBezTo>
                  <a:pt x="144883" y="257330"/>
                  <a:pt x="152091" y="256248"/>
                  <a:pt x="158939" y="254807"/>
                </a:cubicBezTo>
                <a:cubicBezTo>
                  <a:pt x="161101" y="254446"/>
                  <a:pt x="163624" y="255888"/>
                  <a:pt x="163984" y="258050"/>
                </a:cubicBezTo>
                <a:cubicBezTo>
                  <a:pt x="164345" y="260934"/>
                  <a:pt x="162903" y="263096"/>
                  <a:pt x="160741" y="263456"/>
                </a:cubicBezTo>
                <a:cubicBezTo>
                  <a:pt x="151730" y="265259"/>
                  <a:pt x="142360" y="266340"/>
                  <a:pt x="132989" y="266340"/>
                </a:cubicBezTo>
                <a:cubicBezTo>
                  <a:pt x="59827" y="266340"/>
                  <a:pt x="0" y="206512"/>
                  <a:pt x="0" y="132989"/>
                </a:cubicBezTo>
                <a:cubicBezTo>
                  <a:pt x="0" y="59827"/>
                  <a:pt x="59827" y="0"/>
                  <a:pt x="13298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4" name="Freeform 981">
            <a:extLst>
              <a:ext uri="{FF2B5EF4-FFF2-40B4-BE49-F238E27FC236}">
                <a16:creationId xmlns:a16="http://schemas.microsoft.com/office/drawing/2014/main" id="{7277636E-E15A-CD45-C0EA-D5BCC966166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5542415"/>
            <a:ext cx="388957" cy="386615"/>
          </a:xfrm>
          <a:custGeom>
            <a:avLst/>
            <a:gdLst>
              <a:gd name="T0" fmla="*/ 3091641 w 289792"/>
              <a:gd name="T1" fmla="*/ 3034040 h 288566"/>
              <a:gd name="T2" fmla="*/ 3069633 w 289792"/>
              <a:gd name="T3" fmla="*/ 2268686 h 288566"/>
              <a:gd name="T4" fmla="*/ 3245617 w 289792"/>
              <a:gd name="T5" fmla="*/ 2268686 h 288566"/>
              <a:gd name="T6" fmla="*/ 3450901 w 289792"/>
              <a:gd name="T7" fmla="*/ 2063171 h 288566"/>
              <a:gd name="T8" fmla="*/ 3714896 w 289792"/>
              <a:gd name="T9" fmla="*/ 2537969 h 288566"/>
              <a:gd name="T10" fmla="*/ 2468424 w 289792"/>
              <a:gd name="T11" fmla="*/ 2608849 h 288566"/>
              <a:gd name="T12" fmla="*/ 3450901 w 289792"/>
              <a:gd name="T13" fmla="*/ 1893100 h 288566"/>
              <a:gd name="T14" fmla="*/ 3100635 w 289792"/>
              <a:gd name="T15" fmla="*/ 3785430 h 288566"/>
              <a:gd name="T16" fmla="*/ 451279 w 289792"/>
              <a:gd name="T17" fmla="*/ 0 h 288566"/>
              <a:gd name="T18" fmla="*/ 953452 w 289792"/>
              <a:gd name="T19" fmla="*/ 2821225 h 288566"/>
              <a:gd name="T20" fmla="*/ 1950624 w 289792"/>
              <a:gd name="T21" fmla="*/ 3349762 h 288566"/>
              <a:gd name="T22" fmla="*/ 3872138 w 289792"/>
              <a:gd name="T23" fmla="*/ 1464189 h 288566"/>
              <a:gd name="T24" fmla="*/ 4549053 w 289792"/>
              <a:gd name="T25" fmla="*/ 1392759 h 288566"/>
              <a:gd name="T26" fmla="*/ 5830063 w 289792"/>
              <a:gd name="T27" fmla="*/ 385654 h 288566"/>
              <a:gd name="T28" fmla="*/ 4483564 w 289792"/>
              <a:gd name="T29" fmla="*/ 1578429 h 288566"/>
              <a:gd name="T30" fmla="*/ 4490808 w 289792"/>
              <a:gd name="T31" fmla="*/ 2599821 h 288566"/>
              <a:gd name="T32" fmla="*/ 1848720 w 289792"/>
              <a:gd name="T33" fmla="*/ 3699716 h 288566"/>
              <a:gd name="T34" fmla="*/ 1018995 w 289792"/>
              <a:gd name="T35" fmla="*/ 3006896 h 288566"/>
              <a:gd name="T36" fmla="*/ 1186388 w 289792"/>
              <a:gd name="T37" fmla="*/ 5213893 h 288566"/>
              <a:gd name="T38" fmla="*/ 1361098 w 289792"/>
              <a:gd name="T39" fmla="*/ 3678297 h 288566"/>
              <a:gd name="T40" fmla="*/ 2008874 w 289792"/>
              <a:gd name="T41" fmla="*/ 3914002 h 288566"/>
              <a:gd name="T42" fmla="*/ 2183526 w 289792"/>
              <a:gd name="T43" fmla="*/ 5213893 h 288566"/>
              <a:gd name="T44" fmla="*/ 2925941 w 289792"/>
              <a:gd name="T45" fmla="*/ 4078263 h 288566"/>
              <a:gd name="T46" fmla="*/ 3668355 w 289792"/>
              <a:gd name="T47" fmla="*/ 5213893 h 288566"/>
              <a:gd name="T48" fmla="*/ 3843057 w 289792"/>
              <a:gd name="T49" fmla="*/ 4056842 h 288566"/>
              <a:gd name="T50" fmla="*/ 4490808 w 289792"/>
              <a:gd name="T51" fmla="*/ 3235494 h 288566"/>
              <a:gd name="T52" fmla="*/ 4672809 w 289792"/>
              <a:gd name="T53" fmla="*/ 5213893 h 288566"/>
              <a:gd name="T54" fmla="*/ 5407933 w 289792"/>
              <a:gd name="T55" fmla="*/ 1042768 h 288566"/>
              <a:gd name="T56" fmla="*/ 5764571 w 289792"/>
              <a:gd name="T57" fmla="*/ 5213893 h 288566"/>
              <a:gd name="T58" fmla="*/ 531331 w 289792"/>
              <a:gd name="T59" fmla="*/ 5392462 h 288566"/>
              <a:gd name="T60" fmla="*/ 356614 w 289792"/>
              <a:gd name="T61" fmla="*/ 5649579 h 288566"/>
              <a:gd name="T62" fmla="*/ 0 w 289792"/>
              <a:gd name="T63" fmla="*/ 5299611 h 288566"/>
              <a:gd name="T64" fmla="*/ 356614 w 289792"/>
              <a:gd name="T65" fmla="*/ 4578239 h 288566"/>
              <a:gd name="T66" fmla="*/ 94664 w 289792"/>
              <a:gd name="T67" fmla="*/ 4399662 h 288566"/>
              <a:gd name="T68" fmla="*/ 94664 w 289792"/>
              <a:gd name="T69" fmla="*/ 3764008 h 288566"/>
              <a:gd name="T70" fmla="*/ 356614 w 289792"/>
              <a:gd name="T71" fmla="*/ 3592579 h 288566"/>
              <a:gd name="T72" fmla="*/ 0 w 289792"/>
              <a:gd name="T73" fmla="*/ 2864042 h 288566"/>
              <a:gd name="T74" fmla="*/ 356614 w 289792"/>
              <a:gd name="T75" fmla="*/ 2142696 h 288566"/>
              <a:gd name="T76" fmla="*/ 94664 w 289792"/>
              <a:gd name="T77" fmla="*/ 1978422 h 288566"/>
              <a:gd name="T78" fmla="*/ 94664 w 289792"/>
              <a:gd name="T79" fmla="*/ 1335619 h 288566"/>
              <a:gd name="T80" fmla="*/ 356614 w 289792"/>
              <a:gd name="T81" fmla="*/ 1164176 h 288566"/>
              <a:gd name="T82" fmla="*/ 0 w 289792"/>
              <a:gd name="T83" fmla="*/ 435639 h 288566"/>
              <a:gd name="T84" fmla="*/ 356614 w 289792"/>
              <a:gd name="T85" fmla="*/ 85665 h 28856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89792" h="288566">
                <a:moveTo>
                  <a:pt x="152375" y="109512"/>
                </a:moveTo>
                <a:cubicBezTo>
                  <a:pt x="140393" y="110225"/>
                  <a:pt x="131316" y="119852"/>
                  <a:pt x="131316" y="131262"/>
                </a:cubicBezTo>
                <a:cubicBezTo>
                  <a:pt x="131316" y="143028"/>
                  <a:pt x="141119" y="152655"/>
                  <a:pt x="153101" y="152655"/>
                </a:cubicBezTo>
                <a:cubicBezTo>
                  <a:pt x="165083" y="152655"/>
                  <a:pt x="174887" y="143384"/>
                  <a:pt x="175250" y="131975"/>
                </a:cubicBezTo>
                <a:cubicBezTo>
                  <a:pt x="173798" y="132331"/>
                  <a:pt x="172345" y="132688"/>
                  <a:pt x="170893" y="132688"/>
                </a:cubicBezTo>
                <a:cubicBezTo>
                  <a:pt x="160363" y="132688"/>
                  <a:pt x="152012" y="124487"/>
                  <a:pt x="152012" y="114147"/>
                </a:cubicBezTo>
                <a:cubicBezTo>
                  <a:pt x="152012" y="112721"/>
                  <a:pt x="152012" y="111295"/>
                  <a:pt x="152375" y="109512"/>
                </a:cubicBezTo>
                <a:close/>
                <a:moveTo>
                  <a:pt x="170893" y="103807"/>
                </a:moveTo>
                <a:cubicBezTo>
                  <a:pt x="165447" y="103807"/>
                  <a:pt x="160726" y="108443"/>
                  <a:pt x="160726" y="114147"/>
                </a:cubicBezTo>
                <a:cubicBezTo>
                  <a:pt x="160726" y="119496"/>
                  <a:pt x="165447" y="124131"/>
                  <a:pt x="170893" y="124131"/>
                </a:cubicBezTo>
                <a:cubicBezTo>
                  <a:pt x="176702" y="124131"/>
                  <a:pt x="181423" y="119496"/>
                  <a:pt x="181423" y="114147"/>
                </a:cubicBezTo>
                <a:cubicBezTo>
                  <a:pt x="181423" y="108443"/>
                  <a:pt x="176702" y="103807"/>
                  <a:pt x="170893" y="103807"/>
                </a:cubicBezTo>
                <a:close/>
                <a:moveTo>
                  <a:pt x="170893" y="95250"/>
                </a:moveTo>
                <a:cubicBezTo>
                  <a:pt x="181423" y="95250"/>
                  <a:pt x="190137" y="103807"/>
                  <a:pt x="190137" y="114147"/>
                </a:cubicBezTo>
                <a:cubicBezTo>
                  <a:pt x="190137" y="119496"/>
                  <a:pt x="187595" y="124487"/>
                  <a:pt x="183964" y="127696"/>
                </a:cubicBezTo>
                <a:cubicBezTo>
                  <a:pt x="183964" y="128766"/>
                  <a:pt x="184327" y="129836"/>
                  <a:pt x="184327" y="131262"/>
                </a:cubicBezTo>
                <a:cubicBezTo>
                  <a:pt x="184327" y="147663"/>
                  <a:pt x="170167" y="161569"/>
                  <a:pt x="153101" y="161569"/>
                </a:cubicBezTo>
                <a:cubicBezTo>
                  <a:pt x="136036" y="161569"/>
                  <a:pt x="122238" y="147663"/>
                  <a:pt x="122238" y="131262"/>
                </a:cubicBezTo>
                <a:cubicBezTo>
                  <a:pt x="122238" y="114860"/>
                  <a:pt x="136036" y="100955"/>
                  <a:pt x="153101" y="100955"/>
                </a:cubicBezTo>
                <a:cubicBezTo>
                  <a:pt x="154554" y="100955"/>
                  <a:pt x="155643" y="100955"/>
                  <a:pt x="157095" y="101311"/>
                </a:cubicBezTo>
                <a:cubicBezTo>
                  <a:pt x="160363" y="97389"/>
                  <a:pt x="165447" y="95250"/>
                  <a:pt x="170893" y="95250"/>
                </a:cubicBezTo>
                <a:close/>
                <a:moveTo>
                  <a:pt x="153547" y="71153"/>
                </a:moveTo>
                <a:cubicBezTo>
                  <a:pt x="120747" y="71153"/>
                  <a:pt x="93714" y="97746"/>
                  <a:pt x="93714" y="130807"/>
                </a:cubicBezTo>
                <a:cubicBezTo>
                  <a:pt x="93714" y="163509"/>
                  <a:pt x="120747" y="190461"/>
                  <a:pt x="153547" y="190461"/>
                </a:cubicBezTo>
                <a:cubicBezTo>
                  <a:pt x="186707" y="190461"/>
                  <a:pt x="213740" y="163509"/>
                  <a:pt x="213740" y="130807"/>
                </a:cubicBezTo>
                <a:cubicBezTo>
                  <a:pt x="213740" y="97746"/>
                  <a:pt x="186707" y="71153"/>
                  <a:pt x="153547" y="71153"/>
                </a:cubicBezTo>
                <a:close/>
                <a:moveTo>
                  <a:pt x="22347" y="0"/>
                </a:moveTo>
                <a:cubicBezTo>
                  <a:pt x="24510" y="0"/>
                  <a:pt x="26312" y="2156"/>
                  <a:pt x="26312" y="4312"/>
                </a:cubicBezTo>
                <a:lnTo>
                  <a:pt x="26312" y="162790"/>
                </a:lnTo>
                <a:lnTo>
                  <a:pt x="47217" y="141947"/>
                </a:lnTo>
                <a:cubicBezTo>
                  <a:pt x="49019" y="140150"/>
                  <a:pt x="51903" y="140150"/>
                  <a:pt x="53705" y="141947"/>
                </a:cubicBezTo>
                <a:lnTo>
                  <a:pt x="88307" y="176446"/>
                </a:lnTo>
                <a:lnTo>
                  <a:pt x="96597" y="168540"/>
                </a:lnTo>
                <a:cubicBezTo>
                  <a:pt x="89388" y="157759"/>
                  <a:pt x="85063" y="144463"/>
                  <a:pt x="85063" y="130807"/>
                </a:cubicBezTo>
                <a:cubicBezTo>
                  <a:pt x="85063" y="93074"/>
                  <a:pt x="115700" y="62528"/>
                  <a:pt x="153547" y="62528"/>
                </a:cubicBezTo>
                <a:cubicBezTo>
                  <a:pt x="167964" y="62528"/>
                  <a:pt x="180940" y="66481"/>
                  <a:pt x="191753" y="73669"/>
                </a:cubicBezTo>
                <a:lnTo>
                  <a:pt x="207252" y="58575"/>
                </a:lnTo>
                <a:cubicBezTo>
                  <a:pt x="209054" y="56779"/>
                  <a:pt x="211938" y="56779"/>
                  <a:pt x="213379" y="58575"/>
                </a:cubicBezTo>
                <a:lnTo>
                  <a:pt x="225274" y="70075"/>
                </a:lnTo>
                <a:lnTo>
                  <a:pt x="282584" y="12937"/>
                </a:lnTo>
                <a:cubicBezTo>
                  <a:pt x="284386" y="11499"/>
                  <a:pt x="286909" y="11499"/>
                  <a:pt x="288711" y="12937"/>
                </a:cubicBezTo>
                <a:cubicBezTo>
                  <a:pt x="290153" y="15093"/>
                  <a:pt x="290153" y="17608"/>
                  <a:pt x="288711" y="19405"/>
                </a:cubicBezTo>
                <a:lnTo>
                  <a:pt x="228157" y="79418"/>
                </a:lnTo>
                <a:cubicBezTo>
                  <a:pt x="227436" y="80496"/>
                  <a:pt x="226355" y="80856"/>
                  <a:pt x="225274" y="80856"/>
                </a:cubicBezTo>
                <a:cubicBezTo>
                  <a:pt x="224193" y="80856"/>
                  <a:pt x="223111" y="80496"/>
                  <a:pt x="222030" y="79418"/>
                </a:cubicBezTo>
                <a:lnTo>
                  <a:pt x="210135" y="67559"/>
                </a:lnTo>
                <a:lnTo>
                  <a:pt x="198601" y="79418"/>
                </a:lnTo>
                <a:cubicBezTo>
                  <a:pt x="213379" y="91996"/>
                  <a:pt x="222390" y="110323"/>
                  <a:pt x="222390" y="130807"/>
                </a:cubicBezTo>
                <a:cubicBezTo>
                  <a:pt x="222390" y="168540"/>
                  <a:pt x="191753" y="199085"/>
                  <a:pt x="153547" y="199085"/>
                </a:cubicBezTo>
                <a:cubicBezTo>
                  <a:pt x="133002" y="199085"/>
                  <a:pt x="114619" y="190101"/>
                  <a:pt x="102004" y="175727"/>
                </a:cubicBezTo>
                <a:lnTo>
                  <a:pt x="91551" y="186148"/>
                </a:lnTo>
                <a:cubicBezTo>
                  <a:pt x="90470" y="186867"/>
                  <a:pt x="89388" y="187226"/>
                  <a:pt x="88307" y="187226"/>
                </a:cubicBezTo>
                <a:cubicBezTo>
                  <a:pt x="87226" y="187226"/>
                  <a:pt x="86145" y="186867"/>
                  <a:pt x="85063" y="186148"/>
                </a:cubicBezTo>
                <a:lnTo>
                  <a:pt x="50461" y="151290"/>
                </a:lnTo>
                <a:lnTo>
                  <a:pt x="26312" y="175368"/>
                </a:lnTo>
                <a:lnTo>
                  <a:pt x="26312" y="262333"/>
                </a:lnTo>
                <a:lnTo>
                  <a:pt x="58751" y="262333"/>
                </a:lnTo>
                <a:lnTo>
                  <a:pt x="58751" y="185070"/>
                </a:lnTo>
                <a:cubicBezTo>
                  <a:pt x="58751" y="182555"/>
                  <a:pt x="60553" y="180758"/>
                  <a:pt x="63077" y="180758"/>
                </a:cubicBezTo>
                <a:cubicBezTo>
                  <a:pt x="65600" y="180758"/>
                  <a:pt x="67402" y="182555"/>
                  <a:pt x="67402" y="185070"/>
                </a:cubicBezTo>
                <a:lnTo>
                  <a:pt x="67402" y="262333"/>
                </a:lnTo>
                <a:lnTo>
                  <a:pt x="99481" y="262333"/>
                </a:lnTo>
                <a:lnTo>
                  <a:pt x="99481" y="196929"/>
                </a:lnTo>
                <a:cubicBezTo>
                  <a:pt x="99481" y="194054"/>
                  <a:pt x="101643" y="192257"/>
                  <a:pt x="104166" y="192257"/>
                </a:cubicBezTo>
                <a:cubicBezTo>
                  <a:pt x="106329" y="192257"/>
                  <a:pt x="108131" y="194054"/>
                  <a:pt x="108131" y="196929"/>
                </a:cubicBezTo>
                <a:lnTo>
                  <a:pt x="108131" y="262333"/>
                </a:lnTo>
                <a:lnTo>
                  <a:pt x="140571" y="262333"/>
                </a:lnTo>
                <a:lnTo>
                  <a:pt x="140571" y="209507"/>
                </a:lnTo>
                <a:cubicBezTo>
                  <a:pt x="140571" y="206991"/>
                  <a:pt x="142734" y="205194"/>
                  <a:pt x="144896" y="205194"/>
                </a:cubicBezTo>
                <a:cubicBezTo>
                  <a:pt x="147419" y="205194"/>
                  <a:pt x="149221" y="206991"/>
                  <a:pt x="149221" y="209507"/>
                </a:cubicBezTo>
                <a:lnTo>
                  <a:pt x="149221" y="262333"/>
                </a:lnTo>
                <a:lnTo>
                  <a:pt x="181661" y="262333"/>
                </a:lnTo>
                <a:lnTo>
                  <a:pt x="181661" y="204116"/>
                </a:lnTo>
                <a:cubicBezTo>
                  <a:pt x="181661" y="201601"/>
                  <a:pt x="183463" y="199804"/>
                  <a:pt x="185626" y="199804"/>
                </a:cubicBezTo>
                <a:cubicBezTo>
                  <a:pt x="188149" y="199804"/>
                  <a:pt x="190311" y="201601"/>
                  <a:pt x="190311" y="204116"/>
                </a:cubicBezTo>
                <a:lnTo>
                  <a:pt x="190311" y="262333"/>
                </a:lnTo>
                <a:lnTo>
                  <a:pt x="222390" y="262333"/>
                </a:lnTo>
                <a:lnTo>
                  <a:pt x="222390" y="162790"/>
                </a:lnTo>
                <a:cubicBezTo>
                  <a:pt x="222390" y="160634"/>
                  <a:pt x="224193" y="158837"/>
                  <a:pt x="226716" y="158837"/>
                </a:cubicBezTo>
                <a:cubicBezTo>
                  <a:pt x="229239" y="158837"/>
                  <a:pt x="231401" y="160634"/>
                  <a:pt x="231401" y="162790"/>
                </a:cubicBezTo>
                <a:lnTo>
                  <a:pt x="231401" y="262333"/>
                </a:lnTo>
                <a:lnTo>
                  <a:pt x="263480" y="262333"/>
                </a:lnTo>
                <a:lnTo>
                  <a:pt x="263480" y="56779"/>
                </a:lnTo>
                <a:cubicBezTo>
                  <a:pt x="263480" y="54623"/>
                  <a:pt x="265282" y="52466"/>
                  <a:pt x="267806" y="52466"/>
                </a:cubicBezTo>
                <a:cubicBezTo>
                  <a:pt x="270329" y="52466"/>
                  <a:pt x="272131" y="54623"/>
                  <a:pt x="272131" y="56779"/>
                </a:cubicBezTo>
                <a:lnTo>
                  <a:pt x="272131" y="262333"/>
                </a:lnTo>
                <a:lnTo>
                  <a:pt x="285467" y="262333"/>
                </a:lnTo>
                <a:cubicBezTo>
                  <a:pt x="287990" y="262333"/>
                  <a:pt x="289792" y="264129"/>
                  <a:pt x="289792" y="266645"/>
                </a:cubicBezTo>
                <a:cubicBezTo>
                  <a:pt x="289792" y="269160"/>
                  <a:pt x="287990" y="271317"/>
                  <a:pt x="285467" y="271317"/>
                </a:cubicBezTo>
                <a:lnTo>
                  <a:pt x="26312" y="271317"/>
                </a:lnTo>
                <a:lnTo>
                  <a:pt x="26312" y="284253"/>
                </a:lnTo>
                <a:cubicBezTo>
                  <a:pt x="26312" y="286769"/>
                  <a:pt x="24510" y="288566"/>
                  <a:pt x="22347" y="288566"/>
                </a:cubicBezTo>
                <a:cubicBezTo>
                  <a:pt x="19464" y="288566"/>
                  <a:pt x="17661" y="286769"/>
                  <a:pt x="17661" y="284253"/>
                </a:cubicBezTo>
                <a:lnTo>
                  <a:pt x="17661" y="271317"/>
                </a:lnTo>
                <a:lnTo>
                  <a:pt x="4686" y="271317"/>
                </a:lnTo>
                <a:cubicBezTo>
                  <a:pt x="2163" y="271317"/>
                  <a:pt x="0" y="269160"/>
                  <a:pt x="0" y="266645"/>
                </a:cubicBezTo>
                <a:cubicBezTo>
                  <a:pt x="0" y="264129"/>
                  <a:pt x="2163" y="262333"/>
                  <a:pt x="4686" y="262333"/>
                </a:cubicBezTo>
                <a:lnTo>
                  <a:pt x="17661" y="262333"/>
                </a:lnTo>
                <a:lnTo>
                  <a:pt x="17661" y="230350"/>
                </a:lnTo>
                <a:lnTo>
                  <a:pt x="4686" y="230350"/>
                </a:lnTo>
                <a:cubicBezTo>
                  <a:pt x="2163" y="230350"/>
                  <a:pt x="0" y="228193"/>
                  <a:pt x="0" y="226037"/>
                </a:cubicBezTo>
                <a:cubicBezTo>
                  <a:pt x="0" y="223522"/>
                  <a:pt x="2163" y="221366"/>
                  <a:pt x="4686" y="221366"/>
                </a:cubicBezTo>
                <a:lnTo>
                  <a:pt x="17661" y="221366"/>
                </a:lnTo>
                <a:lnTo>
                  <a:pt x="17661" y="189383"/>
                </a:lnTo>
                <a:lnTo>
                  <a:pt x="4686" y="189383"/>
                </a:lnTo>
                <a:cubicBezTo>
                  <a:pt x="2163" y="189383"/>
                  <a:pt x="0" y="187226"/>
                  <a:pt x="0" y="185070"/>
                </a:cubicBezTo>
                <a:cubicBezTo>
                  <a:pt x="0" y="182555"/>
                  <a:pt x="2163" y="180758"/>
                  <a:pt x="4686" y="180758"/>
                </a:cubicBezTo>
                <a:lnTo>
                  <a:pt x="17661" y="180758"/>
                </a:lnTo>
                <a:lnTo>
                  <a:pt x="17661" y="148416"/>
                </a:lnTo>
                <a:lnTo>
                  <a:pt x="4686" y="148416"/>
                </a:lnTo>
                <a:cubicBezTo>
                  <a:pt x="2163" y="148416"/>
                  <a:pt x="0" y="146619"/>
                  <a:pt x="0" y="144103"/>
                </a:cubicBezTo>
                <a:cubicBezTo>
                  <a:pt x="0" y="141947"/>
                  <a:pt x="2163" y="139791"/>
                  <a:pt x="4686" y="139791"/>
                </a:cubicBezTo>
                <a:lnTo>
                  <a:pt x="17661" y="139791"/>
                </a:lnTo>
                <a:lnTo>
                  <a:pt x="17661" y="107808"/>
                </a:lnTo>
                <a:lnTo>
                  <a:pt x="4686" y="107808"/>
                </a:lnTo>
                <a:cubicBezTo>
                  <a:pt x="2163" y="107808"/>
                  <a:pt x="0" y="106011"/>
                  <a:pt x="0" y="103496"/>
                </a:cubicBezTo>
                <a:cubicBezTo>
                  <a:pt x="0" y="101339"/>
                  <a:pt x="2163" y="99543"/>
                  <a:pt x="4686" y="99543"/>
                </a:cubicBezTo>
                <a:lnTo>
                  <a:pt x="17661" y="99543"/>
                </a:lnTo>
                <a:lnTo>
                  <a:pt x="17661" y="67200"/>
                </a:lnTo>
                <a:lnTo>
                  <a:pt x="4686" y="67200"/>
                </a:lnTo>
                <a:cubicBezTo>
                  <a:pt x="2163" y="67200"/>
                  <a:pt x="0" y="65044"/>
                  <a:pt x="0" y="62888"/>
                </a:cubicBezTo>
                <a:cubicBezTo>
                  <a:pt x="0" y="60372"/>
                  <a:pt x="2163" y="58575"/>
                  <a:pt x="4686" y="58575"/>
                </a:cubicBezTo>
                <a:lnTo>
                  <a:pt x="17661" y="58575"/>
                </a:lnTo>
                <a:lnTo>
                  <a:pt x="17661" y="26233"/>
                </a:lnTo>
                <a:lnTo>
                  <a:pt x="4686" y="26233"/>
                </a:lnTo>
                <a:cubicBezTo>
                  <a:pt x="2163" y="26233"/>
                  <a:pt x="0" y="24436"/>
                  <a:pt x="0" y="21921"/>
                </a:cubicBezTo>
                <a:cubicBezTo>
                  <a:pt x="0" y="19405"/>
                  <a:pt x="2163" y="17249"/>
                  <a:pt x="4686" y="17249"/>
                </a:cubicBezTo>
                <a:lnTo>
                  <a:pt x="17661" y="17249"/>
                </a:lnTo>
                <a:lnTo>
                  <a:pt x="17661" y="4312"/>
                </a:lnTo>
                <a:cubicBezTo>
                  <a:pt x="17661" y="2156"/>
                  <a:pt x="19464" y="0"/>
                  <a:pt x="2234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5" name="Freeform 982">
            <a:extLst>
              <a:ext uri="{FF2B5EF4-FFF2-40B4-BE49-F238E27FC236}">
                <a16:creationId xmlns:a16="http://schemas.microsoft.com/office/drawing/2014/main" id="{1378C4DD-4A30-DC13-1C6B-D4742C5FB2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1846162"/>
            <a:ext cx="388957" cy="386615"/>
          </a:xfrm>
          <a:custGeom>
            <a:avLst/>
            <a:gdLst>
              <a:gd name="T0" fmla="*/ 1308782 w 290152"/>
              <a:gd name="T1" fmla="*/ 4310605 h 288566"/>
              <a:gd name="T2" fmla="*/ 1601487 w 290152"/>
              <a:gd name="T3" fmla="*/ 4267358 h 288566"/>
              <a:gd name="T4" fmla="*/ 1601487 w 290152"/>
              <a:gd name="T5" fmla="*/ 4728286 h 288566"/>
              <a:gd name="T6" fmla="*/ 1308782 w 290152"/>
              <a:gd name="T7" fmla="*/ 4562654 h 288566"/>
              <a:gd name="T8" fmla="*/ 1016045 w 290152"/>
              <a:gd name="T9" fmla="*/ 4728286 h 288566"/>
              <a:gd name="T10" fmla="*/ 1016045 w 290152"/>
              <a:gd name="T11" fmla="*/ 4267358 h 288566"/>
              <a:gd name="T12" fmla="*/ 747483 w 290152"/>
              <a:gd name="T13" fmla="*/ 3929426 h 288566"/>
              <a:gd name="T14" fmla="*/ 1817059 w 290152"/>
              <a:gd name="T15" fmla="*/ 4996635 h 288566"/>
              <a:gd name="T16" fmla="*/ 1817059 w 290152"/>
              <a:gd name="T17" fmla="*/ 3893847 h 288566"/>
              <a:gd name="T18" fmla="*/ 4376425 w 290152"/>
              <a:gd name="T19" fmla="*/ 3804863 h 288566"/>
              <a:gd name="T20" fmla="*/ 4681180 w 290152"/>
              <a:gd name="T21" fmla="*/ 4111609 h 288566"/>
              <a:gd name="T22" fmla="*/ 776018 w 290152"/>
              <a:gd name="T23" fmla="*/ 3723113 h 288566"/>
              <a:gd name="T24" fmla="*/ 2016672 w 290152"/>
              <a:gd name="T25" fmla="*/ 4968173 h 288566"/>
              <a:gd name="T26" fmla="*/ 569243 w 290152"/>
              <a:gd name="T27" fmla="*/ 4968173 h 288566"/>
              <a:gd name="T28" fmla="*/ 4528813 w 290152"/>
              <a:gd name="T29" fmla="*/ 3571255 h 288566"/>
              <a:gd name="T30" fmla="*/ 4532357 w 290152"/>
              <a:gd name="T31" fmla="*/ 4346988 h 288566"/>
              <a:gd name="T32" fmla="*/ 4255926 w 290152"/>
              <a:gd name="T33" fmla="*/ 3683600 h 288566"/>
              <a:gd name="T34" fmla="*/ 3366559 w 290152"/>
              <a:gd name="T35" fmla="*/ 2783182 h 288566"/>
              <a:gd name="T36" fmla="*/ 3673965 w 290152"/>
              <a:gd name="T37" fmla="*/ 3099823 h 288566"/>
              <a:gd name="T38" fmla="*/ 4805856 w 290152"/>
              <a:gd name="T39" fmla="*/ 2584137 h 288566"/>
              <a:gd name="T40" fmla="*/ 3289470 w 290152"/>
              <a:gd name="T41" fmla="*/ 4325688 h 288566"/>
              <a:gd name="T42" fmla="*/ 3159514 w 290152"/>
              <a:gd name="T43" fmla="*/ 4204877 h 288566"/>
              <a:gd name="T44" fmla="*/ 3795529 w 290152"/>
              <a:gd name="T45" fmla="*/ 2668049 h 288566"/>
              <a:gd name="T46" fmla="*/ 3244998 w 290152"/>
              <a:gd name="T47" fmla="*/ 3222160 h 288566"/>
              <a:gd name="T48" fmla="*/ 3520263 w 290152"/>
              <a:gd name="T49" fmla="*/ 2560110 h 288566"/>
              <a:gd name="T50" fmla="*/ 1378066 w 290152"/>
              <a:gd name="T51" fmla="*/ 2375316 h 288566"/>
              <a:gd name="T52" fmla="*/ 1576709 w 290152"/>
              <a:gd name="T53" fmla="*/ 2546748 h 288566"/>
              <a:gd name="T54" fmla="*/ 1292985 w 290152"/>
              <a:gd name="T55" fmla="*/ 2832497 h 288566"/>
              <a:gd name="T56" fmla="*/ 1002204 w 290152"/>
              <a:gd name="T57" fmla="*/ 2546748 h 288566"/>
              <a:gd name="T58" fmla="*/ 1200750 w 290152"/>
              <a:gd name="T59" fmla="*/ 2375316 h 288566"/>
              <a:gd name="T60" fmla="*/ 4061636 w 290152"/>
              <a:gd name="T61" fmla="*/ 1921299 h 288566"/>
              <a:gd name="T62" fmla="*/ 5607190 w 290152"/>
              <a:gd name="T63" fmla="*/ 3449715 h 288566"/>
              <a:gd name="T64" fmla="*/ 747483 w 290152"/>
              <a:gd name="T65" fmla="*/ 1935514 h 288566"/>
              <a:gd name="T66" fmla="*/ 1817059 w 290152"/>
              <a:gd name="T67" fmla="*/ 3007978 h 288566"/>
              <a:gd name="T68" fmla="*/ 1817059 w 290152"/>
              <a:gd name="T69" fmla="*/ 1906939 h 288566"/>
              <a:gd name="T70" fmla="*/ 1817059 w 290152"/>
              <a:gd name="T71" fmla="*/ 1735342 h 288566"/>
              <a:gd name="T72" fmla="*/ 1817059 w 290152"/>
              <a:gd name="T73" fmla="*/ 3179564 h 288566"/>
              <a:gd name="T74" fmla="*/ 569243 w 290152"/>
              <a:gd name="T75" fmla="*/ 1935514 h 288566"/>
              <a:gd name="T76" fmla="*/ 172546 w 290152"/>
              <a:gd name="T77" fmla="*/ 1599875 h 288566"/>
              <a:gd name="T78" fmla="*/ 4176649 w 290152"/>
              <a:gd name="T79" fmla="*/ 5563861 h 288566"/>
              <a:gd name="T80" fmla="*/ 4061636 w 290152"/>
              <a:gd name="T81" fmla="*/ 5163883 h 288566"/>
              <a:gd name="T82" fmla="*/ 4435440 w 290152"/>
              <a:gd name="T83" fmla="*/ 1792702 h 288566"/>
              <a:gd name="T84" fmla="*/ 438459 w 290152"/>
              <a:gd name="T85" fmla="*/ 1335619 h 288566"/>
              <a:gd name="T86" fmla="*/ 4008735 w 290152"/>
              <a:gd name="T87" fmla="*/ 666113 h 288566"/>
              <a:gd name="T88" fmla="*/ 3855514 w 290152"/>
              <a:gd name="T89" fmla="*/ 722143 h 288566"/>
              <a:gd name="T90" fmla="*/ 2679067 w 290152"/>
              <a:gd name="T91" fmla="*/ 603012 h 288566"/>
              <a:gd name="T92" fmla="*/ 2815641 w 290152"/>
              <a:gd name="T93" fmla="*/ 722143 h 288566"/>
              <a:gd name="T94" fmla="*/ 2656266 w 290152"/>
              <a:gd name="T95" fmla="*/ 666113 h 288566"/>
              <a:gd name="T96" fmla="*/ 3439265 w 290152"/>
              <a:gd name="T97" fmla="*/ 690306 h 288566"/>
              <a:gd name="T98" fmla="*/ 3348195 w 290152"/>
              <a:gd name="T99" fmla="*/ 599512 h 288566"/>
              <a:gd name="T100" fmla="*/ 172546 w 290152"/>
              <a:gd name="T101" fmla="*/ 899928 h 288566"/>
              <a:gd name="T102" fmla="*/ 4435440 w 290152"/>
              <a:gd name="T103" fmla="*/ 899928 h 288566"/>
              <a:gd name="T104" fmla="*/ 438459 w 290152"/>
              <a:gd name="T105" fmla="*/ 171456 h 288566"/>
              <a:gd name="T106" fmla="*/ 4615139 w 290152"/>
              <a:gd name="T107" fmla="*/ 435639 h 288566"/>
              <a:gd name="T108" fmla="*/ 4615139 w 290152"/>
              <a:gd name="T109" fmla="*/ 1599875 h 288566"/>
              <a:gd name="T110" fmla="*/ 4615139 w 290152"/>
              <a:gd name="T111" fmla="*/ 5071032 h 288566"/>
              <a:gd name="T112" fmla="*/ 438459 w 290152"/>
              <a:gd name="T113" fmla="*/ 5735275 h 288566"/>
              <a:gd name="T114" fmla="*/ 179690 w 290152"/>
              <a:gd name="T115" fmla="*/ 1249909 h 288566"/>
              <a:gd name="T116" fmla="*/ 438459 w 290152"/>
              <a:gd name="T117" fmla="*/ 0 h 28856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0152" h="288566">
                <a:moveTo>
                  <a:pt x="51006" y="208187"/>
                </a:moveTo>
                <a:cubicBezTo>
                  <a:pt x="52798" y="206375"/>
                  <a:pt x="55307" y="206375"/>
                  <a:pt x="57099" y="208187"/>
                </a:cubicBezTo>
                <a:lnTo>
                  <a:pt x="65703" y="216884"/>
                </a:lnTo>
                <a:lnTo>
                  <a:pt x="74306" y="208187"/>
                </a:lnTo>
                <a:cubicBezTo>
                  <a:pt x="76098" y="206375"/>
                  <a:pt x="78607" y="206375"/>
                  <a:pt x="80399" y="208187"/>
                </a:cubicBezTo>
                <a:cubicBezTo>
                  <a:pt x="82192" y="209999"/>
                  <a:pt x="82192" y="212898"/>
                  <a:pt x="80399" y="214709"/>
                </a:cubicBezTo>
                <a:lnTo>
                  <a:pt x="71796" y="223044"/>
                </a:lnTo>
                <a:lnTo>
                  <a:pt x="80399" y="231740"/>
                </a:lnTo>
                <a:cubicBezTo>
                  <a:pt x="82192" y="233552"/>
                  <a:pt x="82192" y="236451"/>
                  <a:pt x="80399" y="237900"/>
                </a:cubicBezTo>
                <a:cubicBezTo>
                  <a:pt x="79683" y="238987"/>
                  <a:pt x="78607" y="239350"/>
                  <a:pt x="77173" y="239350"/>
                </a:cubicBezTo>
                <a:cubicBezTo>
                  <a:pt x="76098" y="239350"/>
                  <a:pt x="75023" y="238987"/>
                  <a:pt x="74306" y="237900"/>
                </a:cubicBezTo>
                <a:lnTo>
                  <a:pt x="65703" y="229566"/>
                </a:lnTo>
                <a:lnTo>
                  <a:pt x="57099" y="237900"/>
                </a:lnTo>
                <a:cubicBezTo>
                  <a:pt x="56024" y="238987"/>
                  <a:pt x="54949" y="239350"/>
                  <a:pt x="53873" y="239350"/>
                </a:cubicBezTo>
                <a:cubicBezTo>
                  <a:pt x="53156" y="239350"/>
                  <a:pt x="51722" y="238987"/>
                  <a:pt x="51006" y="237900"/>
                </a:cubicBezTo>
                <a:cubicBezTo>
                  <a:pt x="49213" y="236451"/>
                  <a:pt x="49213" y="233552"/>
                  <a:pt x="51006" y="231740"/>
                </a:cubicBezTo>
                <a:lnTo>
                  <a:pt x="59609" y="223044"/>
                </a:lnTo>
                <a:lnTo>
                  <a:pt x="51006" y="214709"/>
                </a:lnTo>
                <a:cubicBezTo>
                  <a:pt x="49213" y="212898"/>
                  <a:pt x="49213" y="209999"/>
                  <a:pt x="51006" y="208187"/>
                </a:cubicBezTo>
                <a:close/>
                <a:moveTo>
                  <a:pt x="38956" y="195916"/>
                </a:moveTo>
                <a:cubicBezTo>
                  <a:pt x="38240" y="195916"/>
                  <a:pt x="37524" y="196632"/>
                  <a:pt x="37524" y="197706"/>
                </a:cubicBezTo>
                <a:lnTo>
                  <a:pt x="37524" y="249969"/>
                </a:lnTo>
                <a:cubicBezTo>
                  <a:pt x="37524" y="250685"/>
                  <a:pt x="38240" y="251401"/>
                  <a:pt x="38956" y="251401"/>
                </a:cubicBezTo>
                <a:lnTo>
                  <a:pt x="91219" y="251401"/>
                </a:lnTo>
                <a:cubicBezTo>
                  <a:pt x="91935" y="251401"/>
                  <a:pt x="92651" y="250685"/>
                  <a:pt x="92651" y="249969"/>
                </a:cubicBezTo>
                <a:lnTo>
                  <a:pt x="92651" y="197706"/>
                </a:lnTo>
                <a:cubicBezTo>
                  <a:pt x="92651" y="196632"/>
                  <a:pt x="91935" y="195916"/>
                  <a:pt x="91219" y="195916"/>
                </a:cubicBezTo>
                <a:lnTo>
                  <a:pt x="38956" y="195916"/>
                </a:lnTo>
                <a:close/>
                <a:moveTo>
                  <a:pt x="227533" y="188208"/>
                </a:moveTo>
                <a:cubicBezTo>
                  <a:pt x="224687" y="188208"/>
                  <a:pt x="221840" y="189285"/>
                  <a:pt x="219705" y="191439"/>
                </a:cubicBezTo>
                <a:cubicBezTo>
                  <a:pt x="217926" y="193592"/>
                  <a:pt x="216503" y="196104"/>
                  <a:pt x="216503" y="198976"/>
                </a:cubicBezTo>
                <a:cubicBezTo>
                  <a:pt x="216503" y="202206"/>
                  <a:pt x="217926" y="204718"/>
                  <a:pt x="219705" y="206872"/>
                </a:cubicBezTo>
                <a:cubicBezTo>
                  <a:pt x="223975" y="211179"/>
                  <a:pt x="231091" y="211179"/>
                  <a:pt x="235005" y="206872"/>
                </a:cubicBezTo>
                <a:cubicBezTo>
                  <a:pt x="239275" y="202565"/>
                  <a:pt x="239275" y="195746"/>
                  <a:pt x="235005" y="191439"/>
                </a:cubicBezTo>
                <a:cubicBezTo>
                  <a:pt x="233226" y="189285"/>
                  <a:pt x="230024" y="188208"/>
                  <a:pt x="227533" y="188208"/>
                </a:cubicBezTo>
                <a:close/>
                <a:moveTo>
                  <a:pt x="38956" y="187325"/>
                </a:moveTo>
                <a:lnTo>
                  <a:pt x="91219" y="187325"/>
                </a:lnTo>
                <a:cubicBezTo>
                  <a:pt x="96589" y="187325"/>
                  <a:pt x="101242" y="191620"/>
                  <a:pt x="101242" y="197706"/>
                </a:cubicBezTo>
                <a:lnTo>
                  <a:pt x="101242" y="249969"/>
                </a:lnTo>
                <a:cubicBezTo>
                  <a:pt x="101242" y="255697"/>
                  <a:pt x="96589" y="259992"/>
                  <a:pt x="91219" y="259992"/>
                </a:cubicBezTo>
                <a:lnTo>
                  <a:pt x="38956" y="259992"/>
                </a:lnTo>
                <a:cubicBezTo>
                  <a:pt x="33228" y="259992"/>
                  <a:pt x="28575" y="255697"/>
                  <a:pt x="28575" y="249969"/>
                </a:cubicBezTo>
                <a:lnTo>
                  <a:pt x="28575" y="197706"/>
                </a:lnTo>
                <a:cubicBezTo>
                  <a:pt x="28575" y="191620"/>
                  <a:pt x="33228" y="187325"/>
                  <a:pt x="38956" y="187325"/>
                </a:cubicBezTo>
                <a:close/>
                <a:moveTo>
                  <a:pt x="227355" y="179684"/>
                </a:moveTo>
                <a:cubicBezTo>
                  <a:pt x="232426" y="179684"/>
                  <a:pt x="237496" y="181568"/>
                  <a:pt x="241054" y="185337"/>
                </a:cubicBezTo>
                <a:cubicBezTo>
                  <a:pt x="248882" y="192874"/>
                  <a:pt x="248882" y="205436"/>
                  <a:pt x="241054" y="212974"/>
                </a:cubicBezTo>
                <a:cubicBezTo>
                  <a:pt x="237496" y="216922"/>
                  <a:pt x="232515" y="218716"/>
                  <a:pt x="227533" y="218716"/>
                </a:cubicBezTo>
                <a:cubicBezTo>
                  <a:pt x="222552" y="218716"/>
                  <a:pt x="217215" y="216922"/>
                  <a:pt x="213656" y="212974"/>
                </a:cubicBezTo>
                <a:cubicBezTo>
                  <a:pt x="209742" y="209384"/>
                  <a:pt x="207963" y="204359"/>
                  <a:pt x="207963" y="198976"/>
                </a:cubicBezTo>
                <a:cubicBezTo>
                  <a:pt x="207963" y="193951"/>
                  <a:pt x="209742" y="188926"/>
                  <a:pt x="213656" y="185337"/>
                </a:cubicBezTo>
                <a:cubicBezTo>
                  <a:pt x="217214" y="181568"/>
                  <a:pt x="222285" y="179684"/>
                  <a:pt x="227355" y="179684"/>
                </a:cubicBezTo>
                <a:close/>
                <a:moveTo>
                  <a:pt x="176903" y="137138"/>
                </a:moveTo>
                <a:cubicBezTo>
                  <a:pt x="174032" y="137138"/>
                  <a:pt x="171161" y="138224"/>
                  <a:pt x="169007" y="140034"/>
                </a:cubicBezTo>
                <a:cubicBezTo>
                  <a:pt x="166854" y="142569"/>
                  <a:pt x="165777" y="145103"/>
                  <a:pt x="165777" y="147999"/>
                </a:cubicBezTo>
                <a:cubicBezTo>
                  <a:pt x="165777" y="150896"/>
                  <a:pt x="166854" y="153792"/>
                  <a:pt x="169007" y="155965"/>
                </a:cubicBezTo>
                <a:cubicBezTo>
                  <a:pt x="173314" y="160310"/>
                  <a:pt x="180493" y="160310"/>
                  <a:pt x="184441" y="155965"/>
                </a:cubicBezTo>
                <a:cubicBezTo>
                  <a:pt x="188748" y="151620"/>
                  <a:pt x="188748" y="144741"/>
                  <a:pt x="184441" y="140034"/>
                </a:cubicBezTo>
                <a:cubicBezTo>
                  <a:pt x="182287" y="138224"/>
                  <a:pt x="179416" y="137138"/>
                  <a:pt x="176903" y="137138"/>
                </a:cubicBezTo>
                <a:close/>
                <a:moveTo>
                  <a:pt x="241263" y="130018"/>
                </a:moveTo>
                <a:cubicBezTo>
                  <a:pt x="242713" y="128587"/>
                  <a:pt x="245613" y="128587"/>
                  <a:pt x="247426" y="130018"/>
                </a:cubicBezTo>
                <a:cubicBezTo>
                  <a:pt x="248876" y="131806"/>
                  <a:pt x="248876" y="134667"/>
                  <a:pt x="247426" y="136098"/>
                </a:cubicBezTo>
                <a:lnTo>
                  <a:pt x="165138" y="217644"/>
                </a:lnTo>
                <a:cubicBezTo>
                  <a:pt x="164051" y="218360"/>
                  <a:pt x="162963" y="218717"/>
                  <a:pt x="161876" y="218717"/>
                </a:cubicBezTo>
                <a:cubicBezTo>
                  <a:pt x="160788" y="218717"/>
                  <a:pt x="159701" y="218360"/>
                  <a:pt x="158613" y="217644"/>
                </a:cubicBezTo>
                <a:cubicBezTo>
                  <a:pt x="157163" y="215856"/>
                  <a:pt x="157163" y="212995"/>
                  <a:pt x="158613" y="211564"/>
                </a:cubicBezTo>
                <a:lnTo>
                  <a:pt x="241263" y="130018"/>
                </a:lnTo>
                <a:close/>
                <a:moveTo>
                  <a:pt x="176724" y="128810"/>
                </a:moveTo>
                <a:cubicBezTo>
                  <a:pt x="181838" y="128810"/>
                  <a:pt x="186953" y="130621"/>
                  <a:pt x="190542" y="134241"/>
                </a:cubicBezTo>
                <a:cubicBezTo>
                  <a:pt x="198079" y="141844"/>
                  <a:pt x="198079" y="154517"/>
                  <a:pt x="190542" y="162120"/>
                </a:cubicBezTo>
                <a:cubicBezTo>
                  <a:pt x="186953" y="166103"/>
                  <a:pt x="181928" y="167913"/>
                  <a:pt x="176903" y="167913"/>
                </a:cubicBezTo>
                <a:cubicBezTo>
                  <a:pt x="171520" y="167913"/>
                  <a:pt x="166495" y="166103"/>
                  <a:pt x="162906" y="162120"/>
                </a:cubicBezTo>
                <a:cubicBezTo>
                  <a:pt x="158958" y="158137"/>
                  <a:pt x="157163" y="153430"/>
                  <a:pt x="157163" y="147999"/>
                </a:cubicBezTo>
                <a:cubicBezTo>
                  <a:pt x="157163" y="142931"/>
                  <a:pt x="158958" y="137862"/>
                  <a:pt x="162906" y="134241"/>
                </a:cubicBezTo>
                <a:cubicBezTo>
                  <a:pt x="166495" y="130621"/>
                  <a:pt x="171609" y="128810"/>
                  <a:pt x="176724" y="128810"/>
                </a:cubicBezTo>
                <a:close/>
                <a:moveTo>
                  <a:pt x="64910" y="104775"/>
                </a:moveTo>
                <a:cubicBezTo>
                  <a:pt x="67403" y="104775"/>
                  <a:pt x="69183" y="106931"/>
                  <a:pt x="69183" y="109448"/>
                </a:cubicBezTo>
                <a:lnTo>
                  <a:pt x="69183" y="119512"/>
                </a:lnTo>
                <a:lnTo>
                  <a:pt x="79153" y="119512"/>
                </a:lnTo>
                <a:cubicBezTo>
                  <a:pt x="81646" y="119512"/>
                  <a:pt x="83782" y="121668"/>
                  <a:pt x="83782" y="123825"/>
                </a:cubicBezTo>
                <a:cubicBezTo>
                  <a:pt x="83782" y="126341"/>
                  <a:pt x="81646" y="128138"/>
                  <a:pt x="79153" y="128138"/>
                </a:cubicBezTo>
                <a:lnTo>
                  <a:pt x="69183" y="128138"/>
                </a:lnTo>
                <a:lnTo>
                  <a:pt x="69183" y="138202"/>
                </a:lnTo>
                <a:cubicBezTo>
                  <a:pt x="69183" y="140718"/>
                  <a:pt x="67403" y="142515"/>
                  <a:pt x="64910" y="142515"/>
                </a:cubicBezTo>
                <a:cubicBezTo>
                  <a:pt x="62418" y="142515"/>
                  <a:pt x="60281" y="140718"/>
                  <a:pt x="60281" y="138202"/>
                </a:cubicBezTo>
                <a:lnTo>
                  <a:pt x="60281" y="128138"/>
                </a:lnTo>
                <a:lnTo>
                  <a:pt x="50311" y="128138"/>
                </a:lnTo>
                <a:cubicBezTo>
                  <a:pt x="48174" y="128138"/>
                  <a:pt x="46038" y="126341"/>
                  <a:pt x="46038" y="123825"/>
                </a:cubicBezTo>
                <a:cubicBezTo>
                  <a:pt x="46038" y="121668"/>
                  <a:pt x="48174" y="119512"/>
                  <a:pt x="50311" y="119512"/>
                </a:cubicBezTo>
                <a:lnTo>
                  <a:pt x="60281" y="119512"/>
                </a:lnTo>
                <a:lnTo>
                  <a:pt x="60281" y="109448"/>
                </a:lnTo>
                <a:cubicBezTo>
                  <a:pt x="60281" y="106931"/>
                  <a:pt x="62418" y="104775"/>
                  <a:pt x="64910" y="104775"/>
                </a:cubicBezTo>
                <a:close/>
                <a:moveTo>
                  <a:pt x="203901" y="96668"/>
                </a:moveTo>
                <a:cubicBezTo>
                  <a:pt x="160955" y="96668"/>
                  <a:pt x="126310" y="131166"/>
                  <a:pt x="126310" y="173570"/>
                </a:cubicBezTo>
                <a:cubicBezTo>
                  <a:pt x="126310" y="216335"/>
                  <a:pt x="160955" y="250833"/>
                  <a:pt x="203901" y="250833"/>
                </a:cubicBezTo>
                <a:cubicBezTo>
                  <a:pt x="246485" y="250833"/>
                  <a:pt x="281491" y="216335"/>
                  <a:pt x="281491" y="173570"/>
                </a:cubicBezTo>
                <a:cubicBezTo>
                  <a:pt x="281491" y="131166"/>
                  <a:pt x="246485" y="96668"/>
                  <a:pt x="203901" y="96668"/>
                </a:cubicBezTo>
                <a:close/>
                <a:moveTo>
                  <a:pt x="38956" y="95945"/>
                </a:moveTo>
                <a:cubicBezTo>
                  <a:pt x="38240" y="95945"/>
                  <a:pt x="37524" y="96665"/>
                  <a:pt x="37524" y="97384"/>
                </a:cubicBezTo>
                <a:lnTo>
                  <a:pt x="37524" y="149905"/>
                </a:lnTo>
                <a:cubicBezTo>
                  <a:pt x="37524" y="150264"/>
                  <a:pt x="38240" y="151344"/>
                  <a:pt x="38956" y="151344"/>
                </a:cubicBezTo>
                <a:lnTo>
                  <a:pt x="91219" y="151344"/>
                </a:lnTo>
                <a:cubicBezTo>
                  <a:pt x="91935" y="151344"/>
                  <a:pt x="92651" y="150264"/>
                  <a:pt x="92651" y="149905"/>
                </a:cubicBezTo>
                <a:lnTo>
                  <a:pt x="92651" y="97384"/>
                </a:lnTo>
                <a:cubicBezTo>
                  <a:pt x="92651" y="96665"/>
                  <a:pt x="91935" y="95945"/>
                  <a:pt x="91219" y="95945"/>
                </a:cubicBezTo>
                <a:lnTo>
                  <a:pt x="38956" y="95945"/>
                </a:lnTo>
                <a:close/>
                <a:moveTo>
                  <a:pt x="38956" y="87312"/>
                </a:moveTo>
                <a:lnTo>
                  <a:pt x="91219" y="87312"/>
                </a:lnTo>
                <a:cubicBezTo>
                  <a:pt x="96589" y="87312"/>
                  <a:pt x="101242" y="91988"/>
                  <a:pt x="101242" y="97384"/>
                </a:cubicBezTo>
                <a:lnTo>
                  <a:pt x="101242" y="149905"/>
                </a:lnTo>
                <a:cubicBezTo>
                  <a:pt x="101242" y="155301"/>
                  <a:pt x="96589" y="159977"/>
                  <a:pt x="91219" y="159977"/>
                </a:cubicBezTo>
                <a:lnTo>
                  <a:pt x="38956" y="159977"/>
                </a:lnTo>
                <a:cubicBezTo>
                  <a:pt x="33228" y="159977"/>
                  <a:pt x="28575" y="155301"/>
                  <a:pt x="28575" y="149905"/>
                </a:cubicBezTo>
                <a:lnTo>
                  <a:pt x="28575" y="97384"/>
                </a:lnTo>
                <a:cubicBezTo>
                  <a:pt x="28575" y="91988"/>
                  <a:pt x="33228" y="87312"/>
                  <a:pt x="38956" y="87312"/>
                </a:cubicBezTo>
                <a:close/>
                <a:moveTo>
                  <a:pt x="22014" y="67200"/>
                </a:moveTo>
                <a:cubicBezTo>
                  <a:pt x="14796" y="67200"/>
                  <a:pt x="8661" y="72950"/>
                  <a:pt x="8661" y="80496"/>
                </a:cubicBezTo>
                <a:lnTo>
                  <a:pt x="8661" y="266645"/>
                </a:lnTo>
                <a:cubicBezTo>
                  <a:pt x="8661" y="273832"/>
                  <a:pt x="14796" y="279941"/>
                  <a:pt x="22014" y="279941"/>
                </a:cubicBezTo>
                <a:lnTo>
                  <a:pt x="209675" y="279941"/>
                </a:lnTo>
                <a:cubicBezTo>
                  <a:pt x="216893" y="279941"/>
                  <a:pt x="222667" y="273832"/>
                  <a:pt x="222667" y="266645"/>
                </a:cubicBezTo>
                <a:lnTo>
                  <a:pt x="222667" y="257661"/>
                </a:lnTo>
                <a:cubicBezTo>
                  <a:pt x="216532" y="259098"/>
                  <a:pt x="210397" y="259817"/>
                  <a:pt x="203901" y="259817"/>
                </a:cubicBezTo>
                <a:cubicBezTo>
                  <a:pt x="155903" y="259817"/>
                  <a:pt x="117288" y="221006"/>
                  <a:pt x="117288" y="173570"/>
                </a:cubicBezTo>
                <a:cubicBezTo>
                  <a:pt x="117288" y="126494"/>
                  <a:pt x="155903" y="88043"/>
                  <a:pt x="203901" y="88043"/>
                </a:cubicBezTo>
                <a:cubicBezTo>
                  <a:pt x="210397" y="88043"/>
                  <a:pt x="216532" y="88762"/>
                  <a:pt x="222667" y="90199"/>
                </a:cubicBezTo>
                <a:lnTo>
                  <a:pt x="222667" y="80496"/>
                </a:lnTo>
                <a:cubicBezTo>
                  <a:pt x="222667" y="72950"/>
                  <a:pt x="216893" y="67200"/>
                  <a:pt x="209675" y="67200"/>
                </a:cubicBezTo>
                <a:lnTo>
                  <a:pt x="22014" y="67200"/>
                </a:lnTo>
                <a:close/>
                <a:moveTo>
                  <a:pt x="193554" y="30339"/>
                </a:moveTo>
                <a:cubicBezTo>
                  <a:pt x="195019" y="28575"/>
                  <a:pt x="197950" y="28575"/>
                  <a:pt x="199782" y="30339"/>
                </a:cubicBezTo>
                <a:cubicBezTo>
                  <a:pt x="200514" y="31044"/>
                  <a:pt x="201247" y="32103"/>
                  <a:pt x="201247" y="33514"/>
                </a:cubicBezTo>
                <a:cubicBezTo>
                  <a:pt x="201247" y="34572"/>
                  <a:pt x="200514" y="35630"/>
                  <a:pt x="199782" y="36336"/>
                </a:cubicBezTo>
                <a:cubicBezTo>
                  <a:pt x="199049" y="37042"/>
                  <a:pt x="197950" y="37747"/>
                  <a:pt x="196484" y="37747"/>
                </a:cubicBezTo>
                <a:cubicBezTo>
                  <a:pt x="195385" y="37747"/>
                  <a:pt x="194286" y="37042"/>
                  <a:pt x="193554" y="36336"/>
                </a:cubicBezTo>
                <a:cubicBezTo>
                  <a:pt x="192455" y="35630"/>
                  <a:pt x="192088" y="34572"/>
                  <a:pt x="192088" y="33514"/>
                </a:cubicBezTo>
                <a:cubicBezTo>
                  <a:pt x="192088" y="32103"/>
                  <a:pt x="192455" y="31044"/>
                  <a:pt x="193554" y="30339"/>
                </a:cubicBezTo>
                <a:close/>
                <a:moveTo>
                  <a:pt x="134493" y="30339"/>
                </a:moveTo>
                <a:cubicBezTo>
                  <a:pt x="136398" y="28575"/>
                  <a:pt x="139446" y="28575"/>
                  <a:pt x="141351" y="30339"/>
                </a:cubicBezTo>
                <a:cubicBezTo>
                  <a:pt x="142113" y="31044"/>
                  <a:pt x="142494" y="32103"/>
                  <a:pt x="142494" y="33514"/>
                </a:cubicBezTo>
                <a:cubicBezTo>
                  <a:pt x="142494" y="34572"/>
                  <a:pt x="142113" y="35630"/>
                  <a:pt x="141351" y="36336"/>
                </a:cubicBezTo>
                <a:cubicBezTo>
                  <a:pt x="140589" y="37042"/>
                  <a:pt x="139065" y="37747"/>
                  <a:pt x="137922" y="37747"/>
                </a:cubicBezTo>
                <a:cubicBezTo>
                  <a:pt x="136779" y="37747"/>
                  <a:pt x="135636" y="37042"/>
                  <a:pt x="134493" y="36336"/>
                </a:cubicBezTo>
                <a:cubicBezTo>
                  <a:pt x="133731" y="35630"/>
                  <a:pt x="133350" y="34572"/>
                  <a:pt x="133350" y="33514"/>
                </a:cubicBezTo>
                <a:cubicBezTo>
                  <a:pt x="133350" y="32103"/>
                  <a:pt x="133731" y="31044"/>
                  <a:pt x="134493" y="30339"/>
                </a:cubicBezTo>
                <a:close/>
                <a:moveTo>
                  <a:pt x="168085" y="30162"/>
                </a:moveTo>
                <a:cubicBezTo>
                  <a:pt x="170752" y="30162"/>
                  <a:pt x="172657" y="32067"/>
                  <a:pt x="172657" y="34734"/>
                </a:cubicBezTo>
                <a:cubicBezTo>
                  <a:pt x="172657" y="37020"/>
                  <a:pt x="170752" y="39306"/>
                  <a:pt x="168085" y="39306"/>
                </a:cubicBezTo>
                <a:cubicBezTo>
                  <a:pt x="165799" y="39306"/>
                  <a:pt x="163513" y="37020"/>
                  <a:pt x="163513" y="34734"/>
                </a:cubicBezTo>
                <a:cubicBezTo>
                  <a:pt x="163513" y="32067"/>
                  <a:pt x="165799" y="30162"/>
                  <a:pt x="168085" y="30162"/>
                </a:cubicBezTo>
                <a:close/>
                <a:moveTo>
                  <a:pt x="22014" y="8625"/>
                </a:moveTo>
                <a:cubicBezTo>
                  <a:pt x="14796" y="8625"/>
                  <a:pt x="8661" y="14734"/>
                  <a:pt x="8661" y="21921"/>
                </a:cubicBezTo>
                <a:lnTo>
                  <a:pt x="8661" y="45279"/>
                </a:lnTo>
                <a:cubicBezTo>
                  <a:pt x="8661" y="52466"/>
                  <a:pt x="14796" y="58575"/>
                  <a:pt x="22014" y="58575"/>
                </a:cubicBezTo>
                <a:lnTo>
                  <a:pt x="209675" y="58575"/>
                </a:lnTo>
                <a:cubicBezTo>
                  <a:pt x="216893" y="58575"/>
                  <a:pt x="222667" y="52466"/>
                  <a:pt x="222667" y="45279"/>
                </a:cubicBezTo>
                <a:lnTo>
                  <a:pt x="222667" y="21921"/>
                </a:lnTo>
                <a:cubicBezTo>
                  <a:pt x="222667" y="14734"/>
                  <a:pt x="216893" y="8625"/>
                  <a:pt x="209675" y="8625"/>
                </a:cubicBezTo>
                <a:lnTo>
                  <a:pt x="22014" y="8625"/>
                </a:lnTo>
                <a:close/>
                <a:moveTo>
                  <a:pt x="22014" y="0"/>
                </a:moveTo>
                <a:lnTo>
                  <a:pt x="209675" y="0"/>
                </a:lnTo>
                <a:cubicBezTo>
                  <a:pt x="221945" y="0"/>
                  <a:pt x="231689" y="9703"/>
                  <a:pt x="231689" y="21921"/>
                </a:cubicBezTo>
                <a:lnTo>
                  <a:pt x="231689" y="45279"/>
                </a:lnTo>
                <a:cubicBezTo>
                  <a:pt x="231689" y="52466"/>
                  <a:pt x="228080" y="58935"/>
                  <a:pt x="222667" y="62888"/>
                </a:cubicBezTo>
                <a:cubicBezTo>
                  <a:pt x="228080" y="66841"/>
                  <a:pt x="231689" y="73309"/>
                  <a:pt x="231689" y="80496"/>
                </a:cubicBezTo>
                <a:lnTo>
                  <a:pt x="231689" y="92715"/>
                </a:lnTo>
                <a:cubicBezTo>
                  <a:pt x="265612" y="104214"/>
                  <a:pt x="290152" y="135838"/>
                  <a:pt x="290152" y="173570"/>
                </a:cubicBezTo>
                <a:cubicBezTo>
                  <a:pt x="290152" y="211663"/>
                  <a:pt x="265612" y="243646"/>
                  <a:pt x="231689" y="255145"/>
                </a:cubicBezTo>
                <a:lnTo>
                  <a:pt x="231689" y="266645"/>
                </a:lnTo>
                <a:cubicBezTo>
                  <a:pt x="231689" y="278863"/>
                  <a:pt x="221945" y="288566"/>
                  <a:pt x="209675" y="288566"/>
                </a:cubicBezTo>
                <a:lnTo>
                  <a:pt x="22014" y="288566"/>
                </a:lnTo>
                <a:cubicBezTo>
                  <a:pt x="10105" y="288566"/>
                  <a:pt x="0" y="278863"/>
                  <a:pt x="0" y="266645"/>
                </a:cubicBezTo>
                <a:lnTo>
                  <a:pt x="0" y="80496"/>
                </a:lnTo>
                <a:cubicBezTo>
                  <a:pt x="0" y="73309"/>
                  <a:pt x="3609" y="66841"/>
                  <a:pt x="9022" y="62888"/>
                </a:cubicBezTo>
                <a:cubicBezTo>
                  <a:pt x="3609" y="58935"/>
                  <a:pt x="0" y="52466"/>
                  <a:pt x="0" y="45279"/>
                </a:cubicBezTo>
                <a:lnTo>
                  <a:pt x="0" y="21921"/>
                </a:lnTo>
                <a:cubicBezTo>
                  <a:pt x="0" y="9703"/>
                  <a:pt x="10105" y="0"/>
                  <a:pt x="220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6" name="Freeform 983">
            <a:extLst>
              <a:ext uri="{FF2B5EF4-FFF2-40B4-BE49-F238E27FC236}">
                <a16:creationId xmlns:a16="http://schemas.microsoft.com/office/drawing/2014/main" id="{8D927CF4-2EF3-5D6A-A0B0-42F3286939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7031" y="4013433"/>
            <a:ext cx="388957" cy="386615"/>
          </a:xfrm>
          <a:custGeom>
            <a:avLst/>
            <a:gdLst>
              <a:gd name="T0" fmla="*/ 3320676 w 290151"/>
              <a:gd name="T1" fmla="*/ 5237588 h 288566"/>
              <a:gd name="T2" fmla="*/ 3320676 w 290151"/>
              <a:gd name="T3" fmla="*/ 5419633 h 288566"/>
              <a:gd name="T4" fmla="*/ 2403354 w 290151"/>
              <a:gd name="T5" fmla="*/ 5324964 h 288566"/>
              <a:gd name="T6" fmla="*/ 172546 w 290151"/>
              <a:gd name="T7" fmla="*/ 5042488 h 288566"/>
              <a:gd name="T8" fmla="*/ 438512 w 290151"/>
              <a:gd name="T9" fmla="*/ 5563861 h 288566"/>
              <a:gd name="T10" fmla="*/ 5600171 w 290151"/>
              <a:gd name="T11" fmla="*/ 5299611 h 288566"/>
              <a:gd name="T12" fmla="*/ 172546 w 290151"/>
              <a:gd name="T13" fmla="*/ 5042488 h 288566"/>
              <a:gd name="T14" fmla="*/ 229988 w 290151"/>
              <a:gd name="T15" fmla="*/ 4863919 h 288566"/>
              <a:gd name="T16" fmla="*/ 5168834 w 290151"/>
              <a:gd name="T17" fmla="*/ 4113980 h 288566"/>
              <a:gd name="T18" fmla="*/ 3518362 w 290151"/>
              <a:gd name="T19" fmla="*/ 1703448 h 288566"/>
              <a:gd name="T20" fmla="*/ 3754004 w 290151"/>
              <a:gd name="T21" fmla="*/ 3134866 h 288566"/>
              <a:gd name="T22" fmla="*/ 3518362 w 290151"/>
              <a:gd name="T23" fmla="*/ 1703448 h 288566"/>
              <a:gd name="T24" fmla="*/ 2597199 w 290151"/>
              <a:gd name="T25" fmla="*/ 3134866 h 288566"/>
              <a:gd name="T26" fmla="*/ 3347000 w 290151"/>
              <a:gd name="T27" fmla="*/ 1703448 h 288566"/>
              <a:gd name="T28" fmla="*/ 1668876 w 290151"/>
              <a:gd name="T29" fmla="*/ 1703448 h 288566"/>
              <a:gd name="T30" fmla="*/ 2418663 w 290151"/>
              <a:gd name="T31" fmla="*/ 3134866 h 288566"/>
              <a:gd name="T32" fmla="*/ 1668876 w 290151"/>
              <a:gd name="T33" fmla="*/ 1703448 h 288566"/>
              <a:gd name="T34" fmla="*/ 2418663 w 290151"/>
              <a:gd name="T35" fmla="*/ 848799 h 288566"/>
              <a:gd name="T36" fmla="*/ 1854556 w 290151"/>
              <a:gd name="T37" fmla="*/ 1525400 h 288566"/>
              <a:gd name="T38" fmla="*/ 3354097 w 290151"/>
              <a:gd name="T39" fmla="*/ 977000 h 288566"/>
              <a:gd name="T40" fmla="*/ 3475515 w 290151"/>
              <a:gd name="T41" fmla="*/ 848799 h 288566"/>
              <a:gd name="T42" fmla="*/ 4453816 w 290151"/>
              <a:gd name="T43" fmla="*/ 1525400 h 288566"/>
              <a:gd name="T44" fmla="*/ 4453816 w 290151"/>
              <a:gd name="T45" fmla="*/ 1703448 h 288566"/>
              <a:gd name="T46" fmla="*/ 3903975 w 290151"/>
              <a:gd name="T47" fmla="*/ 3241707 h 288566"/>
              <a:gd name="T48" fmla="*/ 1961686 w 290151"/>
              <a:gd name="T49" fmla="*/ 3305796 h 288566"/>
              <a:gd name="T50" fmla="*/ 1483246 w 290151"/>
              <a:gd name="T51" fmla="*/ 1703448 h 288566"/>
              <a:gd name="T52" fmla="*/ 1233295 w 290151"/>
              <a:gd name="T53" fmla="*/ 1617981 h 288566"/>
              <a:gd name="T54" fmla="*/ 1604626 w 290151"/>
              <a:gd name="T55" fmla="*/ 1525400 h 288566"/>
              <a:gd name="T56" fmla="*/ 905814 w 290151"/>
              <a:gd name="T57" fmla="*/ 171456 h 288566"/>
              <a:gd name="T58" fmla="*/ 639795 w 290151"/>
              <a:gd name="T59" fmla="*/ 3935420 h 288566"/>
              <a:gd name="T60" fmla="*/ 5140088 w 290151"/>
              <a:gd name="T61" fmla="*/ 435639 h 288566"/>
              <a:gd name="T62" fmla="*/ 905814 w 290151"/>
              <a:gd name="T63" fmla="*/ 171456 h 288566"/>
              <a:gd name="T64" fmla="*/ 4874094 w 290151"/>
              <a:gd name="T65" fmla="*/ 0 h 288566"/>
              <a:gd name="T66" fmla="*/ 5312618 w 290151"/>
              <a:gd name="T67" fmla="*/ 4006832 h 288566"/>
              <a:gd name="T68" fmla="*/ 5779869 w 290151"/>
              <a:gd name="T69" fmla="*/ 4956770 h 288566"/>
              <a:gd name="T70" fmla="*/ 5341368 w 290151"/>
              <a:gd name="T71" fmla="*/ 5735275 h 288566"/>
              <a:gd name="T72" fmla="*/ 0 w 290151"/>
              <a:gd name="T73" fmla="*/ 5299611 h 288566"/>
              <a:gd name="T74" fmla="*/ 7144 w 290151"/>
              <a:gd name="T75" fmla="*/ 4913916 h 288566"/>
              <a:gd name="T76" fmla="*/ 467234 w 290151"/>
              <a:gd name="T77" fmla="*/ 435639 h 28856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90151" h="288566">
                <a:moveTo>
                  <a:pt x="125036" y="263525"/>
                </a:moveTo>
                <a:lnTo>
                  <a:pt x="166699" y="263525"/>
                </a:lnTo>
                <a:cubicBezTo>
                  <a:pt x="169257" y="263525"/>
                  <a:pt x="171085" y="265357"/>
                  <a:pt x="171085" y="267921"/>
                </a:cubicBezTo>
                <a:cubicBezTo>
                  <a:pt x="171085" y="270486"/>
                  <a:pt x="169257" y="272684"/>
                  <a:pt x="166699" y="272684"/>
                </a:cubicBezTo>
                <a:lnTo>
                  <a:pt x="125036" y="272684"/>
                </a:lnTo>
                <a:cubicBezTo>
                  <a:pt x="122478" y="272684"/>
                  <a:pt x="120650" y="270486"/>
                  <a:pt x="120650" y="267921"/>
                </a:cubicBezTo>
                <a:cubicBezTo>
                  <a:pt x="120650" y="265357"/>
                  <a:pt x="122478" y="263525"/>
                  <a:pt x="125036" y="263525"/>
                </a:cubicBezTo>
                <a:close/>
                <a:moveTo>
                  <a:pt x="8661" y="253708"/>
                </a:moveTo>
                <a:lnTo>
                  <a:pt x="8661" y="266645"/>
                </a:lnTo>
                <a:cubicBezTo>
                  <a:pt x="8661" y="273832"/>
                  <a:pt x="14435" y="279941"/>
                  <a:pt x="22014" y="279941"/>
                </a:cubicBezTo>
                <a:lnTo>
                  <a:pt x="268137" y="279941"/>
                </a:lnTo>
                <a:cubicBezTo>
                  <a:pt x="275355" y="279941"/>
                  <a:pt x="281129" y="273832"/>
                  <a:pt x="281129" y="266645"/>
                </a:cubicBezTo>
                <a:lnTo>
                  <a:pt x="281129" y="253708"/>
                </a:lnTo>
                <a:lnTo>
                  <a:pt x="8661" y="253708"/>
                </a:lnTo>
                <a:close/>
                <a:moveTo>
                  <a:pt x="30314" y="206991"/>
                </a:moveTo>
                <a:lnTo>
                  <a:pt x="11548" y="244724"/>
                </a:lnTo>
                <a:lnTo>
                  <a:pt x="278603" y="244724"/>
                </a:lnTo>
                <a:lnTo>
                  <a:pt x="259476" y="206991"/>
                </a:lnTo>
                <a:lnTo>
                  <a:pt x="30314" y="206991"/>
                </a:lnTo>
                <a:close/>
                <a:moveTo>
                  <a:pt x="176622" y="85707"/>
                </a:moveTo>
                <a:lnTo>
                  <a:pt x="168377" y="157729"/>
                </a:lnTo>
                <a:lnTo>
                  <a:pt x="188452" y="157729"/>
                </a:lnTo>
                <a:lnTo>
                  <a:pt x="206375" y="85707"/>
                </a:lnTo>
                <a:lnTo>
                  <a:pt x="176622" y="85707"/>
                </a:lnTo>
                <a:close/>
                <a:moveTo>
                  <a:pt x="122135" y="85707"/>
                </a:moveTo>
                <a:lnTo>
                  <a:pt x="130380" y="157729"/>
                </a:lnTo>
                <a:lnTo>
                  <a:pt x="159774" y="157729"/>
                </a:lnTo>
                <a:lnTo>
                  <a:pt x="168019" y="85707"/>
                </a:lnTo>
                <a:lnTo>
                  <a:pt x="122135" y="85707"/>
                </a:lnTo>
                <a:close/>
                <a:moveTo>
                  <a:pt x="83779" y="85707"/>
                </a:moveTo>
                <a:lnTo>
                  <a:pt x="101702" y="157729"/>
                </a:lnTo>
                <a:lnTo>
                  <a:pt x="121418" y="157729"/>
                </a:lnTo>
                <a:lnTo>
                  <a:pt x="113532" y="85707"/>
                </a:lnTo>
                <a:lnTo>
                  <a:pt x="83779" y="85707"/>
                </a:lnTo>
                <a:close/>
                <a:moveTo>
                  <a:pt x="115324" y="42708"/>
                </a:moveTo>
                <a:cubicBezTo>
                  <a:pt x="117116" y="41275"/>
                  <a:pt x="119984" y="41275"/>
                  <a:pt x="121418" y="42708"/>
                </a:cubicBezTo>
                <a:cubicBezTo>
                  <a:pt x="123210" y="44500"/>
                  <a:pt x="123210" y="47367"/>
                  <a:pt x="121418" y="49158"/>
                </a:cubicBezTo>
                <a:lnTo>
                  <a:pt x="93099" y="76749"/>
                </a:lnTo>
                <a:lnTo>
                  <a:pt x="197055" y="76749"/>
                </a:lnTo>
                <a:lnTo>
                  <a:pt x="168377" y="49158"/>
                </a:lnTo>
                <a:cubicBezTo>
                  <a:pt x="166944" y="47367"/>
                  <a:pt x="166944" y="44500"/>
                  <a:pt x="168377" y="42708"/>
                </a:cubicBezTo>
                <a:cubicBezTo>
                  <a:pt x="170170" y="41275"/>
                  <a:pt x="173038" y="41275"/>
                  <a:pt x="174471" y="42708"/>
                </a:cubicBezTo>
                <a:lnTo>
                  <a:pt x="209243" y="76749"/>
                </a:lnTo>
                <a:lnTo>
                  <a:pt x="223582" y="76749"/>
                </a:lnTo>
                <a:cubicBezTo>
                  <a:pt x="226091" y="76749"/>
                  <a:pt x="228242" y="78899"/>
                  <a:pt x="228242" y="81407"/>
                </a:cubicBezTo>
                <a:cubicBezTo>
                  <a:pt x="228242" y="83915"/>
                  <a:pt x="226091" y="85707"/>
                  <a:pt x="223582" y="85707"/>
                </a:cubicBezTo>
                <a:lnTo>
                  <a:pt x="215337" y="85707"/>
                </a:lnTo>
                <a:lnTo>
                  <a:pt x="195980" y="163104"/>
                </a:lnTo>
                <a:cubicBezTo>
                  <a:pt x="195621" y="164896"/>
                  <a:pt x="193470" y="166329"/>
                  <a:pt x="191678" y="166329"/>
                </a:cubicBezTo>
                <a:lnTo>
                  <a:pt x="98476" y="166329"/>
                </a:lnTo>
                <a:cubicBezTo>
                  <a:pt x="96325" y="166329"/>
                  <a:pt x="94533" y="164896"/>
                  <a:pt x="94174" y="163104"/>
                </a:cubicBezTo>
                <a:lnTo>
                  <a:pt x="74459" y="85707"/>
                </a:lnTo>
                <a:lnTo>
                  <a:pt x="66572" y="85707"/>
                </a:lnTo>
                <a:cubicBezTo>
                  <a:pt x="64063" y="85707"/>
                  <a:pt x="61912" y="83915"/>
                  <a:pt x="61912" y="81407"/>
                </a:cubicBezTo>
                <a:cubicBezTo>
                  <a:pt x="61912" y="78899"/>
                  <a:pt x="64063" y="76749"/>
                  <a:pt x="66572" y="76749"/>
                </a:cubicBezTo>
                <a:lnTo>
                  <a:pt x="80553" y="76749"/>
                </a:lnTo>
                <a:lnTo>
                  <a:pt x="115324" y="42708"/>
                </a:lnTo>
                <a:close/>
                <a:moveTo>
                  <a:pt x="45471" y="8625"/>
                </a:moveTo>
                <a:cubicBezTo>
                  <a:pt x="38254" y="8625"/>
                  <a:pt x="32118" y="14734"/>
                  <a:pt x="32118" y="21921"/>
                </a:cubicBezTo>
                <a:lnTo>
                  <a:pt x="32118" y="198007"/>
                </a:lnTo>
                <a:lnTo>
                  <a:pt x="258033" y="198007"/>
                </a:lnTo>
                <a:lnTo>
                  <a:pt x="258033" y="21921"/>
                </a:lnTo>
                <a:cubicBezTo>
                  <a:pt x="258033" y="14734"/>
                  <a:pt x="251898" y="8625"/>
                  <a:pt x="244680" y="8625"/>
                </a:cubicBezTo>
                <a:lnTo>
                  <a:pt x="45471" y="8625"/>
                </a:lnTo>
                <a:close/>
                <a:moveTo>
                  <a:pt x="45471" y="0"/>
                </a:moveTo>
                <a:lnTo>
                  <a:pt x="244680" y="0"/>
                </a:lnTo>
                <a:cubicBezTo>
                  <a:pt x="256950" y="0"/>
                  <a:pt x="266694" y="9703"/>
                  <a:pt x="266694" y="21921"/>
                </a:cubicBezTo>
                <a:lnTo>
                  <a:pt x="266694" y="201601"/>
                </a:lnTo>
                <a:lnTo>
                  <a:pt x="289790" y="247239"/>
                </a:lnTo>
                <a:cubicBezTo>
                  <a:pt x="289790" y="247958"/>
                  <a:pt x="290151" y="248677"/>
                  <a:pt x="290151" y="249396"/>
                </a:cubicBezTo>
                <a:lnTo>
                  <a:pt x="290151" y="266645"/>
                </a:lnTo>
                <a:cubicBezTo>
                  <a:pt x="290151" y="278863"/>
                  <a:pt x="280047" y="288566"/>
                  <a:pt x="268137" y="288566"/>
                </a:cubicBezTo>
                <a:lnTo>
                  <a:pt x="22014" y="288566"/>
                </a:lnTo>
                <a:cubicBezTo>
                  <a:pt x="9744" y="288566"/>
                  <a:pt x="0" y="278863"/>
                  <a:pt x="0" y="266645"/>
                </a:cubicBezTo>
                <a:lnTo>
                  <a:pt x="0" y="249396"/>
                </a:lnTo>
                <a:cubicBezTo>
                  <a:pt x="0" y="248677"/>
                  <a:pt x="0" y="247958"/>
                  <a:pt x="361" y="247239"/>
                </a:cubicBezTo>
                <a:lnTo>
                  <a:pt x="23457" y="201601"/>
                </a:lnTo>
                <a:lnTo>
                  <a:pt x="23457" y="21921"/>
                </a:lnTo>
                <a:cubicBezTo>
                  <a:pt x="23457" y="9703"/>
                  <a:pt x="33201" y="0"/>
                  <a:pt x="4547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97BB6D-5747-7C75-93EA-020D7CD26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E1D548FC-3532-AF49-3903-AF34F0EF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Road flow chart</a:t>
            </a:r>
          </a:p>
        </p:txBody>
      </p:sp>
    </p:spTree>
    <p:extLst>
      <p:ext uri="{BB962C8B-B14F-4D97-AF65-F5344CB8AC3E}">
        <p14:creationId xmlns:p14="http://schemas.microsoft.com/office/powerpoint/2010/main" val="2601297687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CC224228-E1AB-9C18-99C2-7EEA5087AC1D}"/>
              </a:ext>
            </a:extLst>
          </p:cNvPr>
          <p:cNvSpPr/>
          <p:nvPr/>
        </p:nvSpPr>
        <p:spPr>
          <a:xfrm>
            <a:off x="1590675" y="3433763"/>
            <a:ext cx="1757363" cy="1733550"/>
          </a:xfrm>
          <a:custGeom>
            <a:avLst/>
            <a:gdLst>
              <a:gd name="connsiteX0" fmla="*/ 809625 w 1757363"/>
              <a:gd name="connsiteY0" fmla="*/ 0 h 1733550"/>
              <a:gd name="connsiteX1" fmla="*/ 1757363 w 1757363"/>
              <a:gd name="connsiteY1" fmla="*/ 1457325 h 1733550"/>
              <a:gd name="connsiteX2" fmla="*/ 1609725 w 1757363"/>
              <a:gd name="connsiteY2" fmla="*/ 1733550 h 1733550"/>
              <a:gd name="connsiteX3" fmla="*/ 0 w 1757363"/>
              <a:gd name="connsiteY3" fmla="*/ 1733550 h 1733550"/>
              <a:gd name="connsiteX4" fmla="*/ 838200 w 1757363"/>
              <a:gd name="connsiteY4" fmla="*/ 42862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363" h="1733550">
                <a:moveTo>
                  <a:pt x="809625" y="0"/>
                </a:moveTo>
                <a:lnTo>
                  <a:pt x="1757363" y="1457325"/>
                </a:lnTo>
                <a:lnTo>
                  <a:pt x="1609725" y="1733550"/>
                </a:lnTo>
                <a:lnTo>
                  <a:pt x="0" y="1733550"/>
                </a:lnTo>
                <a:lnTo>
                  <a:pt x="838200" y="42862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B9EFF34C-4A91-FF82-E0DE-67F767FB5C8A}"/>
              </a:ext>
            </a:extLst>
          </p:cNvPr>
          <p:cNvSpPr/>
          <p:nvPr/>
        </p:nvSpPr>
        <p:spPr>
          <a:xfrm>
            <a:off x="5386388" y="3367088"/>
            <a:ext cx="2092993" cy="1800225"/>
          </a:xfrm>
          <a:custGeom>
            <a:avLst/>
            <a:gdLst>
              <a:gd name="connsiteX0" fmla="*/ 809625 w 1757363"/>
              <a:gd name="connsiteY0" fmla="*/ 0 h 1733550"/>
              <a:gd name="connsiteX1" fmla="*/ 1757363 w 1757363"/>
              <a:gd name="connsiteY1" fmla="*/ 1457325 h 1733550"/>
              <a:gd name="connsiteX2" fmla="*/ 1609725 w 1757363"/>
              <a:gd name="connsiteY2" fmla="*/ 1733550 h 1733550"/>
              <a:gd name="connsiteX3" fmla="*/ 0 w 1757363"/>
              <a:gd name="connsiteY3" fmla="*/ 1733550 h 1733550"/>
              <a:gd name="connsiteX4" fmla="*/ 838200 w 1757363"/>
              <a:gd name="connsiteY4" fmla="*/ 42862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363" h="1733550">
                <a:moveTo>
                  <a:pt x="809625" y="0"/>
                </a:moveTo>
                <a:lnTo>
                  <a:pt x="1757363" y="1457325"/>
                </a:lnTo>
                <a:lnTo>
                  <a:pt x="1609725" y="1733550"/>
                </a:lnTo>
                <a:lnTo>
                  <a:pt x="0" y="1733550"/>
                </a:lnTo>
                <a:lnTo>
                  <a:pt x="838200" y="42862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7B055DCB-4DFD-38E1-8A6C-B1C9516F801B}"/>
              </a:ext>
            </a:extLst>
          </p:cNvPr>
          <p:cNvSpPr/>
          <p:nvPr/>
        </p:nvSpPr>
        <p:spPr>
          <a:xfrm>
            <a:off x="9534525" y="3076576"/>
            <a:ext cx="2200753" cy="2090738"/>
          </a:xfrm>
          <a:custGeom>
            <a:avLst/>
            <a:gdLst>
              <a:gd name="connsiteX0" fmla="*/ 809625 w 1757363"/>
              <a:gd name="connsiteY0" fmla="*/ 0 h 1733550"/>
              <a:gd name="connsiteX1" fmla="*/ 1757363 w 1757363"/>
              <a:gd name="connsiteY1" fmla="*/ 1457325 h 1733550"/>
              <a:gd name="connsiteX2" fmla="*/ 1609725 w 1757363"/>
              <a:gd name="connsiteY2" fmla="*/ 1733550 h 1733550"/>
              <a:gd name="connsiteX3" fmla="*/ 0 w 1757363"/>
              <a:gd name="connsiteY3" fmla="*/ 1733550 h 1733550"/>
              <a:gd name="connsiteX4" fmla="*/ 838200 w 1757363"/>
              <a:gd name="connsiteY4" fmla="*/ 42862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363" h="1733550">
                <a:moveTo>
                  <a:pt x="809625" y="0"/>
                </a:moveTo>
                <a:lnTo>
                  <a:pt x="1757363" y="1457325"/>
                </a:lnTo>
                <a:lnTo>
                  <a:pt x="1609725" y="1733550"/>
                </a:lnTo>
                <a:lnTo>
                  <a:pt x="0" y="1733550"/>
                </a:lnTo>
                <a:lnTo>
                  <a:pt x="838200" y="42862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Plans vs. actu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68C8B2A2-8798-54D2-DCD1-F6CD57673D81}"/>
              </a:ext>
            </a:extLst>
          </p:cNvPr>
          <p:cNvSpPr txBox="1"/>
          <p:nvPr/>
        </p:nvSpPr>
        <p:spPr>
          <a:xfrm>
            <a:off x="384174" y="1521411"/>
            <a:ext cx="33572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8D21516C-E79C-C558-F88E-A09D0EFFB8EE}"/>
              </a:ext>
            </a:extLst>
          </p:cNvPr>
          <p:cNvSpPr txBox="1"/>
          <p:nvPr/>
        </p:nvSpPr>
        <p:spPr>
          <a:xfrm>
            <a:off x="4423727" y="1521411"/>
            <a:ext cx="33572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1F8D890A-21D7-072C-3F1E-42D0167E06DC}"/>
              </a:ext>
            </a:extLst>
          </p:cNvPr>
          <p:cNvSpPr txBox="1"/>
          <p:nvPr/>
        </p:nvSpPr>
        <p:spPr>
          <a:xfrm>
            <a:off x="8463279" y="1521411"/>
            <a:ext cx="33572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5B35918A-A3F0-A9B7-2410-58917F545A94}"/>
              </a:ext>
            </a:extLst>
          </p:cNvPr>
          <p:cNvCxnSpPr>
            <a:cxnSpLocks/>
          </p:cNvCxnSpPr>
          <p:nvPr/>
        </p:nvCxnSpPr>
        <p:spPr>
          <a:xfrm flipV="1">
            <a:off x="4082574" y="1736855"/>
            <a:ext cx="0" cy="38532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4BAADA0E-60FC-A0D7-E92B-44A331967479}"/>
              </a:ext>
            </a:extLst>
          </p:cNvPr>
          <p:cNvCxnSpPr>
            <a:cxnSpLocks/>
          </p:cNvCxnSpPr>
          <p:nvPr/>
        </p:nvCxnSpPr>
        <p:spPr>
          <a:xfrm flipV="1">
            <a:off x="8122126" y="1736855"/>
            <a:ext cx="0" cy="38532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ipse 16">
            <a:extLst>
              <a:ext uri="{FF2B5EF4-FFF2-40B4-BE49-F238E27FC236}">
                <a16:creationId xmlns:a16="http://schemas.microsoft.com/office/drawing/2014/main" id="{E15AF800-9E64-B9C8-C623-E64649070C09}"/>
              </a:ext>
            </a:extLst>
          </p:cNvPr>
          <p:cNvSpPr/>
          <p:nvPr/>
        </p:nvSpPr>
        <p:spPr>
          <a:xfrm>
            <a:off x="3028114" y="4811476"/>
            <a:ext cx="349725" cy="349725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50514F5B-E05A-40CC-CEE0-05414CE49A2D}"/>
              </a:ext>
            </a:extLst>
          </p:cNvPr>
          <p:cNvSpPr/>
          <p:nvPr/>
        </p:nvSpPr>
        <p:spPr>
          <a:xfrm>
            <a:off x="6992379" y="4683919"/>
            <a:ext cx="477281" cy="477281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E4C450E8-551D-29D7-E5A9-DB8DA6D158B1}"/>
              </a:ext>
            </a:extLst>
          </p:cNvPr>
          <p:cNvSpPr/>
          <p:nvPr/>
        </p:nvSpPr>
        <p:spPr>
          <a:xfrm>
            <a:off x="11234184" y="4660107"/>
            <a:ext cx="501094" cy="501094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6C96E81C-0032-F48B-3DBA-DCAC09FCEC17}"/>
              </a:ext>
            </a:extLst>
          </p:cNvPr>
          <p:cNvSpPr/>
          <p:nvPr/>
        </p:nvSpPr>
        <p:spPr>
          <a:xfrm>
            <a:off x="475773" y="3017599"/>
            <a:ext cx="2143602" cy="214360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3E9C1DE6-452D-8E46-B55A-7CE9B94A3C44}"/>
              </a:ext>
            </a:extLst>
          </p:cNvPr>
          <p:cNvSpPr/>
          <p:nvPr/>
        </p:nvSpPr>
        <p:spPr>
          <a:xfrm>
            <a:off x="4190522" y="2819400"/>
            <a:ext cx="2341801" cy="2341801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783E0104-E9AA-A24E-ED20-22E44A975761}"/>
              </a:ext>
            </a:extLst>
          </p:cNvPr>
          <p:cNvSpPr/>
          <p:nvPr/>
        </p:nvSpPr>
        <p:spPr>
          <a:xfrm>
            <a:off x="8239559" y="2571750"/>
            <a:ext cx="2589451" cy="2589451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4168BA93-E32E-34BA-C9C2-580857886525}"/>
              </a:ext>
            </a:extLst>
          </p:cNvPr>
          <p:cNvSpPr txBox="1"/>
          <p:nvPr/>
        </p:nvSpPr>
        <p:spPr>
          <a:xfrm>
            <a:off x="384174" y="5301461"/>
            <a:ext cx="191611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2DFCE790-AEC5-0C73-FF95-FD3255027059}"/>
              </a:ext>
            </a:extLst>
          </p:cNvPr>
          <p:cNvSpPr txBox="1"/>
          <p:nvPr/>
        </p:nvSpPr>
        <p:spPr>
          <a:xfrm>
            <a:off x="4423727" y="5301461"/>
            <a:ext cx="191611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2F6EC3D8-2596-9138-A8ED-822DEEF289D4}"/>
              </a:ext>
            </a:extLst>
          </p:cNvPr>
          <p:cNvSpPr txBox="1"/>
          <p:nvPr/>
        </p:nvSpPr>
        <p:spPr>
          <a:xfrm>
            <a:off x="8463279" y="5301461"/>
            <a:ext cx="191611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C6A88A98-165C-8568-61FF-F7B5F8418C5E}"/>
              </a:ext>
            </a:extLst>
          </p:cNvPr>
          <p:cNvSpPr txBox="1"/>
          <p:nvPr/>
        </p:nvSpPr>
        <p:spPr>
          <a:xfrm>
            <a:off x="2650490" y="5301461"/>
            <a:ext cx="11141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45021159-7263-AE2C-4D32-672AF006E0D2}"/>
              </a:ext>
            </a:extLst>
          </p:cNvPr>
          <p:cNvSpPr txBox="1"/>
          <p:nvPr/>
        </p:nvSpPr>
        <p:spPr>
          <a:xfrm>
            <a:off x="6690043" y="5301461"/>
            <a:ext cx="11141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FBBC4039-888C-BC8C-9466-3508FB5371AC}"/>
              </a:ext>
            </a:extLst>
          </p:cNvPr>
          <p:cNvSpPr txBox="1"/>
          <p:nvPr/>
        </p:nvSpPr>
        <p:spPr>
          <a:xfrm>
            <a:off x="10935335" y="5301461"/>
            <a:ext cx="11141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24594170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Forecas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9A5AC1B-1EC2-C037-764B-40F23FC8021C}"/>
              </a:ext>
            </a:extLst>
          </p:cNvPr>
          <p:cNvSpPr txBox="1"/>
          <p:nvPr/>
        </p:nvSpPr>
        <p:spPr>
          <a:xfrm>
            <a:off x="384174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EF421076-D50A-F7DF-B412-43966AC59F89}"/>
              </a:ext>
            </a:extLst>
          </p:cNvPr>
          <p:cNvSpPr txBox="1"/>
          <p:nvPr/>
        </p:nvSpPr>
        <p:spPr>
          <a:xfrm>
            <a:off x="3271042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F295411A-10D9-C315-62A7-9365BAFDC74C}"/>
              </a:ext>
            </a:extLst>
          </p:cNvPr>
          <p:cNvSpPr txBox="1"/>
          <p:nvPr/>
        </p:nvSpPr>
        <p:spPr>
          <a:xfrm>
            <a:off x="6167438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B1289DE7-4681-3114-2443-5764D0FBF7D6}"/>
              </a:ext>
            </a:extLst>
          </p:cNvPr>
          <p:cNvSpPr txBox="1"/>
          <p:nvPr/>
        </p:nvSpPr>
        <p:spPr>
          <a:xfrm>
            <a:off x="9048749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B446FB9B-3516-5083-1319-FE29A7970AC7}"/>
              </a:ext>
            </a:extLst>
          </p:cNvPr>
          <p:cNvSpPr txBox="1"/>
          <p:nvPr/>
        </p:nvSpPr>
        <p:spPr>
          <a:xfrm>
            <a:off x="384174" y="2742590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D1885615-B4F7-CBD7-2E53-E3F0EE616C6C}"/>
              </a:ext>
            </a:extLst>
          </p:cNvPr>
          <p:cNvSpPr txBox="1"/>
          <p:nvPr/>
        </p:nvSpPr>
        <p:spPr>
          <a:xfrm>
            <a:off x="384174" y="3111195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F28AD23B-E01D-A968-E948-B2D68CC7DD5B}"/>
              </a:ext>
            </a:extLst>
          </p:cNvPr>
          <p:cNvSpPr txBox="1"/>
          <p:nvPr/>
        </p:nvSpPr>
        <p:spPr>
          <a:xfrm>
            <a:off x="3967160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DB0801F3-6D39-EB8C-6562-E70AF2C9F136}"/>
              </a:ext>
            </a:extLst>
          </p:cNvPr>
          <p:cNvCxnSpPr>
            <a:cxnSpLocks/>
          </p:cNvCxnSpPr>
          <p:nvPr/>
        </p:nvCxnSpPr>
        <p:spPr>
          <a:xfrm>
            <a:off x="4364830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4">
            <a:extLst>
              <a:ext uri="{FF2B5EF4-FFF2-40B4-BE49-F238E27FC236}">
                <a16:creationId xmlns:a16="http://schemas.microsoft.com/office/drawing/2014/main" id="{A1D6955E-0F53-D063-636E-930EDC769B97}"/>
              </a:ext>
            </a:extLst>
          </p:cNvPr>
          <p:cNvSpPr txBox="1"/>
          <p:nvPr/>
        </p:nvSpPr>
        <p:spPr>
          <a:xfrm>
            <a:off x="5129215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9BEEEAA1-458A-12CF-B8B1-2E5B0F7B2AD0}"/>
              </a:ext>
            </a:extLst>
          </p:cNvPr>
          <p:cNvCxnSpPr>
            <a:cxnSpLocks/>
          </p:cNvCxnSpPr>
          <p:nvPr/>
        </p:nvCxnSpPr>
        <p:spPr>
          <a:xfrm>
            <a:off x="5526885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70E07B16-8C95-4B27-2B9C-32CA8BF1344D}"/>
              </a:ext>
            </a:extLst>
          </p:cNvPr>
          <p:cNvSpPr txBox="1"/>
          <p:nvPr/>
        </p:nvSpPr>
        <p:spPr>
          <a:xfrm>
            <a:off x="6291262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CA191DED-0070-100E-11C0-E9703408B84D}"/>
              </a:ext>
            </a:extLst>
          </p:cNvPr>
          <p:cNvCxnSpPr>
            <a:cxnSpLocks/>
          </p:cNvCxnSpPr>
          <p:nvPr/>
        </p:nvCxnSpPr>
        <p:spPr>
          <a:xfrm>
            <a:off x="6688932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4">
            <a:extLst>
              <a:ext uri="{FF2B5EF4-FFF2-40B4-BE49-F238E27FC236}">
                <a16:creationId xmlns:a16="http://schemas.microsoft.com/office/drawing/2014/main" id="{F58543CB-9AC4-DBD3-3A0E-907E192F5372}"/>
              </a:ext>
            </a:extLst>
          </p:cNvPr>
          <p:cNvSpPr txBox="1"/>
          <p:nvPr/>
        </p:nvSpPr>
        <p:spPr>
          <a:xfrm>
            <a:off x="7463630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89110D82-1EB2-C93C-CC23-10D37175A960}"/>
              </a:ext>
            </a:extLst>
          </p:cNvPr>
          <p:cNvCxnSpPr>
            <a:cxnSpLocks/>
          </p:cNvCxnSpPr>
          <p:nvPr/>
        </p:nvCxnSpPr>
        <p:spPr>
          <a:xfrm>
            <a:off x="7861300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4">
            <a:extLst>
              <a:ext uri="{FF2B5EF4-FFF2-40B4-BE49-F238E27FC236}">
                <a16:creationId xmlns:a16="http://schemas.microsoft.com/office/drawing/2014/main" id="{68B14E22-1989-B1B7-A6A1-27E778C3AA9A}"/>
              </a:ext>
            </a:extLst>
          </p:cNvPr>
          <p:cNvSpPr txBox="1"/>
          <p:nvPr/>
        </p:nvSpPr>
        <p:spPr>
          <a:xfrm>
            <a:off x="8621708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F3015016-9788-93CC-4716-06BC1246EEE6}"/>
              </a:ext>
            </a:extLst>
          </p:cNvPr>
          <p:cNvCxnSpPr>
            <a:cxnSpLocks/>
          </p:cNvCxnSpPr>
          <p:nvPr/>
        </p:nvCxnSpPr>
        <p:spPr>
          <a:xfrm>
            <a:off x="9019378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4">
            <a:extLst>
              <a:ext uri="{FF2B5EF4-FFF2-40B4-BE49-F238E27FC236}">
                <a16:creationId xmlns:a16="http://schemas.microsoft.com/office/drawing/2014/main" id="{5F2B0C04-90AB-FF84-26EF-610BD48487DB}"/>
              </a:ext>
            </a:extLst>
          </p:cNvPr>
          <p:cNvSpPr txBox="1"/>
          <p:nvPr/>
        </p:nvSpPr>
        <p:spPr>
          <a:xfrm>
            <a:off x="9789311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D1494379-6C85-BE2E-9728-6E224C273AC9}"/>
              </a:ext>
            </a:extLst>
          </p:cNvPr>
          <p:cNvCxnSpPr>
            <a:cxnSpLocks/>
          </p:cNvCxnSpPr>
          <p:nvPr/>
        </p:nvCxnSpPr>
        <p:spPr>
          <a:xfrm>
            <a:off x="10186981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" name="TextBox 24">
            <a:extLst>
              <a:ext uri="{FF2B5EF4-FFF2-40B4-BE49-F238E27FC236}">
                <a16:creationId xmlns:a16="http://schemas.microsoft.com/office/drawing/2014/main" id="{31C1D6BF-AF80-6CA7-F6E1-C0513E352B7F}"/>
              </a:ext>
            </a:extLst>
          </p:cNvPr>
          <p:cNvSpPr txBox="1"/>
          <p:nvPr/>
        </p:nvSpPr>
        <p:spPr>
          <a:xfrm>
            <a:off x="10954539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025" name="Conector recto 1024">
            <a:extLst>
              <a:ext uri="{FF2B5EF4-FFF2-40B4-BE49-F238E27FC236}">
                <a16:creationId xmlns:a16="http://schemas.microsoft.com/office/drawing/2014/main" id="{24C7B9B9-901C-1E99-0985-809B9ED4B2F9}"/>
              </a:ext>
            </a:extLst>
          </p:cNvPr>
          <p:cNvCxnSpPr>
            <a:cxnSpLocks/>
          </p:cNvCxnSpPr>
          <p:nvPr/>
        </p:nvCxnSpPr>
        <p:spPr>
          <a:xfrm>
            <a:off x="11352209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8" name="Conector recto 1027">
            <a:extLst>
              <a:ext uri="{FF2B5EF4-FFF2-40B4-BE49-F238E27FC236}">
                <a16:creationId xmlns:a16="http://schemas.microsoft.com/office/drawing/2014/main" id="{AD0EFA77-859D-487A-8B79-52588DB14EDC}"/>
              </a:ext>
            </a:extLst>
          </p:cNvPr>
          <p:cNvCxnSpPr>
            <a:cxnSpLocks/>
          </p:cNvCxnSpPr>
          <p:nvPr/>
        </p:nvCxnSpPr>
        <p:spPr>
          <a:xfrm>
            <a:off x="5526885" y="2865700"/>
            <a:ext cx="6293640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ector recto 1030">
            <a:extLst>
              <a:ext uri="{FF2B5EF4-FFF2-40B4-BE49-F238E27FC236}">
                <a16:creationId xmlns:a16="http://schemas.microsoft.com/office/drawing/2014/main" id="{03DF89A9-96CF-E803-72F6-6FB1236F6319}"/>
              </a:ext>
            </a:extLst>
          </p:cNvPr>
          <p:cNvCxnSpPr>
            <a:cxnSpLocks/>
          </p:cNvCxnSpPr>
          <p:nvPr/>
        </p:nvCxnSpPr>
        <p:spPr>
          <a:xfrm>
            <a:off x="5526885" y="3234305"/>
            <a:ext cx="2334415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Conector recto 1032">
            <a:extLst>
              <a:ext uri="{FF2B5EF4-FFF2-40B4-BE49-F238E27FC236}">
                <a16:creationId xmlns:a16="http://schemas.microsoft.com/office/drawing/2014/main" id="{6A5BCB4A-FFF7-15B2-5299-1AEA6E4A197D}"/>
              </a:ext>
            </a:extLst>
          </p:cNvPr>
          <p:cNvCxnSpPr>
            <a:cxnSpLocks/>
          </p:cNvCxnSpPr>
          <p:nvPr/>
        </p:nvCxnSpPr>
        <p:spPr>
          <a:xfrm>
            <a:off x="7861300" y="3234305"/>
            <a:ext cx="3959225" cy="0"/>
          </a:xfrm>
          <a:prstGeom prst="line">
            <a:avLst/>
          </a:prstGeom>
          <a:ln w="38100"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Conector recto 1034">
            <a:extLst>
              <a:ext uri="{FF2B5EF4-FFF2-40B4-BE49-F238E27FC236}">
                <a16:creationId xmlns:a16="http://schemas.microsoft.com/office/drawing/2014/main" id="{B466294D-C3F0-D215-7607-75839CF31D9D}"/>
              </a:ext>
            </a:extLst>
          </p:cNvPr>
          <p:cNvCxnSpPr>
            <a:cxnSpLocks/>
          </p:cNvCxnSpPr>
          <p:nvPr/>
        </p:nvCxnSpPr>
        <p:spPr>
          <a:xfrm>
            <a:off x="5526885" y="3602910"/>
            <a:ext cx="2334415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6" name="Conector recto 1035">
            <a:extLst>
              <a:ext uri="{FF2B5EF4-FFF2-40B4-BE49-F238E27FC236}">
                <a16:creationId xmlns:a16="http://schemas.microsoft.com/office/drawing/2014/main" id="{4F766F8E-BFE6-C982-BD5D-A1DE727B4643}"/>
              </a:ext>
            </a:extLst>
          </p:cNvPr>
          <p:cNvCxnSpPr>
            <a:cxnSpLocks/>
          </p:cNvCxnSpPr>
          <p:nvPr/>
        </p:nvCxnSpPr>
        <p:spPr>
          <a:xfrm>
            <a:off x="7861300" y="3602910"/>
            <a:ext cx="3959225" cy="0"/>
          </a:xfrm>
          <a:prstGeom prst="line">
            <a:avLst/>
          </a:prstGeom>
          <a:ln w="38100"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Conector recto 1036">
            <a:extLst>
              <a:ext uri="{FF2B5EF4-FFF2-40B4-BE49-F238E27FC236}">
                <a16:creationId xmlns:a16="http://schemas.microsoft.com/office/drawing/2014/main" id="{B4CC5F3F-E67F-DDE9-E012-8D124B721D4F}"/>
              </a:ext>
            </a:extLst>
          </p:cNvPr>
          <p:cNvCxnSpPr>
            <a:cxnSpLocks/>
          </p:cNvCxnSpPr>
          <p:nvPr/>
        </p:nvCxnSpPr>
        <p:spPr>
          <a:xfrm>
            <a:off x="5526885" y="6216649"/>
            <a:ext cx="283365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9" name="TextBox 24">
            <a:extLst>
              <a:ext uri="{FF2B5EF4-FFF2-40B4-BE49-F238E27FC236}">
                <a16:creationId xmlns:a16="http://schemas.microsoft.com/office/drawing/2014/main" id="{6D4FAECB-0FBE-BAC8-5C5A-E55B1152CEA3}"/>
              </a:ext>
            </a:extLst>
          </p:cNvPr>
          <p:cNvSpPr txBox="1"/>
          <p:nvPr/>
        </p:nvSpPr>
        <p:spPr>
          <a:xfrm>
            <a:off x="5897563" y="6124316"/>
            <a:ext cx="205263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043" name="Conector recto 1042">
            <a:extLst>
              <a:ext uri="{FF2B5EF4-FFF2-40B4-BE49-F238E27FC236}">
                <a16:creationId xmlns:a16="http://schemas.microsoft.com/office/drawing/2014/main" id="{8082BCD2-0939-45F8-0616-2BECCD409012}"/>
              </a:ext>
            </a:extLst>
          </p:cNvPr>
          <p:cNvCxnSpPr>
            <a:cxnSpLocks/>
          </p:cNvCxnSpPr>
          <p:nvPr/>
        </p:nvCxnSpPr>
        <p:spPr>
          <a:xfrm>
            <a:off x="8199836" y="6216649"/>
            <a:ext cx="283365" cy="0"/>
          </a:xfrm>
          <a:prstGeom prst="line">
            <a:avLst/>
          </a:prstGeom>
          <a:ln w="38100"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4" name="TextBox 24">
            <a:extLst>
              <a:ext uri="{FF2B5EF4-FFF2-40B4-BE49-F238E27FC236}">
                <a16:creationId xmlns:a16="http://schemas.microsoft.com/office/drawing/2014/main" id="{B51B1326-018D-D70D-27E7-DD8FA4C67F5C}"/>
              </a:ext>
            </a:extLst>
          </p:cNvPr>
          <p:cNvSpPr txBox="1"/>
          <p:nvPr/>
        </p:nvSpPr>
        <p:spPr>
          <a:xfrm>
            <a:off x="8570514" y="6124316"/>
            <a:ext cx="205263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178532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ACA4D61-F04B-42E7-2D40-8921075DCB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CACA4D61-F04B-42E7-2D40-8921075DC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DA889A8D-C759-4AFA-51E1-2F2D342A12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mbrex provides resources to help consultants thrive</a:t>
            </a:r>
          </a:p>
        </p:txBody>
      </p:sp>
      <p:pic>
        <p:nvPicPr>
          <p:cNvPr id="288" name="Picture 2">
            <a:extLst>
              <a:ext uri="{FF2B5EF4-FFF2-40B4-BE49-F238E27FC236}">
                <a16:creationId xmlns:a16="http://schemas.microsoft.com/office/drawing/2014/main" id="{BFE21568-8B6C-4ADB-A950-5872FA7D7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0" name="Marcador de texto 7">
            <a:hlinkClick r:id="rId6"/>
            <a:extLst>
              <a:ext uri="{FF2B5EF4-FFF2-40B4-BE49-F238E27FC236}">
                <a16:creationId xmlns:a16="http://schemas.microsoft.com/office/drawing/2014/main" id="{E5465026-EB1D-47F6-95F2-05F78284C8D6}"/>
              </a:ext>
            </a:extLst>
          </p:cNvPr>
          <p:cNvSpPr txBox="1">
            <a:spLocks/>
          </p:cNvSpPr>
          <p:nvPr/>
        </p:nvSpPr>
        <p:spPr>
          <a:xfrm>
            <a:off x="6221819" y="3203978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57600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Guide To Setting Up Your Own Practice</a:t>
            </a:r>
          </a:p>
        </p:txBody>
      </p:sp>
      <p:grpSp>
        <p:nvGrpSpPr>
          <p:cNvPr id="291" name="Group 82">
            <a:extLst>
              <a:ext uri="{FF2B5EF4-FFF2-40B4-BE49-F238E27FC236}">
                <a16:creationId xmlns:a16="http://schemas.microsoft.com/office/drawing/2014/main" id="{613FEA5C-88FC-485A-9408-CB8DCB9EEB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47550" y="3357301"/>
            <a:ext cx="264885" cy="352626"/>
            <a:chOff x="3489" y="1721"/>
            <a:chExt cx="320" cy="426"/>
          </a:xfrm>
          <a:solidFill>
            <a:schemeClr val="tx2"/>
          </a:solidFill>
        </p:grpSpPr>
        <p:sp>
          <p:nvSpPr>
            <p:cNvPr id="292" name="Freeform 83">
              <a:extLst>
                <a:ext uri="{FF2B5EF4-FFF2-40B4-BE49-F238E27FC236}">
                  <a16:creationId xmlns:a16="http://schemas.microsoft.com/office/drawing/2014/main" id="{F42DF837-35EA-482E-AC77-32836263F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" y="1756"/>
              <a:ext cx="231" cy="54"/>
            </a:xfrm>
            <a:custGeom>
              <a:avLst/>
              <a:gdLst>
                <a:gd name="T0" fmla="*/ 150 w 156"/>
                <a:gd name="T1" fmla="*/ 36 h 36"/>
                <a:gd name="T2" fmla="*/ 144 w 156"/>
                <a:gd name="T3" fmla="*/ 30 h 36"/>
                <a:gd name="T4" fmla="*/ 144 w 156"/>
                <a:gd name="T5" fmla="*/ 12 h 36"/>
                <a:gd name="T6" fmla="*/ 6 w 156"/>
                <a:gd name="T7" fmla="*/ 12 h 36"/>
                <a:gd name="T8" fmla="*/ 0 w 156"/>
                <a:gd name="T9" fmla="*/ 6 h 36"/>
                <a:gd name="T10" fmla="*/ 6 w 156"/>
                <a:gd name="T11" fmla="*/ 0 h 36"/>
                <a:gd name="T12" fmla="*/ 150 w 156"/>
                <a:gd name="T13" fmla="*/ 0 h 36"/>
                <a:gd name="T14" fmla="*/ 156 w 156"/>
                <a:gd name="T15" fmla="*/ 6 h 36"/>
                <a:gd name="T16" fmla="*/ 156 w 156"/>
                <a:gd name="T17" fmla="*/ 30 h 36"/>
                <a:gd name="T18" fmla="*/ 150 w 156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36">
                  <a:moveTo>
                    <a:pt x="150" y="36"/>
                  </a:moveTo>
                  <a:cubicBezTo>
                    <a:pt x="147" y="36"/>
                    <a:pt x="144" y="33"/>
                    <a:pt x="144" y="30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4" y="0"/>
                    <a:pt x="156" y="2"/>
                    <a:pt x="156" y="6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3"/>
                    <a:pt x="154" y="36"/>
                    <a:pt x="15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3" name="Freeform 84">
              <a:extLst>
                <a:ext uri="{FF2B5EF4-FFF2-40B4-BE49-F238E27FC236}">
                  <a16:creationId xmlns:a16="http://schemas.microsoft.com/office/drawing/2014/main" id="{37E1E551-A87B-4723-B85F-B96234D252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721"/>
              <a:ext cx="320" cy="426"/>
            </a:xfrm>
            <a:custGeom>
              <a:avLst/>
              <a:gdLst>
                <a:gd name="T0" fmla="*/ 210 w 216"/>
                <a:gd name="T1" fmla="*/ 288 h 288"/>
                <a:gd name="T2" fmla="*/ 30 w 216"/>
                <a:gd name="T3" fmla="*/ 288 h 288"/>
                <a:gd name="T4" fmla="*/ 0 w 216"/>
                <a:gd name="T5" fmla="*/ 258 h 288"/>
                <a:gd name="T6" fmla="*/ 0 w 216"/>
                <a:gd name="T7" fmla="*/ 30 h 288"/>
                <a:gd name="T8" fmla="*/ 30 w 216"/>
                <a:gd name="T9" fmla="*/ 0 h 288"/>
                <a:gd name="T10" fmla="*/ 198 w 216"/>
                <a:gd name="T11" fmla="*/ 0 h 288"/>
                <a:gd name="T12" fmla="*/ 204 w 216"/>
                <a:gd name="T13" fmla="*/ 6 h 288"/>
                <a:gd name="T14" fmla="*/ 204 w 216"/>
                <a:gd name="T15" fmla="*/ 48 h 288"/>
                <a:gd name="T16" fmla="*/ 210 w 216"/>
                <a:gd name="T17" fmla="*/ 48 h 288"/>
                <a:gd name="T18" fmla="*/ 216 w 216"/>
                <a:gd name="T19" fmla="*/ 54 h 288"/>
                <a:gd name="T20" fmla="*/ 216 w 216"/>
                <a:gd name="T21" fmla="*/ 282 h 288"/>
                <a:gd name="T22" fmla="*/ 210 w 216"/>
                <a:gd name="T23" fmla="*/ 288 h 288"/>
                <a:gd name="T24" fmla="*/ 12 w 216"/>
                <a:gd name="T25" fmla="*/ 54 h 288"/>
                <a:gd name="T26" fmla="*/ 12 w 216"/>
                <a:gd name="T27" fmla="*/ 258 h 288"/>
                <a:gd name="T28" fmla="*/ 30 w 216"/>
                <a:gd name="T29" fmla="*/ 276 h 288"/>
                <a:gd name="T30" fmla="*/ 204 w 216"/>
                <a:gd name="T31" fmla="*/ 276 h 288"/>
                <a:gd name="T32" fmla="*/ 204 w 216"/>
                <a:gd name="T33" fmla="*/ 60 h 288"/>
                <a:gd name="T34" fmla="*/ 30 w 216"/>
                <a:gd name="T35" fmla="*/ 60 h 288"/>
                <a:gd name="T36" fmla="*/ 12 w 216"/>
                <a:gd name="T37" fmla="*/ 54 h 288"/>
                <a:gd name="T38" fmla="*/ 30 w 216"/>
                <a:gd name="T39" fmla="*/ 12 h 288"/>
                <a:gd name="T40" fmla="*/ 12 w 216"/>
                <a:gd name="T41" fmla="*/ 30 h 288"/>
                <a:gd name="T42" fmla="*/ 30 w 216"/>
                <a:gd name="T43" fmla="*/ 48 h 288"/>
                <a:gd name="T44" fmla="*/ 192 w 216"/>
                <a:gd name="T45" fmla="*/ 48 h 288"/>
                <a:gd name="T46" fmla="*/ 192 w 216"/>
                <a:gd name="T47" fmla="*/ 12 h 288"/>
                <a:gd name="T48" fmla="*/ 30 w 216"/>
                <a:gd name="T4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30" y="288"/>
                    <a:pt x="30" y="288"/>
                    <a:pt x="30" y="288"/>
                  </a:cubicBezTo>
                  <a:cubicBezTo>
                    <a:pt x="14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2" y="0"/>
                    <a:pt x="204" y="2"/>
                    <a:pt x="204" y="6"/>
                  </a:cubicBezTo>
                  <a:cubicBezTo>
                    <a:pt x="204" y="48"/>
                    <a:pt x="204" y="48"/>
                    <a:pt x="204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214" y="48"/>
                    <a:pt x="216" y="50"/>
                    <a:pt x="216" y="54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5"/>
                    <a:pt x="214" y="288"/>
                    <a:pt x="210" y="288"/>
                  </a:cubicBezTo>
                  <a:close/>
                  <a:moveTo>
                    <a:pt x="12" y="54"/>
                  </a:move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1" y="276"/>
                    <a:pt x="30" y="276"/>
                  </a:cubicBezTo>
                  <a:cubicBezTo>
                    <a:pt x="204" y="276"/>
                    <a:pt x="204" y="276"/>
                    <a:pt x="204" y="276"/>
                  </a:cubicBezTo>
                  <a:cubicBezTo>
                    <a:pt x="204" y="60"/>
                    <a:pt x="204" y="60"/>
                    <a:pt x="204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4" y="60"/>
                    <a:pt x="17" y="57"/>
                    <a:pt x="12" y="54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40"/>
                    <a:pt x="21" y="48"/>
                    <a:pt x="30" y="48"/>
                  </a:cubicBezTo>
                  <a:cubicBezTo>
                    <a:pt x="192" y="48"/>
                    <a:pt x="192" y="48"/>
                    <a:pt x="192" y="48"/>
                  </a:cubicBezTo>
                  <a:cubicBezTo>
                    <a:pt x="192" y="12"/>
                    <a:pt x="192" y="12"/>
                    <a:pt x="192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95" name="Marcador de texto 7">
            <a:hlinkClick r:id="rId7"/>
            <a:extLst>
              <a:ext uri="{FF2B5EF4-FFF2-40B4-BE49-F238E27FC236}">
                <a16:creationId xmlns:a16="http://schemas.microsoft.com/office/drawing/2014/main" id="{71D8F5B1-C121-4752-AF25-740132C23D80}"/>
              </a:ext>
            </a:extLst>
          </p:cNvPr>
          <p:cNvSpPr txBox="1">
            <a:spLocks/>
          </p:cNvSpPr>
          <p:nvPr/>
        </p:nvSpPr>
        <p:spPr>
          <a:xfrm>
            <a:off x="6221819" y="2246787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57600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w to Build a Consulting Website</a:t>
            </a:r>
          </a:p>
        </p:txBody>
      </p:sp>
      <p:grpSp>
        <p:nvGrpSpPr>
          <p:cNvPr id="296" name="Group 32">
            <a:extLst>
              <a:ext uri="{FF2B5EF4-FFF2-40B4-BE49-F238E27FC236}">
                <a16:creationId xmlns:a16="http://schemas.microsoft.com/office/drawing/2014/main" id="{5F0153FF-8696-4382-A8D7-939C67971D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92623" y="2412805"/>
            <a:ext cx="374738" cy="327237"/>
            <a:chOff x="3438" y="466"/>
            <a:chExt cx="426" cy="372"/>
          </a:xfrm>
          <a:solidFill>
            <a:schemeClr val="tx2"/>
          </a:solidFill>
        </p:grpSpPr>
        <p:sp>
          <p:nvSpPr>
            <p:cNvPr id="297" name="Freeform 33">
              <a:extLst>
                <a:ext uri="{FF2B5EF4-FFF2-40B4-BE49-F238E27FC236}">
                  <a16:creationId xmlns:a16="http://schemas.microsoft.com/office/drawing/2014/main" id="{34E53970-F20E-45F3-95A2-5D83939BCF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8" y="581"/>
              <a:ext cx="426" cy="142"/>
            </a:xfrm>
            <a:custGeom>
              <a:avLst/>
              <a:gdLst>
                <a:gd name="T0" fmla="*/ 282 w 288"/>
                <a:gd name="T1" fmla="*/ 96 h 96"/>
                <a:gd name="T2" fmla="*/ 6 w 288"/>
                <a:gd name="T3" fmla="*/ 96 h 96"/>
                <a:gd name="T4" fmla="*/ 0 w 288"/>
                <a:gd name="T5" fmla="*/ 90 h 96"/>
                <a:gd name="T6" fmla="*/ 0 w 288"/>
                <a:gd name="T7" fmla="*/ 6 h 96"/>
                <a:gd name="T8" fmla="*/ 6 w 288"/>
                <a:gd name="T9" fmla="*/ 0 h 96"/>
                <a:gd name="T10" fmla="*/ 282 w 288"/>
                <a:gd name="T11" fmla="*/ 0 h 96"/>
                <a:gd name="T12" fmla="*/ 288 w 288"/>
                <a:gd name="T13" fmla="*/ 6 h 96"/>
                <a:gd name="T14" fmla="*/ 288 w 288"/>
                <a:gd name="T15" fmla="*/ 90 h 96"/>
                <a:gd name="T16" fmla="*/ 282 w 288"/>
                <a:gd name="T17" fmla="*/ 96 h 96"/>
                <a:gd name="T18" fmla="*/ 12 w 288"/>
                <a:gd name="T19" fmla="*/ 84 h 96"/>
                <a:gd name="T20" fmla="*/ 276 w 288"/>
                <a:gd name="T21" fmla="*/ 84 h 96"/>
                <a:gd name="T22" fmla="*/ 276 w 288"/>
                <a:gd name="T23" fmla="*/ 12 h 96"/>
                <a:gd name="T24" fmla="*/ 12 w 288"/>
                <a:gd name="T25" fmla="*/ 12 h 96"/>
                <a:gd name="T26" fmla="*/ 12 w 28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96">
                  <a:moveTo>
                    <a:pt x="28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4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0"/>
                    <a:pt x="288" y="90"/>
                    <a:pt x="288" y="90"/>
                  </a:cubicBezTo>
                  <a:cubicBezTo>
                    <a:pt x="288" y="94"/>
                    <a:pt x="286" y="96"/>
                    <a:pt x="282" y="96"/>
                  </a:cubicBezTo>
                  <a:close/>
                  <a:moveTo>
                    <a:pt x="12" y="84"/>
                  </a:moveTo>
                  <a:cubicBezTo>
                    <a:pt x="276" y="84"/>
                    <a:pt x="276" y="84"/>
                    <a:pt x="276" y="84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8" name="Freeform 34">
              <a:extLst>
                <a:ext uri="{FF2B5EF4-FFF2-40B4-BE49-F238E27FC236}">
                  <a16:creationId xmlns:a16="http://schemas.microsoft.com/office/drawing/2014/main" id="{38C78808-0F9E-4299-9751-A057FC3E9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466"/>
              <a:ext cx="352" cy="127"/>
            </a:xfrm>
            <a:custGeom>
              <a:avLst/>
              <a:gdLst>
                <a:gd name="T0" fmla="*/ 226 w 238"/>
                <a:gd name="T1" fmla="*/ 86 h 86"/>
                <a:gd name="T2" fmla="*/ 119 w 238"/>
                <a:gd name="T3" fmla="*/ 12 h 86"/>
                <a:gd name="T4" fmla="*/ 115 w 238"/>
                <a:gd name="T5" fmla="*/ 12 h 86"/>
                <a:gd name="T6" fmla="*/ 12 w 238"/>
                <a:gd name="T7" fmla="*/ 86 h 86"/>
                <a:gd name="T8" fmla="*/ 0 w 238"/>
                <a:gd name="T9" fmla="*/ 82 h 86"/>
                <a:gd name="T10" fmla="*/ 114 w 238"/>
                <a:gd name="T11" fmla="*/ 0 h 86"/>
                <a:gd name="T12" fmla="*/ 119 w 238"/>
                <a:gd name="T13" fmla="*/ 0 h 86"/>
                <a:gd name="T14" fmla="*/ 238 w 238"/>
                <a:gd name="T15" fmla="*/ 82 h 86"/>
                <a:gd name="T16" fmla="*/ 226 w 238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86">
                  <a:moveTo>
                    <a:pt x="226" y="86"/>
                  </a:moveTo>
                  <a:cubicBezTo>
                    <a:pt x="210" y="42"/>
                    <a:pt x="167" y="12"/>
                    <a:pt x="119" y="12"/>
                  </a:cubicBezTo>
                  <a:cubicBezTo>
                    <a:pt x="118" y="12"/>
                    <a:pt x="116" y="12"/>
                    <a:pt x="115" y="12"/>
                  </a:cubicBezTo>
                  <a:cubicBezTo>
                    <a:pt x="67" y="14"/>
                    <a:pt x="27" y="43"/>
                    <a:pt x="12" y="8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7" y="35"/>
                    <a:pt x="62" y="2"/>
                    <a:pt x="114" y="0"/>
                  </a:cubicBezTo>
                  <a:cubicBezTo>
                    <a:pt x="116" y="0"/>
                    <a:pt x="118" y="0"/>
                    <a:pt x="119" y="0"/>
                  </a:cubicBezTo>
                  <a:cubicBezTo>
                    <a:pt x="172" y="0"/>
                    <a:pt x="220" y="33"/>
                    <a:pt x="238" y="82"/>
                  </a:cubicBezTo>
                  <a:lnTo>
                    <a:pt x="226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9" name="Freeform 35">
              <a:extLst>
                <a:ext uri="{FF2B5EF4-FFF2-40B4-BE49-F238E27FC236}">
                  <a16:creationId xmlns:a16="http://schemas.microsoft.com/office/drawing/2014/main" id="{1A3B81FB-CF0C-463A-ACB1-9F0B0692C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" y="711"/>
              <a:ext cx="348" cy="127"/>
            </a:xfrm>
            <a:custGeom>
              <a:avLst/>
              <a:gdLst>
                <a:gd name="T0" fmla="*/ 117 w 235"/>
                <a:gd name="T1" fmla="*/ 86 h 86"/>
                <a:gd name="T2" fmla="*/ 0 w 235"/>
                <a:gd name="T3" fmla="*/ 4 h 86"/>
                <a:gd name="T4" fmla="*/ 11 w 235"/>
                <a:gd name="T5" fmla="*/ 0 h 86"/>
                <a:gd name="T6" fmla="*/ 117 w 235"/>
                <a:gd name="T7" fmla="*/ 74 h 86"/>
                <a:gd name="T8" fmla="*/ 224 w 235"/>
                <a:gd name="T9" fmla="*/ 0 h 86"/>
                <a:gd name="T10" fmla="*/ 235 w 235"/>
                <a:gd name="T11" fmla="*/ 4 h 86"/>
                <a:gd name="T12" fmla="*/ 117 w 235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86">
                  <a:moveTo>
                    <a:pt x="117" y="86"/>
                  </a:moveTo>
                  <a:cubicBezTo>
                    <a:pt x="66" y="86"/>
                    <a:pt x="19" y="53"/>
                    <a:pt x="0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8" y="44"/>
                    <a:pt x="71" y="74"/>
                    <a:pt x="117" y="74"/>
                  </a:cubicBezTo>
                  <a:cubicBezTo>
                    <a:pt x="164" y="74"/>
                    <a:pt x="207" y="44"/>
                    <a:pt x="224" y="0"/>
                  </a:cubicBezTo>
                  <a:cubicBezTo>
                    <a:pt x="235" y="4"/>
                    <a:pt x="235" y="4"/>
                    <a:pt x="235" y="4"/>
                  </a:cubicBezTo>
                  <a:cubicBezTo>
                    <a:pt x="217" y="53"/>
                    <a:pt x="169" y="86"/>
                    <a:pt x="11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0" name="Freeform 36">
              <a:extLst>
                <a:ext uri="{FF2B5EF4-FFF2-40B4-BE49-F238E27FC236}">
                  <a16:creationId xmlns:a16="http://schemas.microsoft.com/office/drawing/2014/main" id="{9DA9F88A-1572-4AE4-BD84-04688B2D4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713"/>
              <a:ext cx="75" cy="123"/>
            </a:xfrm>
            <a:custGeom>
              <a:avLst/>
              <a:gdLst>
                <a:gd name="T0" fmla="*/ 41 w 51"/>
                <a:gd name="T1" fmla="*/ 83 h 83"/>
                <a:gd name="T2" fmla="*/ 0 w 51"/>
                <a:gd name="T3" fmla="*/ 3 h 83"/>
                <a:gd name="T4" fmla="*/ 12 w 51"/>
                <a:gd name="T5" fmla="*/ 0 h 83"/>
                <a:gd name="T6" fmla="*/ 51 w 51"/>
                <a:gd name="T7" fmla="*/ 76 h 83"/>
                <a:gd name="T8" fmla="*/ 41 w 5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83">
                  <a:moveTo>
                    <a:pt x="41" y="83"/>
                  </a:moveTo>
                  <a:cubicBezTo>
                    <a:pt x="22" y="57"/>
                    <a:pt x="8" y="30"/>
                    <a:pt x="0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25"/>
                    <a:pt x="32" y="51"/>
                    <a:pt x="51" y="76"/>
                  </a:cubicBezTo>
                  <a:lnTo>
                    <a:pt x="41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1" name="Freeform 37">
              <a:extLst>
                <a:ext uri="{FF2B5EF4-FFF2-40B4-BE49-F238E27FC236}">
                  <a16:creationId xmlns:a16="http://schemas.microsoft.com/office/drawing/2014/main" id="{6E8D42C0-C0A1-4045-B314-FD9AF3ECE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" y="468"/>
              <a:ext cx="78" cy="125"/>
            </a:xfrm>
            <a:custGeom>
              <a:avLst/>
              <a:gdLst>
                <a:gd name="T0" fmla="*/ 11 w 53"/>
                <a:gd name="T1" fmla="*/ 84 h 84"/>
                <a:gd name="T2" fmla="*/ 0 w 53"/>
                <a:gd name="T3" fmla="*/ 81 h 84"/>
                <a:gd name="T4" fmla="*/ 44 w 53"/>
                <a:gd name="T5" fmla="*/ 0 h 84"/>
                <a:gd name="T6" fmla="*/ 53 w 53"/>
                <a:gd name="T7" fmla="*/ 8 h 84"/>
                <a:gd name="T8" fmla="*/ 11 w 53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84">
                  <a:moveTo>
                    <a:pt x="11" y="84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7" y="52"/>
                    <a:pt x="21" y="25"/>
                    <a:pt x="44" y="0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32" y="31"/>
                    <a:pt x="18" y="56"/>
                    <a:pt x="11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2" name="Freeform 38">
              <a:extLst>
                <a:ext uri="{FF2B5EF4-FFF2-40B4-BE49-F238E27FC236}">
                  <a16:creationId xmlns:a16="http://schemas.microsoft.com/office/drawing/2014/main" id="{544213C2-0BB5-4DFE-8C1D-F07CC43C0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3" y="713"/>
              <a:ext cx="75" cy="123"/>
            </a:xfrm>
            <a:custGeom>
              <a:avLst/>
              <a:gdLst>
                <a:gd name="T0" fmla="*/ 10 w 51"/>
                <a:gd name="T1" fmla="*/ 83 h 83"/>
                <a:gd name="T2" fmla="*/ 0 w 51"/>
                <a:gd name="T3" fmla="*/ 75 h 83"/>
                <a:gd name="T4" fmla="*/ 39 w 51"/>
                <a:gd name="T5" fmla="*/ 0 h 83"/>
                <a:gd name="T6" fmla="*/ 51 w 51"/>
                <a:gd name="T7" fmla="*/ 3 h 83"/>
                <a:gd name="T8" fmla="*/ 10 w 5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83">
                  <a:moveTo>
                    <a:pt x="10" y="83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19" y="51"/>
                    <a:pt x="32" y="25"/>
                    <a:pt x="39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3" y="30"/>
                    <a:pt x="29" y="57"/>
                    <a:pt x="10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3" name="Freeform 39">
              <a:extLst>
                <a:ext uri="{FF2B5EF4-FFF2-40B4-BE49-F238E27FC236}">
                  <a16:creationId xmlns:a16="http://schemas.microsoft.com/office/drawing/2014/main" id="{9B45E698-2AB6-46EF-A9F6-3E27CAC51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3" y="468"/>
              <a:ext cx="78" cy="125"/>
            </a:xfrm>
            <a:custGeom>
              <a:avLst/>
              <a:gdLst>
                <a:gd name="T0" fmla="*/ 42 w 53"/>
                <a:gd name="T1" fmla="*/ 84 h 84"/>
                <a:gd name="T2" fmla="*/ 0 w 53"/>
                <a:gd name="T3" fmla="*/ 8 h 84"/>
                <a:gd name="T4" fmla="*/ 9 w 53"/>
                <a:gd name="T5" fmla="*/ 0 h 84"/>
                <a:gd name="T6" fmla="*/ 53 w 53"/>
                <a:gd name="T7" fmla="*/ 81 h 84"/>
                <a:gd name="T8" fmla="*/ 42 w 53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84">
                  <a:moveTo>
                    <a:pt x="42" y="84"/>
                  </a:moveTo>
                  <a:cubicBezTo>
                    <a:pt x="35" y="56"/>
                    <a:pt x="21" y="31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2" y="25"/>
                    <a:pt x="46" y="52"/>
                    <a:pt x="53" y="81"/>
                  </a:cubicBezTo>
                  <a:lnTo>
                    <a:pt x="4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4" name="Rectangle 40">
              <a:extLst>
                <a:ext uri="{FF2B5EF4-FFF2-40B4-BE49-F238E27FC236}">
                  <a16:creationId xmlns:a16="http://schemas.microsoft.com/office/drawing/2014/main" id="{4D416949-0327-4188-A4CA-A52C32A44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5" y="741"/>
              <a:ext cx="29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5" name="Rectangle 41">
              <a:extLst>
                <a:ext uri="{FF2B5EF4-FFF2-40B4-BE49-F238E27FC236}">
                  <a16:creationId xmlns:a16="http://schemas.microsoft.com/office/drawing/2014/main" id="{78B2FA65-B832-423D-9BC0-7AB0289B97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3" y="545"/>
              <a:ext cx="295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6" name="Freeform 42">
              <a:extLst>
                <a:ext uri="{FF2B5EF4-FFF2-40B4-BE49-F238E27FC236}">
                  <a16:creationId xmlns:a16="http://schemas.microsoft.com/office/drawing/2014/main" id="{B0742371-2F50-452E-A957-71A420325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608"/>
              <a:ext cx="65" cy="88"/>
            </a:xfrm>
            <a:custGeom>
              <a:avLst/>
              <a:gdLst>
                <a:gd name="T0" fmla="*/ 15 w 44"/>
                <a:gd name="T1" fmla="*/ 60 h 60"/>
                <a:gd name="T2" fmla="*/ 14 w 44"/>
                <a:gd name="T3" fmla="*/ 60 h 60"/>
                <a:gd name="T4" fmla="*/ 9 w 44"/>
                <a:gd name="T5" fmla="*/ 55 h 60"/>
                <a:gd name="T6" fmla="*/ 1 w 44"/>
                <a:gd name="T7" fmla="*/ 7 h 60"/>
                <a:gd name="T8" fmla="*/ 6 w 44"/>
                <a:gd name="T9" fmla="*/ 0 h 60"/>
                <a:gd name="T10" fmla="*/ 13 w 44"/>
                <a:gd name="T11" fmla="*/ 5 h 60"/>
                <a:gd name="T12" fmla="*/ 16 w 44"/>
                <a:gd name="T13" fmla="*/ 28 h 60"/>
                <a:gd name="T14" fmla="*/ 22 w 44"/>
                <a:gd name="T15" fmla="*/ 24 h 60"/>
                <a:gd name="T16" fmla="*/ 22 w 44"/>
                <a:gd name="T17" fmla="*/ 24 h 60"/>
                <a:gd name="T18" fmla="*/ 28 w 44"/>
                <a:gd name="T19" fmla="*/ 28 h 60"/>
                <a:gd name="T20" fmla="*/ 32 w 44"/>
                <a:gd name="T21" fmla="*/ 5 h 60"/>
                <a:gd name="T22" fmla="*/ 38 w 44"/>
                <a:gd name="T23" fmla="*/ 0 h 60"/>
                <a:gd name="T24" fmla="*/ 43 w 44"/>
                <a:gd name="T25" fmla="*/ 7 h 60"/>
                <a:gd name="T26" fmla="*/ 36 w 44"/>
                <a:gd name="T27" fmla="*/ 55 h 60"/>
                <a:gd name="T28" fmla="*/ 30 w 44"/>
                <a:gd name="T29" fmla="*/ 60 h 60"/>
                <a:gd name="T30" fmla="*/ 24 w 44"/>
                <a:gd name="T31" fmla="*/ 56 h 60"/>
                <a:gd name="T32" fmla="*/ 22 w 44"/>
                <a:gd name="T33" fmla="*/ 50 h 60"/>
                <a:gd name="T34" fmla="*/ 20 w 44"/>
                <a:gd name="T35" fmla="*/ 56 h 60"/>
                <a:gd name="T36" fmla="*/ 15 w 44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60">
                  <a:moveTo>
                    <a:pt x="15" y="60"/>
                  </a:moveTo>
                  <a:cubicBezTo>
                    <a:pt x="14" y="60"/>
                    <a:pt x="14" y="60"/>
                    <a:pt x="14" y="60"/>
                  </a:cubicBezTo>
                  <a:cubicBezTo>
                    <a:pt x="11" y="60"/>
                    <a:pt x="9" y="58"/>
                    <a:pt x="9" y="5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3" y="1"/>
                    <a:pt x="6" y="0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6"/>
                    <a:pt x="20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5" y="24"/>
                    <a:pt x="27" y="26"/>
                    <a:pt x="28" y="28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2"/>
                    <a:pt x="35" y="0"/>
                    <a:pt x="38" y="0"/>
                  </a:cubicBezTo>
                  <a:cubicBezTo>
                    <a:pt x="42" y="1"/>
                    <a:pt x="44" y="4"/>
                    <a:pt x="43" y="7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5" y="58"/>
                    <a:pt x="33" y="60"/>
                    <a:pt x="30" y="60"/>
                  </a:cubicBezTo>
                  <a:cubicBezTo>
                    <a:pt x="27" y="60"/>
                    <a:pt x="25" y="59"/>
                    <a:pt x="24" y="56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9"/>
                    <a:pt x="17" y="60"/>
                    <a:pt x="1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" name="Freeform 43">
              <a:extLst>
                <a:ext uri="{FF2B5EF4-FFF2-40B4-BE49-F238E27FC236}">
                  <a16:creationId xmlns:a16="http://schemas.microsoft.com/office/drawing/2014/main" id="{FB6FDB0C-DCB7-4FE8-9FA3-84C92745C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5" y="608"/>
              <a:ext cx="63" cy="88"/>
            </a:xfrm>
            <a:custGeom>
              <a:avLst/>
              <a:gdLst>
                <a:gd name="T0" fmla="*/ 14 w 43"/>
                <a:gd name="T1" fmla="*/ 60 h 60"/>
                <a:gd name="T2" fmla="*/ 13 w 43"/>
                <a:gd name="T3" fmla="*/ 60 h 60"/>
                <a:gd name="T4" fmla="*/ 8 w 43"/>
                <a:gd name="T5" fmla="*/ 55 h 60"/>
                <a:gd name="T6" fmla="*/ 0 w 43"/>
                <a:gd name="T7" fmla="*/ 7 h 60"/>
                <a:gd name="T8" fmla="*/ 5 w 43"/>
                <a:gd name="T9" fmla="*/ 0 h 60"/>
                <a:gd name="T10" fmla="*/ 12 w 43"/>
                <a:gd name="T11" fmla="*/ 5 h 60"/>
                <a:gd name="T12" fmla="*/ 16 w 43"/>
                <a:gd name="T13" fmla="*/ 28 h 60"/>
                <a:gd name="T14" fmla="*/ 21 w 43"/>
                <a:gd name="T15" fmla="*/ 24 h 60"/>
                <a:gd name="T16" fmla="*/ 21 w 43"/>
                <a:gd name="T17" fmla="*/ 24 h 60"/>
                <a:gd name="T18" fmla="*/ 27 w 43"/>
                <a:gd name="T19" fmla="*/ 28 h 60"/>
                <a:gd name="T20" fmla="*/ 31 w 43"/>
                <a:gd name="T21" fmla="*/ 5 h 60"/>
                <a:gd name="T22" fmla="*/ 38 w 43"/>
                <a:gd name="T23" fmla="*/ 0 h 60"/>
                <a:gd name="T24" fmla="*/ 43 w 43"/>
                <a:gd name="T25" fmla="*/ 7 h 60"/>
                <a:gd name="T26" fmla="*/ 35 w 43"/>
                <a:gd name="T27" fmla="*/ 55 h 60"/>
                <a:gd name="T28" fmla="*/ 30 w 43"/>
                <a:gd name="T29" fmla="*/ 60 h 60"/>
                <a:gd name="T30" fmla="*/ 23 w 43"/>
                <a:gd name="T31" fmla="*/ 56 h 60"/>
                <a:gd name="T32" fmla="*/ 21 w 43"/>
                <a:gd name="T33" fmla="*/ 50 h 60"/>
                <a:gd name="T34" fmla="*/ 19 w 43"/>
                <a:gd name="T35" fmla="*/ 56 h 60"/>
                <a:gd name="T36" fmla="*/ 14 w 43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60">
                  <a:moveTo>
                    <a:pt x="14" y="60"/>
                  </a:moveTo>
                  <a:cubicBezTo>
                    <a:pt x="14" y="60"/>
                    <a:pt x="13" y="60"/>
                    <a:pt x="13" y="60"/>
                  </a:cubicBezTo>
                  <a:cubicBezTo>
                    <a:pt x="11" y="60"/>
                    <a:pt x="8" y="58"/>
                    <a:pt x="8" y="5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2" y="1"/>
                    <a:pt x="5" y="0"/>
                  </a:cubicBezTo>
                  <a:cubicBezTo>
                    <a:pt x="8" y="0"/>
                    <a:pt x="12" y="2"/>
                    <a:pt x="12" y="5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6"/>
                    <a:pt x="19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4" y="24"/>
                    <a:pt x="26" y="26"/>
                    <a:pt x="27" y="2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2"/>
                    <a:pt x="34" y="0"/>
                    <a:pt x="38" y="0"/>
                  </a:cubicBezTo>
                  <a:cubicBezTo>
                    <a:pt x="41" y="1"/>
                    <a:pt x="43" y="4"/>
                    <a:pt x="43" y="7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8"/>
                    <a:pt x="32" y="60"/>
                    <a:pt x="30" y="60"/>
                  </a:cubicBezTo>
                  <a:cubicBezTo>
                    <a:pt x="27" y="60"/>
                    <a:pt x="24" y="59"/>
                    <a:pt x="23" y="56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9"/>
                    <a:pt x="16" y="60"/>
                    <a:pt x="1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8" name="Freeform 44">
              <a:extLst>
                <a:ext uri="{FF2B5EF4-FFF2-40B4-BE49-F238E27FC236}">
                  <a16:creationId xmlns:a16="http://schemas.microsoft.com/office/drawing/2014/main" id="{838F42A3-C67B-4A82-B7A3-2AB7069C5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1" y="608"/>
              <a:ext cx="64" cy="88"/>
            </a:xfrm>
            <a:custGeom>
              <a:avLst/>
              <a:gdLst>
                <a:gd name="T0" fmla="*/ 29 w 43"/>
                <a:gd name="T1" fmla="*/ 60 h 60"/>
                <a:gd name="T2" fmla="*/ 24 w 43"/>
                <a:gd name="T3" fmla="*/ 56 h 60"/>
                <a:gd name="T4" fmla="*/ 22 w 43"/>
                <a:gd name="T5" fmla="*/ 50 h 60"/>
                <a:gd name="T6" fmla="*/ 20 w 43"/>
                <a:gd name="T7" fmla="*/ 56 h 60"/>
                <a:gd name="T8" fmla="*/ 14 w 43"/>
                <a:gd name="T9" fmla="*/ 60 h 60"/>
                <a:gd name="T10" fmla="*/ 8 w 43"/>
                <a:gd name="T11" fmla="*/ 55 h 60"/>
                <a:gd name="T12" fmla="*/ 1 w 43"/>
                <a:gd name="T13" fmla="*/ 7 h 60"/>
                <a:gd name="T14" fmla="*/ 5 w 43"/>
                <a:gd name="T15" fmla="*/ 0 h 60"/>
                <a:gd name="T16" fmla="*/ 12 w 43"/>
                <a:gd name="T17" fmla="*/ 5 h 60"/>
                <a:gd name="T18" fmla="*/ 16 w 43"/>
                <a:gd name="T19" fmla="*/ 28 h 60"/>
                <a:gd name="T20" fmla="*/ 22 w 43"/>
                <a:gd name="T21" fmla="*/ 24 h 60"/>
                <a:gd name="T22" fmla="*/ 22 w 43"/>
                <a:gd name="T23" fmla="*/ 24 h 60"/>
                <a:gd name="T24" fmla="*/ 27 w 43"/>
                <a:gd name="T25" fmla="*/ 28 h 60"/>
                <a:gd name="T26" fmla="*/ 31 w 43"/>
                <a:gd name="T27" fmla="*/ 5 h 60"/>
                <a:gd name="T28" fmla="*/ 38 w 43"/>
                <a:gd name="T29" fmla="*/ 0 h 60"/>
                <a:gd name="T30" fmla="*/ 43 w 43"/>
                <a:gd name="T31" fmla="*/ 7 h 60"/>
                <a:gd name="T32" fmla="*/ 35 w 43"/>
                <a:gd name="T33" fmla="*/ 55 h 60"/>
                <a:gd name="T34" fmla="*/ 30 w 43"/>
                <a:gd name="T35" fmla="*/ 60 h 60"/>
                <a:gd name="T36" fmla="*/ 29 w 43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60">
                  <a:moveTo>
                    <a:pt x="29" y="60"/>
                  </a:moveTo>
                  <a:cubicBezTo>
                    <a:pt x="27" y="60"/>
                    <a:pt x="24" y="59"/>
                    <a:pt x="24" y="56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9"/>
                    <a:pt x="16" y="60"/>
                    <a:pt x="14" y="60"/>
                  </a:cubicBezTo>
                  <a:cubicBezTo>
                    <a:pt x="11" y="60"/>
                    <a:pt x="9" y="58"/>
                    <a:pt x="8" y="5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2" y="1"/>
                    <a:pt x="5" y="0"/>
                  </a:cubicBezTo>
                  <a:cubicBezTo>
                    <a:pt x="9" y="0"/>
                    <a:pt x="12" y="2"/>
                    <a:pt x="12" y="5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6"/>
                    <a:pt x="19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4" y="24"/>
                    <a:pt x="27" y="26"/>
                    <a:pt x="27" y="2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2"/>
                    <a:pt x="35" y="0"/>
                    <a:pt x="38" y="0"/>
                  </a:cubicBezTo>
                  <a:cubicBezTo>
                    <a:pt x="41" y="1"/>
                    <a:pt x="43" y="4"/>
                    <a:pt x="43" y="7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8"/>
                    <a:pt x="33" y="60"/>
                    <a:pt x="30" y="60"/>
                  </a:cubicBezTo>
                  <a:cubicBezTo>
                    <a:pt x="30" y="60"/>
                    <a:pt x="30" y="60"/>
                    <a:pt x="29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10" name="Marcador de texto 7">
            <a:hlinkClick r:id="rId8"/>
            <a:extLst>
              <a:ext uri="{FF2B5EF4-FFF2-40B4-BE49-F238E27FC236}">
                <a16:creationId xmlns:a16="http://schemas.microsoft.com/office/drawing/2014/main" id="{660CEB8F-C8B8-482D-9DDD-6ED0268471BE}"/>
              </a:ext>
            </a:extLst>
          </p:cNvPr>
          <p:cNvSpPr txBox="1">
            <a:spLocks/>
          </p:cNvSpPr>
          <p:nvPr/>
        </p:nvSpPr>
        <p:spPr>
          <a:xfrm>
            <a:off x="384173" y="3203978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57600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w to Write a Consulting Proposal: Guide and Templates</a:t>
            </a:r>
          </a:p>
        </p:txBody>
      </p:sp>
      <p:grpSp>
        <p:nvGrpSpPr>
          <p:cNvPr id="311" name="Group 57">
            <a:extLst>
              <a:ext uri="{FF2B5EF4-FFF2-40B4-BE49-F238E27FC236}">
                <a16:creationId xmlns:a16="http://schemas.microsoft.com/office/drawing/2014/main" id="{6B594FD4-D970-4B71-87F0-5944CEE0DA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8546" y="3343986"/>
            <a:ext cx="310214" cy="379257"/>
            <a:chOff x="6598" y="457"/>
            <a:chExt cx="319" cy="390"/>
          </a:xfrm>
          <a:solidFill>
            <a:schemeClr val="tx2"/>
          </a:solidFill>
        </p:grpSpPr>
        <p:sp>
          <p:nvSpPr>
            <p:cNvPr id="312" name="Freeform 58">
              <a:extLst>
                <a:ext uri="{FF2B5EF4-FFF2-40B4-BE49-F238E27FC236}">
                  <a16:creationId xmlns:a16="http://schemas.microsoft.com/office/drawing/2014/main" id="{5ED263DA-9FAE-403A-8F4B-ED870454F9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9" y="457"/>
              <a:ext cx="248" cy="319"/>
            </a:xfrm>
            <a:custGeom>
              <a:avLst/>
              <a:gdLst>
                <a:gd name="T0" fmla="*/ 162 w 168"/>
                <a:gd name="T1" fmla="*/ 216 h 216"/>
                <a:gd name="T2" fmla="*/ 6 w 168"/>
                <a:gd name="T3" fmla="*/ 216 h 216"/>
                <a:gd name="T4" fmla="*/ 0 w 168"/>
                <a:gd name="T5" fmla="*/ 210 h 216"/>
                <a:gd name="T6" fmla="*/ 0 w 168"/>
                <a:gd name="T7" fmla="*/ 6 h 216"/>
                <a:gd name="T8" fmla="*/ 6 w 168"/>
                <a:gd name="T9" fmla="*/ 0 h 216"/>
                <a:gd name="T10" fmla="*/ 102 w 168"/>
                <a:gd name="T11" fmla="*/ 0 h 216"/>
                <a:gd name="T12" fmla="*/ 106 w 168"/>
                <a:gd name="T13" fmla="*/ 1 h 216"/>
                <a:gd name="T14" fmla="*/ 166 w 168"/>
                <a:gd name="T15" fmla="*/ 61 h 216"/>
                <a:gd name="T16" fmla="*/ 168 w 168"/>
                <a:gd name="T17" fmla="*/ 66 h 216"/>
                <a:gd name="T18" fmla="*/ 168 w 168"/>
                <a:gd name="T19" fmla="*/ 210 h 216"/>
                <a:gd name="T20" fmla="*/ 162 w 168"/>
                <a:gd name="T21" fmla="*/ 216 h 216"/>
                <a:gd name="T22" fmla="*/ 12 w 168"/>
                <a:gd name="T23" fmla="*/ 204 h 216"/>
                <a:gd name="T24" fmla="*/ 156 w 168"/>
                <a:gd name="T25" fmla="*/ 204 h 216"/>
                <a:gd name="T26" fmla="*/ 156 w 168"/>
                <a:gd name="T27" fmla="*/ 68 h 216"/>
                <a:gd name="T28" fmla="*/ 99 w 168"/>
                <a:gd name="T29" fmla="*/ 12 h 216"/>
                <a:gd name="T30" fmla="*/ 12 w 168"/>
                <a:gd name="T31" fmla="*/ 12 h 216"/>
                <a:gd name="T32" fmla="*/ 12 w 168"/>
                <a:gd name="T33" fmla="*/ 2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8" h="216">
                  <a:moveTo>
                    <a:pt x="162" y="216"/>
                  </a:moveTo>
                  <a:cubicBezTo>
                    <a:pt x="6" y="216"/>
                    <a:pt x="6" y="216"/>
                    <a:pt x="6" y="216"/>
                  </a:cubicBezTo>
                  <a:cubicBezTo>
                    <a:pt x="3" y="216"/>
                    <a:pt x="0" y="213"/>
                    <a:pt x="0" y="2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3" y="0"/>
                    <a:pt x="105" y="0"/>
                    <a:pt x="106" y="1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7" y="63"/>
                    <a:pt x="168" y="64"/>
                    <a:pt x="168" y="66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68" y="213"/>
                    <a:pt x="165" y="216"/>
                    <a:pt x="162" y="216"/>
                  </a:cubicBezTo>
                  <a:close/>
                  <a:moveTo>
                    <a:pt x="12" y="204"/>
                  </a:moveTo>
                  <a:cubicBezTo>
                    <a:pt x="156" y="204"/>
                    <a:pt x="156" y="204"/>
                    <a:pt x="156" y="204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99" y="12"/>
                    <a:pt x="99" y="12"/>
                    <a:pt x="99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3" name="Freeform 59">
              <a:extLst>
                <a:ext uri="{FF2B5EF4-FFF2-40B4-BE49-F238E27FC236}">
                  <a16:creationId xmlns:a16="http://schemas.microsoft.com/office/drawing/2014/main" id="{5939DB82-990B-4827-A820-918C9CC5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" y="492"/>
              <a:ext cx="249" cy="320"/>
            </a:xfrm>
            <a:custGeom>
              <a:avLst/>
              <a:gdLst>
                <a:gd name="T0" fmla="*/ 162 w 168"/>
                <a:gd name="T1" fmla="*/ 216 h 216"/>
                <a:gd name="T2" fmla="*/ 6 w 168"/>
                <a:gd name="T3" fmla="*/ 216 h 216"/>
                <a:gd name="T4" fmla="*/ 0 w 168"/>
                <a:gd name="T5" fmla="*/ 210 h 216"/>
                <a:gd name="T6" fmla="*/ 0 w 168"/>
                <a:gd name="T7" fmla="*/ 6 h 216"/>
                <a:gd name="T8" fmla="*/ 6 w 168"/>
                <a:gd name="T9" fmla="*/ 0 h 216"/>
                <a:gd name="T10" fmla="*/ 30 w 168"/>
                <a:gd name="T11" fmla="*/ 0 h 216"/>
                <a:gd name="T12" fmla="*/ 36 w 168"/>
                <a:gd name="T13" fmla="*/ 6 h 216"/>
                <a:gd name="T14" fmla="*/ 30 w 168"/>
                <a:gd name="T15" fmla="*/ 12 h 216"/>
                <a:gd name="T16" fmla="*/ 12 w 168"/>
                <a:gd name="T17" fmla="*/ 12 h 216"/>
                <a:gd name="T18" fmla="*/ 12 w 168"/>
                <a:gd name="T19" fmla="*/ 204 h 216"/>
                <a:gd name="T20" fmla="*/ 156 w 168"/>
                <a:gd name="T21" fmla="*/ 204 h 216"/>
                <a:gd name="T22" fmla="*/ 156 w 168"/>
                <a:gd name="T23" fmla="*/ 186 h 216"/>
                <a:gd name="T24" fmla="*/ 162 w 168"/>
                <a:gd name="T25" fmla="*/ 180 h 216"/>
                <a:gd name="T26" fmla="*/ 168 w 168"/>
                <a:gd name="T27" fmla="*/ 186 h 216"/>
                <a:gd name="T28" fmla="*/ 168 w 168"/>
                <a:gd name="T29" fmla="*/ 210 h 216"/>
                <a:gd name="T30" fmla="*/ 162 w 168"/>
                <a:gd name="T31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8" h="216">
                  <a:moveTo>
                    <a:pt x="162" y="216"/>
                  </a:moveTo>
                  <a:cubicBezTo>
                    <a:pt x="6" y="216"/>
                    <a:pt x="6" y="216"/>
                    <a:pt x="6" y="216"/>
                  </a:cubicBezTo>
                  <a:cubicBezTo>
                    <a:pt x="3" y="216"/>
                    <a:pt x="0" y="213"/>
                    <a:pt x="0" y="2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2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156" y="204"/>
                    <a:pt x="156" y="204"/>
                    <a:pt x="156" y="204"/>
                  </a:cubicBezTo>
                  <a:cubicBezTo>
                    <a:pt x="156" y="186"/>
                    <a:pt x="156" y="186"/>
                    <a:pt x="156" y="186"/>
                  </a:cubicBezTo>
                  <a:cubicBezTo>
                    <a:pt x="156" y="182"/>
                    <a:pt x="159" y="180"/>
                    <a:pt x="162" y="180"/>
                  </a:cubicBezTo>
                  <a:cubicBezTo>
                    <a:pt x="165" y="180"/>
                    <a:pt x="168" y="182"/>
                    <a:pt x="168" y="186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68" y="213"/>
                    <a:pt x="165" y="216"/>
                    <a:pt x="162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4" name="Freeform 60">
              <a:extLst>
                <a:ext uri="{FF2B5EF4-FFF2-40B4-BE49-F238E27FC236}">
                  <a16:creationId xmlns:a16="http://schemas.microsoft.com/office/drawing/2014/main" id="{E339F2BC-D735-4FAD-BD90-5190B06E3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" y="528"/>
              <a:ext cx="248" cy="319"/>
            </a:xfrm>
            <a:custGeom>
              <a:avLst/>
              <a:gdLst>
                <a:gd name="T0" fmla="*/ 162 w 168"/>
                <a:gd name="T1" fmla="*/ 216 h 216"/>
                <a:gd name="T2" fmla="*/ 6 w 168"/>
                <a:gd name="T3" fmla="*/ 216 h 216"/>
                <a:gd name="T4" fmla="*/ 0 w 168"/>
                <a:gd name="T5" fmla="*/ 210 h 216"/>
                <a:gd name="T6" fmla="*/ 0 w 168"/>
                <a:gd name="T7" fmla="*/ 6 h 216"/>
                <a:gd name="T8" fmla="*/ 6 w 168"/>
                <a:gd name="T9" fmla="*/ 0 h 216"/>
                <a:gd name="T10" fmla="*/ 30 w 168"/>
                <a:gd name="T11" fmla="*/ 0 h 216"/>
                <a:gd name="T12" fmla="*/ 36 w 168"/>
                <a:gd name="T13" fmla="*/ 6 h 216"/>
                <a:gd name="T14" fmla="*/ 30 w 168"/>
                <a:gd name="T15" fmla="*/ 12 h 216"/>
                <a:gd name="T16" fmla="*/ 12 w 168"/>
                <a:gd name="T17" fmla="*/ 12 h 216"/>
                <a:gd name="T18" fmla="*/ 12 w 168"/>
                <a:gd name="T19" fmla="*/ 204 h 216"/>
                <a:gd name="T20" fmla="*/ 156 w 168"/>
                <a:gd name="T21" fmla="*/ 204 h 216"/>
                <a:gd name="T22" fmla="*/ 156 w 168"/>
                <a:gd name="T23" fmla="*/ 186 h 216"/>
                <a:gd name="T24" fmla="*/ 162 w 168"/>
                <a:gd name="T25" fmla="*/ 180 h 216"/>
                <a:gd name="T26" fmla="*/ 168 w 168"/>
                <a:gd name="T27" fmla="*/ 186 h 216"/>
                <a:gd name="T28" fmla="*/ 168 w 168"/>
                <a:gd name="T29" fmla="*/ 210 h 216"/>
                <a:gd name="T30" fmla="*/ 162 w 168"/>
                <a:gd name="T31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8" h="216">
                  <a:moveTo>
                    <a:pt x="162" y="216"/>
                  </a:moveTo>
                  <a:cubicBezTo>
                    <a:pt x="6" y="216"/>
                    <a:pt x="6" y="216"/>
                    <a:pt x="6" y="216"/>
                  </a:cubicBezTo>
                  <a:cubicBezTo>
                    <a:pt x="3" y="216"/>
                    <a:pt x="0" y="213"/>
                    <a:pt x="0" y="2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2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156" y="204"/>
                    <a:pt x="156" y="204"/>
                    <a:pt x="156" y="204"/>
                  </a:cubicBezTo>
                  <a:cubicBezTo>
                    <a:pt x="156" y="186"/>
                    <a:pt x="156" y="186"/>
                    <a:pt x="156" y="186"/>
                  </a:cubicBezTo>
                  <a:cubicBezTo>
                    <a:pt x="156" y="182"/>
                    <a:pt x="159" y="180"/>
                    <a:pt x="162" y="180"/>
                  </a:cubicBezTo>
                  <a:cubicBezTo>
                    <a:pt x="165" y="180"/>
                    <a:pt x="168" y="182"/>
                    <a:pt x="168" y="186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68" y="213"/>
                    <a:pt x="165" y="216"/>
                    <a:pt x="162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5" name="Freeform 61">
              <a:extLst>
                <a:ext uri="{FF2B5EF4-FFF2-40B4-BE49-F238E27FC236}">
                  <a16:creationId xmlns:a16="http://schemas.microsoft.com/office/drawing/2014/main" id="{4A36DEEF-BA8C-40D2-BFA7-45BD8A040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" y="457"/>
              <a:ext cx="106" cy="106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9" y="60"/>
                    <a:pt x="72" y="62"/>
                    <a:pt x="72" y="66"/>
                  </a:cubicBezTo>
                  <a:cubicBezTo>
                    <a:pt x="72" y="69"/>
                    <a:pt x="69" y="72"/>
                    <a:pt x="6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0" name="Marcador de texto 7">
            <a:hlinkClick r:id="rId9"/>
            <a:extLst>
              <a:ext uri="{FF2B5EF4-FFF2-40B4-BE49-F238E27FC236}">
                <a16:creationId xmlns:a16="http://schemas.microsoft.com/office/drawing/2014/main" id="{8FF08C60-994E-49E9-89B3-5F9CB665D1A8}"/>
              </a:ext>
            </a:extLst>
          </p:cNvPr>
          <p:cNvSpPr txBox="1">
            <a:spLocks/>
          </p:cNvSpPr>
          <p:nvPr/>
        </p:nvSpPr>
        <p:spPr>
          <a:xfrm>
            <a:off x="384173" y="1289596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57600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w To Set Consulting Fees</a:t>
            </a:r>
          </a:p>
        </p:txBody>
      </p:sp>
      <p:pic>
        <p:nvPicPr>
          <p:cNvPr id="321" name="Gráfico 155" descr="Calculadora contorno">
            <a:extLst>
              <a:ext uri="{FF2B5EF4-FFF2-40B4-BE49-F238E27FC236}">
                <a16:creationId xmlns:a16="http://schemas.microsoft.com/office/drawing/2014/main" id="{506B4F94-8746-4D5C-8A12-86B1A02463C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9208" y="1364787"/>
            <a:ext cx="508891" cy="508891"/>
          </a:xfrm>
          <a:prstGeom prst="rect">
            <a:avLst/>
          </a:prstGeom>
        </p:spPr>
      </p:pic>
      <p:sp>
        <p:nvSpPr>
          <p:cNvPr id="326" name="Marcador de texto 7">
            <a:hlinkClick r:id="rId12"/>
            <a:extLst>
              <a:ext uri="{FF2B5EF4-FFF2-40B4-BE49-F238E27FC236}">
                <a16:creationId xmlns:a16="http://schemas.microsoft.com/office/drawing/2014/main" id="{19FB8F7C-F430-41D4-AE6B-598A7ACF1D70}"/>
              </a:ext>
            </a:extLst>
          </p:cNvPr>
          <p:cNvSpPr txBox="1">
            <a:spLocks/>
          </p:cNvSpPr>
          <p:nvPr/>
        </p:nvSpPr>
        <p:spPr>
          <a:xfrm>
            <a:off x="6221819" y="1289596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57600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inkedIn for Consultants: Best Practices to Optimize Your Profile</a:t>
            </a:r>
          </a:p>
        </p:txBody>
      </p:sp>
      <p:grpSp>
        <p:nvGrpSpPr>
          <p:cNvPr id="327" name="Group 149">
            <a:extLst>
              <a:ext uri="{FF2B5EF4-FFF2-40B4-BE49-F238E27FC236}">
                <a16:creationId xmlns:a16="http://schemas.microsoft.com/office/drawing/2014/main" id="{4E6D048B-BBBA-4FB2-AAA9-D32BE178A6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80107" y="1485506"/>
            <a:ext cx="399771" cy="267453"/>
            <a:chOff x="1370" y="3066"/>
            <a:chExt cx="426" cy="285"/>
          </a:xfrm>
          <a:solidFill>
            <a:schemeClr val="tx2"/>
          </a:solidFill>
        </p:grpSpPr>
        <p:sp>
          <p:nvSpPr>
            <p:cNvPr id="328" name="Freeform 150">
              <a:extLst>
                <a:ext uri="{FF2B5EF4-FFF2-40B4-BE49-F238E27FC236}">
                  <a16:creationId xmlns:a16="http://schemas.microsoft.com/office/drawing/2014/main" id="{C3B2A998-C8AF-4A4A-A937-D66E249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0" y="3066"/>
              <a:ext cx="284" cy="285"/>
            </a:xfrm>
            <a:custGeom>
              <a:avLst/>
              <a:gdLst>
                <a:gd name="T0" fmla="*/ 138 w 192"/>
                <a:gd name="T1" fmla="*/ 192 h 192"/>
                <a:gd name="T2" fmla="*/ 54 w 192"/>
                <a:gd name="T3" fmla="*/ 192 h 192"/>
                <a:gd name="T4" fmla="*/ 0 w 192"/>
                <a:gd name="T5" fmla="*/ 138 h 192"/>
                <a:gd name="T6" fmla="*/ 0 w 192"/>
                <a:gd name="T7" fmla="*/ 54 h 192"/>
                <a:gd name="T8" fmla="*/ 54 w 192"/>
                <a:gd name="T9" fmla="*/ 0 h 192"/>
                <a:gd name="T10" fmla="*/ 138 w 192"/>
                <a:gd name="T11" fmla="*/ 0 h 192"/>
                <a:gd name="T12" fmla="*/ 192 w 192"/>
                <a:gd name="T13" fmla="*/ 54 h 192"/>
                <a:gd name="T14" fmla="*/ 192 w 192"/>
                <a:gd name="T15" fmla="*/ 138 h 192"/>
                <a:gd name="T16" fmla="*/ 138 w 192"/>
                <a:gd name="T17" fmla="*/ 192 h 192"/>
                <a:gd name="T18" fmla="*/ 54 w 192"/>
                <a:gd name="T19" fmla="*/ 12 h 192"/>
                <a:gd name="T20" fmla="*/ 12 w 192"/>
                <a:gd name="T21" fmla="*/ 54 h 192"/>
                <a:gd name="T22" fmla="*/ 12 w 192"/>
                <a:gd name="T23" fmla="*/ 138 h 192"/>
                <a:gd name="T24" fmla="*/ 54 w 192"/>
                <a:gd name="T25" fmla="*/ 180 h 192"/>
                <a:gd name="T26" fmla="*/ 138 w 192"/>
                <a:gd name="T27" fmla="*/ 180 h 192"/>
                <a:gd name="T28" fmla="*/ 180 w 192"/>
                <a:gd name="T29" fmla="*/ 138 h 192"/>
                <a:gd name="T30" fmla="*/ 180 w 192"/>
                <a:gd name="T31" fmla="*/ 54 h 192"/>
                <a:gd name="T32" fmla="*/ 138 w 192"/>
                <a:gd name="T33" fmla="*/ 12 h 192"/>
                <a:gd name="T34" fmla="*/ 54 w 19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2" h="192">
                  <a:moveTo>
                    <a:pt x="138" y="192"/>
                  </a:moveTo>
                  <a:cubicBezTo>
                    <a:pt x="54" y="192"/>
                    <a:pt x="54" y="192"/>
                    <a:pt x="54" y="192"/>
                  </a:cubicBezTo>
                  <a:cubicBezTo>
                    <a:pt x="24" y="192"/>
                    <a:pt x="0" y="168"/>
                    <a:pt x="0" y="13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68" y="0"/>
                    <a:pt x="192" y="24"/>
                    <a:pt x="192" y="5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192" y="168"/>
                    <a:pt x="168" y="192"/>
                    <a:pt x="138" y="192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61"/>
                    <a:pt x="31" y="180"/>
                    <a:pt x="54" y="180"/>
                  </a:cubicBezTo>
                  <a:cubicBezTo>
                    <a:pt x="138" y="180"/>
                    <a:pt x="138" y="180"/>
                    <a:pt x="138" y="180"/>
                  </a:cubicBezTo>
                  <a:cubicBezTo>
                    <a:pt x="161" y="180"/>
                    <a:pt x="180" y="161"/>
                    <a:pt x="180" y="138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80" y="31"/>
                    <a:pt x="161" y="12"/>
                    <a:pt x="138" y="12"/>
                  </a:cubicBezTo>
                  <a:lnTo>
                    <a:pt x="5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9" name="Freeform 151">
              <a:extLst>
                <a:ext uri="{FF2B5EF4-FFF2-40B4-BE49-F238E27FC236}">
                  <a16:creationId xmlns:a16="http://schemas.microsoft.com/office/drawing/2014/main" id="{1B04A566-B43F-432E-A26D-7435711B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" y="3066"/>
              <a:ext cx="89" cy="285"/>
            </a:xfrm>
            <a:custGeom>
              <a:avLst/>
              <a:gdLst>
                <a:gd name="T0" fmla="*/ 6 w 60"/>
                <a:gd name="T1" fmla="*/ 192 h 192"/>
                <a:gd name="T2" fmla="*/ 0 w 60"/>
                <a:gd name="T3" fmla="*/ 186 h 192"/>
                <a:gd name="T4" fmla="*/ 6 w 60"/>
                <a:gd name="T5" fmla="*/ 180 h 192"/>
                <a:gd name="T6" fmla="*/ 48 w 60"/>
                <a:gd name="T7" fmla="*/ 138 h 192"/>
                <a:gd name="T8" fmla="*/ 48 w 60"/>
                <a:gd name="T9" fmla="*/ 54 h 192"/>
                <a:gd name="T10" fmla="*/ 6 w 60"/>
                <a:gd name="T11" fmla="*/ 12 h 192"/>
                <a:gd name="T12" fmla="*/ 0 w 60"/>
                <a:gd name="T13" fmla="*/ 6 h 192"/>
                <a:gd name="T14" fmla="*/ 6 w 60"/>
                <a:gd name="T15" fmla="*/ 0 h 192"/>
                <a:gd name="T16" fmla="*/ 60 w 60"/>
                <a:gd name="T17" fmla="*/ 54 h 192"/>
                <a:gd name="T18" fmla="*/ 60 w 60"/>
                <a:gd name="T19" fmla="*/ 138 h 192"/>
                <a:gd name="T20" fmla="*/ 6 w 60"/>
                <a:gd name="T2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92">
                  <a:moveTo>
                    <a:pt x="6" y="192"/>
                  </a:moveTo>
                  <a:cubicBezTo>
                    <a:pt x="3" y="192"/>
                    <a:pt x="0" y="189"/>
                    <a:pt x="0" y="186"/>
                  </a:cubicBezTo>
                  <a:cubicBezTo>
                    <a:pt x="0" y="183"/>
                    <a:pt x="3" y="180"/>
                    <a:pt x="6" y="180"/>
                  </a:cubicBezTo>
                  <a:cubicBezTo>
                    <a:pt x="29" y="180"/>
                    <a:pt x="48" y="161"/>
                    <a:pt x="48" y="138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31"/>
                    <a:pt x="29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6" y="0"/>
                    <a:pt x="60" y="24"/>
                    <a:pt x="60" y="54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60" y="168"/>
                    <a:pt x="36" y="192"/>
                    <a:pt x="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0" name="Freeform 152">
              <a:extLst>
                <a:ext uri="{FF2B5EF4-FFF2-40B4-BE49-F238E27FC236}">
                  <a16:creationId xmlns:a16="http://schemas.microsoft.com/office/drawing/2014/main" id="{214DF125-F53D-49F7-BCB5-FE8E82224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7" y="3066"/>
              <a:ext cx="89" cy="285"/>
            </a:xfrm>
            <a:custGeom>
              <a:avLst/>
              <a:gdLst>
                <a:gd name="T0" fmla="*/ 6 w 60"/>
                <a:gd name="T1" fmla="*/ 192 h 192"/>
                <a:gd name="T2" fmla="*/ 0 w 60"/>
                <a:gd name="T3" fmla="*/ 186 h 192"/>
                <a:gd name="T4" fmla="*/ 6 w 60"/>
                <a:gd name="T5" fmla="*/ 180 h 192"/>
                <a:gd name="T6" fmla="*/ 48 w 60"/>
                <a:gd name="T7" fmla="*/ 138 h 192"/>
                <a:gd name="T8" fmla="*/ 48 w 60"/>
                <a:gd name="T9" fmla="*/ 54 h 192"/>
                <a:gd name="T10" fmla="*/ 6 w 60"/>
                <a:gd name="T11" fmla="*/ 12 h 192"/>
                <a:gd name="T12" fmla="*/ 0 w 60"/>
                <a:gd name="T13" fmla="*/ 6 h 192"/>
                <a:gd name="T14" fmla="*/ 6 w 60"/>
                <a:gd name="T15" fmla="*/ 0 h 192"/>
                <a:gd name="T16" fmla="*/ 60 w 60"/>
                <a:gd name="T17" fmla="*/ 54 h 192"/>
                <a:gd name="T18" fmla="*/ 60 w 60"/>
                <a:gd name="T19" fmla="*/ 138 h 192"/>
                <a:gd name="T20" fmla="*/ 6 w 60"/>
                <a:gd name="T2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92">
                  <a:moveTo>
                    <a:pt x="6" y="192"/>
                  </a:moveTo>
                  <a:cubicBezTo>
                    <a:pt x="3" y="192"/>
                    <a:pt x="0" y="189"/>
                    <a:pt x="0" y="186"/>
                  </a:cubicBezTo>
                  <a:cubicBezTo>
                    <a:pt x="0" y="183"/>
                    <a:pt x="3" y="180"/>
                    <a:pt x="6" y="180"/>
                  </a:cubicBezTo>
                  <a:cubicBezTo>
                    <a:pt x="29" y="180"/>
                    <a:pt x="48" y="161"/>
                    <a:pt x="48" y="138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31"/>
                    <a:pt x="29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6" y="0"/>
                    <a:pt x="60" y="24"/>
                    <a:pt x="60" y="54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60" y="168"/>
                    <a:pt x="36" y="192"/>
                    <a:pt x="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1" name="Freeform 153">
              <a:extLst>
                <a:ext uri="{FF2B5EF4-FFF2-40B4-BE49-F238E27FC236}">
                  <a16:creationId xmlns:a16="http://schemas.microsoft.com/office/drawing/2014/main" id="{8DEF609A-8466-4846-8990-E9086D1BFA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9" y="3120"/>
              <a:ext cx="106" cy="106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2" name="Freeform 154">
              <a:extLst>
                <a:ext uri="{FF2B5EF4-FFF2-40B4-BE49-F238E27FC236}">
                  <a16:creationId xmlns:a16="http://schemas.microsoft.com/office/drawing/2014/main" id="{FFF2762A-385B-47A2-B0D9-C37652BFAA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2" y="3208"/>
              <a:ext cx="160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7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34" name="Marcador de texto 7">
            <a:hlinkClick r:id="rId13"/>
            <a:extLst>
              <a:ext uri="{FF2B5EF4-FFF2-40B4-BE49-F238E27FC236}">
                <a16:creationId xmlns:a16="http://schemas.microsoft.com/office/drawing/2014/main" id="{EC38AAE6-BBB5-4E59-A74A-24BA59AE2737}"/>
              </a:ext>
            </a:extLst>
          </p:cNvPr>
          <p:cNvSpPr txBox="1">
            <a:spLocks/>
          </p:cNvSpPr>
          <p:nvPr/>
        </p:nvSpPr>
        <p:spPr>
          <a:xfrm>
            <a:off x="384173" y="2246787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57600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w To Find Clients For Your Consulting Practice</a:t>
            </a:r>
          </a:p>
        </p:txBody>
      </p:sp>
      <p:grpSp>
        <p:nvGrpSpPr>
          <p:cNvPr id="335" name="Group 193">
            <a:extLst>
              <a:ext uri="{FF2B5EF4-FFF2-40B4-BE49-F238E27FC236}">
                <a16:creationId xmlns:a16="http://schemas.microsoft.com/office/drawing/2014/main" id="{ACD9393C-5D26-4C65-B5A3-E299C2C751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2926" y="2369150"/>
            <a:ext cx="441455" cy="414546"/>
            <a:chOff x="1551" y="3227"/>
            <a:chExt cx="443" cy="416"/>
          </a:xfrm>
          <a:solidFill>
            <a:schemeClr val="tx2"/>
          </a:solidFill>
        </p:grpSpPr>
        <p:sp>
          <p:nvSpPr>
            <p:cNvPr id="336" name="Freeform 194">
              <a:extLst>
                <a:ext uri="{FF2B5EF4-FFF2-40B4-BE49-F238E27FC236}">
                  <a16:creationId xmlns:a16="http://schemas.microsoft.com/office/drawing/2014/main" id="{C5544ADE-D108-4C40-B577-4EB99B26C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5" y="3393"/>
              <a:ext cx="85" cy="75"/>
            </a:xfrm>
            <a:custGeom>
              <a:avLst/>
              <a:gdLst>
                <a:gd name="T0" fmla="*/ 51 w 55"/>
                <a:gd name="T1" fmla="*/ 50 h 50"/>
                <a:gd name="T2" fmla="*/ 4 w 55"/>
                <a:gd name="T3" fmla="*/ 33 h 50"/>
                <a:gd name="T4" fmla="*/ 0 w 55"/>
                <a:gd name="T5" fmla="*/ 27 h 50"/>
                <a:gd name="T6" fmla="*/ 0 w 55"/>
                <a:gd name="T7" fmla="*/ 0 h 50"/>
                <a:gd name="T8" fmla="*/ 12 w 55"/>
                <a:gd name="T9" fmla="*/ 0 h 50"/>
                <a:gd name="T10" fmla="*/ 12 w 55"/>
                <a:gd name="T11" fmla="*/ 23 h 50"/>
                <a:gd name="T12" fmla="*/ 55 w 55"/>
                <a:gd name="T13" fmla="*/ 39 h 50"/>
                <a:gd name="T14" fmla="*/ 51 w 55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0">
                  <a:moveTo>
                    <a:pt x="51" y="50"/>
                  </a:moveTo>
                  <a:cubicBezTo>
                    <a:pt x="4" y="33"/>
                    <a:pt x="4" y="33"/>
                    <a:pt x="4" y="33"/>
                  </a:cubicBezTo>
                  <a:cubicBezTo>
                    <a:pt x="2" y="32"/>
                    <a:pt x="0" y="30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51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7" name="Freeform 195">
              <a:extLst>
                <a:ext uri="{FF2B5EF4-FFF2-40B4-BE49-F238E27FC236}">
                  <a16:creationId xmlns:a16="http://schemas.microsoft.com/office/drawing/2014/main" id="{BC8D4B52-40C9-4126-BFE8-D13731AF1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3395"/>
              <a:ext cx="202" cy="140"/>
            </a:xfrm>
            <a:custGeom>
              <a:avLst/>
              <a:gdLst>
                <a:gd name="T0" fmla="*/ 132 w 132"/>
                <a:gd name="T1" fmla="*/ 94 h 94"/>
                <a:gd name="T2" fmla="*/ 6 w 132"/>
                <a:gd name="T3" fmla="*/ 94 h 94"/>
                <a:gd name="T4" fmla="*/ 0 w 132"/>
                <a:gd name="T5" fmla="*/ 88 h 94"/>
                <a:gd name="T6" fmla="*/ 0 w 132"/>
                <a:gd name="T7" fmla="*/ 70 h 94"/>
                <a:gd name="T8" fmla="*/ 23 w 132"/>
                <a:gd name="T9" fmla="*/ 38 h 94"/>
                <a:gd name="T10" fmla="*/ 66 w 132"/>
                <a:gd name="T11" fmla="*/ 22 h 94"/>
                <a:gd name="T12" fmla="*/ 66 w 132"/>
                <a:gd name="T13" fmla="*/ 0 h 94"/>
                <a:gd name="T14" fmla="*/ 78 w 132"/>
                <a:gd name="T15" fmla="*/ 0 h 94"/>
                <a:gd name="T16" fmla="*/ 78 w 132"/>
                <a:gd name="T17" fmla="*/ 26 h 94"/>
                <a:gd name="T18" fmla="*/ 74 w 132"/>
                <a:gd name="T19" fmla="*/ 32 h 94"/>
                <a:gd name="T20" fmla="*/ 27 w 132"/>
                <a:gd name="T21" fmla="*/ 49 h 94"/>
                <a:gd name="T22" fmla="*/ 12 w 132"/>
                <a:gd name="T23" fmla="*/ 70 h 94"/>
                <a:gd name="T24" fmla="*/ 12 w 132"/>
                <a:gd name="T25" fmla="*/ 82 h 94"/>
                <a:gd name="T26" fmla="*/ 132 w 132"/>
                <a:gd name="T27" fmla="*/ 82 h 94"/>
                <a:gd name="T28" fmla="*/ 132 w 132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94">
                  <a:moveTo>
                    <a:pt x="132" y="94"/>
                  </a:moveTo>
                  <a:cubicBezTo>
                    <a:pt x="6" y="94"/>
                    <a:pt x="6" y="94"/>
                    <a:pt x="6" y="94"/>
                  </a:cubicBezTo>
                  <a:cubicBezTo>
                    <a:pt x="3" y="94"/>
                    <a:pt x="0" y="91"/>
                    <a:pt x="0" y="88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6"/>
                    <a:pt x="9" y="43"/>
                    <a:pt x="23" y="38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9"/>
                    <a:pt x="76" y="31"/>
                    <a:pt x="74" y="32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18" y="52"/>
                    <a:pt x="12" y="61"/>
                    <a:pt x="12" y="70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32" y="82"/>
                    <a:pt x="132" y="82"/>
                    <a:pt x="132" y="82"/>
                  </a:cubicBezTo>
                  <a:lnTo>
                    <a:pt x="132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8" name="Freeform 196">
              <a:extLst>
                <a:ext uri="{FF2B5EF4-FFF2-40B4-BE49-F238E27FC236}">
                  <a16:creationId xmlns:a16="http://schemas.microsoft.com/office/drawing/2014/main" id="{592279E3-D3D5-45EB-99C6-BDC6337BC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3" y="3227"/>
              <a:ext cx="165" cy="187"/>
            </a:xfrm>
            <a:custGeom>
              <a:avLst/>
              <a:gdLst>
                <a:gd name="T0" fmla="*/ 54 w 107"/>
                <a:gd name="T1" fmla="*/ 125 h 125"/>
                <a:gd name="T2" fmla="*/ 0 w 107"/>
                <a:gd name="T3" fmla="*/ 63 h 125"/>
                <a:gd name="T4" fmla="*/ 54 w 107"/>
                <a:gd name="T5" fmla="*/ 0 h 125"/>
                <a:gd name="T6" fmla="*/ 107 w 107"/>
                <a:gd name="T7" fmla="*/ 63 h 125"/>
                <a:gd name="T8" fmla="*/ 54 w 107"/>
                <a:gd name="T9" fmla="*/ 125 h 125"/>
                <a:gd name="T10" fmla="*/ 54 w 107"/>
                <a:gd name="T11" fmla="*/ 12 h 125"/>
                <a:gd name="T12" fmla="*/ 12 w 107"/>
                <a:gd name="T13" fmla="*/ 63 h 125"/>
                <a:gd name="T14" fmla="*/ 54 w 107"/>
                <a:gd name="T15" fmla="*/ 113 h 125"/>
                <a:gd name="T16" fmla="*/ 95 w 107"/>
                <a:gd name="T17" fmla="*/ 63 h 125"/>
                <a:gd name="T18" fmla="*/ 54 w 107"/>
                <a:gd name="T19" fmla="*/ 1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25">
                  <a:moveTo>
                    <a:pt x="54" y="125"/>
                  </a:moveTo>
                  <a:cubicBezTo>
                    <a:pt x="24" y="125"/>
                    <a:pt x="0" y="97"/>
                    <a:pt x="0" y="63"/>
                  </a:cubicBezTo>
                  <a:cubicBezTo>
                    <a:pt x="0" y="28"/>
                    <a:pt x="24" y="0"/>
                    <a:pt x="54" y="0"/>
                  </a:cubicBezTo>
                  <a:cubicBezTo>
                    <a:pt x="83" y="0"/>
                    <a:pt x="107" y="28"/>
                    <a:pt x="107" y="63"/>
                  </a:cubicBezTo>
                  <a:cubicBezTo>
                    <a:pt x="107" y="97"/>
                    <a:pt x="83" y="125"/>
                    <a:pt x="54" y="125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5"/>
                    <a:pt x="12" y="63"/>
                  </a:cubicBezTo>
                  <a:cubicBezTo>
                    <a:pt x="12" y="91"/>
                    <a:pt x="31" y="113"/>
                    <a:pt x="54" y="113"/>
                  </a:cubicBezTo>
                  <a:cubicBezTo>
                    <a:pt x="77" y="113"/>
                    <a:pt x="95" y="91"/>
                    <a:pt x="95" y="63"/>
                  </a:cubicBezTo>
                  <a:cubicBezTo>
                    <a:pt x="95" y="35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9" name="Freeform 198">
              <a:extLst>
                <a:ext uri="{FF2B5EF4-FFF2-40B4-BE49-F238E27FC236}">
                  <a16:creationId xmlns:a16="http://schemas.microsoft.com/office/drawing/2014/main" id="{926B2665-531C-43BF-BAE9-83D857016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5" y="3384"/>
              <a:ext cx="18" cy="40"/>
            </a:xfrm>
            <a:custGeom>
              <a:avLst/>
              <a:gdLst>
                <a:gd name="T0" fmla="*/ 6 w 12"/>
                <a:gd name="T1" fmla="*/ 27 h 27"/>
                <a:gd name="T2" fmla="*/ 0 w 12"/>
                <a:gd name="T3" fmla="*/ 21 h 27"/>
                <a:gd name="T4" fmla="*/ 0 w 12"/>
                <a:gd name="T5" fmla="*/ 6 h 27"/>
                <a:gd name="T6" fmla="*/ 6 w 12"/>
                <a:gd name="T7" fmla="*/ 0 h 27"/>
                <a:gd name="T8" fmla="*/ 12 w 12"/>
                <a:gd name="T9" fmla="*/ 6 h 27"/>
                <a:gd name="T10" fmla="*/ 12 w 12"/>
                <a:gd name="T11" fmla="*/ 21 h 27"/>
                <a:gd name="T12" fmla="*/ 6 w 12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3" y="27"/>
                    <a:pt x="0" y="25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5"/>
                    <a:pt x="9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0" name="Freeform 199">
              <a:extLst>
                <a:ext uri="{FF2B5EF4-FFF2-40B4-BE49-F238E27FC236}">
                  <a16:creationId xmlns:a16="http://schemas.microsoft.com/office/drawing/2014/main" id="{932FCFDE-A929-4521-8126-168E1086B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3227"/>
              <a:ext cx="90" cy="187"/>
            </a:xfrm>
            <a:custGeom>
              <a:avLst/>
              <a:gdLst>
                <a:gd name="T0" fmla="*/ 6 w 59"/>
                <a:gd name="T1" fmla="*/ 125 h 125"/>
                <a:gd name="T2" fmla="*/ 0 w 59"/>
                <a:gd name="T3" fmla="*/ 119 h 125"/>
                <a:gd name="T4" fmla="*/ 6 w 59"/>
                <a:gd name="T5" fmla="*/ 113 h 125"/>
                <a:gd name="T6" fmla="*/ 47 w 59"/>
                <a:gd name="T7" fmla="*/ 63 h 125"/>
                <a:gd name="T8" fmla="*/ 6 w 59"/>
                <a:gd name="T9" fmla="*/ 12 h 125"/>
                <a:gd name="T10" fmla="*/ 0 w 59"/>
                <a:gd name="T11" fmla="*/ 6 h 125"/>
                <a:gd name="T12" fmla="*/ 6 w 59"/>
                <a:gd name="T13" fmla="*/ 0 h 125"/>
                <a:gd name="T14" fmla="*/ 59 w 59"/>
                <a:gd name="T15" fmla="*/ 63 h 125"/>
                <a:gd name="T16" fmla="*/ 6 w 59"/>
                <a:gd name="T17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25">
                  <a:moveTo>
                    <a:pt x="6" y="125"/>
                  </a:moveTo>
                  <a:cubicBezTo>
                    <a:pt x="3" y="125"/>
                    <a:pt x="0" y="123"/>
                    <a:pt x="0" y="119"/>
                  </a:cubicBezTo>
                  <a:cubicBezTo>
                    <a:pt x="0" y="116"/>
                    <a:pt x="3" y="113"/>
                    <a:pt x="6" y="113"/>
                  </a:cubicBezTo>
                  <a:cubicBezTo>
                    <a:pt x="29" y="113"/>
                    <a:pt x="47" y="91"/>
                    <a:pt x="47" y="63"/>
                  </a:cubicBezTo>
                  <a:cubicBezTo>
                    <a:pt x="47" y="35"/>
                    <a:pt x="29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5" y="0"/>
                    <a:pt x="59" y="28"/>
                    <a:pt x="59" y="63"/>
                  </a:cubicBezTo>
                  <a:cubicBezTo>
                    <a:pt x="59" y="97"/>
                    <a:pt x="35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1" name="Freeform 201">
              <a:extLst>
                <a:ext uri="{FF2B5EF4-FFF2-40B4-BE49-F238E27FC236}">
                  <a16:creationId xmlns:a16="http://schemas.microsoft.com/office/drawing/2014/main" id="{2DA25B81-FF29-4237-AF4B-76C4EA2788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8" y="3463"/>
              <a:ext cx="147" cy="144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75" y="0"/>
                    <a:pt x="96" y="21"/>
                    <a:pt x="96" y="48"/>
                  </a:cubicBezTo>
                  <a:cubicBezTo>
                    <a:pt x="96" y="74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8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8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2" name="Freeform 202">
              <a:extLst>
                <a:ext uri="{FF2B5EF4-FFF2-40B4-BE49-F238E27FC236}">
                  <a16:creationId xmlns:a16="http://schemas.microsoft.com/office/drawing/2014/main" id="{C0C78DC8-866A-41B9-B1FF-708B54D23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3570"/>
              <a:ext cx="77" cy="73"/>
            </a:xfrm>
            <a:custGeom>
              <a:avLst/>
              <a:gdLst>
                <a:gd name="T0" fmla="*/ 43 w 50"/>
                <a:gd name="T1" fmla="*/ 49 h 49"/>
                <a:gd name="T2" fmla="*/ 39 w 50"/>
                <a:gd name="T3" fmla="*/ 47 h 49"/>
                <a:gd name="T4" fmla="*/ 3 w 50"/>
                <a:gd name="T5" fmla="*/ 11 h 49"/>
                <a:gd name="T6" fmla="*/ 3 w 50"/>
                <a:gd name="T7" fmla="*/ 3 h 49"/>
                <a:gd name="T8" fmla="*/ 11 w 50"/>
                <a:gd name="T9" fmla="*/ 3 h 49"/>
                <a:gd name="T10" fmla="*/ 47 w 50"/>
                <a:gd name="T11" fmla="*/ 39 h 49"/>
                <a:gd name="T12" fmla="*/ 47 w 50"/>
                <a:gd name="T13" fmla="*/ 47 h 49"/>
                <a:gd name="T14" fmla="*/ 43 w 50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49">
                  <a:moveTo>
                    <a:pt x="43" y="49"/>
                  </a:moveTo>
                  <a:cubicBezTo>
                    <a:pt x="42" y="49"/>
                    <a:pt x="40" y="48"/>
                    <a:pt x="39" y="4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50" y="41"/>
                    <a:pt x="50" y="45"/>
                    <a:pt x="47" y="47"/>
                  </a:cubicBezTo>
                  <a:cubicBezTo>
                    <a:pt x="46" y="48"/>
                    <a:pt x="45" y="49"/>
                    <a:pt x="43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43" name="Marcador de texto 7">
            <a:extLst>
              <a:ext uri="{FF2B5EF4-FFF2-40B4-BE49-F238E27FC236}">
                <a16:creationId xmlns:a16="http://schemas.microsoft.com/office/drawing/2014/main" id="{7A5C3C11-BEF5-474C-A499-86344DC43BE5}"/>
              </a:ext>
            </a:extLst>
          </p:cNvPr>
          <p:cNvSpPr txBox="1">
            <a:spLocks/>
          </p:cNvSpPr>
          <p:nvPr/>
        </p:nvSpPr>
        <p:spPr>
          <a:xfrm>
            <a:off x="3372548" y="4178306"/>
            <a:ext cx="5593939" cy="659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d dozens mo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4EFAB3-A54B-C40D-468F-17156FE9ACB8}"/>
              </a:ext>
            </a:extLst>
          </p:cNvPr>
          <p:cNvSpPr/>
          <p:nvPr/>
        </p:nvSpPr>
        <p:spPr>
          <a:xfrm>
            <a:off x="121919" y="6400800"/>
            <a:ext cx="1850315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555A68-B45A-4B4E-9C1F-7AE30DA0E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DE1D67-171F-E5EF-2580-791028243008}"/>
              </a:ext>
            </a:extLst>
          </p:cNvPr>
          <p:cNvSpPr/>
          <p:nvPr/>
        </p:nvSpPr>
        <p:spPr>
          <a:xfrm>
            <a:off x="4702579" y="5417521"/>
            <a:ext cx="2680198" cy="485776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cess resourc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905530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E9B2AAA-3673-C12A-E78C-6FC7EA60C2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E9B2AAA-3673-C12A-E78C-6FC7EA60C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D61D0BB-FA07-C299-3A8D-40767E943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A8A414-E662-AE28-0123-C28FFEB31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Step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AFE0D20-7F7D-E21C-DD47-1A5CD0FB3A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F222667C-FE73-5BC6-C06E-6D81911B9F90}"/>
              </a:ext>
            </a:extLst>
          </p:cNvPr>
          <p:cNvSpPr txBox="1"/>
          <p:nvPr/>
        </p:nvSpPr>
        <p:spPr>
          <a:xfrm>
            <a:off x="481013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0407A885-32B6-0DBC-3B73-23A7C4BE1F99}"/>
              </a:ext>
            </a:extLst>
          </p:cNvPr>
          <p:cNvSpPr txBox="1"/>
          <p:nvPr/>
        </p:nvSpPr>
        <p:spPr>
          <a:xfrm>
            <a:off x="2766477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4161813-1E9D-8194-D42A-1998EB7B3E5D}"/>
              </a:ext>
            </a:extLst>
          </p:cNvPr>
          <p:cNvSpPr txBox="1"/>
          <p:nvPr/>
        </p:nvSpPr>
        <p:spPr>
          <a:xfrm>
            <a:off x="5058044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3F03B8B6-FF10-3D0F-4528-DAE1A0361047}"/>
              </a:ext>
            </a:extLst>
          </p:cNvPr>
          <p:cNvSpPr txBox="1"/>
          <p:nvPr/>
        </p:nvSpPr>
        <p:spPr>
          <a:xfrm>
            <a:off x="7337449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6C054F02-09B0-3EAD-67A7-1452CB9C2912}"/>
              </a:ext>
            </a:extLst>
          </p:cNvPr>
          <p:cNvSpPr txBox="1"/>
          <p:nvPr/>
        </p:nvSpPr>
        <p:spPr>
          <a:xfrm>
            <a:off x="9638520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2F7AA34-8ECE-6D2D-3C63-154F8F5F9961}"/>
              </a:ext>
            </a:extLst>
          </p:cNvPr>
          <p:cNvSpPr/>
          <p:nvPr/>
        </p:nvSpPr>
        <p:spPr>
          <a:xfrm>
            <a:off x="502920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AD87AD0D-BFB2-1355-8E74-DD82B0047D92}"/>
              </a:ext>
            </a:extLst>
          </p:cNvPr>
          <p:cNvSpPr/>
          <p:nvPr/>
        </p:nvSpPr>
        <p:spPr>
          <a:xfrm flipH="1" flipV="1">
            <a:off x="502920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335653F5-A10E-71D1-A960-F67C46F07923}"/>
              </a:ext>
            </a:extLst>
          </p:cNvPr>
          <p:cNvSpPr/>
          <p:nvPr/>
        </p:nvSpPr>
        <p:spPr>
          <a:xfrm>
            <a:off x="5103504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5C145C1F-3674-6F96-0B4B-DB07355BFD88}"/>
              </a:ext>
            </a:extLst>
          </p:cNvPr>
          <p:cNvSpPr/>
          <p:nvPr/>
        </p:nvSpPr>
        <p:spPr>
          <a:xfrm flipH="1" flipV="1">
            <a:off x="5103504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orma libre: forma 25">
            <a:extLst>
              <a:ext uri="{FF2B5EF4-FFF2-40B4-BE49-F238E27FC236}">
                <a16:creationId xmlns:a16="http://schemas.microsoft.com/office/drawing/2014/main" id="{B91129D4-82E8-693C-9704-8C8FE4DACAAF}"/>
              </a:ext>
            </a:extLst>
          </p:cNvPr>
          <p:cNvSpPr/>
          <p:nvPr/>
        </p:nvSpPr>
        <p:spPr>
          <a:xfrm>
            <a:off x="9665990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Forma libre: forma 26">
            <a:extLst>
              <a:ext uri="{FF2B5EF4-FFF2-40B4-BE49-F238E27FC236}">
                <a16:creationId xmlns:a16="http://schemas.microsoft.com/office/drawing/2014/main" id="{14AF6ABC-B1F9-6834-095B-FD04754D58CC}"/>
              </a:ext>
            </a:extLst>
          </p:cNvPr>
          <p:cNvSpPr/>
          <p:nvPr/>
        </p:nvSpPr>
        <p:spPr>
          <a:xfrm flipH="1" flipV="1">
            <a:off x="9665990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Forma libre: forma 27">
            <a:extLst>
              <a:ext uri="{FF2B5EF4-FFF2-40B4-BE49-F238E27FC236}">
                <a16:creationId xmlns:a16="http://schemas.microsoft.com/office/drawing/2014/main" id="{F188BD5F-547B-676C-65F4-D69FD6228B1A}"/>
              </a:ext>
            </a:extLst>
          </p:cNvPr>
          <p:cNvSpPr/>
          <p:nvPr/>
        </p:nvSpPr>
        <p:spPr>
          <a:xfrm>
            <a:off x="2798445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40A0B664-7BA2-04FE-1E16-A86D7A1156DF}"/>
              </a:ext>
            </a:extLst>
          </p:cNvPr>
          <p:cNvSpPr/>
          <p:nvPr/>
        </p:nvSpPr>
        <p:spPr>
          <a:xfrm flipH="1" flipV="1">
            <a:off x="2798445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orma libre: forma 29">
            <a:extLst>
              <a:ext uri="{FF2B5EF4-FFF2-40B4-BE49-F238E27FC236}">
                <a16:creationId xmlns:a16="http://schemas.microsoft.com/office/drawing/2014/main" id="{3A40A845-6AC1-1DE9-9392-4D2618B979A6}"/>
              </a:ext>
            </a:extLst>
          </p:cNvPr>
          <p:cNvSpPr/>
          <p:nvPr/>
        </p:nvSpPr>
        <p:spPr>
          <a:xfrm>
            <a:off x="7379970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8FFAAE76-F1B8-518D-A396-F7ABF2883477}"/>
              </a:ext>
            </a:extLst>
          </p:cNvPr>
          <p:cNvSpPr/>
          <p:nvPr/>
        </p:nvSpPr>
        <p:spPr>
          <a:xfrm flipH="1" flipV="1">
            <a:off x="7379970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35457CE8-4525-E1D4-BDA7-A3F664A307D2}"/>
              </a:ext>
            </a:extLst>
          </p:cNvPr>
          <p:cNvSpPr txBox="1"/>
          <p:nvPr/>
        </p:nvSpPr>
        <p:spPr>
          <a:xfrm>
            <a:off x="481013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B7590D17-DBF4-9CCC-913F-D6394C60FD8F}"/>
              </a:ext>
            </a:extLst>
          </p:cNvPr>
          <p:cNvSpPr txBox="1"/>
          <p:nvPr/>
        </p:nvSpPr>
        <p:spPr>
          <a:xfrm>
            <a:off x="2766477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C0E2860B-1FE3-1411-5D42-5F671DB200AA}"/>
              </a:ext>
            </a:extLst>
          </p:cNvPr>
          <p:cNvSpPr txBox="1"/>
          <p:nvPr/>
        </p:nvSpPr>
        <p:spPr>
          <a:xfrm>
            <a:off x="5058044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A5A9B63F-1D04-7F4E-29DE-25A8B9980B76}"/>
              </a:ext>
            </a:extLst>
          </p:cNvPr>
          <p:cNvSpPr txBox="1"/>
          <p:nvPr/>
        </p:nvSpPr>
        <p:spPr>
          <a:xfrm>
            <a:off x="7337449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2" name="TextBox 24">
            <a:extLst>
              <a:ext uri="{FF2B5EF4-FFF2-40B4-BE49-F238E27FC236}">
                <a16:creationId xmlns:a16="http://schemas.microsoft.com/office/drawing/2014/main" id="{08766E5D-BEB0-3586-B521-267E55AAA138}"/>
              </a:ext>
            </a:extLst>
          </p:cNvPr>
          <p:cNvSpPr txBox="1"/>
          <p:nvPr/>
        </p:nvSpPr>
        <p:spPr>
          <a:xfrm>
            <a:off x="9638520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910921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A70377F-3EDF-5296-870A-831B8694A1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A70377F-3EDF-5296-870A-831B8694A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Rectángulo 10245">
            <a:extLst>
              <a:ext uri="{FF2B5EF4-FFF2-40B4-BE49-F238E27FC236}">
                <a16:creationId xmlns:a16="http://schemas.microsoft.com/office/drawing/2014/main" id="{BA693823-7338-A9D2-AA09-B324BBCC9DDA}"/>
              </a:ext>
            </a:extLst>
          </p:cNvPr>
          <p:cNvSpPr/>
          <p:nvPr/>
        </p:nvSpPr>
        <p:spPr>
          <a:xfrm>
            <a:off x="0" y="3300413"/>
            <a:ext cx="12191999" cy="6715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628D25F-515A-6E90-079E-65196BDFB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7D27F1-8EEF-4120-B613-FE574E2F1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Phase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7799786-A944-5A3C-34D4-71DB2B5A01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53EAEEA9-33EF-CD72-B97E-38AD6BE4B443}"/>
              </a:ext>
            </a:extLst>
          </p:cNvPr>
          <p:cNvSpPr txBox="1"/>
          <p:nvPr/>
        </p:nvSpPr>
        <p:spPr>
          <a:xfrm>
            <a:off x="632036" y="4152447"/>
            <a:ext cx="31922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9F960619-BA20-169A-91C6-A5A210C754D6}"/>
              </a:ext>
            </a:extLst>
          </p:cNvPr>
          <p:cNvSpPr txBox="1"/>
          <p:nvPr/>
        </p:nvSpPr>
        <p:spPr>
          <a:xfrm>
            <a:off x="4504637" y="4152447"/>
            <a:ext cx="31922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65843708-9D84-7D45-A4C3-9041B58BE7E7}"/>
              </a:ext>
            </a:extLst>
          </p:cNvPr>
          <p:cNvSpPr txBox="1"/>
          <p:nvPr/>
        </p:nvSpPr>
        <p:spPr>
          <a:xfrm>
            <a:off x="8352737" y="4152447"/>
            <a:ext cx="31922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4" name="Group 167">
            <a:extLst>
              <a:ext uri="{FF2B5EF4-FFF2-40B4-BE49-F238E27FC236}">
                <a16:creationId xmlns:a16="http://schemas.microsoft.com/office/drawing/2014/main" id="{5F95B6CC-E97A-983D-C3B4-3D575C6400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80781" y="2164637"/>
            <a:ext cx="552651" cy="634360"/>
            <a:chOff x="5528" y="2992"/>
            <a:chExt cx="372" cy="427"/>
          </a:xfrm>
          <a:solidFill>
            <a:schemeClr val="bg2"/>
          </a:solidFill>
        </p:grpSpPr>
        <p:sp>
          <p:nvSpPr>
            <p:cNvPr id="15" name="Freeform 168">
              <a:extLst>
                <a:ext uri="{FF2B5EF4-FFF2-40B4-BE49-F238E27FC236}">
                  <a16:creationId xmlns:a16="http://schemas.microsoft.com/office/drawing/2014/main" id="{9EC2DC72-F6BB-71C9-CA6F-384EB3777F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8" y="2992"/>
              <a:ext cx="372" cy="427"/>
            </a:xfrm>
            <a:custGeom>
              <a:avLst/>
              <a:gdLst>
                <a:gd name="T0" fmla="*/ 126 w 252"/>
                <a:gd name="T1" fmla="*/ 288 h 288"/>
                <a:gd name="T2" fmla="*/ 124 w 252"/>
                <a:gd name="T3" fmla="*/ 288 h 288"/>
                <a:gd name="T4" fmla="*/ 0 w 252"/>
                <a:gd name="T5" fmla="*/ 60 h 288"/>
                <a:gd name="T6" fmla="*/ 4 w 252"/>
                <a:gd name="T7" fmla="*/ 54 h 288"/>
                <a:gd name="T8" fmla="*/ 122 w 252"/>
                <a:gd name="T9" fmla="*/ 2 h 288"/>
                <a:gd name="T10" fmla="*/ 130 w 252"/>
                <a:gd name="T11" fmla="*/ 2 h 288"/>
                <a:gd name="T12" fmla="*/ 248 w 252"/>
                <a:gd name="T13" fmla="*/ 54 h 288"/>
                <a:gd name="T14" fmla="*/ 252 w 252"/>
                <a:gd name="T15" fmla="*/ 60 h 288"/>
                <a:gd name="T16" fmla="*/ 128 w 252"/>
                <a:gd name="T17" fmla="*/ 288 h 288"/>
                <a:gd name="T18" fmla="*/ 126 w 252"/>
                <a:gd name="T19" fmla="*/ 288 h 288"/>
                <a:gd name="T20" fmla="*/ 12 w 252"/>
                <a:gd name="T21" fmla="*/ 65 h 288"/>
                <a:gd name="T22" fmla="*/ 126 w 252"/>
                <a:gd name="T23" fmla="*/ 276 h 288"/>
                <a:gd name="T24" fmla="*/ 240 w 252"/>
                <a:gd name="T25" fmla="*/ 65 h 288"/>
                <a:gd name="T26" fmla="*/ 126 w 252"/>
                <a:gd name="T27" fmla="*/ 14 h 288"/>
                <a:gd name="T28" fmla="*/ 12 w 252"/>
                <a:gd name="T29" fmla="*/ 6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" h="288">
                  <a:moveTo>
                    <a:pt x="126" y="288"/>
                  </a:moveTo>
                  <a:cubicBezTo>
                    <a:pt x="125" y="288"/>
                    <a:pt x="125" y="288"/>
                    <a:pt x="124" y="288"/>
                  </a:cubicBezTo>
                  <a:cubicBezTo>
                    <a:pt x="9" y="245"/>
                    <a:pt x="0" y="163"/>
                    <a:pt x="0" y="60"/>
                  </a:cubicBezTo>
                  <a:cubicBezTo>
                    <a:pt x="0" y="58"/>
                    <a:pt x="2" y="55"/>
                    <a:pt x="4" y="54"/>
                  </a:cubicBezTo>
                  <a:cubicBezTo>
                    <a:pt x="5" y="54"/>
                    <a:pt x="93" y="30"/>
                    <a:pt x="122" y="2"/>
                  </a:cubicBezTo>
                  <a:cubicBezTo>
                    <a:pt x="124" y="0"/>
                    <a:pt x="128" y="0"/>
                    <a:pt x="130" y="2"/>
                  </a:cubicBezTo>
                  <a:cubicBezTo>
                    <a:pt x="159" y="30"/>
                    <a:pt x="247" y="54"/>
                    <a:pt x="248" y="54"/>
                  </a:cubicBezTo>
                  <a:cubicBezTo>
                    <a:pt x="250" y="55"/>
                    <a:pt x="252" y="58"/>
                    <a:pt x="252" y="60"/>
                  </a:cubicBezTo>
                  <a:cubicBezTo>
                    <a:pt x="252" y="163"/>
                    <a:pt x="243" y="245"/>
                    <a:pt x="128" y="288"/>
                  </a:cubicBezTo>
                  <a:cubicBezTo>
                    <a:pt x="127" y="288"/>
                    <a:pt x="127" y="288"/>
                    <a:pt x="126" y="288"/>
                  </a:cubicBezTo>
                  <a:close/>
                  <a:moveTo>
                    <a:pt x="12" y="65"/>
                  </a:moveTo>
                  <a:cubicBezTo>
                    <a:pt x="12" y="163"/>
                    <a:pt x="22" y="236"/>
                    <a:pt x="126" y="276"/>
                  </a:cubicBezTo>
                  <a:cubicBezTo>
                    <a:pt x="230" y="236"/>
                    <a:pt x="240" y="163"/>
                    <a:pt x="240" y="65"/>
                  </a:cubicBezTo>
                  <a:cubicBezTo>
                    <a:pt x="222" y="60"/>
                    <a:pt x="156" y="39"/>
                    <a:pt x="126" y="14"/>
                  </a:cubicBezTo>
                  <a:cubicBezTo>
                    <a:pt x="96" y="39"/>
                    <a:pt x="30" y="60"/>
                    <a:pt x="1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69">
              <a:extLst>
                <a:ext uri="{FF2B5EF4-FFF2-40B4-BE49-F238E27FC236}">
                  <a16:creationId xmlns:a16="http://schemas.microsoft.com/office/drawing/2014/main" id="{B326AFCE-C849-9EAC-4EFD-31511CD68E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4" y="3046"/>
              <a:ext cx="280" cy="319"/>
            </a:xfrm>
            <a:custGeom>
              <a:avLst/>
              <a:gdLst>
                <a:gd name="T0" fmla="*/ 95 w 190"/>
                <a:gd name="T1" fmla="*/ 216 h 216"/>
                <a:gd name="T2" fmla="*/ 93 w 190"/>
                <a:gd name="T3" fmla="*/ 216 h 216"/>
                <a:gd name="T4" fmla="*/ 0 w 190"/>
                <a:gd name="T5" fmla="*/ 46 h 216"/>
                <a:gd name="T6" fmla="*/ 5 w 190"/>
                <a:gd name="T7" fmla="*/ 40 h 216"/>
                <a:gd name="T8" fmla="*/ 91 w 190"/>
                <a:gd name="T9" fmla="*/ 2 h 216"/>
                <a:gd name="T10" fmla="*/ 99 w 190"/>
                <a:gd name="T11" fmla="*/ 2 h 216"/>
                <a:gd name="T12" fmla="*/ 185 w 190"/>
                <a:gd name="T13" fmla="*/ 40 h 216"/>
                <a:gd name="T14" fmla="*/ 190 w 190"/>
                <a:gd name="T15" fmla="*/ 46 h 216"/>
                <a:gd name="T16" fmla="*/ 97 w 190"/>
                <a:gd name="T17" fmla="*/ 216 h 216"/>
                <a:gd name="T18" fmla="*/ 95 w 190"/>
                <a:gd name="T19" fmla="*/ 216 h 216"/>
                <a:gd name="T20" fmla="*/ 12 w 190"/>
                <a:gd name="T21" fmla="*/ 51 h 216"/>
                <a:gd name="T22" fmla="*/ 95 w 190"/>
                <a:gd name="T23" fmla="*/ 204 h 216"/>
                <a:gd name="T24" fmla="*/ 178 w 190"/>
                <a:gd name="T25" fmla="*/ 51 h 216"/>
                <a:gd name="T26" fmla="*/ 95 w 190"/>
                <a:gd name="T27" fmla="*/ 14 h 216"/>
                <a:gd name="T28" fmla="*/ 12 w 190"/>
                <a:gd name="T29" fmla="*/ 5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216">
                  <a:moveTo>
                    <a:pt x="95" y="216"/>
                  </a:moveTo>
                  <a:cubicBezTo>
                    <a:pt x="94" y="216"/>
                    <a:pt x="94" y="216"/>
                    <a:pt x="93" y="216"/>
                  </a:cubicBezTo>
                  <a:cubicBezTo>
                    <a:pt x="7" y="184"/>
                    <a:pt x="0" y="123"/>
                    <a:pt x="0" y="46"/>
                  </a:cubicBezTo>
                  <a:cubicBezTo>
                    <a:pt x="0" y="43"/>
                    <a:pt x="2" y="41"/>
                    <a:pt x="5" y="40"/>
                  </a:cubicBezTo>
                  <a:cubicBezTo>
                    <a:pt x="5" y="40"/>
                    <a:pt x="70" y="23"/>
                    <a:pt x="91" y="2"/>
                  </a:cubicBezTo>
                  <a:cubicBezTo>
                    <a:pt x="93" y="0"/>
                    <a:pt x="97" y="0"/>
                    <a:pt x="99" y="2"/>
                  </a:cubicBezTo>
                  <a:cubicBezTo>
                    <a:pt x="120" y="23"/>
                    <a:pt x="185" y="40"/>
                    <a:pt x="185" y="40"/>
                  </a:cubicBezTo>
                  <a:cubicBezTo>
                    <a:pt x="188" y="41"/>
                    <a:pt x="190" y="43"/>
                    <a:pt x="190" y="46"/>
                  </a:cubicBezTo>
                  <a:cubicBezTo>
                    <a:pt x="190" y="123"/>
                    <a:pt x="183" y="184"/>
                    <a:pt x="97" y="216"/>
                  </a:cubicBezTo>
                  <a:cubicBezTo>
                    <a:pt x="96" y="216"/>
                    <a:pt x="96" y="216"/>
                    <a:pt x="95" y="216"/>
                  </a:cubicBezTo>
                  <a:close/>
                  <a:moveTo>
                    <a:pt x="12" y="51"/>
                  </a:moveTo>
                  <a:cubicBezTo>
                    <a:pt x="13" y="122"/>
                    <a:pt x="20" y="175"/>
                    <a:pt x="95" y="204"/>
                  </a:cubicBezTo>
                  <a:cubicBezTo>
                    <a:pt x="170" y="175"/>
                    <a:pt x="177" y="122"/>
                    <a:pt x="178" y="51"/>
                  </a:cubicBezTo>
                  <a:cubicBezTo>
                    <a:pt x="163" y="46"/>
                    <a:pt x="117" y="32"/>
                    <a:pt x="95" y="14"/>
                  </a:cubicBezTo>
                  <a:cubicBezTo>
                    <a:pt x="73" y="32"/>
                    <a:pt x="27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70">
              <a:extLst>
                <a:ext uri="{FF2B5EF4-FFF2-40B4-BE49-F238E27FC236}">
                  <a16:creationId xmlns:a16="http://schemas.microsoft.com/office/drawing/2014/main" id="{3C3AE840-1A5D-4090-D026-082B18D9B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" y="3046"/>
              <a:ext cx="149" cy="148"/>
            </a:xfrm>
            <a:custGeom>
              <a:avLst/>
              <a:gdLst>
                <a:gd name="T0" fmla="*/ 7 w 101"/>
                <a:gd name="T1" fmla="*/ 100 h 100"/>
                <a:gd name="T2" fmla="*/ 3 w 101"/>
                <a:gd name="T3" fmla="*/ 98 h 100"/>
                <a:gd name="T4" fmla="*/ 3 w 101"/>
                <a:gd name="T5" fmla="*/ 90 h 100"/>
                <a:gd name="T6" fmla="*/ 90 w 101"/>
                <a:gd name="T7" fmla="*/ 2 h 100"/>
                <a:gd name="T8" fmla="*/ 99 w 101"/>
                <a:gd name="T9" fmla="*/ 2 h 100"/>
                <a:gd name="T10" fmla="*/ 99 w 101"/>
                <a:gd name="T11" fmla="*/ 11 h 100"/>
                <a:gd name="T12" fmla="*/ 11 w 101"/>
                <a:gd name="T13" fmla="*/ 98 h 100"/>
                <a:gd name="T14" fmla="*/ 7 w 101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00">
                  <a:moveTo>
                    <a:pt x="7" y="100"/>
                  </a:moveTo>
                  <a:cubicBezTo>
                    <a:pt x="6" y="100"/>
                    <a:pt x="4" y="100"/>
                    <a:pt x="3" y="98"/>
                  </a:cubicBezTo>
                  <a:cubicBezTo>
                    <a:pt x="0" y="96"/>
                    <a:pt x="0" y="92"/>
                    <a:pt x="3" y="9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3" y="0"/>
                    <a:pt x="97" y="0"/>
                    <a:pt x="99" y="2"/>
                  </a:cubicBezTo>
                  <a:cubicBezTo>
                    <a:pt x="101" y="5"/>
                    <a:pt x="101" y="8"/>
                    <a:pt x="99" y="11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0" y="100"/>
                    <a:pt x="9" y="100"/>
                    <a:pt x="7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71">
              <a:extLst>
                <a:ext uri="{FF2B5EF4-FFF2-40B4-BE49-F238E27FC236}">
                  <a16:creationId xmlns:a16="http://schemas.microsoft.com/office/drawing/2014/main" id="{263166E2-DA52-E3AC-7CFD-568386DF1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" y="3078"/>
              <a:ext cx="187" cy="188"/>
            </a:xfrm>
            <a:custGeom>
              <a:avLst/>
              <a:gdLst>
                <a:gd name="T0" fmla="*/ 6 w 127"/>
                <a:gd name="T1" fmla="*/ 127 h 127"/>
                <a:gd name="T2" fmla="*/ 2 w 127"/>
                <a:gd name="T3" fmla="*/ 125 h 127"/>
                <a:gd name="T4" fmla="*/ 2 w 127"/>
                <a:gd name="T5" fmla="*/ 117 h 127"/>
                <a:gd name="T6" fmla="*/ 116 w 127"/>
                <a:gd name="T7" fmla="*/ 2 h 127"/>
                <a:gd name="T8" fmla="*/ 125 w 127"/>
                <a:gd name="T9" fmla="*/ 2 h 127"/>
                <a:gd name="T10" fmla="*/ 125 w 127"/>
                <a:gd name="T11" fmla="*/ 11 h 127"/>
                <a:gd name="T12" fmla="*/ 10 w 127"/>
                <a:gd name="T13" fmla="*/ 125 h 127"/>
                <a:gd name="T14" fmla="*/ 6 w 127"/>
                <a:gd name="T15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27">
                  <a:moveTo>
                    <a:pt x="6" y="127"/>
                  </a:moveTo>
                  <a:cubicBezTo>
                    <a:pt x="5" y="127"/>
                    <a:pt x="3" y="126"/>
                    <a:pt x="2" y="125"/>
                  </a:cubicBezTo>
                  <a:cubicBezTo>
                    <a:pt x="0" y="123"/>
                    <a:pt x="0" y="119"/>
                    <a:pt x="2" y="117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9" y="0"/>
                    <a:pt x="122" y="0"/>
                    <a:pt x="125" y="2"/>
                  </a:cubicBezTo>
                  <a:cubicBezTo>
                    <a:pt x="127" y="5"/>
                    <a:pt x="127" y="9"/>
                    <a:pt x="125" y="11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9" y="126"/>
                    <a:pt x="8" y="127"/>
                    <a:pt x="6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72">
              <a:extLst>
                <a:ext uri="{FF2B5EF4-FFF2-40B4-BE49-F238E27FC236}">
                  <a16:creationId xmlns:a16="http://schemas.microsoft.com/office/drawing/2014/main" id="{2DB1F971-1693-821C-D8EF-12FBDA3BC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3102"/>
              <a:ext cx="217" cy="217"/>
            </a:xfrm>
            <a:custGeom>
              <a:avLst/>
              <a:gdLst>
                <a:gd name="T0" fmla="*/ 6 w 147"/>
                <a:gd name="T1" fmla="*/ 147 h 147"/>
                <a:gd name="T2" fmla="*/ 2 w 147"/>
                <a:gd name="T3" fmla="*/ 145 h 147"/>
                <a:gd name="T4" fmla="*/ 2 w 147"/>
                <a:gd name="T5" fmla="*/ 137 h 147"/>
                <a:gd name="T6" fmla="*/ 136 w 147"/>
                <a:gd name="T7" fmla="*/ 2 h 147"/>
                <a:gd name="T8" fmla="*/ 145 w 147"/>
                <a:gd name="T9" fmla="*/ 2 h 147"/>
                <a:gd name="T10" fmla="*/ 145 w 147"/>
                <a:gd name="T11" fmla="*/ 11 h 147"/>
                <a:gd name="T12" fmla="*/ 11 w 147"/>
                <a:gd name="T13" fmla="*/ 145 h 147"/>
                <a:gd name="T14" fmla="*/ 6 w 147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47">
                  <a:moveTo>
                    <a:pt x="6" y="147"/>
                  </a:moveTo>
                  <a:cubicBezTo>
                    <a:pt x="5" y="147"/>
                    <a:pt x="3" y="146"/>
                    <a:pt x="2" y="145"/>
                  </a:cubicBezTo>
                  <a:cubicBezTo>
                    <a:pt x="0" y="143"/>
                    <a:pt x="0" y="139"/>
                    <a:pt x="2" y="137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9" y="0"/>
                    <a:pt x="143" y="0"/>
                    <a:pt x="145" y="2"/>
                  </a:cubicBezTo>
                  <a:cubicBezTo>
                    <a:pt x="147" y="5"/>
                    <a:pt x="147" y="8"/>
                    <a:pt x="145" y="11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9" y="146"/>
                    <a:pt x="8" y="147"/>
                    <a:pt x="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73">
              <a:extLst>
                <a:ext uri="{FF2B5EF4-FFF2-40B4-BE49-F238E27FC236}">
                  <a16:creationId xmlns:a16="http://schemas.microsoft.com/office/drawing/2014/main" id="{154F4EF3-0C8D-4337-6BDC-B093A808C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" y="3185"/>
              <a:ext cx="168" cy="168"/>
            </a:xfrm>
            <a:custGeom>
              <a:avLst/>
              <a:gdLst>
                <a:gd name="T0" fmla="*/ 6 w 114"/>
                <a:gd name="T1" fmla="*/ 114 h 114"/>
                <a:gd name="T2" fmla="*/ 2 w 114"/>
                <a:gd name="T3" fmla="*/ 112 h 114"/>
                <a:gd name="T4" fmla="*/ 2 w 114"/>
                <a:gd name="T5" fmla="*/ 104 h 114"/>
                <a:gd name="T6" fmla="*/ 103 w 114"/>
                <a:gd name="T7" fmla="*/ 3 h 114"/>
                <a:gd name="T8" fmla="*/ 112 w 114"/>
                <a:gd name="T9" fmla="*/ 3 h 114"/>
                <a:gd name="T10" fmla="*/ 112 w 114"/>
                <a:gd name="T11" fmla="*/ 11 h 114"/>
                <a:gd name="T12" fmla="*/ 11 w 114"/>
                <a:gd name="T13" fmla="*/ 112 h 114"/>
                <a:gd name="T14" fmla="*/ 6 w 11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14">
                  <a:moveTo>
                    <a:pt x="6" y="114"/>
                  </a:moveTo>
                  <a:cubicBezTo>
                    <a:pt x="5" y="114"/>
                    <a:pt x="3" y="113"/>
                    <a:pt x="2" y="112"/>
                  </a:cubicBezTo>
                  <a:cubicBezTo>
                    <a:pt x="0" y="110"/>
                    <a:pt x="0" y="106"/>
                    <a:pt x="2" y="10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5" y="0"/>
                    <a:pt x="109" y="0"/>
                    <a:pt x="112" y="3"/>
                  </a:cubicBezTo>
                  <a:cubicBezTo>
                    <a:pt x="114" y="5"/>
                    <a:pt x="114" y="9"/>
                    <a:pt x="112" y="11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9" y="113"/>
                    <a:pt x="8" y="114"/>
                    <a:pt x="6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1" name="Group 60">
            <a:extLst>
              <a:ext uri="{FF2B5EF4-FFF2-40B4-BE49-F238E27FC236}">
                <a16:creationId xmlns:a16="http://schemas.microsoft.com/office/drawing/2014/main" id="{CFD53F82-E04E-3C13-7042-6AB268FEFB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5752" y="2175940"/>
            <a:ext cx="613194" cy="611755"/>
            <a:chOff x="348" y="1721"/>
            <a:chExt cx="426" cy="425"/>
          </a:xfrm>
          <a:solidFill>
            <a:schemeClr val="bg2"/>
          </a:solidFill>
        </p:grpSpPr>
        <p:sp>
          <p:nvSpPr>
            <p:cNvPr id="22" name="Freeform 61">
              <a:extLst>
                <a:ext uri="{FF2B5EF4-FFF2-40B4-BE49-F238E27FC236}">
                  <a16:creationId xmlns:a16="http://schemas.microsoft.com/office/drawing/2014/main" id="{BB7C103C-2DD9-445D-55A5-262259276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62">
              <a:extLst>
                <a:ext uri="{FF2B5EF4-FFF2-40B4-BE49-F238E27FC236}">
                  <a16:creationId xmlns:a16="http://schemas.microsoft.com/office/drawing/2014/main" id="{5754FD20-07D9-3190-0E77-E8C4C8B5C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" name="Group 265">
            <a:extLst>
              <a:ext uri="{FF2B5EF4-FFF2-40B4-BE49-F238E27FC236}">
                <a16:creationId xmlns:a16="http://schemas.microsoft.com/office/drawing/2014/main" id="{18AA7D2B-D567-1117-1EE7-ADCD076F16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29866" y="2163346"/>
            <a:ext cx="635451" cy="636943"/>
            <a:chOff x="4480" y="2998"/>
            <a:chExt cx="426" cy="427"/>
          </a:xfrm>
          <a:solidFill>
            <a:schemeClr val="bg2"/>
          </a:solidFill>
        </p:grpSpPr>
        <p:sp>
          <p:nvSpPr>
            <p:cNvPr id="25" name="Freeform 266">
              <a:extLst>
                <a:ext uri="{FF2B5EF4-FFF2-40B4-BE49-F238E27FC236}">
                  <a16:creationId xmlns:a16="http://schemas.microsoft.com/office/drawing/2014/main" id="{7E817C54-E3B3-7BA5-DA05-01B8ED5186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67">
              <a:extLst>
                <a:ext uri="{FF2B5EF4-FFF2-40B4-BE49-F238E27FC236}">
                  <a16:creationId xmlns:a16="http://schemas.microsoft.com/office/drawing/2014/main" id="{41F9665C-EA7B-80A0-B592-5AF7C7B9B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68">
              <a:extLst>
                <a:ext uri="{FF2B5EF4-FFF2-40B4-BE49-F238E27FC236}">
                  <a16:creationId xmlns:a16="http://schemas.microsoft.com/office/drawing/2014/main" id="{C2CE4D46-523F-52CD-4FFA-5CA42CA10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Rectangle 269">
              <a:extLst>
                <a:ext uri="{FF2B5EF4-FFF2-40B4-BE49-F238E27FC236}">
                  <a16:creationId xmlns:a16="http://schemas.microsoft.com/office/drawing/2014/main" id="{89DCA140-694C-8763-D679-34E512E06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Rectangle 270">
              <a:extLst>
                <a:ext uri="{FF2B5EF4-FFF2-40B4-BE49-F238E27FC236}">
                  <a16:creationId xmlns:a16="http://schemas.microsoft.com/office/drawing/2014/main" id="{6B2220E4-3972-A6B7-712D-E3552C8CB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Rectangle 271">
              <a:extLst>
                <a:ext uri="{FF2B5EF4-FFF2-40B4-BE49-F238E27FC236}">
                  <a16:creationId xmlns:a16="http://schemas.microsoft.com/office/drawing/2014/main" id="{A2D130FF-6953-5411-ABE1-4F032BEC9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1" name="Elipse 30">
            <a:extLst>
              <a:ext uri="{FF2B5EF4-FFF2-40B4-BE49-F238E27FC236}">
                <a16:creationId xmlns:a16="http://schemas.microsoft.com/office/drawing/2014/main" id="{BABDBB3F-BF80-6FAD-0D39-3951BA2C14A7}"/>
              </a:ext>
            </a:extLst>
          </p:cNvPr>
          <p:cNvSpPr/>
          <p:nvPr/>
        </p:nvSpPr>
        <p:spPr>
          <a:xfrm>
            <a:off x="1739897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40" name="Elipse 10239">
            <a:extLst>
              <a:ext uri="{FF2B5EF4-FFF2-40B4-BE49-F238E27FC236}">
                <a16:creationId xmlns:a16="http://schemas.microsoft.com/office/drawing/2014/main" id="{04D12DBE-F683-10B7-9C05-A6A7D7D43E8A}"/>
              </a:ext>
            </a:extLst>
          </p:cNvPr>
          <p:cNvSpPr/>
          <p:nvPr/>
        </p:nvSpPr>
        <p:spPr>
          <a:xfrm>
            <a:off x="5585140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41" name="Elipse 10240">
            <a:extLst>
              <a:ext uri="{FF2B5EF4-FFF2-40B4-BE49-F238E27FC236}">
                <a16:creationId xmlns:a16="http://schemas.microsoft.com/office/drawing/2014/main" id="{B10BEBE4-E9BF-82C5-C237-F319B3E198DD}"/>
              </a:ext>
            </a:extLst>
          </p:cNvPr>
          <p:cNvSpPr/>
          <p:nvPr/>
        </p:nvSpPr>
        <p:spPr>
          <a:xfrm>
            <a:off x="9430382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43" name="TextBox 24">
            <a:extLst>
              <a:ext uri="{FF2B5EF4-FFF2-40B4-BE49-F238E27FC236}">
                <a16:creationId xmlns:a16="http://schemas.microsoft.com/office/drawing/2014/main" id="{CA68CB92-3843-D8F7-80D6-2CFBE43C8B5B}"/>
              </a:ext>
            </a:extLst>
          </p:cNvPr>
          <p:cNvSpPr txBox="1"/>
          <p:nvPr/>
        </p:nvSpPr>
        <p:spPr>
          <a:xfrm>
            <a:off x="384173" y="153021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244" name="TextBox 24">
            <a:extLst>
              <a:ext uri="{FF2B5EF4-FFF2-40B4-BE49-F238E27FC236}">
                <a16:creationId xmlns:a16="http://schemas.microsoft.com/office/drawing/2014/main" id="{43F0FC72-890F-0390-0EE1-198FC4D7A13E}"/>
              </a:ext>
            </a:extLst>
          </p:cNvPr>
          <p:cNvSpPr txBox="1"/>
          <p:nvPr/>
        </p:nvSpPr>
        <p:spPr>
          <a:xfrm>
            <a:off x="4229416" y="153021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45" name="TextBox 24">
            <a:extLst>
              <a:ext uri="{FF2B5EF4-FFF2-40B4-BE49-F238E27FC236}">
                <a16:creationId xmlns:a16="http://schemas.microsoft.com/office/drawing/2014/main" id="{4A5E8AB8-1FDE-0721-CD83-527CA1193A79}"/>
              </a:ext>
            </a:extLst>
          </p:cNvPr>
          <p:cNvSpPr txBox="1"/>
          <p:nvPr/>
        </p:nvSpPr>
        <p:spPr>
          <a:xfrm>
            <a:off x="8074658" y="153021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0248" name="Conector recto 10247">
            <a:extLst>
              <a:ext uri="{FF2B5EF4-FFF2-40B4-BE49-F238E27FC236}">
                <a16:creationId xmlns:a16="http://schemas.microsoft.com/office/drawing/2014/main" id="{C3202710-9DD2-7D51-F104-6FEFE14AF731}"/>
              </a:ext>
            </a:extLst>
          </p:cNvPr>
          <p:cNvCxnSpPr>
            <a:cxnSpLocks/>
            <a:stCxn id="10246" idx="1"/>
            <a:endCxn id="10246" idx="3"/>
          </p:cNvCxnSpPr>
          <p:nvPr/>
        </p:nvCxnSpPr>
        <p:spPr>
          <a:xfrm>
            <a:off x="0" y="3636169"/>
            <a:ext cx="12191999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0" name="Conector recto 10249">
            <a:extLst>
              <a:ext uri="{FF2B5EF4-FFF2-40B4-BE49-F238E27FC236}">
                <a16:creationId xmlns:a16="http://schemas.microsoft.com/office/drawing/2014/main" id="{9559796B-E963-8E53-4AD4-3155EEDD6F8C}"/>
              </a:ext>
            </a:extLst>
          </p:cNvPr>
          <p:cNvCxnSpPr>
            <a:cxnSpLocks/>
          </p:cNvCxnSpPr>
          <p:nvPr/>
        </p:nvCxnSpPr>
        <p:spPr>
          <a:xfrm>
            <a:off x="0" y="3363119"/>
            <a:ext cx="12191999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1" name="Conector recto 10250">
            <a:extLst>
              <a:ext uri="{FF2B5EF4-FFF2-40B4-BE49-F238E27FC236}">
                <a16:creationId xmlns:a16="http://schemas.microsoft.com/office/drawing/2014/main" id="{E833E3BE-00FD-2F8F-365B-14F478CF6FEB}"/>
              </a:ext>
            </a:extLst>
          </p:cNvPr>
          <p:cNvCxnSpPr>
            <a:cxnSpLocks/>
          </p:cNvCxnSpPr>
          <p:nvPr/>
        </p:nvCxnSpPr>
        <p:spPr>
          <a:xfrm>
            <a:off x="0" y="3909219"/>
            <a:ext cx="12191999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2" name="Elipse 10251">
            <a:extLst>
              <a:ext uri="{FF2B5EF4-FFF2-40B4-BE49-F238E27FC236}">
                <a16:creationId xmlns:a16="http://schemas.microsoft.com/office/drawing/2014/main" id="{FFCB2E5E-E589-BB58-5343-996E5D7D64D1}"/>
              </a:ext>
            </a:extLst>
          </p:cNvPr>
          <p:cNvSpPr/>
          <p:nvPr/>
        </p:nvSpPr>
        <p:spPr>
          <a:xfrm>
            <a:off x="2109151" y="3489711"/>
            <a:ext cx="295910" cy="2959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53" name="Elipse 10252">
            <a:extLst>
              <a:ext uri="{FF2B5EF4-FFF2-40B4-BE49-F238E27FC236}">
                <a16:creationId xmlns:a16="http://schemas.microsoft.com/office/drawing/2014/main" id="{94F9B1D5-4B8E-2358-803E-9357B4462B1C}"/>
              </a:ext>
            </a:extLst>
          </p:cNvPr>
          <p:cNvSpPr/>
          <p:nvPr/>
        </p:nvSpPr>
        <p:spPr>
          <a:xfrm>
            <a:off x="5954394" y="3489711"/>
            <a:ext cx="295910" cy="2959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54" name="Elipse 10253">
            <a:extLst>
              <a:ext uri="{FF2B5EF4-FFF2-40B4-BE49-F238E27FC236}">
                <a16:creationId xmlns:a16="http://schemas.microsoft.com/office/drawing/2014/main" id="{5D2EB681-07E6-7B2B-EC1E-0179B5947E9F}"/>
              </a:ext>
            </a:extLst>
          </p:cNvPr>
          <p:cNvSpPr/>
          <p:nvPr/>
        </p:nvSpPr>
        <p:spPr>
          <a:xfrm>
            <a:off x="9799636" y="3489711"/>
            <a:ext cx="295910" cy="2959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0255" name="Conector recto 10254">
            <a:extLst>
              <a:ext uri="{FF2B5EF4-FFF2-40B4-BE49-F238E27FC236}">
                <a16:creationId xmlns:a16="http://schemas.microsoft.com/office/drawing/2014/main" id="{60A7F144-0EBE-7132-D377-85B0F759D95F}"/>
              </a:ext>
            </a:extLst>
          </p:cNvPr>
          <p:cNvCxnSpPr>
            <a:cxnSpLocks/>
          </p:cNvCxnSpPr>
          <p:nvPr/>
        </p:nvCxnSpPr>
        <p:spPr>
          <a:xfrm flipV="1">
            <a:off x="2257106" y="2999026"/>
            <a:ext cx="0" cy="49068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8" name="Conector recto 10257">
            <a:extLst>
              <a:ext uri="{FF2B5EF4-FFF2-40B4-BE49-F238E27FC236}">
                <a16:creationId xmlns:a16="http://schemas.microsoft.com/office/drawing/2014/main" id="{92339E19-51C2-5D9E-D60C-9ACAF1615603}"/>
              </a:ext>
            </a:extLst>
          </p:cNvPr>
          <p:cNvCxnSpPr>
            <a:cxnSpLocks/>
          </p:cNvCxnSpPr>
          <p:nvPr/>
        </p:nvCxnSpPr>
        <p:spPr>
          <a:xfrm flipV="1">
            <a:off x="6102349" y="2999026"/>
            <a:ext cx="0" cy="49068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9" name="Conector recto 10258">
            <a:extLst>
              <a:ext uri="{FF2B5EF4-FFF2-40B4-BE49-F238E27FC236}">
                <a16:creationId xmlns:a16="http://schemas.microsoft.com/office/drawing/2014/main" id="{00DAFA79-D48E-E7DC-21FD-C57CB6ECCFFB}"/>
              </a:ext>
            </a:extLst>
          </p:cNvPr>
          <p:cNvCxnSpPr>
            <a:cxnSpLocks/>
          </p:cNvCxnSpPr>
          <p:nvPr/>
        </p:nvCxnSpPr>
        <p:spPr>
          <a:xfrm flipV="1">
            <a:off x="9947591" y="2999026"/>
            <a:ext cx="0" cy="49068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460227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F96D473-9A25-FEFB-607E-3DC578822E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F96D473-9A25-FEFB-607E-3DC578822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3343338-CE28-6B8E-4BE7-DE97EDB890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B4306E7-D5F5-5AEB-FD52-7BC4FDFDE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Strategy chart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24A90CB-FDE8-F8F8-47D0-BB7671EF14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D71E56CB-2B53-F51F-7BD8-9C852BE4C9E9}"/>
              </a:ext>
            </a:extLst>
          </p:cNvPr>
          <p:cNvSpPr txBox="1"/>
          <p:nvPr/>
        </p:nvSpPr>
        <p:spPr>
          <a:xfrm>
            <a:off x="384173" y="3709621"/>
            <a:ext cx="2403464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0E47FE4C-2D31-4B94-07DB-FB268DEED1FE}"/>
              </a:ext>
            </a:extLst>
          </p:cNvPr>
          <p:cNvSpPr txBox="1"/>
          <p:nvPr/>
        </p:nvSpPr>
        <p:spPr>
          <a:xfrm>
            <a:off x="3055620" y="1869480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457513B0-C78F-2079-ACFF-C85A95DDC779}"/>
              </a:ext>
            </a:extLst>
          </p:cNvPr>
          <p:cNvSpPr txBox="1"/>
          <p:nvPr/>
        </p:nvSpPr>
        <p:spPr>
          <a:xfrm>
            <a:off x="3055620" y="3168055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0FF5C5A0-5D47-783E-3DE3-1FA4AF63D4E7}"/>
              </a:ext>
            </a:extLst>
          </p:cNvPr>
          <p:cNvSpPr txBox="1"/>
          <p:nvPr/>
        </p:nvSpPr>
        <p:spPr>
          <a:xfrm>
            <a:off x="3055620" y="4466630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FC588CFA-750E-37C6-7607-0244FDA4E77A}"/>
              </a:ext>
            </a:extLst>
          </p:cNvPr>
          <p:cNvSpPr txBox="1"/>
          <p:nvPr/>
        </p:nvSpPr>
        <p:spPr>
          <a:xfrm>
            <a:off x="3055620" y="5765205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55AD3419-EC15-45A4-9C88-E57B35FB48EA}"/>
              </a:ext>
            </a:extLst>
          </p:cNvPr>
          <p:cNvSpPr txBox="1"/>
          <p:nvPr/>
        </p:nvSpPr>
        <p:spPr>
          <a:xfrm>
            <a:off x="622582" y="5064365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B6E044DC-25DC-645B-90FB-10E4AFAE6FED}"/>
              </a:ext>
            </a:extLst>
          </p:cNvPr>
          <p:cNvSpPr/>
          <p:nvPr/>
        </p:nvSpPr>
        <p:spPr>
          <a:xfrm>
            <a:off x="371475" y="5071577"/>
            <a:ext cx="184150" cy="18415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E8B33AFA-ED68-0107-BACF-8275D0076116}"/>
              </a:ext>
            </a:extLst>
          </p:cNvPr>
          <p:cNvSpPr txBox="1"/>
          <p:nvPr/>
        </p:nvSpPr>
        <p:spPr>
          <a:xfrm>
            <a:off x="622582" y="5483465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48A83D66-B6FB-9A9D-B5E3-04611FD25BBC}"/>
              </a:ext>
            </a:extLst>
          </p:cNvPr>
          <p:cNvSpPr/>
          <p:nvPr/>
        </p:nvSpPr>
        <p:spPr>
          <a:xfrm>
            <a:off x="371475" y="5490677"/>
            <a:ext cx="184150" cy="18415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07EDA3F7-8A61-9174-EB12-C0D8761BCE0A}"/>
              </a:ext>
            </a:extLst>
          </p:cNvPr>
          <p:cNvSpPr txBox="1"/>
          <p:nvPr/>
        </p:nvSpPr>
        <p:spPr>
          <a:xfrm>
            <a:off x="622582" y="5902565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789DAF6D-7B4A-0F92-0D20-6F19147ABF62}"/>
              </a:ext>
            </a:extLst>
          </p:cNvPr>
          <p:cNvSpPr/>
          <p:nvPr/>
        </p:nvSpPr>
        <p:spPr>
          <a:xfrm>
            <a:off x="371475" y="5909777"/>
            <a:ext cx="184150" cy="18415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D5407B76-F006-CE1D-80FA-9DBE180FE573}"/>
              </a:ext>
            </a:extLst>
          </p:cNvPr>
          <p:cNvSpPr/>
          <p:nvPr/>
        </p:nvSpPr>
        <p:spPr>
          <a:xfrm>
            <a:off x="5162550" y="1790700"/>
            <a:ext cx="1190625" cy="36195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53512D4-FB9E-6FF5-AB25-3584ECAD5029}"/>
              </a:ext>
            </a:extLst>
          </p:cNvPr>
          <p:cNvSpPr/>
          <p:nvPr/>
        </p:nvSpPr>
        <p:spPr>
          <a:xfrm>
            <a:off x="6500812" y="17907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4EBE2690-DDBD-94A2-E30F-BCD7B618455B}"/>
              </a:ext>
            </a:extLst>
          </p:cNvPr>
          <p:cNvSpPr/>
          <p:nvPr/>
        </p:nvSpPr>
        <p:spPr>
          <a:xfrm>
            <a:off x="7839075" y="17907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9791D326-8330-0157-E3C7-FB3A055411F9}"/>
              </a:ext>
            </a:extLst>
          </p:cNvPr>
          <p:cNvSpPr/>
          <p:nvPr/>
        </p:nvSpPr>
        <p:spPr>
          <a:xfrm>
            <a:off x="5162550" y="3086100"/>
            <a:ext cx="1190625" cy="36195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8356E36-3F28-3CB4-79DE-5D2A5D855A4C}"/>
              </a:ext>
            </a:extLst>
          </p:cNvPr>
          <p:cNvSpPr/>
          <p:nvPr/>
        </p:nvSpPr>
        <p:spPr>
          <a:xfrm>
            <a:off x="6500812" y="30861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29373A0C-E16A-DE17-51E9-AD25AD4FE284}"/>
              </a:ext>
            </a:extLst>
          </p:cNvPr>
          <p:cNvSpPr/>
          <p:nvPr/>
        </p:nvSpPr>
        <p:spPr>
          <a:xfrm>
            <a:off x="7839075" y="30861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48B3D351-31B5-077B-E9CC-DEB53C8B8B94}"/>
              </a:ext>
            </a:extLst>
          </p:cNvPr>
          <p:cNvSpPr/>
          <p:nvPr/>
        </p:nvSpPr>
        <p:spPr>
          <a:xfrm>
            <a:off x="9177338" y="30861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AEA84156-C19C-E4C0-A809-168272A9048A}"/>
              </a:ext>
            </a:extLst>
          </p:cNvPr>
          <p:cNvSpPr/>
          <p:nvPr/>
        </p:nvSpPr>
        <p:spPr>
          <a:xfrm>
            <a:off x="5162550" y="4399955"/>
            <a:ext cx="1190625" cy="36195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1418251E-40DF-3C30-5716-57099B65F047}"/>
              </a:ext>
            </a:extLst>
          </p:cNvPr>
          <p:cNvSpPr/>
          <p:nvPr/>
        </p:nvSpPr>
        <p:spPr>
          <a:xfrm>
            <a:off x="6500812" y="4399955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8B72ED5-7515-A5CA-DF99-0054F45AC892}"/>
              </a:ext>
            </a:extLst>
          </p:cNvPr>
          <p:cNvSpPr/>
          <p:nvPr/>
        </p:nvSpPr>
        <p:spPr>
          <a:xfrm>
            <a:off x="7839075" y="4399955"/>
            <a:ext cx="1190625" cy="3619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45FBBBD4-D286-5427-99C8-715AAD2A88E0}"/>
              </a:ext>
            </a:extLst>
          </p:cNvPr>
          <p:cNvSpPr/>
          <p:nvPr/>
        </p:nvSpPr>
        <p:spPr>
          <a:xfrm>
            <a:off x="9177338" y="4399955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4F506882-C55C-D857-F023-8B19470F8947}"/>
              </a:ext>
            </a:extLst>
          </p:cNvPr>
          <p:cNvSpPr/>
          <p:nvPr/>
        </p:nvSpPr>
        <p:spPr>
          <a:xfrm>
            <a:off x="5162550" y="5675035"/>
            <a:ext cx="1190625" cy="3619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92BE20FF-242B-D0ED-0B18-4DAC1EBED077}"/>
              </a:ext>
            </a:extLst>
          </p:cNvPr>
          <p:cNvSpPr/>
          <p:nvPr/>
        </p:nvSpPr>
        <p:spPr>
          <a:xfrm>
            <a:off x="6500812" y="5675035"/>
            <a:ext cx="1190625" cy="3619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88" name="Rectángulo 12287">
            <a:extLst>
              <a:ext uri="{FF2B5EF4-FFF2-40B4-BE49-F238E27FC236}">
                <a16:creationId xmlns:a16="http://schemas.microsoft.com/office/drawing/2014/main" id="{EC7B7EB7-5208-50CF-440D-AA79FC1BFA6A}"/>
              </a:ext>
            </a:extLst>
          </p:cNvPr>
          <p:cNvSpPr/>
          <p:nvPr/>
        </p:nvSpPr>
        <p:spPr>
          <a:xfrm>
            <a:off x="7839075" y="5675035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2291" name="Conector: angular 12290">
            <a:extLst>
              <a:ext uri="{FF2B5EF4-FFF2-40B4-BE49-F238E27FC236}">
                <a16:creationId xmlns:a16="http://schemas.microsoft.com/office/drawing/2014/main" id="{B9B1E42E-34E3-7B05-E7DE-E1EEC6690007}"/>
              </a:ext>
            </a:extLst>
          </p:cNvPr>
          <p:cNvCxnSpPr>
            <a:cxnSpLocks/>
            <a:stCxn id="7" idx="1"/>
            <a:endCxn id="5" idx="0"/>
          </p:cNvCxnSpPr>
          <p:nvPr/>
        </p:nvCxnSpPr>
        <p:spPr>
          <a:xfrm rot="10800000" flipV="1">
            <a:off x="1585906" y="1977201"/>
            <a:ext cx="1469715" cy="1732419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3" name="Conector: angular 12292">
            <a:extLst>
              <a:ext uri="{FF2B5EF4-FFF2-40B4-BE49-F238E27FC236}">
                <a16:creationId xmlns:a16="http://schemas.microsoft.com/office/drawing/2014/main" id="{16B0BFAF-2D43-E44F-2C70-1D6EAC40D1B2}"/>
              </a:ext>
            </a:extLst>
          </p:cNvPr>
          <p:cNvCxnSpPr>
            <a:cxnSpLocks/>
            <a:stCxn id="8" idx="1"/>
            <a:endCxn id="5" idx="0"/>
          </p:cNvCxnSpPr>
          <p:nvPr/>
        </p:nvCxnSpPr>
        <p:spPr>
          <a:xfrm rot="10800000" flipV="1">
            <a:off x="1585906" y="3275777"/>
            <a:ext cx="1469715" cy="433844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6" name="Conector: angular 12295">
            <a:extLst>
              <a:ext uri="{FF2B5EF4-FFF2-40B4-BE49-F238E27FC236}">
                <a16:creationId xmlns:a16="http://schemas.microsoft.com/office/drawing/2014/main" id="{CCC31EA3-2AF4-D13F-D491-F356B8C8FED3}"/>
              </a:ext>
            </a:extLst>
          </p:cNvPr>
          <p:cNvCxnSpPr>
            <a:cxnSpLocks/>
            <a:stCxn id="9" idx="1"/>
            <a:endCxn id="5" idx="2"/>
          </p:cNvCxnSpPr>
          <p:nvPr/>
        </p:nvCxnSpPr>
        <p:spPr>
          <a:xfrm rot="10800000">
            <a:off x="1585906" y="4140508"/>
            <a:ext cx="1469715" cy="433844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9" name="Conector: angular 12298">
            <a:extLst>
              <a:ext uri="{FF2B5EF4-FFF2-40B4-BE49-F238E27FC236}">
                <a16:creationId xmlns:a16="http://schemas.microsoft.com/office/drawing/2014/main" id="{854F3224-2E44-1330-F0AB-46741D220272}"/>
              </a:ext>
            </a:extLst>
          </p:cNvPr>
          <p:cNvCxnSpPr>
            <a:cxnSpLocks/>
            <a:stCxn id="10" idx="1"/>
            <a:endCxn id="5" idx="2"/>
          </p:cNvCxnSpPr>
          <p:nvPr/>
        </p:nvCxnSpPr>
        <p:spPr>
          <a:xfrm rot="10800000">
            <a:off x="1585906" y="4140509"/>
            <a:ext cx="1469715" cy="1732419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5033165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DB7F9BF-7BEF-9E05-7C28-4654DB5FC3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DB7F9BF-7BEF-9E05-7C28-4654DB5FC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84D74A9-4D8C-2D82-2A62-6796863512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67E43DA-4B94-A5BF-BE60-668159B97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Decision tre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1DFD195-31C8-FA51-AC00-AC73F73838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899B7EB0-4B86-DBED-99C3-3A67234059CD}"/>
              </a:ext>
            </a:extLst>
          </p:cNvPr>
          <p:cNvSpPr txBox="1"/>
          <p:nvPr/>
        </p:nvSpPr>
        <p:spPr>
          <a:xfrm>
            <a:off x="3566161" y="1520826"/>
            <a:ext cx="508254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3058054B-3ABE-A6BD-E479-E23F6E6C8B00}"/>
              </a:ext>
            </a:extLst>
          </p:cNvPr>
          <p:cNvSpPr txBox="1"/>
          <p:nvPr/>
        </p:nvSpPr>
        <p:spPr>
          <a:xfrm>
            <a:off x="3566161" y="2080260"/>
            <a:ext cx="5082540" cy="27196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154F72FC-54F4-A1F8-7A61-BDB53E3D8868}"/>
              </a:ext>
            </a:extLst>
          </p:cNvPr>
          <p:cNvSpPr txBox="1"/>
          <p:nvPr/>
        </p:nvSpPr>
        <p:spPr>
          <a:xfrm>
            <a:off x="3566161" y="2545221"/>
            <a:ext cx="5082540" cy="271961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5286C3E7-029E-513C-07DD-979E0B1D1783}"/>
              </a:ext>
            </a:extLst>
          </p:cNvPr>
          <p:cNvSpPr txBox="1"/>
          <p:nvPr/>
        </p:nvSpPr>
        <p:spPr>
          <a:xfrm>
            <a:off x="3566161" y="3010182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394F810F-4F5A-D74C-35DF-5C214DDF0095}"/>
              </a:ext>
            </a:extLst>
          </p:cNvPr>
          <p:cNvSpPr txBox="1"/>
          <p:nvPr/>
        </p:nvSpPr>
        <p:spPr>
          <a:xfrm>
            <a:off x="6416042" y="3010182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7079C1E4-8492-0E4C-E584-AEB8EB24219C}"/>
              </a:ext>
            </a:extLst>
          </p:cNvPr>
          <p:cNvSpPr txBox="1"/>
          <p:nvPr/>
        </p:nvSpPr>
        <p:spPr>
          <a:xfrm>
            <a:off x="384175" y="3475143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CE379714-A341-320C-0CF0-88ADE6132064}"/>
              </a:ext>
            </a:extLst>
          </p:cNvPr>
          <p:cNvSpPr txBox="1"/>
          <p:nvPr/>
        </p:nvSpPr>
        <p:spPr>
          <a:xfrm>
            <a:off x="384175" y="3940104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82BA5A1-902B-B92B-F179-06249B325BEB}"/>
              </a:ext>
            </a:extLst>
          </p:cNvPr>
          <p:cNvSpPr txBox="1"/>
          <p:nvPr/>
        </p:nvSpPr>
        <p:spPr>
          <a:xfrm>
            <a:off x="3566161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01813CC1-0350-B9D0-AF15-A62B1A8F99A8}"/>
              </a:ext>
            </a:extLst>
          </p:cNvPr>
          <p:cNvSpPr txBox="1"/>
          <p:nvPr/>
        </p:nvSpPr>
        <p:spPr>
          <a:xfrm>
            <a:off x="998221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EACD3619-BAFB-17CF-71D3-2E3206DAF18E}"/>
              </a:ext>
            </a:extLst>
          </p:cNvPr>
          <p:cNvSpPr txBox="1"/>
          <p:nvPr/>
        </p:nvSpPr>
        <p:spPr>
          <a:xfrm>
            <a:off x="384175" y="4870026"/>
            <a:ext cx="3860165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50B28A6A-5533-59FC-4F07-8FE30815DD09}"/>
              </a:ext>
            </a:extLst>
          </p:cNvPr>
          <p:cNvSpPr txBox="1"/>
          <p:nvPr/>
        </p:nvSpPr>
        <p:spPr>
          <a:xfrm>
            <a:off x="384175" y="5334985"/>
            <a:ext cx="1840865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D865C551-4DCC-169E-68E2-0B601B519E9C}"/>
              </a:ext>
            </a:extLst>
          </p:cNvPr>
          <p:cNvSpPr txBox="1"/>
          <p:nvPr/>
        </p:nvSpPr>
        <p:spPr>
          <a:xfrm>
            <a:off x="2403475" y="5334985"/>
            <a:ext cx="1840865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6C502800-C735-0177-C86F-F7311A2062C1}"/>
              </a:ext>
            </a:extLst>
          </p:cNvPr>
          <p:cNvSpPr txBox="1"/>
          <p:nvPr/>
        </p:nvSpPr>
        <p:spPr>
          <a:xfrm>
            <a:off x="6405879" y="3475143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0FA1C664-BA31-E902-3AA2-9FAEE77E9B9E}"/>
              </a:ext>
            </a:extLst>
          </p:cNvPr>
          <p:cNvSpPr txBox="1"/>
          <p:nvPr/>
        </p:nvSpPr>
        <p:spPr>
          <a:xfrm>
            <a:off x="8973819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4F8EE1EF-8BCE-EE01-39F6-A2E2F3A44329}"/>
              </a:ext>
            </a:extLst>
          </p:cNvPr>
          <p:cNvSpPr txBox="1"/>
          <p:nvPr/>
        </p:nvSpPr>
        <p:spPr>
          <a:xfrm>
            <a:off x="6405879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87860F9D-C154-D4E5-D652-6164AB8CBB0F}"/>
              </a:ext>
            </a:extLst>
          </p:cNvPr>
          <p:cNvSpPr txBox="1"/>
          <p:nvPr/>
        </p:nvSpPr>
        <p:spPr>
          <a:xfrm>
            <a:off x="6405879" y="3940104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EE2F6BFD-A060-2F4C-3570-85CFCE8D33DA}"/>
              </a:ext>
            </a:extLst>
          </p:cNvPr>
          <p:cNvSpPr/>
          <p:nvPr/>
        </p:nvSpPr>
        <p:spPr>
          <a:xfrm>
            <a:off x="384175" y="5863119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1BEB1802-DC05-4389-915E-14D02A12FB0E}"/>
              </a:ext>
            </a:extLst>
          </p:cNvPr>
          <p:cNvSpPr txBox="1"/>
          <p:nvPr/>
        </p:nvSpPr>
        <p:spPr>
          <a:xfrm>
            <a:off x="692944" y="5863119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54A45135-CD52-F11E-98B8-FA791DEE9BE6}"/>
              </a:ext>
            </a:extLst>
          </p:cNvPr>
          <p:cNvSpPr/>
          <p:nvPr/>
        </p:nvSpPr>
        <p:spPr>
          <a:xfrm>
            <a:off x="2403475" y="5863119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28672" name="TextBox 24">
            <a:extLst>
              <a:ext uri="{FF2B5EF4-FFF2-40B4-BE49-F238E27FC236}">
                <a16:creationId xmlns:a16="http://schemas.microsoft.com/office/drawing/2014/main" id="{624D40FF-1795-9306-576A-C3C4A5D80747}"/>
              </a:ext>
            </a:extLst>
          </p:cNvPr>
          <p:cNvSpPr txBox="1"/>
          <p:nvPr/>
        </p:nvSpPr>
        <p:spPr>
          <a:xfrm>
            <a:off x="2712244" y="5863119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8673" name="Elipse 28672">
            <a:extLst>
              <a:ext uri="{FF2B5EF4-FFF2-40B4-BE49-F238E27FC236}">
                <a16:creationId xmlns:a16="http://schemas.microsoft.com/office/drawing/2014/main" id="{FDD7C9C5-66A9-67B1-DF8A-15FF8A9FEE97}"/>
              </a:ext>
            </a:extLst>
          </p:cNvPr>
          <p:cNvSpPr/>
          <p:nvPr/>
        </p:nvSpPr>
        <p:spPr>
          <a:xfrm>
            <a:off x="4432301" y="5863119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28675" name="TextBox 24">
            <a:extLst>
              <a:ext uri="{FF2B5EF4-FFF2-40B4-BE49-F238E27FC236}">
                <a16:creationId xmlns:a16="http://schemas.microsoft.com/office/drawing/2014/main" id="{3996BC72-1777-016E-D9DE-9E7DD56EA1BD}"/>
              </a:ext>
            </a:extLst>
          </p:cNvPr>
          <p:cNvSpPr txBox="1"/>
          <p:nvPr/>
        </p:nvSpPr>
        <p:spPr>
          <a:xfrm>
            <a:off x="4741070" y="5863119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8676" name="Elipse 28675">
            <a:extLst>
              <a:ext uri="{FF2B5EF4-FFF2-40B4-BE49-F238E27FC236}">
                <a16:creationId xmlns:a16="http://schemas.microsoft.com/office/drawing/2014/main" id="{F5F0FCF8-7B6D-4AA7-7736-AD27437D0786}"/>
              </a:ext>
            </a:extLst>
          </p:cNvPr>
          <p:cNvSpPr/>
          <p:nvPr/>
        </p:nvSpPr>
        <p:spPr>
          <a:xfrm>
            <a:off x="6405879" y="4879234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28677" name="TextBox 24">
            <a:extLst>
              <a:ext uri="{FF2B5EF4-FFF2-40B4-BE49-F238E27FC236}">
                <a16:creationId xmlns:a16="http://schemas.microsoft.com/office/drawing/2014/main" id="{3F8B78F9-436E-CB27-C501-CCF4430E1035}"/>
              </a:ext>
            </a:extLst>
          </p:cNvPr>
          <p:cNvSpPr txBox="1"/>
          <p:nvPr/>
        </p:nvSpPr>
        <p:spPr>
          <a:xfrm>
            <a:off x="6714648" y="4879234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8679" name="Conector recto de flecha 28678">
            <a:extLst>
              <a:ext uri="{FF2B5EF4-FFF2-40B4-BE49-F238E27FC236}">
                <a16:creationId xmlns:a16="http://schemas.microsoft.com/office/drawing/2014/main" id="{3ECCDE44-D266-632A-C118-CFD559D44DCF}"/>
              </a:ext>
            </a:extLst>
          </p:cNvPr>
          <p:cNvCxnSpPr>
            <a:cxnSpLocks/>
          </p:cNvCxnSpPr>
          <p:nvPr/>
        </p:nvCxnSpPr>
        <p:spPr>
          <a:xfrm>
            <a:off x="6107431" y="1736270"/>
            <a:ext cx="0" cy="34399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82" name="Conector recto de flecha 28681">
            <a:extLst>
              <a:ext uri="{FF2B5EF4-FFF2-40B4-BE49-F238E27FC236}">
                <a16:creationId xmlns:a16="http://schemas.microsoft.com/office/drawing/2014/main" id="{128A05DD-0895-E17F-55C2-283A9FAD669A}"/>
              </a:ext>
            </a:extLst>
          </p:cNvPr>
          <p:cNvCxnSpPr>
            <a:cxnSpLocks/>
          </p:cNvCxnSpPr>
          <p:nvPr/>
        </p:nvCxnSpPr>
        <p:spPr>
          <a:xfrm>
            <a:off x="4682490" y="2817182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85" name="Conector recto de flecha 28684">
            <a:extLst>
              <a:ext uri="{FF2B5EF4-FFF2-40B4-BE49-F238E27FC236}">
                <a16:creationId xmlns:a16="http://schemas.microsoft.com/office/drawing/2014/main" id="{60BBDF4D-819C-DBE1-D0EB-2739944D3672}"/>
              </a:ext>
            </a:extLst>
          </p:cNvPr>
          <p:cNvCxnSpPr>
            <a:cxnSpLocks/>
          </p:cNvCxnSpPr>
          <p:nvPr/>
        </p:nvCxnSpPr>
        <p:spPr>
          <a:xfrm>
            <a:off x="7532371" y="2817182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89" name="Conector recto de flecha 28688">
            <a:extLst>
              <a:ext uri="{FF2B5EF4-FFF2-40B4-BE49-F238E27FC236}">
                <a16:creationId xmlns:a16="http://schemas.microsoft.com/office/drawing/2014/main" id="{E2F38AF6-A986-5659-0F9A-0BC5779DF920}"/>
              </a:ext>
            </a:extLst>
          </p:cNvPr>
          <p:cNvCxnSpPr>
            <a:cxnSpLocks/>
          </p:cNvCxnSpPr>
          <p:nvPr/>
        </p:nvCxnSpPr>
        <p:spPr>
          <a:xfrm>
            <a:off x="4682490" y="3282143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0" name="Conector recto de flecha 28689">
            <a:extLst>
              <a:ext uri="{FF2B5EF4-FFF2-40B4-BE49-F238E27FC236}">
                <a16:creationId xmlns:a16="http://schemas.microsoft.com/office/drawing/2014/main" id="{F24BB76D-6ACC-BAF8-52C8-A062A5707EF9}"/>
              </a:ext>
            </a:extLst>
          </p:cNvPr>
          <p:cNvCxnSpPr>
            <a:cxnSpLocks/>
          </p:cNvCxnSpPr>
          <p:nvPr/>
        </p:nvCxnSpPr>
        <p:spPr>
          <a:xfrm>
            <a:off x="7532371" y="3282143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1" name="Conector recto de flecha 28690">
            <a:extLst>
              <a:ext uri="{FF2B5EF4-FFF2-40B4-BE49-F238E27FC236}">
                <a16:creationId xmlns:a16="http://schemas.microsoft.com/office/drawing/2014/main" id="{1E902F14-6680-B1B1-BC95-3B3E1FFB457A}"/>
              </a:ext>
            </a:extLst>
          </p:cNvPr>
          <p:cNvCxnSpPr>
            <a:cxnSpLocks/>
          </p:cNvCxnSpPr>
          <p:nvPr/>
        </p:nvCxnSpPr>
        <p:spPr>
          <a:xfrm>
            <a:off x="4682490" y="3750300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2" name="Conector recto de flecha 28691">
            <a:extLst>
              <a:ext uri="{FF2B5EF4-FFF2-40B4-BE49-F238E27FC236}">
                <a16:creationId xmlns:a16="http://schemas.microsoft.com/office/drawing/2014/main" id="{3FFC9296-63D2-DB4D-70CA-CE469520EC5A}"/>
              </a:ext>
            </a:extLst>
          </p:cNvPr>
          <p:cNvCxnSpPr>
            <a:cxnSpLocks/>
          </p:cNvCxnSpPr>
          <p:nvPr/>
        </p:nvCxnSpPr>
        <p:spPr>
          <a:xfrm>
            <a:off x="7532371" y="3750300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3" name="Conector recto de flecha 28692">
            <a:extLst>
              <a:ext uri="{FF2B5EF4-FFF2-40B4-BE49-F238E27FC236}">
                <a16:creationId xmlns:a16="http://schemas.microsoft.com/office/drawing/2014/main" id="{3B8D51F7-EBAC-7A52-F5E5-351D0B3FDF07}"/>
              </a:ext>
            </a:extLst>
          </p:cNvPr>
          <p:cNvCxnSpPr>
            <a:cxnSpLocks/>
          </p:cNvCxnSpPr>
          <p:nvPr/>
        </p:nvCxnSpPr>
        <p:spPr>
          <a:xfrm>
            <a:off x="4682490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4" name="Conector recto de flecha 28693">
            <a:extLst>
              <a:ext uri="{FF2B5EF4-FFF2-40B4-BE49-F238E27FC236}">
                <a16:creationId xmlns:a16="http://schemas.microsoft.com/office/drawing/2014/main" id="{FF168087-FEFD-459B-4D4D-A8322D56DA1B}"/>
              </a:ext>
            </a:extLst>
          </p:cNvPr>
          <p:cNvCxnSpPr>
            <a:cxnSpLocks/>
          </p:cNvCxnSpPr>
          <p:nvPr/>
        </p:nvCxnSpPr>
        <p:spPr>
          <a:xfrm>
            <a:off x="7532371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5" name="Conector recto de flecha 28694">
            <a:extLst>
              <a:ext uri="{FF2B5EF4-FFF2-40B4-BE49-F238E27FC236}">
                <a16:creationId xmlns:a16="http://schemas.microsoft.com/office/drawing/2014/main" id="{B1E8EA4E-9EB1-D509-085D-3C4905C14565}"/>
              </a:ext>
            </a:extLst>
          </p:cNvPr>
          <p:cNvCxnSpPr>
            <a:cxnSpLocks/>
          </p:cNvCxnSpPr>
          <p:nvPr/>
        </p:nvCxnSpPr>
        <p:spPr>
          <a:xfrm>
            <a:off x="4885690" y="4677026"/>
            <a:ext cx="0" cy="1186093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6" name="Conector recto de flecha 28695">
            <a:extLst>
              <a:ext uri="{FF2B5EF4-FFF2-40B4-BE49-F238E27FC236}">
                <a16:creationId xmlns:a16="http://schemas.microsoft.com/office/drawing/2014/main" id="{BE01298A-07D7-8754-B4CC-858834BCE287}"/>
              </a:ext>
            </a:extLst>
          </p:cNvPr>
          <p:cNvCxnSpPr>
            <a:cxnSpLocks/>
          </p:cNvCxnSpPr>
          <p:nvPr/>
        </p:nvCxnSpPr>
        <p:spPr>
          <a:xfrm>
            <a:off x="7532371" y="4677026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8" name="Conector recto de flecha 28697">
            <a:extLst>
              <a:ext uri="{FF2B5EF4-FFF2-40B4-BE49-F238E27FC236}">
                <a16:creationId xmlns:a16="http://schemas.microsoft.com/office/drawing/2014/main" id="{B78499A5-FA16-AEF8-C5DC-D3569F723915}"/>
              </a:ext>
            </a:extLst>
          </p:cNvPr>
          <p:cNvCxnSpPr>
            <a:cxnSpLocks/>
          </p:cNvCxnSpPr>
          <p:nvPr/>
        </p:nvCxnSpPr>
        <p:spPr>
          <a:xfrm>
            <a:off x="2114550" y="4677026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9" name="Conector recto de flecha 28698">
            <a:extLst>
              <a:ext uri="{FF2B5EF4-FFF2-40B4-BE49-F238E27FC236}">
                <a16:creationId xmlns:a16="http://schemas.microsoft.com/office/drawing/2014/main" id="{8E1C69C6-B3A3-991B-7C19-AB525CE5A34F}"/>
              </a:ext>
            </a:extLst>
          </p:cNvPr>
          <p:cNvCxnSpPr>
            <a:cxnSpLocks/>
          </p:cNvCxnSpPr>
          <p:nvPr/>
        </p:nvCxnSpPr>
        <p:spPr>
          <a:xfrm>
            <a:off x="1304607" y="5141987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0" name="Conector recto de flecha 28699">
            <a:extLst>
              <a:ext uri="{FF2B5EF4-FFF2-40B4-BE49-F238E27FC236}">
                <a16:creationId xmlns:a16="http://schemas.microsoft.com/office/drawing/2014/main" id="{023D14E9-0077-A5F4-6C6F-CCF3A6EBF33B}"/>
              </a:ext>
            </a:extLst>
          </p:cNvPr>
          <p:cNvCxnSpPr>
            <a:cxnSpLocks/>
          </p:cNvCxnSpPr>
          <p:nvPr/>
        </p:nvCxnSpPr>
        <p:spPr>
          <a:xfrm>
            <a:off x="1304607" y="5606946"/>
            <a:ext cx="0" cy="256173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2" name="Conector recto de flecha 28701">
            <a:extLst>
              <a:ext uri="{FF2B5EF4-FFF2-40B4-BE49-F238E27FC236}">
                <a16:creationId xmlns:a16="http://schemas.microsoft.com/office/drawing/2014/main" id="{8E6759D5-306E-9AEE-9933-790A4C700114}"/>
              </a:ext>
            </a:extLst>
          </p:cNvPr>
          <p:cNvCxnSpPr>
            <a:cxnSpLocks/>
          </p:cNvCxnSpPr>
          <p:nvPr/>
        </p:nvCxnSpPr>
        <p:spPr>
          <a:xfrm>
            <a:off x="3323907" y="5141987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3" name="Conector recto de flecha 28702">
            <a:extLst>
              <a:ext uri="{FF2B5EF4-FFF2-40B4-BE49-F238E27FC236}">
                <a16:creationId xmlns:a16="http://schemas.microsoft.com/office/drawing/2014/main" id="{EB7321E9-A783-C854-17B6-983BA0C54A53}"/>
              </a:ext>
            </a:extLst>
          </p:cNvPr>
          <p:cNvCxnSpPr>
            <a:cxnSpLocks/>
          </p:cNvCxnSpPr>
          <p:nvPr/>
        </p:nvCxnSpPr>
        <p:spPr>
          <a:xfrm>
            <a:off x="3323907" y="5606946"/>
            <a:ext cx="0" cy="256173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4" name="Conector recto de flecha 28703">
            <a:extLst>
              <a:ext uri="{FF2B5EF4-FFF2-40B4-BE49-F238E27FC236}">
                <a16:creationId xmlns:a16="http://schemas.microsoft.com/office/drawing/2014/main" id="{845813D7-F086-F6F3-7C45-C629B5D9498D}"/>
              </a:ext>
            </a:extLst>
          </p:cNvPr>
          <p:cNvCxnSpPr>
            <a:cxnSpLocks/>
          </p:cNvCxnSpPr>
          <p:nvPr/>
        </p:nvCxnSpPr>
        <p:spPr>
          <a:xfrm>
            <a:off x="10090148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5" name="Conector recto de flecha 28704">
            <a:extLst>
              <a:ext uri="{FF2B5EF4-FFF2-40B4-BE49-F238E27FC236}">
                <a16:creationId xmlns:a16="http://schemas.microsoft.com/office/drawing/2014/main" id="{043F6601-5B34-21CE-B524-6772352A17F9}"/>
              </a:ext>
            </a:extLst>
          </p:cNvPr>
          <p:cNvCxnSpPr>
            <a:cxnSpLocks/>
          </p:cNvCxnSpPr>
          <p:nvPr/>
        </p:nvCxnSpPr>
        <p:spPr>
          <a:xfrm>
            <a:off x="10090148" y="4677026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706" name="Elipse 28705">
            <a:extLst>
              <a:ext uri="{FF2B5EF4-FFF2-40B4-BE49-F238E27FC236}">
                <a16:creationId xmlns:a16="http://schemas.microsoft.com/office/drawing/2014/main" id="{88897D16-13B0-E502-ECE8-9F6A76F3E2A8}"/>
              </a:ext>
            </a:extLst>
          </p:cNvPr>
          <p:cNvSpPr/>
          <p:nvPr/>
        </p:nvSpPr>
        <p:spPr>
          <a:xfrm>
            <a:off x="8973819" y="4879234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  <p:sp>
        <p:nvSpPr>
          <p:cNvPr id="28707" name="TextBox 24">
            <a:extLst>
              <a:ext uri="{FF2B5EF4-FFF2-40B4-BE49-F238E27FC236}">
                <a16:creationId xmlns:a16="http://schemas.microsoft.com/office/drawing/2014/main" id="{5FD77337-AB2E-51EA-55BB-F439E14F6AC9}"/>
              </a:ext>
            </a:extLst>
          </p:cNvPr>
          <p:cNvSpPr txBox="1"/>
          <p:nvPr/>
        </p:nvSpPr>
        <p:spPr>
          <a:xfrm>
            <a:off x="9282588" y="4879234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8708" name="Conector recto de flecha 28707">
            <a:extLst>
              <a:ext uri="{FF2B5EF4-FFF2-40B4-BE49-F238E27FC236}">
                <a16:creationId xmlns:a16="http://schemas.microsoft.com/office/drawing/2014/main" id="{79F99A7F-9B33-A728-CB00-49519ADCF96F}"/>
              </a:ext>
            </a:extLst>
          </p:cNvPr>
          <p:cNvCxnSpPr>
            <a:cxnSpLocks/>
          </p:cNvCxnSpPr>
          <p:nvPr/>
        </p:nvCxnSpPr>
        <p:spPr>
          <a:xfrm>
            <a:off x="6107431" y="2352221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12" name="Conector recto de flecha 28711">
            <a:extLst>
              <a:ext uri="{FF2B5EF4-FFF2-40B4-BE49-F238E27FC236}">
                <a16:creationId xmlns:a16="http://schemas.microsoft.com/office/drawing/2014/main" id="{8D6BEECA-A706-DBA2-100B-6A95DF1CA53D}"/>
              </a:ext>
            </a:extLst>
          </p:cNvPr>
          <p:cNvCxnSpPr>
            <a:cxnSpLocks/>
          </p:cNvCxnSpPr>
          <p:nvPr/>
        </p:nvCxnSpPr>
        <p:spPr>
          <a:xfrm>
            <a:off x="2114550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079668420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8E4D32F-C706-3ADD-B846-72807B1E4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5220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8E4D32F-C706-3ADD-B846-72807B1E4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833178DC-BADA-D8A8-A582-E3F09C59149B}"/>
              </a:ext>
            </a:extLst>
          </p:cNvPr>
          <p:cNvSpPr txBox="1">
            <a:spLocks/>
          </p:cNvSpPr>
          <p:nvPr/>
        </p:nvSpPr>
        <p:spPr>
          <a:xfrm>
            <a:off x="4972049" y="1520825"/>
            <a:ext cx="2268000" cy="4776972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7A0C2F0B-61A4-9DFA-1A7A-EE05E09879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" name="Flowchart: Action">
            <a:extLst>
              <a:ext uri="{FF2B5EF4-FFF2-40B4-BE49-F238E27FC236}">
                <a16:creationId xmlns:a16="http://schemas.microsoft.com/office/drawing/2014/main" id="{E67AC28B-4181-379B-BBA5-FFE75C5ED83D}"/>
              </a:ext>
            </a:extLst>
          </p:cNvPr>
          <p:cNvSpPr/>
          <p:nvPr/>
        </p:nvSpPr>
        <p:spPr>
          <a:xfrm>
            <a:off x="1637910" y="1509907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1" name="Flowchart: Action">
            <a:extLst>
              <a:ext uri="{FF2B5EF4-FFF2-40B4-BE49-F238E27FC236}">
                <a16:creationId xmlns:a16="http://schemas.microsoft.com/office/drawing/2014/main" id="{91A386D8-F2C0-FC1F-AA68-B65EE808A7CE}"/>
              </a:ext>
            </a:extLst>
          </p:cNvPr>
          <p:cNvSpPr/>
          <p:nvPr/>
        </p:nvSpPr>
        <p:spPr>
          <a:xfrm>
            <a:off x="1637910" y="2403982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2" name="Flowchart: Action">
            <a:extLst>
              <a:ext uri="{FF2B5EF4-FFF2-40B4-BE49-F238E27FC236}">
                <a16:creationId xmlns:a16="http://schemas.microsoft.com/office/drawing/2014/main" id="{63243E41-FBE9-E197-CC5D-99A15819922A}"/>
              </a:ext>
            </a:extLst>
          </p:cNvPr>
          <p:cNvSpPr/>
          <p:nvPr/>
        </p:nvSpPr>
        <p:spPr>
          <a:xfrm>
            <a:off x="1637910" y="3298057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3" name="Flowchart: Action">
            <a:extLst>
              <a:ext uri="{FF2B5EF4-FFF2-40B4-BE49-F238E27FC236}">
                <a16:creationId xmlns:a16="http://schemas.microsoft.com/office/drawing/2014/main" id="{BE2EFD47-D12B-D7C4-4372-D59A6F7FB8AE}"/>
              </a:ext>
            </a:extLst>
          </p:cNvPr>
          <p:cNvSpPr/>
          <p:nvPr/>
        </p:nvSpPr>
        <p:spPr>
          <a:xfrm>
            <a:off x="9077065" y="2369917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4" name="Flowchart: Action">
            <a:extLst>
              <a:ext uri="{FF2B5EF4-FFF2-40B4-BE49-F238E27FC236}">
                <a16:creationId xmlns:a16="http://schemas.microsoft.com/office/drawing/2014/main" id="{64A9F5F5-6787-0677-DDF8-E63A2AE2FEAC}"/>
              </a:ext>
            </a:extLst>
          </p:cNvPr>
          <p:cNvSpPr/>
          <p:nvPr/>
        </p:nvSpPr>
        <p:spPr>
          <a:xfrm>
            <a:off x="9077065" y="3202819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5" name="Flowchart: Action">
            <a:extLst>
              <a:ext uri="{FF2B5EF4-FFF2-40B4-BE49-F238E27FC236}">
                <a16:creationId xmlns:a16="http://schemas.microsoft.com/office/drawing/2014/main" id="{550037BA-AB9D-EF1D-ED57-498B52B055CE}"/>
              </a:ext>
            </a:extLst>
          </p:cNvPr>
          <p:cNvSpPr/>
          <p:nvPr/>
        </p:nvSpPr>
        <p:spPr>
          <a:xfrm>
            <a:off x="5363541" y="1929070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6" name="Flowchart: Action">
            <a:extLst>
              <a:ext uri="{FF2B5EF4-FFF2-40B4-BE49-F238E27FC236}">
                <a16:creationId xmlns:a16="http://schemas.microsoft.com/office/drawing/2014/main" id="{24F416FB-88F5-CC28-CC2A-D916D77D6FCB}"/>
              </a:ext>
            </a:extLst>
          </p:cNvPr>
          <p:cNvSpPr/>
          <p:nvPr/>
        </p:nvSpPr>
        <p:spPr>
          <a:xfrm>
            <a:off x="5363541" y="3522311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7" name="Flowchart: Action">
            <a:extLst>
              <a:ext uri="{FF2B5EF4-FFF2-40B4-BE49-F238E27FC236}">
                <a16:creationId xmlns:a16="http://schemas.microsoft.com/office/drawing/2014/main" id="{71911C06-7840-7C22-041E-C0B3E6205520}"/>
              </a:ext>
            </a:extLst>
          </p:cNvPr>
          <p:cNvSpPr/>
          <p:nvPr/>
        </p:nvSpPr>
        <p:spPr>
          <a:xfrm>
            <a:off x="5363541" y="5115552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8" name="Flowchart: Action">
            <a:extLst>
              <a:ext uri="{FF2B5EF4-FFF2-40B4-BE49-F238E27FC236}">
                <a16:creationId xmlns:a16="http://schemas.microsoft.com/office/drawing/2014/main" id="{D0A8B34B-B4CA-8F81-4AC1-16C1683B126A}"/>
              </a:ext>
            </a:extLst>
          </p:cNvPr>
          <p:cNvSpPr/>
          <p:nvPr/>
        </p:nvSpPr>
        <p:spPr>
          <a:xfrm>
            <a:off x="9085599" y="4035721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9" name="Flowchart: Action">
            <a:extLst>
              <a:ext uri="{FF2B5EF4-FFF2-40B4-BE49-F238E27FC236}">
                <a16:creationId xmlns:a16="http://schemas.microsoft.com/office/drawing/2014/main" id="{2A47D00E-9C02-56CA-F860-92C9627CEDD6}"/>
              </a:ext>
            </a:extLst>
          </p:cNvPr>
          <p:cNvSpPr/>
          <p:nvPr/>
        </p:nvSpPr>
        <p:spPr>
          <a:xfrm>
            <a:off x="9085599" y="4868623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0" name="Flowchart: Action">
            <a:extLst>
              <a:ext uri="{FF2B5EF4-FFF2-40B4-BE49-F238E27FC236}">
                <a16:creationId xmlns:a16="http://schemas.microsoft.com/office/drawing/2014/main" id="{CF88E659-34EC-000D-F878-6BB655A4F071}"/>
              </a:ext>
            </a:extLst>
          </p:cNvPr>
          <p:cNvSpPr/>
          <p:nvPr/>
        </p:nvSpPr>
        <p:spPr>
          <a:xfrm>
            <a:off x="9085599" y="5701527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1" name="Flowchart: Action">
            <a:extLst>
              <a:ext uri="{FF2B5EF4-FFF2-40B4-BE49-F238E27FC236}">
                <a16:creationId xmlns:a16="http://schemas.microsoft.com/office/drawing/2014/main" id="{E5E9192B-4F01-D9F9-8E14-2CF3D0C843C8}"/>
              </a:ext>
            </a:extLst>
          </p:cNvPr>
          <p:cNvSpPr/>
          <p:nvPr/>
        </p:nvSpPr>
        <p:spPr>
          <a:xfrm>
            <a:off x="1637910" y="4813561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2" name="Flowchart: Action">
            <a:extLst>
              <a:ext uri="{FF2B5EF4-FFF2-40B4-BE49-F238E27FC236}">
                <a16:creationId xmlns:a16="http://schemas.microsoft.com/office/drawing/2014/main" id="{173F44C2-9BFE-52CD-DDA5-234B8705E1E9}"/>
              </a:ext>
            </a:extLst>
          </p:cNvPr>
          <p:cNvSpPr/>
          <p:nvPr/>
        </p:nvSpPr>
        <p:spPr>
          <a:xfrm>
            <a:off x="1637910" y="5707636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cxnSp>
        <p:nvCxnSpPr>
          <p:cNvPr id="23" name="Flowchart: Flow Line">
            <a:extLst>
              <a:ext uri="{FF2B5EF4-FFF2-40B4-BE49-F238E27FC236}">
                <a16:creationId xmlns:a16="http://schemas.microsoft.com/office/drawing/2014/main" id="{ECBBDF05-3516-65BE-5764-62F2030B7088}"/>
              </a:ext>
            </a:extLst>
          </p:cNvPr>
          <p:cNvCxnSpPr>
            <a:cxnSpLocks/>
            <a:stCxn id="28" idx="2"/>
            <a:endCxn id="10" idx="3"/>
          </p:cNvCxnSpPr>
          <p:nvPr/>
        </p:nvCxnSpPr>
        <p:spPr>
          <a:xfrm rot="10800000">
            <a:off x="3125452" y="1808043"/>
            <a:ext cx="1627177" cy="41916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Flowchart: Flow Line">
            <a:extLst>
              <a:ext uri="{FF2B5EF4-FFF2-40B4-BE49-F238E27FC236}">
                <a16:creationId xmlns:a16="http://schemas.microsoft.com/office/drawing/2014/main" id="{6DA2662C-451C-1E91-EE66-FD1C7A0271D5}"/>
              </a:ext>
            </a:extLst>
          </p:cNvPr>
          <p:cNvCxnSpPr>
            <a:cxnSpLocks/>
            <a:stCxn id="32" idx="2"/>
            <a:endCxn id="11" idx="3"/>
          </p:cNvCxnSpPr>
          <p:nvPr/>
        </p:nvCxnSpPr>
        <p:spPr>
          <a:xfrm rot="10800000">
            <a:off x="3125452" y="2702117"/>
            <a:ext cx="1627177" cy="82019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Flowchart: Flow Line">
            <a:extLst>
              <a:ext uri="{FF2B5EF4-FFF2-40B4-BE49-F238E27FC236}">
                <a16:creationId xmlns:a16="http://schemas.microsoft.com/office/drawing/2014/main" id="{5174011E-DE72-3962-A5A1-EB8D429D1DBD}"/>
              </a:ext>
            </a:extLst>
          </p:cNvPr>
          <p:cNvCxnSpPr>
            <a:cxnSpLocks/>
            <a:stCxn id="29" idx="6"/>
            <a:endCxn id="37" idx="1"/>
          </p:cNvCxnSpPr>
          <p:nvPr/>
        </p:nvCxnSpPr>
        <p:spPr>
          <a:xfrm flipV="1">
            <a:off x="7458423" y="1835150"/>
            <a:ext cx="1627176" cy="39205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lowchart: Flow Line">
            <a:extLst>
              <a:ext uri="{FF2B5EF4-FFF2-40B4-BE49-F238E27FC236}">
                <a16:creationId xmlns:a16="http://schemas.microsoft.com/office/drawing/2014/main" id="{375C0EB0-E1EC-C733-6E53-4C45AAAD7C5A}"/>
              </a:ext>
            </a:extLst>
          </p:cNvPr>
          <p:cNvCxnSpPr>
            <a:cxnSpLocks/>
            <a:stCxn id="30" idx="6"/>
            <a:endCxn id="14" idx="1"/>
          </p:cNvCxnSpPr>
          <p:nvPr/>
        </p:nvCxnSpPr>
        <p:spPr>
          <a:xfrm flipV="1">
            <a:off x="7458423" y="3500954"/>
            <a:ext cx="1618642" cy="191273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Flowchart: Flow Line">
            <a:extLst>
              <a:ext uri="{FF2B5EF4-FFF2-40B4-BE49-F238E27FC236}">
                <a16:creationId xmlns:a16="http://schemas.microsoft.com/office/drawing/2014/main" id="{6163F24A-9D8D-F3B9-DF20-74E372A5E181}"/>
              </a:ext>
            </a:extLst>
          </p:cNvPr>
          <p:cNvCxnSpPr>
            <a:cxnSpLocks/>
            <a:stCxn id="31" idx="2"/>
            <a:endCxn id="21" idx="3"/>
          </p:cNvCxnSpPr>
          <p:nvPr/>
        </p:nvCxnSpPr>
        <p:spPr>
          <a:xfrm rot="10800000" flipV="1">
            <a:off x="3125452" y="4118580"/>
            <a:ext cx="1627177" cy="9931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2">
            <a:extLst>
              <a:ext uri="{FF2B5EF4-FFF2-40B4-BE49-F238E27FC236}">
                <a16:creationId xmlns:a16="http://schemas.microsoft.com/office/drawing/2014/main" id="{18D02643-CEDF-E4E9-940A-D0247E985F53}"/>
              </a:ext>
            </a:extLst>
          </p:cNvPr>
          <p:cNvSpPr/>
          <p:nvPr/>
        </p:nvSpPr>
        <p:spPr>
          <a:xfrm>
            <a:off x="4752629" y="1996618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9" name="Oval 24">
            <a:extLst>
              <a:ext uri="{FF2B5EF4-FFF2-40B4-BE49-F238E27FC236}">
                <a16:creationId xmlns:a16="http://schemas.microsoft.com/office/drawing/2014/main" id="{7687CB33-E5DA-7F7F-E966-619EA019A222}"/>
              </a:ext>
            </a:extLst>
          </p:cNvPr>
          <p:cNvSpPr/>
          <p:nvPr/>
        </p:nvSpPr>
        <p:spPr>
          <a:xfrm>
            <a:off x="6997311" y="1996617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" name="Oval 26">
            <a:extLst>
              <a:ext uri="{FF2B5EF4-FFF2-40B4-BE49-F238E27FC236}">
                <a16:creationId xmlns:a16="http://schemas.microsoft.com/office/drawing/2014/main" id="{C1B1177C-B9A3-C324-123B-789A0B7143B1}"/>
              </a:ext>
            </a:extLst>
          </p:cNvPr>
          <p:cNvSpPr/>
          <p:nvPr/>
        </p:nvSpPr>
        <p:spPr>
          <a:xfrm>
            <a:off x="6997311" y="51830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1" name="Oval 28">
            <a:extLst>
              <a:ext uri="{FF2B5EF4-FFF2-40B4-BE49-F238E27FC236}">
                <a16:creationId xmlns:a16="http://schemas.microsoft.com/office/drawing/2014/main" id="{01787EEC-68E0-6DFD-9FD9-0B7A3E6841C6}"/>
              </a:ext>
            </a:extLst>
          </p:cNvPr>
          <p:cNvSpPr/>
          <p:nvPr/>
        </p:nvSpPr>
        <p:spPr>
          <a:xfrm>
            <a:off x="4752629" y="3887993"/>
            <a:ext cx="461112" cy="461175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2" name="Oval 30">
            <a:extLst>
              <a:ext uri="{FF2B5EF4-FFF2-40B4-BE49-F238E27FC236}">
                <a16:creationId xmlns:a16="http://schemas.microsoft.com/office/drawing/2014/main" id="{D8ADF133-2E16-AA29-C1FD-76B2E9721383}"/>
              </a:ext>
            </a:extLst>
          </p:cNvPr>
          <p:cNvSpPr/>
          <p:nvPr/>
        </p:nvSpPr>
        <p:spPr>
          <a:xfrm>
            <a:off x="4752629" y="3291724"/>
            <a:ext cx="461112" cy="461175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33" name="Flowchart: Flow Line">
            <a:extLst>
              <a:ext uri="{FF2B5EF4-FFF2-40B4-BE49-F238E27FC236}">
                <a16:creationId xmlns:a16="http://schemas.microsoft.com/office/drawing/2014/main" id="{CE6F33D5-46D1-68B9-054A-8004FDD734AB}"/>
              </a:ext>
            </a:extLst>
          </p:cNvPr>
          <p:cNvCxnSpPr>
            <a:cxnSpLocks/>
            <a:stCxn id="34" idx="2"/>
            <a:endCxn id="22" idx="3"/>
          </p:cNvCxnSpPr>
          <p:nvPr/>
        </p:nvCxnSpPr>
        <p:spPr>
          <a:xfrm rot="10800000" flipV="1">
            <a:off x="3125452" y="5413686"/>
            <a:ext cx="1627177" cy="59208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2">
            <a:extLst>
              <a:ext uri="{FF2B5EF4-FFF2-40B4-BE49-F238E27FC236}">
                <a16:creationId xmlns:a16="http://schemas.microsoft.com/office/drawing/2014/main" id="{05E2F24E-EACF-99BD-1414-EA48C0DA2A6D}"/>
              </a:ext>
            </a:extLst>
          </p:cNvPr>
          <p:cNvSpPr/>
          <p:nvPr/>
        </p:nvSpPr>
        <p:spPr>
          <a:xfrm>
            <a:off x="4752629" y="51830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35" name="Flowchart: Flow Line">
            <a:extLst>
              <a:ext uri="{FF2B5EF4-FFF2-40B4-BE49-F238E27FC236}">
                <a16:creationId xmlns:a16="http://schemas.microsoft.com/office/drawing/2014/main" id="{56CBA47F-0B0B-44D1-7F91-43D76EA0032C}"/>
              </a:ext>
            </a:extLst>
          </p:cNvPr>
          <p:cNvCxnSpPr>
            <a:cxnSpLocks/>
            <a:stCxn id="36" idx="6"/>
            <a:endCxn id="20" idx="1"/>
          </p:cNvCxnSpPr>
          <p:nvPr/>
        </p:nvCxnSpPr>
        <p:spPr>
          <a:xfrm>
            <a:off x="7458423" y="3820446"/>
            <a:ext cx="1627176" cy="21792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C8E9255A-4D17-FECF-2D27-51186A7D22E8}"/>
              </a:ext>
            </a:extLst>
          </p:cNvPr>
          <p:cNvSpPr/>
          <p:nvPr/>
        </p:nvSpPr>
        <p:spPr>
          <a:xfrm>
            <a:off x="6997311" y="3589858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" name="Flowchart: Action">
            <a:extLst>
              <a:ext uri="{FF2B5EF4-FFF2-40B4-BE49-F238E27FC236}">
                <a16:creationId xmlns:a16="http://schemas.microsoft.com/office/drawing/2014/main" id="{990699C1-A89C-C8BC-DF43-F34394247C32}"/>
              </a:ext>
            </a:extLst>
          </p:cNvPr>
          <p:cNvSpPr/>
          <p:nvPr/>
        </p:nvSpPr>
        <p:spPr>
          <a:xfrm>
            <a:off x="9085599" y="1537015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cxnSp>
        <p:nvCxnSpPr>
          <p:cNvPr id="40" name="Straight Arrow Connector 71">
            <a:extLst>
              <a:ext uri="{FF2B5EF4-FFF2-40B4-BE49-F238E27FC236}">
                <a16:creationId xmlns:a16="http://schemas.microsoft.com/office/drawing/2014/main" id="{D55149A9-76DE-D845-855E-BDC8816A2C67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2381681" y="2106177"/>
            <a:ext cx="0" cy="297805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74">
            <a:extLst>
              <a:ext uri="{FF2B5EF4-FFF2-40B4-BE49-F238E27FC236}">
                <a16:creationId xmlns:a16="http://schemas.microsoft.com/office/drawing/2014/main" id="{9ADE1B9D-28CB-89A0-A20C-6ECA902C2BCC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>
            <a:off x="2381681" y="3000251"/>
            <a:ext cx="0" cy="29780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o 42">
            <a:extLst>
              <a:ext uri="{FF2B5EF4-FFF2-40B4-BE49-F238E27FC236}">
                <a16:creationId xmlns:a16="http://schemas.microsoft.com/office/drawing/2014/main" id="{517171CE-D54C-7513-1457-BCF7D9D1F5AD}"/>
              </a:ext>
            </a:extLst>
          </p:cNvPr>
          <p:cNvGrpSpPr/>
          <p:nvPr/>
        </p:nvGrpSpPr>
        <p:grpSpPr>
          <a:xfrm rot="5400000">
            <a:off x="5724455" y="4187273"/>
            <a:ext cx="739910" cy="874955"/>
            <a:chOff x="3657318" y="2960019"/>
            <a:chExt cx="428407" cy="506598"/>
          </a:xfrm>
        </p:grpSpPr>
        <p:grpSp>
          <p:nvGrpSpPr>
            <p:cNvPr id="65" name="Grupo 43">
              <a:extLst>
                <a:ext uri="{FF2B5EF4-FFF2-40B4-BE49-F238E27FC236}">
                  <a16:creationId xmlns:a16="http://schemas.microsoft.com/office/drawing/2014/main" id="{E694AA89-36D2-CE71-B88A-F9EE04A2696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7" name="Conector recto 45">
                <a:extLst>
                  <a:ext uri="{FF2B5EF4-FFF2-40B4-BE49-F238E27FC236}">
                    <a16:creationId xmlns:a16="http://schemas.microsoft.com/office/drawing/2014/main" id="{D13D0E0A-6A85-567E-71C7-4EA4CA59528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Conector recto 46">
                <a:extLst>
                  <a:ext uri="{FF2B5EF4-FFF2-40B4-BE49-F238E27FC236}">
                    <a16:creationId xmlns:a16="http://schemas.microsoft.com/office/drawing/2014/main" id="{7EAF29EA-5931-EAA6-5399-3268942F41C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6" name="Conector recto 44">
              <a:extLst>
                <a:ext uri="{FF2B5EF4-FFF2-40B4-BE49-F238E27FC236}">
                  <a16:creationId xmlns:a16="http://schemas.microsoft.com/office/drawing/2014/main" id="{5D26B948-D729-29B6-1215-D764B35155D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42">
            <a:extLst>
              <a:ext uri="{FF2B5EF4-FFF2-40B4-BE49-F238E27FC236}">
                <a16:creationId xmlns:a16="http://schemas.microsoft.com/office/drawing/2014/main" id="{593BE38D-972D-BA5F-2356-878C7BA042B1}"/>
              </a:ext>
            </a:extLst>
          </p:cNvPr>
          <p:cNvGrpSpPr/>
          <p:nvPr/>
        </p:nvGrpSpPr>
        <p:grpSpPr>
          <a:xfrm rot="5400000">
            <a:off x="5724455" y="2594033"/>
            <a:ext cx="739910" cy="874955"/>
            <a:chOff x="3657318" y="2960019"/>
            <a:chExt cx="428407" cy="506598"/>
          </a:xfrm>
        </p:grpSpPr>
        <p:grpSp>
          <p:nvGrpSpPr>
            <p:cNvPr id="70" name="Grupo 43">
              <a:extLst>
                <a:ext uri="{FF2B5EF4-FFF2-40B4-BE49-F238E27FC236}">
                  <a16:creationId xmlns:a16="http://schemas.microsoft.com/office/drawing/2014/main" id="{9FAD09F1-124A-05F1-2E0A-9F65D94A8F2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72" name="Conector recto 45">
                <a:extLst>
                  <a:ext uri="{FF2B5EF4-FFF2-40B4-BE49-F238E27FC236}">
                    <a16:creationId xmlns:a16="http://schemas.microsoft.com/office/drawing/2014/main" id="{205D1447-BD4D-696D-FBCC-A578164971B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Conector recto 46">
                <a:extLst>
                  <a:ext uri="{FF2B5EF4-FFF2-40B4-BE49-F238E27FC236}">
                    <a16:creationId xmlns:a16="http://schemas.microsoft.com/office/drawing/2014/main" id="{81B2A505-5B53-746A-25D8-03197FAD091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1" name="Conector recto 44">
              <a:extLst>
                <a:ext uri="{FF2B5EF4-FFF2-40B4-BE49-F238E27FC236}">
                  <a16:creationId xmlns:a16="http://schemas.microsoft.com/office/drawing/2014/main" id="{6339DDBD-C397-A9B2-14CC-F8FA6A989631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0834CC-2F67-F06A-139A-566A7E0DB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611A6C4-D0A1-D6E0-E3CD-283BE3583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Tree</a:t>
            </a:r>
          </a:p>
        </p:txBody>
      </p:sp>
    </p:spTree>
    <p:extLst>
      <p:ext uri="{BB962C8B-B14F-4D97-AF65-F5344CB8AC3E}">
        <p14:creationId xmlns:p14="http://schemas.microsoft.com/office/powerpoint/2010/main" val="3199404258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C88C863-CAF0-05D8-E560-7E10E8BE5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721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C88C863-CAF0-05D8-E560-7E10E8BE5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16C15107-1D9F-863B-9DFD-539976618C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B9063CAD-D385-21E5-A0D0-0C5397D95B29}"/>
              </a:ext>
            </a:extLst>
          </p:cNvPr>
          <p:cNvSpPr/>
          <p:nvPr/>
        </p:nvSpPr>
        <p:spPr>
          <a:xfrm>
            <a:off x="3741680" y="1525305"/>
            <a:ext cx="1928955" cy="7643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Rounded Rectangle 35">
            <a:extLst>
              <a:ext uri="{FF2B5EF4-FFF2-40B4-BE49-F238E27FC236}">
                <a16:creationId xmlns:a16="http://schemas.microsoft.com/office/drawing/2014/main" id="{BAD7191F-3A1A-2850-6B0A-B552F22B294A}"/>
              </a:ext>
            </a:extLst>
          </p:cNvPr>
          <p:cNvSpPr/>
          <p:nvPr/>
        </p:nvSpPr>
        <p:spPr>
          <a:xfrm>
            <a:off x="1496549" y="2682051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Rounded Rectangle 37">
            <a:extLst>
              <a:ext uri="{FF2B5EF4-FFF2-40B4-BE49-F238E27FC236}">
                <a16:creationId xmlns:a16="http://schemas.microsoft.com/office/drawing/2014/main" id="{EFE4601B-0955-6514-5A19-6E76E0C43FB5}"/>
              </a:ext>
            </a:extLst>
          </p:cNvPr>
          <p:cNvSpPr/>
          <p:nvPr/>
        </p:nvSpPr>
        <p:spPr>
          <a:xfrm>
            <a:off x="384175" y="3838796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Rounded Rectangle 39">
            <a:extLst>
              <a:ext uri="{FF2B5EF4-FFF2-40B4-BE49-F238E27FC236}">
                <a16:creationId xmlns:a16="http://schemas.microsoft.com/office/drawing/2014/main" id="{58D6A2AD-DE4E-D3B3-26F4-6F127F993C6B}"/>
              </a:ext>
            </a:extLst>
          </p:cNvPr>
          <p:cNvSpPr/>
          <p:nvPr/>
        </p:nvSpPr>
        <p:spPr>
          <a:xfrm>
            <a:off x="2608921" y="3838796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Rounded Rectangle 41">
            <a:extLst>
              <a:ext uri="{FF2B5EF4-FFF2-40B4-BE49-F238E27FC236}">
                <a16:creationId xmlns:a16="http://schemas.microsoft.com/office/drawing/2014/main" id="{2726B63B-127B-DE7F-AC56-9056501F9351}"/>
              </a:ext>
            </a:extLst>
          </p:cNvPr>
          <p:cNvSpPr/>
          <p:nvPr/>
        </p:nvSpPr>
        <p:spPr>
          <a:xfrm>
            <a:off x="5993883" y="2682051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Rounded Rectangle 43">
            <a:extLst>
              <a:ext uri="{FF2B5EF4-FFF2-40B4-BE49-F238E27FC236}">
                <a16:creationId xmlns:a16="http://schemas.microsoft.com/office/drawing/2014/main" id="{E33D5481-F465-7B0F-7E20-6ED5787321E5}"/>
              </a:ext>
            </a:extLst>
          </p:cNvPr>
          <p:cNvSpPr/>
          <p:nvPr/>
        </p:nvSpPr>
        <p:spPr>
          <a:xfrm>
            <a:off x="4875290" y="3855877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Rounded Rectangle 45">
            <a:extLst>
              <a:ext uri="{FF2B5EF4-FFF2-40B4-BE49-F238E27FC236}">
                <a16:creationId xmlns:a16="http://schemas.microsoft.com/office/drawing/2014/main" id="{0F3DEAB5-98B2-37E9-4C46-91117895CE28}"/>
              </a:ext>
            </a:extLst>
          </p:cNvPr>
          <p:cNvSpPr/>
          <p:nvPr/>
        </p:nvSpPr>
        <p:spPr>
          <a:xfrm>
            <a:off x="7101594" y="3838796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TextBox 53">
            <a:extLst>
              <a:ext uri="{FF2B5EF4-FFF2-40B4-BE49-F238E27FC236}">
                <a16:creationId xmlns:a16="http://schemas.microsoft.com/office/drawing/2014/main" id="{193CE3E8-2215-029F-DB80-F4E48C12C154}"/>
              </a:ext>
            </a:extLst>
          </p:cNvPr>
          <p:cNvSpPr txBox="1"/>
          <p:nvPr/>
        </p:nvSpPr>
        <p:spPr>
          <a:xfrm>
            <a:off x="5931854" y="1520825"/>
            <a:ext cx="2222769" cy="7688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A18A7F3A-3255-59F2-B27D-C432FF36876E}"/>
              </a:ext>
            </a:extLst>
          </p:cNvPr>
          <p:cNvSpPr txBox="1"/>
          <p:nvPr/>
        </p:nvSpPr>
        <p:spPr>
          <a:xfrm>
            <a:off x="8229102" y="2682051"/>
            <a:ext cx="2222769" cy="7814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1" name="TextBox 55">
            <a:extLst>
              <a:ext uri="{FF2B5EF4-FFF2-40B4-BE49-F238E27FC236}">
                <a16:creationId xmlns:a16="http://schemas.microsoft.com/office/drawing/2014/main" id="{1A73B0EB-76A3-0D73-0B3A-221CFD88D7C5}"/>
              </a:ext>
            </a:extLst>
          </p:cNvPr>
          <p:cNvSpPr txBox="1"/>
          <p:nvPr/>
        </p:nvSpPr>
        <p:spPr>
          <a:xfrm>
            <a:off x="9234596" y="3838796"/>
            <a:ext cx="2222769" cy="7814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cxnSp>
        <p:nvCxnSpPr>
          <p:cNvPr id="34" name="Conector angular 33">
            <a:extLst>
              <a:ext uri="{FF2B5EF4-FFF2-40B4-BE49-F238E27FC236}">
                <a16:creationId xmlns:a16="http://schemas.microsoft.com/office/drawing/2014/main" id="{54BFF202-86A3-39FA-3A9B-A11E704AFEE7}"/>
              </a:ext>
            </a:extLst>
          </p:cNvPr>
          <p:cNvCxnSpPr>
            <a:cxnSpLocks/>
            <a:stCxn id="11" idx="0"/>
            <a:endCxn id="17" idx="0"/>
          </p:cNvCxnSpPr>
          <p:nvPr/>
        </p:nvCxnSpPr>
        <p:spPr>
          <a:xfrm rot="5400000" flipH="1" flipV="1">
            <a:off x="4709694" y="433384"/>
            <a:ext cx="12700" cy="4497334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angular 35">
            <a:extLst>
              <a:ext uri="{FF2B5EF4-FFF2-40B4-BE49-F238E27FC236}">
                <a16:creationId xmlns:a16="http://schemas.microsoft.com/office/drawing/2014/main" id="{C259A6BE-10AC-E0FD-04C7-4BFE9F7CCAFE}"/>
              </a:ext>
            </a:extLst>
          </p:cNvPr>
          <p:cNvCxnSpPr>
            <a:cxnSpLocks/>
            <a:stCxn id="13" idx="0"/>
            <a:endCxn id="15" idx="0"/>
          </p:cNvCxnSpPr>
          <p:nvPr/>
        </p:nvCxnSpPr>
        <p:spPr>
          <a:xfrm rot="5400000" flipH="1" flipV="1">
            <a:off x="2461026" y="2726423"/>
            <a:ext cx="12700" cy="2224746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angular 38">
            <a:extLst>
              <a:ext uri="{FF2B5EF4-FFF2-40B4-BE49-F238E27FC236}">
                <a16:creationId xmlns:a16="http://schemas.microsoft.com/office/drawing/2014/main" id="{D95C2AB1-101D-A0AE-BBD0-1DC077D3FBF5}"/>
              </a:ext>
            </a:extLst>
          </p:cNvPr>
          <p:cNvCxnSpPr>
            <a:cxnSpLocks/>
            <a:stCxn id="19" idx="0"/>
            <a:endCxn id="21" idx="0"/>
          </p:cNvCxnSpPr>
          <p:nvPr/>
        </p:nvCxnSpPr>
        <p:spPr>
          <a:xfrm rot="5400000" flipH="1" flipV="1">
            <a:off x="6944380" y="2734185"/>
            <a:ext cx="17081" cy="2226304"/>
          </a:xfrm>
          <a:prstGeom prst="bentConnector3">
            <a:avLst>
              <a:gd name="adj1" fmla="val 1438329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0DF08990-E51A-33E1-5A3F-24C7C1B7274A}"/>
              </a:ext>
            </a:extLst>
          </p:cNvPr>
          <p:cNvCxnSpPr>
            <a:cxnSpLocks/>
            <a:stCxn id="11" idx="2"/>
          </p:cNvCxnSpPr>
          <p:nvPr/>
        </p:nvCxnSpPr>
        <p:spPr>
          <a:xfrm flipH="1">
            <a:off x="2461026" y="3446395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AC4CB306-3D77-4992-13B0-6A93ADF38884}"/>
              </a:ext>
            </a:extLst>
          </p:cNvPr>
          <p:cNvCxnSpPr>
            <a:cxnSpLocks/>
          </p:cNvCxnSpPr>
          <p:nvPr/>
        </p:nvCxnSpPr>
        <p:spPr>
          <a:xfrm flipH="1">
            <a:off x="6951990" y="3441308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45C7AAF1-FC01-C3C0-BFDF-513A2E88CC3B}"/>
              </a:ext>
            </a:extLst>
          </p:cNvPr>
          <p:cNvCxnSpPr>
            <a:cxnSpLocks/>
          </p:cNvCxnSpPr>
          <p:nvPr/>
        </p:nvCxnSpPr>
        <p:spPr>
          <a:xfrm flipH="1">
            <a:off x="4716044" y="2262785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1DCD3EA-823E-0A8C-2A58-31A1F84ADF99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A6B00961-2639-CB08-1CDA-6E26BACF0F9A}"/>
              </a:ext>
            </a:extLst>
          </p:cNvPr>
          <p:cNvSpPr txBox="1"/>
          <p:nvPr/>
        </p:nvSpPr>
        <p:spPr>
          <a:xfrm>
            <a:off x="371474" y="474104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38F7CF73-A63C-F244-6E47-5DAC2E41FAE7}"/>
              </a:ext>
            </a:extLst>
          </p:cNvPr>
          <p:cNvCxnSpPr>
            <a:cxnSpLocks/>
          </p:cNvCxnSpPr>
          <p:nvPr/>
        </p:nvCxnSpPr>
        <p:spPr>
          <a:xfrm>
            <a:off x="361641" y="5181263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3C3D9D-60ED-E775-07DF-0CC119C33B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7ADB87D-6AF6-037B-5E3F-BF1EFAEF0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Tree</a:t>
            </a:r>
          </a:p>
        </p:txBody>
      </p:sp>
    </p:spTree>
    <p:extLst>
      <p:ext uri="{BB962C8B-B14F-4D97-AF65-F5344CB8AC3E}">
        <p14:creationId xmlns:p14="http://schemas.microsoft.com/office/powerpoint/2010/main" val="2269238805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>
            <a:extLst>
              <a:ext uri="{FF2B5EF4-FFF2-40B4-BE49-F238E27FC236}">
                <a16:creationId xmlns:a16="http://schemas.microsoft.com/office/drawing/2014/main" id="{3290DFAF-AB72-FAE2-96BA-68944CBE7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4" name="Objeto 13" hidden="1">
                        <a:extLst>
                          <a:ext uri="{FF2B5EF4-FFF2-40B4-BE49-F238E27FC236}">
                            <a16:creationId xmlns:a16="http://schemas.microsoft.com/office/drawing/2014/main" id="{3290DFAF-AB72-FAE2-96BA-68944CBE7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Hypothesis Tree</a:t>
            </a:r>
          </a:p>
        </p:txBody>
      </p:sp>
      <p:cxnSp>
        <p:nvCxnSpPr>
          <p:cNvPr id="5" name="Conector: angular 4">
            <a:extLst>
              <a:ext uri="{FF2B5EF4-FFF2-40B4-BE49-F238E27FC236}">
                <a16:creationId xmlns:a16="http://schemas.microsoft.com/office/drawing/2014/main" id="{2C375FF8-794A-143B-4125-C27C07AFB86A}"/>
              </a:ext>
            </a:extLst>
          </p:cNvPr>
          <p:cNvCxnSpPr>
            <a:cxnSpLocks/>
            <a:stCxn id="2" idx="3"/>
            <a:endCxn id="36" idx="1"/>
          </p:cNvCxnSpPr>
          <p:nvPr/>
        </p:nvCxnSpPr>
        <p:spPr>
          <a:xfrm flipV="1">
            <a:off x="2698326" y="2369330"/>
            <a:ext cx="713882" cy="104661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25">
            <a:extLst>
              <a:ext uri="{FF2B5EF4-FFF2-40B4-BE49-F238E27FC236}">
                <a16:creationId xmlns:a16="http://schemas.microsoft.com/office/drawing/2014/main" id="{858F41C3-D772-BFEF-5626-97D0E17FCE52}"/>
              </a:ext>
            </a:extLst>
          </p:cNvPr>
          <p:cNvSpPr txBox="1"/>
          <p:nvPr/>
        </p:nvSpPr>
        <p:spPr>
          <a:xfrm>
            <a:off x="371475" y="2855071"/>
            <a:ext cx="2326851" cy="1121737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F6712847-DBAD-2AAB-4D4A-DB25307DFF56}"/>
              </a:ext>
            </a:extLst>
          </p:cNvPr>
          <p:cNvSpPr txBox="1"/>
          <p:nvPr/>
        </p:nvSpPr>
        <p:spPr>
          <a:xfrm>
            <a:off x="3412208" y="1808461"/>
            <a:ext cx="2326851" cy="112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7" name="TextBox 25">
            <a:extLst>
              <a:ext uri="{FF2B5EF4-FFF2-40B4-BE49-F238E27FC236}">
                <a16:creationId xmlns:a16="http://schemas.microsoft.com/office/drawing/2014/main" id="{EA1559FF-0D31-FC63-0487-2C78CC5FDEC6}"/>
              </a:ext>
            </a:extLst>
          </p:cNvPr>
          <p:cNvSpPr txBox="1"/>
          <p:nvPr/>
        </p:nvSpPr>
        <p:spPr>
          <a:xfrm>
            <a:off x="6452942" y="1152525"/>
            <a:ext cx="2326851" cy="1121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0" name="TextBox 25">
            <a:extLst>
              <a:ext uri="{FF2B5EF4-FFF2-40B4-BE49-F238E27FC236}">
                <a16:creationId xmlns:a16="http://schemas.microsoft.com/office/drawing/2014/main" id="{F66C59B0-7B4A-BC92-7BBE-A75523A525D5}"/>
              </a:ext>
            </a:extLst>
          </p:cNvPr>
          <p:cNvSpPr txBox="1"/>
          <p:nvPr/>
        </p:nvSpPr>
        <p:spPr>
          <a:xfrm>
            <a:off x="6452942" y="2497346"/>
            <a:ext cx="2326851" cy="1121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1" name="TextBox 25">
            <a:extLst>
              <a:ext uri="{FF2B5EF4-FFF2-40B4-BE49-F238E27FC236}">
                <a16:creationId xmlns:a16="http://schemas.microsoft.com/office/drawing/2014/main" id="{FF56D44D-CBC6-43B2-0EC7-45687641B479}"/>
              </a:ext>
            </a:extLst>
          </p:cNvPr>
          <p:cNvSpPr txBox="1"/>
          <p:nvPr/>
        </p:nvSpPr>
        <p:spPr>
          <a:xfrm>
            <a:off x="6452942" y="3842166"/>
            <a:ext cx="2326851" cy="1121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2" name="TextBox 25">
            <a:extLst>
              <a:ext uri="{FF2B5EF4-FFF2-40B4-BE49-F238E27FC236}">
                <a16:creationId xmlns:a16="http://schemas.microsoft.com/office/drawing/2014/main" id="{81B96762-CA1D-B12D-0294-7A7738FD19F2}"/>
              </a:ext>
            </a:extLst>
          </p:cNvPr>
          <p:cNvSpPr txBox="1"/>
          <p:nvPr/>
        </p:nvSpPr>
        <p:spPr>
          <a:xfrm>
            <a:off x="6452942" y="5186988"/>
            <a:ext cx="2326851" cy="1121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3" name="TextBox 25">
            <a:extLst>
              <a:ext uri="{FF2B5EF4-FFF2-40B4-BE49-F238E27FC236}">
                <a16:creationId xmlns:a16="http://schemas.microsoft.com/office/drawing/2014/main" id="{EED4C203-5B28-EEB8-02B2-3EB4FC7142BA}"/>
              </a:ext>
            </a:extLst>
          </p:cNvPr>
          <p:cNvSpPr txBox="1"/>
          <p:nvPr/>
        </p:nvSpPr>
        <p:spPr>
          <a:xfrm>
            <a:off x="9493674" y="3842166"/>
            <a:ext cx="2326851" cy="1121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4" name="TextBox 25">
            <a:extLst>
              <a:ext uri="{FF2B5EF4-FFF2-40B4-BE49-F238E27FC236}">
                <a16:creationId xmlns:a16="http://schemas.microsoft.com/office/drawing/2014/main" id="{B222A7B6-C14F-1016-092A-AEDCF829C88E}"/>
              </a:ext>
            </a:extLst>
          </p:cNvPr>
          <p:cNvSpPr txBox="1"/>
          <p:nvPr/>
        </p:nvSpPr>
        <p:spPr>
          <a:xfrm>
            <a:off x="9493674" y="5186988"/>
            <a:ext cx="2326851" cy="11217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47" name="Conector: angular 46">
            <a:extLst>
              <a:ext uri="{FF2B5EF4-FFF2-40B4-BE49-F238E27FC236}">
                <a16:creationId xmlns:a16="http://schemas.microsoft.com/office/drawing/2014/main" id="{F7A7DA0F-586E-D1FD-8C31-E56EF04B75BA}"/>
              </a:ext>
            </a:extLst>
          </p:cNvPr>
          <p:cNvCxnSpPr>
            <a:cxnSpLocks/>
            <a:stCxn id="2" idx="3"/>
            <a:endCxn id="51" idx="1"/>
          </p:cNvCxnSpPr>
          <p:nvPr/>
        </p:nvCxnSpPr>
        <p:spPr>
          <a:xfrm>
            <a:off x="2698326" y="3415941"/>
            <a:ext cx="713882" cy="164937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25">
            <a:extLst>
              <a:ext uri="{FF2B5EF4-FFF2-40B4-BE49-F238E27FC236}">
                <a16:creationId xmlns:a16="http://schemas.microsoft.com/office/drawing/2014/main" id="{655DBCE0-8F49-5EB8-18FA-4AE67D35C2CD}"/>
              </a:ext>
            </a:extLst>
          </p:cNvPr>
          <p:cNvSpPr txBox="1"/>
          <p:nvPr/>
        </p:nvSpPr>
        <p:spPr>
          <a:xfrm>
            <a:off x="3412208" y="4504446"/>
            <a:ext cx="2326851" cy="112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53" name="Conector: angular 52">
            <a:extLst>
              <a:ext uri="{FF2B5EF4-FFF2-40B4-BE49-F238E27FC236}">
                <a16:creationId xmlns:a16="http://schemas.microsoft.com/office/drawing/2014/main" id="{37C999EF-9FA2-6A21-42C4-FAB6EC6B0CBE}"/>
              </a:ext>
            </a:extLst>
          </p:cNvPr>
          <p:cNvCxnSpPr>
            <a:cxnSpLocks/>
            <a:stCxn id="36" idx="3"/>
            <a:endCxn id="37" idx="1"/>
          </p:cNvCxnSpPr>
          <p:nvPr/>
        </p:nvCxnSpPr>
        <p:spPr>
          <a:xfrm flipV="1">
            <a:off x="5739059" y="1713394"/>
            <a:ext cx="713883" cy="65593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r 55">
            <a:extLst>
              <a:ext uri="{FF2B5EF4-FFF2-40B4-BE49-F238E27FC236}">
                <a16:creationId xmlns:a16="http://schemas.microsoft.com/office/drawing/2014/main" id="{F029AEF4-951F-F3F4-BB45-18A70488D0BA}"/>
              </a:ext>
            </a:extLst>
          </p:cNvPr>
          <p:cNvCxnSpPr>
            <a:cxnSpLocks/>
            <a:stCxn id="36" idx="3"/>
            <a:endCxn id="40" idx="1"/>
          </p:cNvCxnSpPr>
          <p:nvPr/>
        </p:nvCxnSpPr>
        <p:spPr>
          <a:xfrm>
            <a:off x="5739059" y="2369330"/>
            <a:ext cx="713883" cy="688885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: angular 58">
            <a:extLst>
              <a:ext uri="{FF2B5EF4-FFF2-40B4-BE49-F238E27FC236}">
                <a16:creationId xmlns:a16="http://schemas.microsoft.com/office/drawing/2014/main" id="{52674806-F0A2-1E57-9BAF-58E8F6EB48F3}"/>
              </a:ext>
            </a:extLst>
          </p:cNvPr>
          <p:cNvCxnSpPr>
            <a:cxnSpLocks/>
            <a:stCxn id="51" idx="3"/>
            <a:endCxn id="41" idx="1"/>
          </p:cNvCxnSpPr>
          <p:nvPr/>
        </p:nvCxnSpPr>
        <p:spPr>
          <a:xfrm flipV="1">
            <a:off x="5739059" y="4403035"/>
            <a:ext cx="713883" cy="6622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: angular 62">
            <a:extLst>
              <a:ext uri="{FF2B5EF4-FFF2-40B4-BE49-F238E27FC236}">
                <a16:creationId xmlns:a16="http://schemas.microsoft.com/office/drawing/2014/main" id="{C16B4205-3C19-A673-EAF5-E1FBE0E3AA4A}"/>
              </a:ext>
            </a:extLst>
          </p:cNvPr>
          <p:cNvCxnSpPr>
            <a:cxnSpLocks/>
            <a:stCxn id="51" idx="3"/>
            <a:endCxn id="42" idx="1"/>
          </p:cNvCxnSpPr>
          <p:nvPr/>
        </p:nvCxnSpPr>
        <p:spPr>
          <a:xfrm>
            <a:off x="5739059" y="5065315"/>
            <a:ext cx="713883" cy="68254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: angular 65">
            <a:extLst>
              <a:ext uri="{FF2B5EF4-FFF2-40B4-BE49-F238E27FC236}">
                <a16:creationId xmlns:a16="http://schemas.microsoft.com/office/drawing/2014/main" id="{A06920CE-99AA-F0EB-AF2A-B5D548A34563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 flipV="1">
            <a:off x="8779793" y="4403035"/>
            <a:ext cx="713881" cy="134482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C2087ACD-5EE1-DEFE-D863-6E05669E1CD0}"/>
              </a:ext>
            </a:extLst>
          </p:cNvPr>
          <p:cNvCxnSpPr>
            <a:cxnSpLocks/>
            <a:stCxn id="42" idx="3"/>
            <a:endCxn id="44" idx="1"/>
          </p:cNvCxnSpPr>
          <p:nvPr/>
        </p:nvCxnSpPr>
        <p:spPr>
          <a:xfrm>
            <a:off x="8779793" y="5747857"/>
            <a:ext cx="713881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38412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D0584C2-3220-A8F3-49D1-F8A4B0F6D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D0584C2-3220-A8F3-49D1-F8A4B0F6D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Issue Tree</a:t>
            </a:r>
          </a:p>
        </p:txBody>
      </p:sp>
      <p:cxnSp>
        <p:nvCxnSpPr>
          <p:cNvPr id="34" name="Conector: angular 33">
            <a:extLst>
              <a:ext uri="{FF2B5EF4-FFF2-40B4-BE49-F238E27FC236}">
                <a16:creationId xmlns:a16="http://schemas.microsoft.com/office/drawing/2014/main" id="{CA9D4C29-9EB6-3225-D6B0-FA0BB3ABB142}"/>
              </a:ext>
            </a:extLst>
          </p:cNvPr>
          <p:cNvCxnSpPr>
            <a:cxnSpLocks/>
            <a:stCxn id="35" idx="3"/>
            <a:endCxn id="36" idx="1"/>
          </p:cNvCxnSpPr>
          <p:nvPr/>
        </p:nvCxnSpPr>
        <p:spPr>
          <a:xfrm flipV="1">
            <a:off x="2698326" y="2594999"/>
            <a:ext cx="713882" cy="82094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25">
            <a:extLst>
              <a:ext uri="{FF2B5EF4-FFF2-40B4-BE49-F238E27FC236}">
                <a16:creationId xmlns:a16="http://schemas.microsoft.com/office/drawing/2014/main" id="{A555D785-C2E3-3285-A5B6-BC1CABC89C12}"/>
              </a:ext>
            </a:extLst>
          </p:cNvPr>
          <p:cNvSpPr txBox="1"/>
          <p:nvPr/>
        </p:nvSpPr>
        <p:spPr>
          <a:xfrm>
            <a:off x="371475" y="2855071"/>
            <a:ext cx="2326851" cy="1121737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6D41500F-6193-410B-0CD5-6A0C207E1A2D}"/>
              </a:ext>
            </a:extLst>
          </p:cNvPr>
          <p:cNvSpPr txBox="1"/>
          <p:nvPr/>
        </p:nvSpPr>
        <p:spPr>
          <a:xfrm>
            <a:off x="3412208" y="2034130"/>
            <a:ext cx="2326851" cy="112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43" name="Conector: angular 42">
            <a:extLst>
              <a:ext uri="{FF2B5EF4-FFF2-40B4-BE49-F238E27FC236}">
                <a16:creationId xmlns:a16="http://schemas.microsoft.com/office/drawing/2014/main" id="{00DF553F-DE7A-74AE-6FE5-4B21762BED46}"/>
              </a:ext>
            </a:extLst>
          </p:cNvPr>
          <p:cNvCxnSpPr>
            <a:cxnSpLocks/>
            <a:stCxn id="35" idx="3"/>
            <a:endCxn id="44" idx="1"/>
          </p:cNvCxnSpPr>
          <p:nvPr/>
        </p:nvCxnSpPr>
        <p:spPr>
          <a:xfrm>
            <a:off x="2698326" y="3415941"/>
            <a:ext cx="713882" cy="150576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25">
            <a:extLst>
              <a:ext uri="{FF2B5EF4-FFF2-40B4-BE49-F238E27FC236}">
                <a16:creationId xmlns:a16="http://schemas.microsoft.com/office/drawing/2014/main" id="{DB47BC28-67D5-759B-F95D-CE20EEFE57BB}"/>
              </a:ext>
            </a:extLst>
          </p:cNvPr>
          <p:cNvSpPr txBox="1"/>
          <p:nvPr/>
        </p:nvSpPr>
        <p:spPr>
          <a:xfrm>
            <a:off x="3412208" y="4360838"/>
            <a:ext cx="2326851" cy="112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45" name="Conector: angular 44">
            <a:extLst>
              <a:ext uri="{FF2B5EF4-FFF2-40B4-BE49-F238E27FC236}">
                <a16:creationId xmlns:a16="http://schemas.microsoft.com/office/drawing/2014/main" id="{601E7F38-528B-ED52-017C-8B8F75C75F46}"/>
              </a:ext>
            </a:extLst>
          </p:cNvPr>
          <p:cNvCxnSpPr>
            <a:cxnSpLocks/>
            <a:stCxn id="36" idx="3"/>
            <a:endCxn id="37" idx="1"/>
          </p:cNvCxnSpPr>
          <p:nvPr/>
        </p:nvCxnSpPr>
        <p:spPr>
          <a:xfrm flipV="1">
            <a:off x="5739059" y="1794490"/>
            <a:ext cx="713883" cy="80050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: angular 45">
            <a:extLst>
              <a:ext uri="{FF2B5EF4-FFF2-40B4-BE49-F238E27FC236}">
                <a16:creationId xmlns:a16="http://schemas.microsoft.com/office/drawing/2014/main" id="{8B7BB38D-AAEB-CCD0-A53D-BE0A855A5968}"/>
              </a:ext>
            </a:extLst>
          </p:cNvPr>
          <p:cNvCxnSpPr>
            <a:cxnSpLocks/>
            <a:stCxn id="36" idx="3"/>
            <a:endCxn id="38" idx="1"/>
          </p:cNvCxnSpPr>
          <p:nvPr/>
        </p:nvCxnSpPr>
        <p:spPr>
          <a:xfrm>
            <a:off x="5739059" y="2594999"/>
            <a:ext cx="713883" cy="55170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: angular 46">
            <a:extLst>
              <a:ext uri="{FF2B5EF4-FFF2-40B4-BE49-F238E27FC236}">
                <a16:creationId xmlns:a16="http://schemas.microsoft.com/office/drawing/2014/main" id="{ADEF5703-6ACC-AAB3-D474-9FF1E93CC90E}"/>
              </a:ext>
            </a:extLst>
          </p:cNvPr>
          <p:cNvCxnSpPr>
            <a:cxnSpLocks/>
            <a:stCxn id="44" idx="3"/>
            <a:endCxn id="39" idx="1"/>
          </p:cNvCxnSpPr>
          <p:nvPr/>
        </p:nvCxnSpPr>
        <p:spPr>
          <a:xfrm flipV="1">
            <a:off x="5739059" y="4162250"/>
            <a:ext cx="713883" cy="75945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: angular 47">
            <a:extLst>
              <a:ext uri="{FF2B5EF4-FFF2-40B4-BE49-F238E27FC236}">
                <a16:creationId xmlns:a16="http://schemas.microsoft.com/office/drawing/2014/main" id="{2C331549-F4A9-E935-4B08-C20A7358320D}"/>
              </a:ext>
            </a:extLst>
          </p:cNvPr>
          <p:cNvCxnSpPr>
            <a:cxnSpLocks/>
            <a:stCxn id="44" idx="3"/>
            <a:endCxn id="40" idx="1"/>
          </p:cNvCxnSpPr>
          <p:nvPr/>
        </p:nvCxnSpPr>
        <p:spPr>
          <a:xfrm>
            <a:off x="5739059" y="4921707"/>
            <a:ext cx="713883" cy="230575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25">
            <a:extLst>
              <a:ext uri="{FF2B5EF4-FFF2-40B4-BE49-F238E27FC236}">
                <a16:creationId xmlns:a16="http://schemas.microsoft.com/office/drawing/2014/main" id="{0A01A50F-DB9D-D520-F79D-59D079A2AFF0}"/>
              </a:ext>
            </a:extLst>
          </p:cNvPr>
          <p:cNvSpPr txBox="1"/>
          <p:nvPr/>
        </p:nvSpPr>
        <p:spPr>
          <a:xfrm>
            <a:off x="6452942" y="1286349"/>
            <a:ext cx="2326851" cy="10162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8" name="TextBox 25">
            <a:extLst>
              <a:ext uri="{FF2B5EF4-FFF2-40B4-BE49-F238E27FC236}">
                <a16:creationId xmlns:a16="http://schemas.microsoft.com/office/drawing/2014/main" id="{C599A3A4-7174-C6B2-D6CF-AA0487A4D1F7}"/>
              </a:ext>
            </a:extLst>
          </p:cNvPr>
          <p:cNvSpPr txBox="1"/>
          <p:nvPr/>
        </p:nvSpPr>
        <p:spPr>
          <a:xfrm>
            <a:off x="6452942" y="2638567"/>
            <a:ext cx="2326851" cy="10162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9" name="TextBox 25">
            <a:extLst>
              <a:ext uri="{FF2B5EF4-FFF2-40B4-BE49-F238E27FC236}">
                <a16:creationId xmlns:a16="http://schemas.microsoft.com/office/drawing/2014/main" id="{8D78D182-3275-260A-AD44-AB4543325B9E}"/>
              </a:ext>
            </a:extLst>
          </p:cNvPr>
          <p:cNvSpPr txBox="1"/>
          <p:nvPr/>
        </p:nvSpPr>
        <p:spPr>
          <a:xfrm>
            <a:off x="6452942" y="3848504"/>
            <a:ext cx="2326851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0" name="TextBox 25">
            <a:extLst>
              <a:ext uri="{FF2B5EF4-FFF2-40B4-BE49-F238E27FC236}">
                <a16:creationId xmlns:a16="http://schemas.microsoft.com/office/drawing/2014/main" id="{7A304E52-D501-1FDE-15D7-FCD9D97F3B55}"/>
              </a:ext>
            </a:extLst>
          </p:cNvPr>
          <p:cNvSpPr txBox="1"/>
          <p:nvPr/>
        </p:nvSpPr>
        <p:spPr>
          <a:xfrm>
            <a:off x="6452942" y="4644141"/>
            <a:ext cx="2326851" cy="10162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49" name="Conector: angular 48">
            <a:extLst>
              <a:ext uri="{FF2B5EF4-FFF2-40B4-BE49-F238E27FC236}">
                <a16:creationId xmlns:a16="http://schemas.microsoft.com/office/drawing/2014/main" id="{F958106C-4C4C-CC70-F2D5-D58732ED765D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 flipV="1">
            <a:off x="8779793" y="4836245"/>
            <a:ext cx="233579" cy="31603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25">
            <a:extLst>
              <a:ext uri="{FF2B5EF4-FFF2-40B4-BE49-F238E27FC236}">
                <a16:creationId xmlns:a16="http://schemas.microsoft.com/office/drawing/2014/main" id="{D7BEE170-55DE-0497-31B2-93C7BEE83F98}"/>
              </a:ext>
            </a:extLst>
          </p:cNvPr>
          <p:cNvSpPr txBox="1"/>
          <p:nvPr/>
        </p:nvSpPr>
        <p:spPr>
          <a:xfrm>
            <a:off x="9013372" y="4522498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2" name="TextBox 25">
            <a:extLst>
              <a:ext uri="{FF2B5EF4-FFF2-40B4-BE49-F238E27FC236}">
                <a16:creationId xmlns:a16="http://schemas.microsoft.com/office/drawing/2014/main" id="{1850011F-B9C3-51AC-36DF-60CF8A9A2E3F}"/>
              </a:ext>
            </a:extLst>
          </p:cNvPr>
          <p:cNvSpPr txBox="1"/>
          <p:nvPr/>
        </p:nvSpPr>
        <p:spPr>
          <a:xfrm>
            <a:off x="9013372" y="5196494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6" name="TextBox 25">
            <a:extLst>
              <a:ext uri="{FF2B5EF4-FFF2-40B4-BE49-F238E27FC236}">
                <a16:creationId xmlns:a16="http://schemas.microsoft.com/office/drawing/2014/main" id="{64DD6CB8-362A-F735-43A6-C298C293EF60}"/>
              </a:ext>
            </a:extLst>
          </p:cNvPr>
          <p:cNvSpPr txBox="1"/>
          <p:nvPr/>
        </p:nvSpPr>
        <p:spPr>
          <a:xfrm>
            <a:off x="9013372" y="3848504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7" name="TextBox 25">
            <a:extLst>
              <a:ext uri="{FF2B5EF4-FFF2-40B4-BE49-F238E27FC236}">
                <a16:creationId xmlns:a16="http://schemas.microsoft.com/office/drawing/2014/main" id="{56FA00BE-04D3-CAB4-A586-AF6EA119EFE9}"/>
              </a:ext>
            </a:extLst>
          </p:cNvPr>
          <p:cNvSpPr txBox="1"/>
          <p:nvPr/>
        </p:nvSpPr>
        <p:spPr>
          <a:xfrm>
            <a:off x="9013372" y="3174508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0" name="TextBox 25">
            <a:extLst>
              <a:ext uri="{FF2B5EF4-FFF2-40B4-BE49-F238E27FC236}">
                <a16:creationId xmlns:a16="http://schemas.microsoft.com/office/drawing/2014/main" id="{B10C35AC-54CF-7C61-B5B6-E30471F1B466}"/>
              </a:ext>
            </a:extLst>
          </p:cNvPr>
          <p:cNvSpPr txBox="1"/>
          <p:nvPr/>
        </p:nvSpPr>
        <p:spPr>
          <a:xfrm>
            <a:off x="9013372" y="2500515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1" name="TextBox 25">
            <a:extLst>
              <a:ext uri="{FF2B5EF4-FFF2-40B4-BE49-F238E27FC236}">
                <a16:creationId xmlns:a16="http://schemas.microsoft.com/office/drawing/2014/main" id="{FB078014-42E4-2CAE-C0A3-65A42EE65C8B}"/>
              </a:ext>
            </a:extLst>
          </p:cNvPr>
          <p:cNvSpPr txBox="1"/>
          <p:nvPr/>
        </p:nvSpPr>
        <p:spPr>
          <a:xfrm>
            <a:off x="9013372" y="1826519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2" name="TextBox 25">
            <a:extLst>
              <a:ext uri="{FF2B5EF4-FFF2-40B4-BE49-F238E27FC236}">
                <a16:creationId xmlns:a16="http://schemas.microsoft.com/office/drawing/2014/main" id="{BF99675D-B818-50F9-BAB7-09032B8755EC}"/>
              </a:ext>
            </a:extLst>
          </p:cNvPr>
          <p:cNvSpPr txBox="1"/>
          <p:nvPr/>
        </p:nvSpPr>
        <p:spPr>
          <a:xfrm>
            <a:off x="9013372" y="1152525"/>
            <a:ext cx="2807154" cy="6274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6" name="Conector: angular 65">
            <a:extLst>
              <a:ext uri="{FF2B5EF4-FFF2-40B4-BE49-F238E27FC236}">
                <a16:creationId xmlns:a16="http://schemas.microsoft.com/office/drawing/2014/main" id="{29448763-3F6B-397D-9D7A-FBAD33C5E3E6}"/>
              </a:ext>
            </a:extLst>
          </p:cNvPr>
          <p:cNvCxnSpPr>
            <a:cxnSpLocks/>
            <a:stCxn id="40" idx="3"/>
            <a:endCxn id="42" idx="1"/>
          </p:cNvCxnSpPr>
          <p:nvPr/>
        </p:nvCxnSpPr>
        <p:spPr>
          <a:xfrm>
            <a:off x="8779793" y="5152282"/>
            <a:ext cx="233579" cy="35795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: angular 68">
            <a:extLst>
              <a:ext uri="{FF2B5EF4-FFF2-40B4-BE49-F238E27FC236}">
                <a16:creationId xmlns:a16="http://schemas.microsoft.com/office/drawing/2014/main" id="{C76D9540-7FAE-73F5-1B8B-371E507C8AB7}"/>
              </a:ext>
            </a:extLst>
          </p:cNvPr>
          <p:cNvCxnSpPr>
            <a:cxnSpLocks/>
            <a:stCxn id="37" idx="3"/>
            <a:endCxn id="62" idx="1"/>
          </p:cNvCxnSpPr>
          <p:nvPr/>
        </p:nvCxnSpPr>
        <p:spPr>
          <a:xfrm flipV="1">
            <a:off x="8779793" y="1466271"/>
            <a:ext cx="233579" cy="32821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: angular 72">
            <a:extLst>
              <a:ext uri="{FF2B5EF4-FFF2-40B4-BE49-F238E27FC236}">
                <a16:creationId xmlns:a16="http://schemas.microsoft.com/office/drawing/2014/main" id="{A2F81A8F-FC62-A23A-A9F9-E8CD596A45CE}"/>
              </a:ext>
            </a:extLst>
          </p:cNvPr>
          <p:cNvCxnSpPr>
            <a:cxnSpLocks/>
            <a:stCxn id="37" idx="3"/>
            <a:endCxn id="61" idx="1"/>
          </p:cNvCxnSpPr>
          <p:nvPr/>
        </p:nvCxnSpPr>
        <p:spPr>
          <a:xfrm>
            <a:off x="8779793" y="1794491"/>
            <a:ext cx="233579" cy="345775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r 75">
            <a:extLst>
              <a:ext uri="{FF2B5EF4-FFF2-40B4-BE49-F238E27FC236}">
                <a16:creationId xmlns:a16="http://schemas.microsoft.com/office/drawing/2014/main" id="{5E8724A5-9B09-7626-0CE3-1DD8916A8D83}"/>
              </a:ext>
            </a:extLst>
          </p:cNvPr>
          <p:cNvCxnSpPr>
            <a:cxnSpLocks/>
            <a:stCxn id="38" idx="3"/>
            <a:endCxn id="60" idx="1"/>
          </p:cNvCxnSpPr>
          <p:nvPr/>
        </p:nvCxnSpPr>
        <p:spPr>
          <a:xfrm flipV="1">
            <a:off x="8779793" y="2814261"/>
            <a:ext cx="233579" cy="33244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: angular 78">
            <a:extLst>
              <a:ext uri="{FF2B5EF4-FFF2-40B4-BE49-F238E27FC236}">
                <a16:creationId xmlns:a16="http://schemas.microsoft.com/office/drawing/2014/main" id="{7883AABD-8C82-3C64-01CD-189BE0F4B54B}"/>
              </a:ext>
            </a:extLst>
          </p:cNvPr>
          <p:cNvCxnSpPr>
            <a:cxnSpLocks/>
            <a:stCxn id="38" idx="3"/>
            <a:endCxn id="57" idx="1"/>
          </p:cNvCxnSpPr>
          <p:nvPr/>
        </p:nvCxnSpPr>
        <p:spPr>
          <a:xfrm>
            <a:off x="8779793" y="3146708"/>
            <a:ext cx="233579" cy="34154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 recto de flecha 98">
            <a:extLst>
              <a:ext uri="{FF2B5EF4-FFF2-40B4-BE49-F238E27FC236}">
                <a16:creationId xmlns:a16="http://schemas.microsoft.com/office/drawing/2014/main" id="{2C51C798-D14B-0693-B3BF-3345C4E2A78F}"/>
              </a:ext>
            </a:extLst>
          </p:cNvPr>
          <p:cNvCxnSpPr>
            <a:cxnSpLocks/>
            <a:stCxn id="39" idx="3"/>
            <a:endCxn id="56" idx="1"/>
          </p:cNvCxnSpPr>
          <p:nvPr/>
        </p:nvCxnSpPr>
        <p:spPr>
          <a:xfrm>
            <a:off x="8779793" y="4162250"/>
            <a:ext cx="233579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3099610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7149A95-FBDB-7D6B-37B2-53C8DEEBFF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7149A95-FBDB-7D6B-37B2-53C8DEEBF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EFDE41C-5545-19DB-1DD6-DAB30D984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3C55431-E5A4-B7E6-4D86-86AFA32A8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– Gant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45D0A64-6E6F-D9F6-0247-3B33D7E23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69" name="Tabla 8">
            <a:extLst>
              <a:ext uri="{FF2B5EF4-FFF2-40B4-BE49-F238E27FC236}">
                <a16:creationId xmlns:a16="http://schemas.microsoft.com/office/drawing/2014/main" id="{4CF30D03-CD04-6DE1-C2DA-1053B6C9718A}"/>
              </a:ext>
            </a:extLst>
          </p:cNvPr>
          <p:cNvGraphicFramePr>
            <a:graphicFrameLocks noGrp="1"/>
          </p:cNvGraphicFramePr>
          <p:nvPr/>
        </p:nvGraphicFramePr>
        <p:xfrm>
          <a:off x="384174" y="1520825"/>
          <a:ext cx="11436354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6059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3292836116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4130511795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3328929683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3282894858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569030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598582"/>
                  </a:ext>
                </a:extLst>
              </a:tr>
            </a:tbl>
          </a:graphicData>
        </a:graphic>
      </p:graphicFrame>
      <p:sp>
        <p:nvSpPr>
          <p:cNvPr id="70" name="Rectángulo 69">
            <a:extLst>
              <a:ext uri="{FF2B5EF4-FFF2-40B4-BE49-F238E27FC236}">
                <a16:creationId xmlns:a16="http://schemas.microsoft.com/office/drawing/2014/main" id="{06F79CC2-4730-F8DB-076A-BB6BA8E1B39C}"/>
              </a:ext>
            </a:extLst>
          </p:cNvPr>
          <p:cNvSpPr/>
          <p:nvPr/>
        </p:nvSpPr>
        <p:spPr>
          <a:xfrm>
            <a:off x="2292350" y="2597879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43409D14-C4DF-737B-E535-629522A20312}"/>
              </a:ext>
            </a:extLst>
          </p:cNvPr>
          <p:cNvSpPr/>
          <p:nvPr/>
        </p:nvSpPr>
        <p:spPr>
          <a:xfrm>
            <a:off x="5143500" y="3390900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6F71FBD0-108C-B280-BAB5-51B869AEACE1}"/>
              </a:ext>
            </a:extLst>
          </p:cNvPr>
          <p:cNvSpPr/>
          <p:nvPr/>
        </p:nvSpPr>
        <p:spPr>
          <a:xfrm>
            <a:off x="5143500" y="4194409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E4CBC276-8733-42AB-5250-FD64F254F47D}"/>
              </a:ext>
            </a:extLst>
          </p:cNvPr>
          <p:cNvSpPr/>
          <p:nvPr/>
        </p:nvSpPr>
        <p:spPr>
          <a:xfrm>
            <a:off x="7994650" y="4973742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CD8E4F4E-8BFA-9524-8C31-596ED59CA734}"/>
              </a:ext>
            </a:extLst>
          </p:cNvPr>
          <p:cNvSpPr/>
          <p:nvPr/>
        </p:nvSpPr>
        <p:spPr>
          <a:xfrm>
            <a:off x="7994649" y="5785813"/>
            <a:ext cx="3809999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1361435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4447D9FD-9E27-0760-AA31-2AD148C9D2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4447D9FD-9E27-0760-AA31-2AD148C9D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Plan Analyses</a:t>
            </a:r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387CCEF9-898F-AA2F-3940-B8D37EE5F589}"/>
              </a:ext>
            </a:extLst>
          </p:cNvPr>
          <p:cNvSpPr txBox="1">
            <a:spLocks/>
          </p:cNvSpPr>
          <p:nvPr/>
        </p:nvSpPr>
        <p:spPr>
          <a:xfrm>
            <a:off x="46357" y="1406715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Marcador de texto 12">
            <a:extLst>
              <a:ext uri="{FF2B5EF4-FFF2-40B4-BE49-F238E27FC236}">
                <a16:creationId xmlns:a16="http://schemas.microsoft.com/office/drawing/2014/main" id="{A8475F3C-2043-F09C-C6E2-A7A883455C0B}"/>
              </a:ext>
            </a:extLst>
          </p:cNvPr>
          <p:cNvSpPr txBox="1">
            <a:spLocks/>
          </p:cNvSpPr>
          <p:nvPr/>
        </p:nvSpPr>
        <p:spPr>
          <a:xfrm>
            <a:off x="4893721" y="1406715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Marcador de texto 12">
            <a:extLst>
              <a:ext uri="{FF2B5EF4-FFF2-40B4-BE49-F238E27FC236}">
                <a16:creationId xmlns:a16="http://schemas.microsoft.com/office/drawing/2014/main" id="{3139FF28-1D30-CCA7-3308-8BCDA8F952A1}"/>
              </a:ext>
            </a:extLst>
          </p:cNvPr>
          <p:cNvSpPr txBox="1">
            <a:spLocks/>
          </p:cNvSpPr>
          <p:nvPr/>
        </p:nvSpPr>
        <p:spPr>
          <a:xfrm>
            <a:off x="2485279" y="1406715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9" name="Marcador de texto 12">
            <a:extLst>
              <a:ext uri="{FF2B5EF4-FFF2-40B4-BE49-F238E27FC236}">
                <a16:creationId xmlns:a16="http://schemas.microsoft.com/office/drawing/2014/main" id="{AC04F30A-9583-0284-FA51-02D6AE03DFA7}"/>
              </a:ext>
            </a:extLst>
          </p:cNvPr>
          <p:cNvSpPr txBox="1">
            <a:spLocks/>
          </p:cNvSpPr>
          <p:nvPr/>
        </p:nvSpPr>
        <p:spPr>
          <a:xfrm>
            <a:off x="7332643" y="1406715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Marcador de texto 12">
            <a:extLst>
              <a:ext uri="{FF2B5EF4-FFF2-40B4-BE49-F238E27FC236}">
                <a16:creationId xmlns:a16="http://schemas.microsoft.com/office/drawing/2014/main" id="{6245EBDF-D79F-E4AB-9E94-A98B3EB741A4}"/>
              </a:ext>
            </a:extLst>
          </p:cNvPr>
          <p:cNvSpPr txBox="1">
            <a:spLocks/>
          </p:cNvSpPr>
          <p:nvPr/>
        </p:nvSpPr>
        <p:spPr>
          <a:xfrm>
            <a:off x="46357" y="866775"/>
            <a:ext cx="2369635" cy="539941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sue or hypothesis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FB8234F9-4187-2233-BD97-41BF294D68FB}"/>
              </a:ext>
            </a:extLst>
          </p:cNvPr>
          <p:cNvSpPr txBox="1">
            <a:spLocks/>
          </p:cNvSpPr>
          <p:nvPr/>
        </p:nvSpPr>
        <p:spPr>
          <a:xfrm>
            <a:off x="4893721" y="866775"/>
            <a:ext cx="236963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ources of insight</a:t>
            </a:r>
          </a:p>
        </p:txBody>
      </p:sp>
      <p:sp>
        <p:nvSpPr>
          <p:cNvPr id="23" name="Marcador de texto 12">
            <a:extLst>
              <a:ext uri="{FF2B5EF4-FFF2-40B4-BE49-F238E27FC236}">
                <a16:creationId xmlns:a16="http://schemas.microsoft.com/office/drawing/2014/main" id="{277D77DE-7CFD-5C9C-1D1E-3FCB31C01B8C}"/>
              </a:ext>
            </a:extLst>
          </p:cNvPr>
          <p:cNvSpPr txBox="1">
            <a:spLocks/>
          </p:cNvSpPr>
          <p:nvPr/>
        </p:nvSpPr>
        <p:spPr>
          <a:xfrm>
            <a:off x="2485279" y="866775"/>
            <a:ext cx="2369635" cy="539941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alysis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069A557C-83AA-68B9-048E-43B91D3B35A5}"/>
              </a:ext>
            </a:extLst>
          </p:cNvPr>
          <p:cNvSpPr txBox="1">
            <a:spLocks/>
          </p:cNvSpPr>
          <p:nvPr/>
        </p:nvSpPr>
        <p:spPr>
          <a:xfrm>
            <a:off x="7332643" y="866775"/>
            <a:ext cx="236963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nd product</a:t>
            </a:r>
          </a:p>
        </p:txBody>
      </p:sp>
      <p:sp>
        <p:nvSpPr>
          <p:cNvPr id="4" name="Marcador de texto 12">
            <a:extLst>
              <a:ext uri="{FF2B5EF4-FFF2-40B4-BE49-F238E27FC236}">
                <a16:creationId xmlns:a16="http://schemas.microsoft.com/office/drawing/2014/main" id="{4C98083A-9E9C-D5BF-8E3B-ED05CC96D4BF}"/>
              </a:ext>
            </a:extLst>
          </p:cNvPr>
          <p:cNvSpPr txBox="1">
            <a:spLocks/>
          </p:cNvSpPr>
          <p:nvPr/>
        </p:nvSpPr>
        <p:spPr>
          <a:xfrm>
            <a:off x="9771565" y="1406715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981F4BB3-0946-B063-3491-8014371E067D}"/>
              </a:ext>
            </a:extLst>
          </p:cNvPr>
          <p:cNvSpPr txBox="1">
            <a:spLocks/>
          </p:cNvSpPr>
          <p:nvPr/>
        </p:nvSpPr>
        <p:spPr>
          <a:xfrm>
            <a:off x="9771565" y="866775"/>
            <a:ext cx="236963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ming /steps /  responsibility</a:t>
            </a:r>
          </a:p>
        </p:txBody>
      </p:sp>
      <p:sp>
        <p:nvSpPr>
          <p:cNvPr id="20" name="Marcador de texto 12">
            <a:extLst>
              <a:ext uri="{FF2B5EF4-FFF2-40B4-BE49-F238E27FC236}">
                <a16:creationId xmlns:a16="http://schemas.microsoft.com/office/drawing/2014/main" id="{6A63F18A-F87C-F072-4B3B-516075A26389}"/>
              </a:ext>
            </a:extLst>
          </p:cNvPr>
          <p:cNvSpPr txBox="1">
            <a:spLocks/>
          </p:cNvSpPr>
          <p:nvPr/>
        </p:nvSpPr>
        <p:spPr>
          <a:xfrm>
            <a:off x="46357" y="2370422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84895B58-E15F-7F2A-4F5A-C041CB48CB9D}"/>
              </a:ext>
            </a:extLst>
          </p:cNvPr>
          <p:cNvSpPr txBox="1">
            <a:spLocks/>
          </p:cNvSpPr>
          <p:nvPr/>
        </p:nvSpPr>
        <p:spPr>
          <a:xfrm>
            <a:off x="4893721" y="2370422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D03F6A1A-3035-4F11-698F-FD06DAEA311A}"/>
              </a:ext>
            </a:extLst>
          </p:cNvPr>
          <p:cNvSpPr txBox="1">
            <a:spLocks/>
          </p:cNvSpPr>
          <p:nvPr/>
        </p:nvSpPr>
        <p:spPr>
          <a:xfrm>
            <a:off x="2485279" y="2370422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B0974333-9C99-DC90-9695-5C1DE9191E10}"/>
              </a:ext>
            </a:extLst>
          </p:cNvPr>
          <p:cNvSpPr txBox="1">
            <a:spLocks/>
          </p:cNvSpPr>
          <p:nvPr/>
        </p:nvSpPr>
        <p:spPr>
          <a:xfrm>
            <a:off x="7332643" y="2370422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8" name="Marcador de texto 12">
            <a:extLst>
              <a:ext uri="{FF2B5EF4-FFF2-40B4-BE49-F238E27FC236}">
                <a16:creationId xmlns:a16="http://schemas.microsoft.com/office/drawing/2014/main" id="{E451639D-65CF-5085-0C03-5B715253BB9A}"/>
              </a:ext>
            </a:extLst>
          </p:cNvPr>
          <p:cNvSpPr txBox="1">
            <a:spLocks/>
          </p:cNvSpPr>
          <p:nvPr/>
        </p:nvSpPr>
        <p:spPr>
          <a:xfrm>
            <a:off x="9771565" y="2370422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9" name="Marcador de texto 12">
            <a:extLst>
              <a:ext uri="{FF2B5EF4-FFF2-40B4-BE49-F238E27FC236}">
                <a16:creationId xmlns:a16="http://schemas.microsoft.com/office/drawing/2014/main" id="{9B76209D-1928-3F12-DBC7-3A2EF6E30787}"/>
              </a:ext>
            </a:extLst>
          </p:cNvPr>
          <p:cNvSpPr txBox="1">
            <a:spLocks/>
          </p:cNvSpPr>
          <p:nvPr/>
        </p:nvSpPr>
        <p:spPr>
          <a:xfrm>
            <a:off x="46357" y="3334129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0" name="Marcador de texto 12">
            <a:extLst>
              <a:ext uri="{FF2B5EF4-FFF2-40B4-BE49-F238E27FC236}">
                <a16:creationId xmlns:a16="http://schemas.microsoft.com/office/drawing/2014/main" id="{0111C727-465A-7685-A04E-6367C1BFE94D}"/>
              </a:ext>
            </a:extLst>
          </p:cNvPr>
          <p:cNvSpPr txBox="1">
            <a:spLocks/>
          </p:cNvSpPr>
          <p:nvPr/>
        </p:nvSpPr>
        <p:spPr>
          <a:xfrm>
            <a:off x="4893721" y="3334129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Marcador de texto 12">
            <a:extLst>
              <a:ext uri="{FF2B5EF4-FFF2-40B4-BE49-F238E27FC236}">
                <a16:creationId xmlns:a16="http://schemas.microsoft.com/office/drawing/2014/main" id="{82444491-136A-7F26-91EC-53C42B886B66}"/>
              </a:ext>
            </a:extLst>
          </p:cNvPr>
          <p:cNvSpPr txBox="1">
            <a:spLocks/>
          </p:cNvSpPr>
          <p:nvPr/>
        </p:nvSpPr>
        <p:spPr>
          <a:xfrm>
            <a:off x="2485279" y="3334129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2" name="Marcador de texto 12">
            <a:extLst>
              <a:ext uri="{FF2B5EF4-FFF2-40B4-BE49-F238E27FC236}">
                <a16:creationId xmlns:a16="http://schemas.microsoft.com/office/drawing/2014/main" id="{CE45301B-5B1B-AC25-BD40-98F53BE3454E}"/>
              </a:ext>
            </a:extLst>
          </p:cNvPr>
          <p:cNvSpPr txBox="1">
            <a:spLocks/>
          </p:cNvSpPr>
          <p:nvPr/>
        </p:nvSpPr>
        <p:spPr>
          <a:xfrm>
            <a:off x="7332643" y="3334129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Marcador de texto 12">
            <a:extLst>
              <a:ext uri="{FF2B5EF4-FFF2-40B4-BE49-F238E27FC236}">
                <a16:creationId xmlns:a16="http://schemas.microsoft.com/office/drawing/2014/main" id="{6C277576-D83E-0C64-CAC7-859072BCD600}"/>
              </a:ext>
            </a:extLst>
          </p:cNvPr>
          <p:cNvSpPr txBox="1">
            <a:spLocks/>
          </p:cNvSpPr>
          <p:nvPr/>
        </p:nvSpPr>
        <p:spPr>
          <a:xfrm>
            <a:off x="9771565" y="3334129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4" name="Marcador de texto 12">
            <a:extLst>
              <a:ext uri="{FF2B5EF4-FFF2-40B4-BE49-F238E27FC236}">
                <a16:creationId xmlns:a16="http://schemas.microsoft.com/office/drawing/2014/main" id="{BC025DB6-01F3-195C-B472-7D1E0C2DA259}"/>
              </a:ext>
            </a:extLst>
          </p:cNvPr>
          <p:cNvSpPr txBox="1">
            <a:spLocks/>
          </p:cNvSpPr>
          <p:nvPr/>
        </p:nvSpPr>
        <p:spPr>
          <a:xfrm>
            <a:off x="46357" y="4297836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5" name="Marcador de texto 12">
            <a:extLst>
              <a:ext uri="{FF2B5EF4-FFF2-40B4-BE49-F238E27FC236}">
                <a16:creationId xmlns:a16="http://schemas.microsoft.com/office/drawing/2014/main" id="{32686E42-E095-7459-A687-BF75CDD76022}"/>
              </a:ext>
            </a:extLst>
          </p:cNvPr>
          <p:cNvSpPr txBox="1">
            <a:spLocks/>
          </p:cNvSpPr>
          <p:nvPr/>
        </p:nvSpPr>
        <p:spPr>
          <a:xfrm>
            <a:off x="4893721" y="4297836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Marcador de texto 12">
            <a:extLst>
              <a:ext uri="{FF2B5EF4-FFF2-40B4-BE49-F238E27FC236}">
                <a16:creationId xmlns:a16="http://schemas.microsoft.com/office/drawing/2014/main" id="{2F2CB306-D5D5-1A49-3F5C-86686B4D7BE7}"/>
              </a:ext>
            </a:extLst>
          </p:cNvPr>
          <p:cNvSpPr txBox="1">
            <a:spLocks/>
          </p:cNvSpPr>
          <p:nvPr/>
        </p:nvSpPr>
        <p:spPr>
          <a:xfrm>
            <a:off x="2485279" y="4297836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7" name="Marcador de texto 12">
            <a:extLst>
              <a:ext uri="{FF2B5EF4-FFF2-40B4-BE49-F238E27FC236}">
                <a16:creationId xmlns:a16="http://schemas.microsoft.com/office/drawing/2014/main" id="{194F5FBD-3998-25D3-D338-FA0DCEE9782E}"/>
              </a:ext>
            </a:extLst>
          </p:cNvPr>
          <p:cNvSpPr txBox="1">
            <a:spLocks/>
          </p:cNvSpPr>
          <p:nvPr/>
        </p:nvSpPr>
        <p:spPr>
          <a:xfrm>
            <a:off x="7332643" y="4297836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8" name="Marcador de texto 12">
            <a:extLst>
              <a:ext uri="{FF2B5EF4-FFF2-40B4-BE49-F238E27FC236}">
                <a16:creationId xmlns:a16="http://schemas.microsoft.com/office/drawing/2014/main" id="{B35B779B-A91D-8AC5-8F77-B7BA041F86C1}"/>
              </a:ext>
            </a:extLst>
          </p:cNvPr>
          <p:cNvSpPr txBox="1">
            <a:spLocks/>
          </p:cNvSpPr>
          <p:nvPr/>
        </p:nvSpPr>
        <p:spPr>
          <a:xfrm>
            <a:off x="9771565" y="4297836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9" name="Marcador de texto 12">
            <a:extLst>
              <a:ext uri="{FF2B5EF4-FFF2-40B4-BE49-F238E27FC236}">
                <a16:creationId xmlns:a16="http://schemas.microsoft.com/office/drawing/2014/main" id="{39070C90-4F1C-E58C-E0BC-6BD9B39F5248}"/>
              </a:ext>
            </a:extLst>
          </p:cNvPr>
          <p:cNvSpPr txBox="1">
            <a:spLocks/>
          </p:cNvSpPr>
          <p:nvPr/>
        </p:nvSpPr>
        <p:spPr>
          <a:xfrm>
            <a:off x="46357" y="5261543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0" name="Marcador de texto 12">
            <a:extLst>
              <a:ext uri="{FF2B5EF4-FFF2-40B4-BE49-F238E27FC236}">
                <a16:creationId xmlns:a16="http://schemas.microsoft.com/office/drawing/2014/main" id="{91C75EDB-566C-B354-8C79-B0E0E1A4D3D7}"/>
              </a:ext>
            </a:extLst>
          </p:cNvPr>
          <p:cNvSpPr txBox="1">
            <a:spLocks/>
          </p:cNvSpPr>
          <p:nvPr/>
        </p:nvSpPr>
        <p:spPr>
          <a:xfrm>
            <a:off x="4893721" y="5261543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1" name="Marcador de texto 12">
            <a:extLst>
              <a:ext uri="{FF2B5EF4-FFF2-40B4-BE49-F238E27FC236}">
                <a16:creationId xmlns:a16="http://schemas.microsoft.com/office/drawing/2014/main" id="{49098C40-D84F-FBC1-C5CF-88D4A1E5FC23}"/>
              </a:ext>
            </a:extLst>
          </p:cNvPr>
          <p:cNvSpPr txBox="1">
            <a:spLocks/>
          </p:cNvSpPr>
          <p:nvPr/>
        </p:nvSpPr>
        <p:spPr>
          <a:xfrm>
            <a:off x="2485279" y="5261543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2" name="Marcador de texto 12">
            <a:extLst>
              <a:ext uri="{FF2B5EF4-FFF2-40B4-BE49-F238E27FC236}">
                <a16:creationId xmlns:a16="http://schemas.microsoft.com/office/drawing/2014/main" id="{858D30F0-230D-0207-6F47-03E5C35B8EB0}"/>
              </a:ext>
            </a:extLst>
          </p:cNvPr>
          <p:cNvSpPr txBox="1">
            <a:spLocks/>
          </p:cNvSpPr>
          <p:nvPr/>
        </p:nvSpPr>
        <p:spPr>
          <a:xfrm>
            <a:off x="7332643" y="5261543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Marcador de texto 12">
            <a:extLst>
              <a:ext uri="{FF2B5EF4-FFF2-40B4-BE49-F238E27FC236}">
                <a16:creationId xmlns:a16="http://schemas.microsoft.com/office/drawing/2014/main" id="{17382AB7-F7C4-BDC3-A2FD-46CD560377D9}"/>
              </a:ext>
            </a:extLst>
          </p:cNvPr>
          <p:cNvSpPr txBox="1">
            <a:spLocks/>
          </p:cNvSpPr>
          <p:nvPr/>
        </p:nvSpPr>
        <p:spPr>
          <a:xfrm>
            <a:off x="9771565" y="5261543"/>
            <a:ext cx="2369635" cy="8475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692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 would go right here, but we don’t have one for this slid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this document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0" dirty="0"/>
              <a:t>This template was created by Umbrex for the </a:t>
            </a:r>
            <a:r>
              <a:rPr lang="en-US" dirty="0"/>
              <a:t>free use </a:t>
            </a:r>
            <a:r>
              <a:rPr lang="en-US" b="0" dirty="0"/>
              <a:t>of independent consultants everywhere.</a:t>
            </a:r>
          </a:p>
          <a:p>
            <a:endParaRPr lang="en-US" b="0" dirty="0"/>
          </a:p>
          <a:p>
            <a:r>
              <a:rPr lang="en-US" b="0" dirty="0"/>
              <a:t>To get ideas on how to use these slide designs in practice, visit:</a:t>
            </a:r>
          </a:p>
          <a:p>
            <a:r>
              <a:rPr lang="en-US" b="0" dirty="0">
                <a:solidFill>
                  <a:schemeClr val="accent3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umbrex.com/resources/powerpoint-slides/</a:t>
            </a:r>
            <a:endParaRPr lang="en-US" b="0" dirty="0">
              <a:solidFill>
                <a:schemeClr val="accent3"/>
              </a:solidFill>
            </a:endParaRPr>
          </a:p>
          <a:p>
            <a:r>
              <a:rPr lang="en-US" b="0" dirty="0"/>
              <a:t>You’ll find real-life examples of how each of these slide types is used by top consulting firms.</a:t>
            </a:r>
          </a:p>
          <a:p>
            <a:endParaRPr lang="en-US" b="0" dirty="0"/>
          </a:p>
          <a:p>
            <a:r>
              <a:rPr lang="en-US" b="0" dirty="0"/>
              <a:t>You can customize this template with your own logo and color scheme.</a:t>
            </a:r>
          </a:p>
          <a:p>
            <a:r>
              <a:rPr lang="en-US" b="0" dirty="0"/>
              <a:t>Find instructions at: </a:t>
            </a:r>
            <a:r>
              <a:rPr lang="en-US" b="0" dirty="0">
                <a:solidFill>
                  <a:schemeClr val="accent3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umbrex.com/resources/powerpoint-templates-download/</a:t>
            </a:r>
            <a:endParaRPr lang="en-US" b="0" dirty="0">
              <a:solidFill>
                <a:schemeClr val="accent3"/>
              </a:solidFill>
            </a:endParaRPr>
          </a:p>
          <a:p>
            <a:endParaRPr lang="en-US" b="0" dirty="0"/>
          </a:p>
          <a:p>
            <a:r>
              <a:rPr lang="en-US" b="0" dirty="0"/>
              <a:t>We are continuing to add new slides to this template. For the latest version, visit that same link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 team analysis</a:t>
            </a:r>
          </a:p>
        </p:txBody>
      </p:sp>
    </p:spTree>
    <p:extLst>
      <p:ext uri="{BB962C8B-B14F-4D97-AF65-F5344CB8AC3E}">
        <p14:creationId xmlns:p14="http://schemas.microsoft.com/office/powerpoint/2010/main" val="3720770530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DA7DE8F-DCA6-DEF0-B403-6E28E75440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DA7DE8F-DCA6-DEF0-B403-6E28E7544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hlinkClick r:id="rId5"/>
            <a:extLst>
              <a:ext uri="{FF2B5EF4-FFF2-40B4-BE49-F238E27FC236}">
                <a16:creationId xmlns:a16="http://schemas.microsoft.com/office/drawing/2014/main" id="{D1AC369E-7BA6-3621-D3A7-7483533DC18D}"/>
              </a:ext>
            </a:extLst>
          </p:cNvPr>
          <p:cNvSpPr txBox="1">
            <a:spLocks/>
          </p:cNvSpPr>
          <p:nvPr/>
        </p:nvSpPr>
        <p:spPr>
          <a:xfrm>
            <a:off x="384173" y="1144487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alysis to be conduct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Marcador de texto 7">
            <a:hlinkClick r:id="rId5"/>
            <a:extLst>
              <a:ext uri="{FF2B5EF4-FFF2-40B4-BE49-F238E27FC236}">
                <a16:creationId xmlns:a16="http://schemas.microsoft.com/office/drawing/2014/main" id="{D17ED8EB-DD12-4768-7C12-92E5693B11B5}"/>
              </a:ext>
            </a:extLst>
          </p:cNvPr>
          <p:cNvSpPr txBox="1">
            <a:spLocks/>
          </p:cNvSpPr>
          <p:nvPr/>
        </p:nvSpPr>
        <p:spPr>
          <a:xfrm>
            <a:off x="6180135" y="1144487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. End product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Marcador de texto 7">
            <a:hlinkClick r:id="rId5"/>
            <a:extLst>
              <a:ext uri="{FF2B5EF4-FFF2-40B4-BE49-F238E27FC236}">
                <a16:creationId xmlns:a16="http://schemas.microsoft.com/office/drawing/2014/main" id="{66F3DFFF-3DD1-B965-5AE4-7F3DBBCADC37}"/>
              </a:ext>
            </a:extLst>
          </p:cNvPr>
          <p:cNvSpPr txBox="1">
            <a:spLocks/>
          </p:cNvSpPr>
          <p:nvPr/>
        </p:nvSpPr>
        <p:spPr>
          <a:xfrm>
            <a:off x="384173" y="3794760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ources of insight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Marcador de texto 7">
            <a:hlinkClick r:id="rId5"/>
            <a:extLst>
              <a:ext uri="{FF2B5EF4-FFF2-40B4-BE49-F238E27FC236}">
                <a16:creationId xmlns:a16="http://schemas.microsoft.com/office/drawing/2014/main" id="{6A994B81-7259-C2AC-809B-179D0859149F}"/>
              </a:ext>
            </a:extLst>
          </p:cNvPr>
          <p:cNvSpPr txBox="1">
            <a:spLocks/>
          </p:cNvSpPr>
          <p:nvPr/>
        </p:nvSpPr>
        <p:spPr>
          <a:xfrm>
            <a:off x="6180135" y="3794760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. Timing / steps /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sponsisibility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Analysis Pla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6441F9-0EA6-0856-6650-00CD955368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8461" y="6477000"/>
            <a:ext cx="5847522" cy="24068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2063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82EFDF1-F32E-C810-0323-A84CB5C5D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82EFDF1-F32E-C810-0323-A84CB5C5D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upo 56">
            <a:extLst>
              <a:ext uri="{FF2B5EF4-FFF2-40B4-BE49-F238E27FC236}">
                <a16:creationId xmlns:a16="http://schemas.microsoft.com/office/drawing/2014/main" id="{8DA41B56-EBFB-144A-5190-E001F30943F7}"/>
              </a:ext>
            </a:extLst>
          </p:cNvPr>
          <p:cNvGrpSpPr/>
          <p:nvPr/>
        </p:nvGrpSpPr>
        <p:grpSpPr>
          <a:xfrm>
            <a:off x="365707" y="1524041"/>
            <a:ext cx="11458387" cy="417554"/>
            <a:chOff x="365707" y="1288073"/>
            <a:chExt cx="11458387" cy="417554"/>
          </a:xfrm>
        </p:grpSpPr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FAA14894-C9A1-A16F-1639-16FC7CB1F4FF}"/>
                </a:ext>
              </a:extLst>
            </p:cNvPr>
            <p:cNvSpPr/>
            <p:nvPr/>
          </p:nvSpPr>
          <p:spPr>
            <a:xfrm rot="10800000">
              <a:off x="36570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96">
              <a:extLst>
                <a:ext uri="{FF2B5EF4-FFF2-40B4-BE49-F238E27FC236}">
                  <a16:creationId xmlns:a16="http://schemas.microsoft.com/office/drawing/2014/main" id="{6BDAAD5A-5CD0-616A-8F3D-8D296670A0B6}"/>
                </a:ext>
              </a:extLst>
            </p:cNvPr>
            <p:cNvSpPr/>
            <p:nvPr/>
          </p:nvSpPr>
          <p:spPr>
            <a:xfrm rot="10800000">
              <a:off x="133910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99">
              <a:extLst>
                <a:ext uri="{FF2B5EF4-FFF2-40B4-BE49-F238E27FC236}">
                  <a16:creationId xmlns:a16="http://schemas.microsoft.com/office/drawing/2014/main" id="{72972E0C-E681-4385-64C7-236E821609B2}"/>
                </a:ext>
              </a:extLst>
            </p:cNvPr>
            <p:cNvSpPr/>
            <p:nvPr/>
          </p:nvSpPr>
          <p:spPr>
            <a:xfrm rot="10800000">
              <a:off x="231249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Freeform 102">
              <a:extLst>
                <a:ext uri="{FF2B5EF4-FFF2-40B4-BE49-F238E27FC236}">
                  <a16:creationId xmlns:a16="http://schemas.microsoft.com/office/drawing/2014/main" id="{F532776E-1F4E-DDDB-2F26-6CE5E35B6676}"/>
                </a:ext>
              </a:extLst>
            </p:cNvPr>
            <p:cNvSpPr/>
            <p:nvPr/>
          </p:nvSpPr>
          <p:spPr>
            <a:xfrm rot="10800000">
              <a:off x="328588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1711F9CC-2BFD-4EFB-EB8D-12367EB8A1AD}"/>
                </a:ext>
              </a:extLst>
            </p:cNvPr>
            <p:cNvSpPr/>
            <p:nvPr/>
          </p:nvSpPr>
          <p:spPr>
            <a:xfrm rot="10800000">
              <a:off x="425927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Freeform 108">
              <a:extLst>
                <a:ext uri="{FF2B5EF4-FFF2-40B4-BE49-F238E27FC236}">
                  <a16:creationId xmlns:a16="http://schemas.microsoft.com/office/drawing/2014/main" id="{E380A342-1904-2DF8-08E8-9AC4F52791A6}"/>
                </a:ext>
              </a:extLst>
            </p:cNvPr>
            <p:cNvSpPr/>
            <p:nvPr/>
          </p:nvSpPr>
          <p:spPr>
            <a:xfrm rot="10800000">
              <a:off x="5232672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Freeform 114">
              <a:extLst>
                <a:ext uri="{FF2B5EF4-FFF2-40B4-BE49-F238E27FC236}">
                  <a16:creationId xmlns:a16="http://schemas.microsoft.com/office/drawing/2014/main" id="{6195A36B-79EF-8CC2-18E3-35808B06A006}"/>
                </a:ext>
              </a:extLst>
            </p:cNvPr>
            <p:cNvSpPr/>
            <p:nvPr/>
          </p:nvSpPr>
          <p:spPr>
            <a:xfrm rot="10800000">
              <a:off x="6206065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Freeform 117">
              <a:extLst>
                <a:ext uri="{FF2B5EF4-FFF2-40B4-BE49-F238E27FC236}">
                  <a16:creationId xmlns:a16="http://schemas.microsoft.com/office/drawing/2014/main" id="{CF29FDB3-68A5-BFD4-684D-3A4E0CFB1B8B}"/>
                </a:ext>
              </a:extLst>
            </p:cNvPr>
            <p:cNvSpPr/>
            <p:nvPr/>
          </p:nvSpPr>
          <p:spPr>
            <a:xfrm rot="10800000">
              <a:off x="717945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8" name="Freeform 120">
              <a:extLst>
                <a:ext uri="{FF2B5EF4-FFF2-40B4-BE49-F238E27FC236}">
                  <a16:creationId xmlns:a16="http://schemas.microsoft.com/office/drawing/2014/main" id="{482236F7-1F0A-0DC2-8C9D-9FB04C3BE3FC}"/>
                </a:ext>
              </a:extLst>
            </p:cNvPr>
            <p:cNvSpPr/>
            <p:nvPr/>
          </p:nvSpPr>
          <p:spPr>
            <a:xfrm rot="10800000">
              <a:off x="815285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0" name="Freeform 123">
              <a:extLst>
                <a:ext uri="{FF2B5EF4-FFF2-40B4-BE49-F238E27FC236}">
                  <a16:creationId xmlns:a16="http://schemas.microsoft.com/office/drawing/2014/main" id="{D438935D-E3C9-5662-09F6-11F17AA4B878}"/>
                </a:ext>
              </a:extLst>
            </p:cNvPr>
            <p:cNvSpPr/>
            <p:nvPr/>
          </p:nvSpPr>
          <p:spPr>
            <a:xfrm rot="10800000">
              <a:off x="912624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FFB271F5-19F2-6AF4-BB9B-8AAD63F57C33}"/>
                </a:ext>
              </a:extLst>
            </p:cNvPr>
            <p:cNvSpPr/>
            <p:nvPr/>
          </p:nvSpPr>
          <p:spPr>
            <a:xfrm rot="10800000">
              <a:off x="1009963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Freeform 129">
              <a:extLst>
                <a:ext uri="{FF2B5EF4-FFF2-40B4-BE49-F238E27FC236}">
                  <a16:creationId xmlns:a16="http://schemas.microsoft.com/office/drawing/2014/main" id="{35F11170-0FB7-E6CA-9D95-C0DBFDEFFB22}"/>
                </a:ext>
              </a:extLst>
            </p:cNvPr>
            <p:cNvSpPr/>
            <p:nvPr/>
          </p:nvSpPr>
          <p:spPr>
            <a:xfrm rot="10800000">
              <a:off x="1107302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BFB8431-BE3E-E2BB-F094-D6EE5CC9CE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6" name="Freeform 1">
            <a:extLst>
              <a:ext uri="{FF2B5EF4-FFF2-40B4-BE49-F238E27FC236}">
                <a16:creationId xmlns:a16="http://schemas.microsoft.com/office/drawing/2014/main" id="{90775AED-5143-BE56-91C6-E455F00DF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2415879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BC16AE75-A044-F2DE-B981-BC035805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3246054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7779AFD8-BBCE-5555-5F02-2FFBA7928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123268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Freeform 1">
            <a:extLst>
              <a:ext uri="{FF2B5EF4-FFF2-40B4-BE49-F238E27FC236}">
                <a16:creationId xmlns:a16="http://schemas.microsoft.com/office/drawing/2014/main" id="{14400B19-42B0-2E53-48B0-68975903F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955176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Freeform 1">
            <a:extLst>
              <a:ext uri="{FF2B5EF4-FFF2-40B4-BE49-F238E27FC236}">
                <a16:creationId xmlns:a16="http://schemas.microsoft.com/office/drawing/2014/main" id="{F340EA3C-9E9A-492C-70EF-43BAB8C1F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5763362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2310B091-EAF0-55E2-99C4-C9725F59E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5" y="2415879"/>
            <a:ext cx="2838852" cy="863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7642CA54-7BFD-DD55-772C-9B4628F83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9756" y="3246054"/>
            <a:ext cx="4821585" cy="86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A2EEAE24-7FEF-DA7E-FC2C-CBFB78899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1341" y="4955947"/>
            <a:ext cx="2124957" cy="863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4">
            <a:extLst>
              <a:ext uri="{FF2B5EF4-FFF2-40B4-BE49-F238E27FC236}">
                <a16:creationId xmlns:a16="http://schemas.microsoft.com/office/drawing/2014/main" id="{9D97EF86-4538-DA2C-96F0-6ED744C723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3306" y="5763362"/>
            <a:ext cx="2889851" cy="8635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4">
            <a:extLst>
              <a:ext uri="{FF2B5EF4-FFF2-40B4-BE49-F238E27FC236}">
                <a16:creationId xmlns:a16="http://schemas.microsoft.com/office/drawing/2014/main" id="{57767BB0-DA53-F582-F429-6B5408A2B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713" y="4124810"/>
            <a:ext cx="6315272" cy="8635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A6F086EB-F11A-E98A-9C5F-DD235A709722}"/>
              </a:ext>
            </a:extLst>
          </p:cNvPr>
          <p:cNvSpPr txBox="1"/>
          <p:nvPr/>
        </p:nvSpPr>
        <p:spPr>
          <a:xfrm>
            <a:off x="354994" y="212555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BB21E95-2223-862B-6D11-BB17B7FCA19E}"/>
              </a:ext>
            </a:extLst>
          </p:cNvPr>
          <p:cNvSpPr txBox="1">
            <a:spLocks/>
          </p:cNvSpPr>
          <p:nvPr/>
        </p:nvSpPr>
        <p:spPr>
          <a:xfrm>
            <a:off x="354994" y="2510263"/>
            <a:ext cx="3681957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E8B435D0-E39A-6F5C-A616-5EFD350F7B0B}"/>
              </a:ext>
            </a:extLst>
          </p:cNvPr>
          <p:cNvSpPr txBox="1"/>
          <p:nvPr/>
        </p:nvSpPr>
        <p:spPr>
          <a:xfrm>
            <a:off x="1445179" y="295100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3BAF51B-BC64-7B74-1127-4B6726EA263F}"/>
              </a:ext>
            </a:extLst>
          </p:cNvPr>
          <p:cNvSpPr txBox="1">
            <a:spLocks/>
          </p:cNvSpPr>
          <p:nvPr/>
        </p:nvSpPr>
        <p:spPr>
          <a:xfrm>
            <a:off x="1445179" y="3335712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6" name="TextBox 44">
            <a:extLst>
              <a:ext uri="{FF2B5EF4-FFF2-40B4-BE49-F238E27FC236}">
                <a16:creationId xmlns:a16="http://schemas.microsoft.com/office/drawing/2014/main" id="{ACF8B327-C479-DC24-37C4-E3064316401D}"/>
              </a:ext>
            </a:extLst>
          </p:cNvPr>
          <p:cNvSpPr txBox="1"/>
          <p:nvPr/>
        </p:nvSpPr>
        <p:spPr>
          <a:xfrm>
            <a:off x="3883522" y="382205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08E295F-DE65-ED8A-57D6-7F84CE528F4B}"/>
              </a:ext>
            </a:extLst>
          </p:cNvPr>
          <p:cNvSpPr txBox="1">
            <a:spLocks/>
          </p:cNvSpPr>
          <p:nvPr/>
        </p:nvSpPr>
        <p:spPr>
          <a:xfrm>
            <a:off x="3883522" y="4216963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" name="TextBox 47">
            <a:extLst>
              <a:ext uri="{FF2B5EF4-FFF2-40B4-BE49-F238E27FC236}">
                <a16:creationId xmlns:a16="http://schemas.microsoft.com/office/drawing/2014/main" id="{59380C58-A612-1510-7FB6-13AFEBB6FE32}"/>
              </a:ext>
            </a:extLst>
          </p:cNvPr>
          <p:cNvSpPr txBox="1"/>
          <p:nvPr/>
        </p:nvSpPr>
        <p:spPr>
          <a:xfrm>
            <a:off x="6310878" y="4655925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0B53343D-2CEF-7527-8BA7-2AB5137CAD3B}"/>
              </a:ext>
            </a:extLst>
          </p:cNvPr>
          <p:cNvSpPr txBox="1">
            <a:spLocks/>
          </p:cNvSpPr>
          <p:nvPr/>
        </p:nvSpPr>
        <p:spPr>
          <a:xfrm>
            <a:off x="4737713" y="5040637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</a:t>
            </a:r>
          </a:p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id="{FE0DDA08-459D-DEBA-A04A-743738AC5964}"/>
              </a:ext>
            </a:extLst>
          </p:cNvPr>
          <p:cNvSpPr txBox="1"/>
          <p:nvPr/>
        </p:nvSpPr>
        <p:spPr>
          <a:xfrm>
            <a:off x="8923306" y="546972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8604D22-E1C6-7E24-65D6-D91034047002}"/>
              </a:ext>
            </a:extLst>
          </p:cNvPr>
          <p:cNvSpPr txBox="1">
            <a:spLocks/>
          </p:cNvSpPr>
          <p:nvPr/>
        </p:nvSpPr>
        <p:spPr>
          <a:xfrm>
            <a:off x="7571620" y="5854435"/>
            <a:ext cx="365254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.</a:t>
            </a:r>
          </a:p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3" name="TextBox 26">
            <a:extLst>
              <a:ext uri="{FF2B5EF4-FFF2-40B4-BE49-F238E27FC236}">
                <a16:creationId xmlns:a16="http://schemas.microsoft.com/office/drawing/2014/main" id="{1B613910-436C-6ABD-7240-244D318A1429}"/>
              </a:ext>
            </a:extLst>
          </p:cNvPr>
          <p:cNvSpPr txBox="1"/>
          <p:nvPr/>
        </p:nvSpPr>
        <p:spPr>
          <a:xfrm>
            <a:off x="363314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1</a:t>
            </a:r>
          </a:p>
        </p:txBody>
      </p:sp>
      <p:sp>
        <p:nvSpPr>
          <p:cNvPr id="35" name="TextBox 97">
            <a:extLst>
              <a:ext uri="{FF2B5EF4-FFF2-40B4-BE49-F238E27FC236}">
                <a16:creationId xmlns:a16="http://schemas.microsoft.com/office/drawing/2014/main" id="{891AB81A-3699-12EE-D323-0CDC05854F3B}"/>
              </a:ext>
            </a:extLst>
          </p:cNvPr>
          <p:cNvSpPr txBox="1"/>
          <p:nvPr/>
        </p:nvSpPr>
        <p:spPr>
          <a:xfrm>
            <a:off x="1336707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2</a:t>
            </a:r>
          </a:p>
        </p:txBody>
      </p:sp>
      <p:sp>
        <p:nvSpPr>
          <p:cNvPr id="37" name="TextBox 100">
            <a:extLst>
              <a:ext uri="{FF2B5EF4-FFF2-40B4-BE49-F238E27FC236}">
                <a16:creationId xmlns:a16="http://schemas.microsoft.com/office/drawing/2014/main" id="{56C2FCC5-8458-84D8-738B-A20B64BF7A5D}"/>
              </a:ext>
            </a:extLst>
          </p:cNvPr>
          <p:cNvSpPr txBox="1"/>
          <p:nvPr/>
        </p:nvSpPr>
        <p:spPr>
          <a:xfrm>
            <a:off x="2310099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3</a:t>
            </a:r>
          </a:p>
        </p:txBody>
      </p:sp>
      <p:sp>
        <p:nvSpPr>
          <p:cNvPr id="39" name="TextBox 103">
            <a:extLst>
              <a:ext uri="{FF2B5EF4-FFF2-40B4-BE49-F238E27FC236}">
                <a16:creationId xmlns:a16="http://schemas.microsoft.com/office/drawing/2014/main" id="{818DB894-C044-F01A-93C3-20EFC1B124D8}"/>
              </a:ext>
            </a:extLst>
          </p:cNvPr>
          <p:cNvSpPr txBox="1"/>
          <p:nvPr/>
        </p:nvSpPr>
        <p:spPr>
          <a:xfrm>
            <a:off x="3283492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4</a:t>
            </a:r>
          </a:p>
        </p:txBody>
      </p:sp>
      <p:sp>
        <p:nvSpPr>
          <p:cNvPr id="41" name="TextBox 106">
            <a:extLst>
              <a:ext uri="{FF2B5EF4-FFF2-40B4-BE49-F238E27FC236}">
                <a16:creationId xmlns:a16="http://schemas.microsoft.com/office/drawing/2014/main" id="{FCC65EB4-0D14-FAC2-6E23-E980D9143DF3}"/>
              </a:ext>
            </a:extLst>
          </p:cNvPr>
          <p:cNvSpPr txBox="1"/>
          <p:nvPr/>
        </p:nvSpPr>
        <p:spPr>
          <a:xfrm>
            <a:off x="4256885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5</a:t>
            </a:r>
          </a:p>
        </p:txBody>
      </p:sp>
      <p:sp>
        <p:nvSpPr>
          <p:cNvPr id="43" name="TextBox 109">
            <a:extLst>
              <a:ext uri="{FF2B5EF4-FFF2-40B4-BE49-F238E27FC236}">
                <a16:creationId xmlns:a16="http://schemas.microsoft.com/office/drawing/2014/main" id="{F96C9565-5006-15ED-E3D1-61682C2B0E69}"/>
              </a:ext>
            </a:extLst>
          </p:cNvPr>
          <p:cNvSpPr txBox="1"/>
          <p:nvPr/>
        </p:nvSpPr>
        <p:spPr>
          <a:xfrm>
            <a:off x="5230280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6</a:t>
            </a:r>
          </a:p>
        </p:txBody>
      </p:sp>
      <p:sp>
        <p:nvSpPr>
          <p:cNvPr id="45" name="TextBox 115">
            <a:extLst>
              <a:ext uri="{FF2B5EF4-FFF2-40B4-BE49-F238E27FC236}">
                <a16:creationId xmlns:a16="http://schemas.microsoft.com/office/drawing/2014/main" id="{7D771AEA-990C-79F8-2B57-4DD79E169AD9}"/>
              </a:ext>
            </a:extLst>
          </p:cNvPr>
          <p:cNvSpPr txBox="1"/>
          <p:nvPr/>
        </p:nvSpPr>
        <p:spPr>
          <a:xfrm>
            <a:off x="6203671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7</a:t>
            </a:r>
          </a:p>
        </p:txBody>
      </p:sp>
      <p:sp>
        <p:nvSpPr>
          <p:cNvPr id="47" name="TextBox 118">
            <a:extLst>
              <a:ext uri="{FF2B5EF4-FFF2-40B4-BE49-F238E27FC236}">
                <a16:creationId xmlns:a16="http://schemas.microsoft.com/office/drawing/2014/main" id="{2B1B7797-3B8E-2AE9-2E15-1425B9011B0F}"/>
              </a:ext>
            </a:extLst>
          </p:cNvPr>
          <p:cNvSpPr txBox="1"/>
          <p:nvPr/>
        </p:nvSpPr>
        <p:spPr>
          <a:xfrm>
            <a:off x="7177064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8</a:t>
            </a:r>
          </a:p>
        </p:txBody>
      </p:sp>
      <p:sp>
        <p:nvSpPr>
          <p:cNvPr id="49" name="TextBox 121">
            <a:extLst>
              <a:ext uri="{FF2B5EF4-FFF2-40B4-BE49-F238E27FC236}">
                <a16:creationId xmlns:a16="http://schemas.microsoft.com/office/drawing/2014/main" id="{3843EF59-69F2-C22A-8E6C-2333331BA225}"/>
              </a:ext>
            </a:extLst>
          </p:cNvPr>
          <p:cNvSpPr txBox="1"/>
          <p:nvPr/>
        </p:nvSpPr>
        <p:spPr>
          <a:xfrm>
            <a:off x="8150457" y="1532042"/>
            <a:ext cx="7558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9</a:t>
            </a:r>
          </a:p>
        </p:txBody>
      </p:sp>
      <p:sp>
        <p:nvSpPr>
          <p:cNvPr id="51" name="TextBox 124">
            <a:extLst>
              <a:ext uri="{FF2B5EF4-FFF2-40B4-BE49-F238E27FC236}">
                <a16:creationId xmlns:a16="http://schemas.microsoft.com/office/drawing/2014/main" id="{64ADA331-3F61-73E0-6841-F0F650382EA4}"/>
              </a:ext>
            </a:extLst>
          </p:cNvPr>
          <p:cNvSpPr txBox="1"/>
          <p:nvPr/>
        </p:nvSpPr>
        <p:spPr>
          <a:xfrm>
            <a:off x="9074956" y="1532042"/>
            <a:ext cx="853632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10</a:t>
            </a:r>
          </a:p>
        </p:txBody>
      </p:sp>
      <p:sp>
        <p:nvSpPr>
          <p:cNvPr id="53" name="TextBox 127">
            <a:extLst>
              <a:ext uri="{FF2B5EF4-FFF2-40B4-BE49-F238E27FC236}">
                <a16:creationId xmlns:a16="http://schemas.microsoft.com/office/drawing/2014/main" id="{0614F48F-71E9-D49E-84BB-25F465020395}"/>
              </a:ext>
            </a:extLst>
          </p:cNvPr>
          <p:cNvSpPr txBox="1"/>
          <p:nvPr/>
        </p:nvSpPr>
        <p:spPr>
          <a:xfrm>
            <a:off x="10048350" y="1532042"/>
            <a:ext cx="853632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11</a:t>
            </a:r>
          </a:p>
        </p:txBody>
      </p:sp>
      <p:sp>
        <p:nvSpPr>
          <p:cNvPr id="55" name="TextBox 130">
            <a:extLst>
              <a:ext uri="{FF2B5EF4-FFF2-40B4-BE49-F238E27FC236}">
                <a16:creationId xmlns:a16="http://schemas.microsoft.com/office/drawing/2014/main" id="{E43DA777-F94A-405D-6180-A9C79BE69D86}"/>
              </a:ext>
            </a:extLst>
          </p:cNvPr>
          <p:cNvSpPr txBox="1"/>
          <p:nvPr/>
        </p:nvSpPr>
        <p:spPr>
          <a:xfrm>
            <a:off x="11021744" y="1532042"/>
            <a:ext cx="853632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Poppins" pitchFamily="2" charset="77"/>
              </a:rPr>
              <a:t>Week 12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3604AD1-CB27-3455-6246-C98DE87D01EC}"/>
              </a:ext>
            </a:extLst>
          </p:cNvPr>
          <p:cNvSpPr/>
          <p:nvPr/>
        </p:nvSpPr>
        <p:spPr>
          <a:xfrm>
            <a:off x="6006992" y="3003477"/>
            <a:ext cx="571509" cy="5715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984">
            <a:extLst>
              <a:ext uri="{FF2B5EF4-FFF2-40B4-BE49-F238E27FC236}">
                <a16:creationId xmlns:a16="http://schemas.microsoft.com/office/drawing/2014/main" id="{1D60E339-92F8-4D8D-16DD-55E1A1AB56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5753" y="3083741"/>
            <a:ext cx="312801" cy="41098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A32A4-D4BB-F50F-1AEE-6C8AAD4DB110}"/>
              </a:ext>
            </a:extLst>
          </p:cNvPr>
          <p:cNvSpPr/>
          <p:nvPr/>
        </p:nvSpPr>
        <p:spPr>
          <a:xfrm>
            <a:off x="9877308" y="3883818"/>
            <a:ext cx="571509" cy="5715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C3C9BF5B-FCC7-880A-0F7F-260D3522A369}"/>
              </a:ext>
            </a:extLst>
          </p:cNvPr>
          <p:cNvSpPr/>
          <p:nvPr/>
        </p:nvSpPr>
        <p:spPr>
          <a:xfrm>
            <a:off x="8330650" y="4707799"/>
            <a:ext cx="571509" cy="5715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6DDF5A4-BA39-2885-51E1-023F564EAB38}"/>
              </a:ext>
            </a:extLst>
          </p:cNvPr>
          <p:cNvSpPr/>
          <p:nvPr/>
        </p:nvSpPr>
        <p:spPr>
          <a:xfrm>
            <a:off x="11241648" y="5513758"/>
            <a:ext cx="571509" cy="5715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 985">
            <a:extLst>
              <a:ext uri="{FF2B5EF4-FFF2-40B4-BE49-F238E27FC236}">
                <a16:creationId xmlns:a16="http://schemas.microsoft.com/office/drawing/2014/main" id="{A5E76887-539A-3D21-6862-15A64AD186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53824" y="4821366"/>
            <a:ext cx="344374" cy="344374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 987">
            <a:extLst>
              <a:ext uri="{FF2B5EF4-FFF2-40B4-BE49-F238E27FC236}">
                <a16:creationId xmlns:a16="http://schemas.microsoft.com/office/drawing/2014/main" id="{F564790F-8CF4-290E-5475-794954F725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99161" y="4002511"/>
            <a:ext cx="344374" cy="344374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Freeform 988">
            <a:extLst>
              <a:ext uri="{FF2B5EF4-FFF2-40B4-BE49-F238E27FC236}">
                <a16:creationId xmlns:a16="http://schemas.microsoft.com/office/drawing/2014/main" id="{E8FBCF27-3D0B-9E79-B765-B7456BD605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355215" y="5627325"/>
            <a:ext cx="344374" cy="344374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6C0D5B5A-F722-C041-DA95-5ED1BC6A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High-level Workplan</a:t>
            </a:r>
          </a:p>
        </p:txBody>
      </p:sp>
    </p:spTree>
    <p:extLst>
      <p:ext uri="{BB962C8B-B14F-4D97-AF65-F5344CB8AC3E}">
        <p14:creationId xmlns:p14="http://schemas.microsoft.com/office/powerpoint/2010/main" val="3035809584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2318941" y="1537871"/>
            <a:ext cx="2026802" cy="811823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Week of ___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4187636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Week of ___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cs typeface="Lato Light" panose="020F0502020204030203" pitchFamily="34" charset="0"/>
              <a:sym typeface="Verdana" panose="020B0604030504040204" pitchFamily="34" charset="0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6056332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Week of ___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cs typeface="Lato Light" panose="020F0502020204030203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7925027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Week of ___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cs typeface="Lato Light" panose="020F0502020204030203" pitchFamily="34" charset="0"/>
              <a:sym typeface="Verdana" panose="020B0604030504040204" pitchFamily="34" charset="0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793723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Week of ___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cs typeface="Lato Light" panose="020F0502020204030203" pitchFamily="34" charset="0"/>
              <a:sym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5-Week Workplan</a:t>
            </a:r>
            <a:endParaRPr lang="en-GB" dirty="0"/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2318941" y="2550266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4365433" y="2550266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6175054" y="25502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8063442" y="25502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951829" y="2550266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8A46C5F-C717-4C04-7742-4E9DC81CCD5F}"/>
              </a:ext>
            </a:extLst>
          </p:cNvPr>
          <p:cNvSpPr txBox="1">
            <a:spLocks/>
          </p:cNvSpPr>
          <p:nvPr/>
        </p:nvSpPr>
        <p:spPr>
          <a:xfrm>
            <a:off x="371475" y="2550264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1327D7F-A874-C5C2-BE9D-9C68EDBF4698}"/>
              </a:ext>
            </a:extLst>
          </p:cNvPr>
          <p:cNvSpPr txBox="1">
            <a:spLocks/>
          </p:cNvSpPr>
          <p:nvPr/>
        </p:nvSpPr>
        <p:spPr>
          <a:xfrm>
            <a:off x="2334817" y="3516499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9938668-50CC-9FCF-470A-6C220FC37743}"/>
              </a:ext>
            </a:extLst>
          </p:cNvPr>
          <p:cNvSpPr txBox="1">
            <a:spLocks/>
          </p:cNvSpPr>
          <p:nvPr/>
        </p:nvSpPr>
        <p:spPr>
          <a:xfrm>
            <a:off x="4381309" y="3516499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9407011-6276-5C92-1A3A-335ACED71229}"/>
              </a:ext>
            </a:extLst>
          </p:cNvPr>
          <p:cNvSpPr txBox="1">
            <a:spLocks/>
          </p:cNvSpPr>
          <p:nvPr/>
        </p:nvSpPr>
        <p:spPr>
          <a:xfrm>
            <a:off x="6190930" y="3516499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460DCD0-BA52-B7BB-86E2-68FD65A55C8A}"/>
              </a:ext>
            </a:extLst>
          </p:cNvPr>
          <p:cNvSpPr txBox="1">
            <a:spLocks/>
          </p:cNvSpPr>
          <p:nvPr/>
        </p:nvSpPr>
        <p:spPr>
          <a:xfrm>
            <a:off x="8079318" y="3516499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5DE170C-FCF5-D970-88DA-44A886CF3515}"/>
              </a:ext>
            </a:extLst>
          </p:cNvPr>
          <p:cNvSpPr txBox="1">
            <a:spLocks/>
          </p:cNvSpPr>
          <p:nvPr/>
        </p:nvSpPr>
        <p:spPr>
          <a:xfrm>
            <a:off x="9967705" y="3516499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D582307-BCA9-E4BB-D683-ECFF36B22B44}"/>
              </a:ext>
            </a:extLst>
          </p:cNvPr>
          <p:cNvSpPr txBox="1">
            <a:spLocks/>
          </p:cNvSpPr>
          <p:nvPr/>
        </p:nvSpPr>
        <p:spPr>
          <a:xfrm>
            <a:off x="387351" y="3516497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36ED257-5FA4-B50C-30CF-53DAE2F8AF4C}"/>
              </a:ext>
            </a:extLst>
          </p:cNvPr>
          <p:cNvSpPr txBox="1">
            <a:spLocks/>
          </p:cNvSpPr>
          <p:nvPr/>
        </p:nvSpPr>
        <p:spPr>
          <a:xfrm>
            <a:off x="2318941" y="4482732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1BBD3D0-C703-F8D9-07D2-453946A20DAE}"/>
              </a:ext>
            </a:extLst>
          </p:cNvPr>
          <p:cNvSpPr txBox="1">
            <a:spLocks/>
          </p:cNvSpPr>
          <p:nvPr/>
        </p:nvSpPr>
        <p:spPr>
          <a:xfrm>
            <a:off x="4365433" y="4482732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186E0CC1-D8D9-1655-DD36-44633983D66A}"/>
              </a:ext>
            </a:extLst>
          </p:cNvPr>
          <p:cNvSpPr txBox="1">
            <a:spLocks/>
          </p:cNvSpPr>
          <p:nvPr/>
        </p:nvSpPr>
        <p:spPr>
          <a:xfrm>
            <a:off x="6175054" y="4482732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A9663FB-F092-2060-8AA4-419D9E865B83}"/>
              </a:ext>
            </a:extLst>
          </p:cNvPr>
          <p:cNvSpPr txBox="1">
            <a:spLocks/>
          </p:cNvSpPr>
          <p:nvPr/>
        </p:nvSpPr>
        <p:spPr>
          <a:xfrm>
            <a:off x="8063442" y="4482732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04D5EF0-5586-0E58-0AB2-D99967A88B9C}"/>
              </a:ext>
            </a:extLst>
          </p:cNvPr>
          <p:cNvSpPr txBox="1">
            <a:spLocks/>
          </p:cNvSpPr>
          <p:nvPr/>
        </p:nvSpPr>
        <p:spPr>
          <a:xfrm>
            <a:off x="9951829" y="4482732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A9E2B074-AE84-1251-917D-F5F69F1359EC}"/>
              </a:ext>
            </a:extLst>
          </p:cNvPr>
          <p:cNvSpPr txBox="1">
            <a:spLocks/>
          </p:cNvSpPr>
          <p:nvPr/>
        </p:nvSpPr>
        <p:spPr>
          <a:xfrm>
            <a:off x="371475" y="4482730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E30677A-1016-AF6F-1D48-ADD994957C00}"/>
              </a:ext>
            </a:extLst>
          </p:cNvPr>
          <p:cNvSpPr txBox="1">
            <a:spLocks/>
          </p:cNvSpPr>
          <p:nvPr/>
        </p:nvSpPr>
        <p:spPr>
          <a:xfrm>
            <a:off x="2334817" y="5448966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0B7DEC76-9204-25B5-590D-64C05BE4C6E1}"/>
              </a:ext>
            </a:extLst>
          </p:cNvPr>
          <p:cNvSpPr txBox="1">
            <a:spLocks/>
          </p:cNvSpPr>
          <p:nvPr/>
        </p:nvSpPr>
        <p:spPr>
          <a:xfrm>
            <a:off x="4381309" y="5448966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1692248-5246-2B0C-099B-29C9397D67D7}"/>
              </a:ext>
            </a:extLst>
          </p:cNvPr>
          <p:cNvSpPr txBox="1">
            <a:spLocks/>
          </p:cNvSpPr>
          <p:nvPr/>
        </p:nvSpPr>
        <p:spPr>
          <a:xfrm>
            <a:off x="6190930" y="54489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2F2FFC23-9AD1-3A31-6505-FC25B4CEFBA3}"/>
              </a:ext>
            </a:extLst>
          </p:cNvPr>
          <p:cNvSpPr txBox="1">
            <a:spLocks/>
          </p:cNvSpPr>
          <p:nvPr/>
        </p:nvSpPr>
        <p:spPr>
          <a:xfrm>
            <a:off x="8079318" y="54489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9AAB75AB-E264-3B95-A74E-3C8FD3082A9A}"/>
              </a:ext>
            </a:extLst>
          </p:cNvPr>
          <p:cNvSpPr txBox="1">
            <a:spLocks/>
          </p:cNvSpPr>
          <p:nvPr/>
        </p:nvSpPr>
        <p:spPr>
          <a:xfrm>
            <a:off x="9967705" y="5448966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4EDEC88B-4596-B585-41C9-289623CE670D}"/>
              </a:ext>
            </a:extLst>
          </p:cNvPr>
          <p:cNvSpPr txBox="1">
            <a:spLocks/>
          </p:cNvSpPr>
          <p:nvPr/>
        </p:nvSpPr>
        <p:spPr>
          <a:xfrm>
            <a:off x="387351" y="5448964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05EDE7BC-3A0C-CFC6-BF4D-DB21BF0F532E}"/>
              </a:ext>
            </a:extLst>
          </p:cNvPr>
          <p:cNvSpPr txBox="1">
            <a:spLocks/>
          </p:cNvSpPr>
          <p:nvPr/>
        </p:nvSpPr>
        <p:spPr>
          <a:xfrm>
            <a:off x="371475" y="1756701"/>
            <a:ext cx="1710594" cy="4137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stream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50A50F2-7F46-72C8-42CA-6F59AA2932E5}"/>
              </a:ext>
            </a:extLst>
          </p:cNvPr>
          <p:cNvCxnSpPr/>
          <p:nvPr/>
        </p:nvCxnSpPr>
        <p:spPr>
          <a:xfrm>
            <a:off x="320675" y="2166564"/>
            <a:ext cx="156654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152630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One-Week Workplan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374014" y="1896533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9144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258499" y="1896534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374014" y="2802461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9144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258499" y="2802462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374014" y="3708389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9144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258499" y="3708390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374014" y="4616116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9144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258499" y="4616117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374014" y="5525642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9144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258499" y="5525643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374014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Workstream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364181" y="1732070"/>
            <a:ext cx="174683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258498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lanned activities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248665" y="1740699"/>
            <a:ext cx="955598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89">
            <a:extLst>
              <a:ext uri="{FF2B5EF4-FFF2-40B4-BE49-F238E27FC236}">
                <a16:creationId xmlns:a16="http://schemas.microsoft.com/office/drawing/2014/main" id="{3783F940-BE52-9103-283A-7F4643F9EB6F}"/>
              </a:ext>
            </a:extLst>
          </p:cNvPr>
          <p:cNvSpPr/>
          <p:nvPr/>
        </p:nvSpPr>
        <p:spPr>
          <a:xfrm>
            <a:off x="6019965" y="1896534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Rectangle 89">
            <a:extLst>
              <a:ext uri="{FF2B5EF4-FFF2-40B4-BE49-F238E27FC236}">
                <a16:creationId xmlns:a16="http://schemas.microsoft.com/office/drawing/2014/main" id="{1ACBECEC-F962-107E-A7CF-D87421FE9009}"/>
              </a:ext>
            </a:extLst>
          </p:cNvPr>
          <p:cNvSpPr/>
          <p:nvPr/>
        </p:nvSpPr>
        <p:spPr>
          <a:xfrm>
            <a:off x="6019965" y="2802462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Rectangle 89">
            <a:extLst>
              <a:ext uri="{FF2B5EF4-FFF2-40B4-BE49-F238E27FC236}">
                <a16:creationId xmlns:a16="http://schemas.microsoft.com/office/drawing/2014/main" id="{C84AC4CA-81D4-8653-3B90-3F698C76C570}"/>
              </a:ext>
            </a:extLst>
          </p:cNvPr>
          <p:cNvSpPr/>
          <p:nvPr/>
        </p:nvSpPr>
        <p:spPr>
          <a:xfrm>
            <a:off x="6019965" y="3708390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9">
            <a:extLst>
              <a:ext uri="{FF2B5EF4-FFF2-40B4-BE49-F238E27FC236}">
                <a16:creationId xmlns:a16="http://schemas.microsoft.com/office/drawing/2014/main" id="{E08450F6-5E6A-845C-9BCC-55E96FC79561}"/>
              </a:ext>
            </a:extLst>
          </p:cNvPr>
          <p:cNvSpPr/>
          <p:nvPr/>
        </p:nvSpPr>
        <p:spPr>
          <a:xfrm>
            <a:off x="6019965" y="4616117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" name="Rectangle 89">
            <a:extLst>
              <a:ext uri="{FF2B5EF4-FFF2-40B4-BE49-F238E27FC236}">
                <a16:creationId xmlns:a16="http://schemas.microsoft.com/office/drawing/2014/main" id="{A9986825-B350-8279-3A09-8F495268B609}"/>
              </a:ext>
            </a:extLst>
          </p:cNvPr>
          <p:cNvSpPr/>
          <p:nvPr/>
        </p:nvSpPr>
        <p:spPr>
          <a:xfrm>
            <a:off x="6019965" y="5525643"/>
            <a:ext cx="3613982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</p:txBody>
      </p:sp>
      <p:sp>
        <p:nvSpPr>
          <p:cNvPr id="23" name="Rectangle 89">
            <a:extLst>
              <a:ext uri="{FF2B5EF4-FFF2-40B4-BE49-F238E27FC236}">
                <a16:creationId xmlns:a16="http://schemas.microsoft.com/office/drawing/2014/main" id="{72384783-B182-04BB-9FF9-C21505262646}"/>
              </a:ext>
            </a:extLst>
          </p:cNvPr>
          <p:cNvSpPr/>
          <p:nvPr/>
        </p:nvSpPr>
        <p:spPr>
          <a:xfrm>
            <a:off x="10010995" y="1896534"/>
            <a:ext cx="2008285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6" name="Rectangle 89">
            <a:extLst>
              <a:ext uri="{FF2B5EF4-FFF2-40B4-BE49-F238E27FC236}">
                <a16:creationId xmlns:a16="http://schemas.microsoft.com/office/drawing/2014/main" id="{D9B2FB46-4919-22C5-186E-FFCF7DFEE99C}"/>
              </a:ext>
            </a:extLst>
          </p:cNvPr>
          <p:cNvSpPr/>
          <p:nvPr/>
        </p:nvSpPr>
        <p:spPr>
          <a:xfrm>
            <a:off x="10010995" y="2802462"/>
            <a:ext cx="2008285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7" name="Rectangle 89">
            <a:extLst>
              <a:ext uri="{FF2B5EF4-FFF2-40B4-BE49-F238E27FC236}">
                <a16:creationId xmlns:a16="http://schemas.microsoft.com/office/drawing/2014/main" id="{72BE75BD-2848-BF17-68F7-5913A2E4A9FB}"/>
              </a:ext>
            </a:extLst>
          </p:cNvPr>
          <p:cNvSpPr/>
          <p:nvPr/>
        </p:nvSpPr>
        <p:spPr>
          <a:xfrm>
            <a:off x="10010995" y="3708390"/>
            <a:ext cx="2008285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8" name="Rectangle 89">
            <a:extLst>
              <a:ext uri="{FF2B5EF4-FFF2-40B4-BE49-F238E27FC236}">
                <a16:creationId xmlns:a16="http://schemas.microsoft.com/office/drawing/2014/main" id="{6D00CC23-7C3E-53BB-88A7-B4B28B9F86F8}"/>
              </a:ext>
            </a:extLst>
          </p:cNvPr>
          <p:cNvSpPr/>
          <p:nvPr/>
        </p:nvSpPr>
        <p:spPr>
          <a:xfrm>
            <a:off x="10010995" y="4616117"/>
            <a:ext cx="2008285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9" name="Rectangle 89">
            <a:extLst>
              <a:ext uri="{FF2B5EF4-FFF2-40B4-BE49-F238E27FC236}">
                <a16:creationId xmlns:a16="http://schemas.microsoft.com/office/drawing/2014/main" id="{B53201C7-778D-F619-EB4E-68B2030F9DDC}"/>
              </a:ext>
            </a:extLst>
          </p:cNvPr>
          <p:cNvSpPr/>
          <p:nvPr/>
        </p:nvSpPr>
        <p:spPr>
          <a:xfrm>
            <a:off x="10010995" y="5525643"/>
            <a:ext cx="2008285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9A7B962A-194A-AC57-3A89-8EA0A5D43DB2}"/>
              </a:ext>
            </a:extLst>
          </p:cNvPr>
          <p:cNvSpPr txBox="1"/>
          <p:nvPr/>
        </p:nvSpPr>
        <p:spPr>
          <a:xfrm>
            <a:off x="6094411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nd products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7DD30BE6-49A4-D8D9-E0F9-3C6176148FDF}"/>
              </a:ext>
            </a:extLst>
          </p:cNvPr>
          <p:cNvSpPr txBox="1"/>
          <p:nvPr/>
        </p:nvSpPr>
        <p:spPr>
          <a:xfrm>
            <a:off x="10097451" y="1398252"/>
            <a:ext cx="1921829" cy="34244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sponsibility</a:t>
            </a:r>
          </a:p>
        </p:txBody>
      </p:sp>
    </p:spTree>
    <p:extLst>
      <p:ext uri="{BB962C8B-B14F-4D97-AF65-F5344CB8AC3E}">
        <p14:creationId xmlns:p14="http://schemas.microsoft.com/office/powerpoint/2010/main" val="2585787368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F0F9CAA-D4E8-EE91-E84C-961B758C61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F0F9CAA-D4E8-EE91-E84C-961B758C61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Image timeline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3E139977-84E9-E120-0417-15D4F3F2F7DD}"/>
              </a:ext>
            </a:extLst>
          </p:cNvPr>
          <p:cNvSpPr/>
          <p:nvPr/>
        </p:nvSpPr>
        <p:spPr>
          <a:xfrm>
            <a:off x="384173" y="2641375"/>
            <a:ext cx="11436352" cy="34623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CFF4F96B-C014-79CB-1C68-B6AAA5535D79}"/>
              </a:ext>
            </a:extLst>
          </p:cNvPr>
          <p:cNvSpPr/>
          <p:nvPr/>
        </p:nvSpPr>
        <p:spPr>
          <a:xfrm>
            <a:off x="1129090" y="2691382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06930709-3297-AB13-2EE1-70319B276CB0}"/>
              </a:ext>
            </a:extLst>
          </p:cNvPr>
          <p:cNvSpPr/>
          <p:nvPr/>
        </p:nvSpPr>
        <p:spPr>
          <a:xfrm>
            <a:off x="4069745" y="2691382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0498A2BD-1DD2-B217-FBF0-B18C8B066B2F}"/>
              </a:ext>
            </a:extLst>
          </p:cNvPr>
          <p:cNvSpPr/>
          <p:nvPr/>
        </p:nvSpPr>
        <p:spPr>
          <a:xfrm>
            <a:off x="7010400" y="2691382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E8ECCB26-F2FC-6E41-D67F-80122C668BE0}"/>
              </a:ext>
            </a:extLst>
          </p:cNvPr>
          <p:cNvSpPr/>
          <p:nvPr/>
        </p:nvSpPr>
        <p:spPr>
          <a:xfrm>
            <a:off x="9951054" y="2691382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D8814FED-EEE2-AE11-66F4-65F6AFE328C8}"/>
              </a:ext>
            </a:extLst>
          </p:cNvPr>
          <p:cNvSpPr/>
          <p:nvPr/>
        </p:nvSpPr>
        <p:spPr>
          <a:xfrm>
            <a:off x="384173" y="4183098"/>
            <a:ext cx="11436352" cy="34623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45146DFF-2025-E215-E2CF-E91CBF65021D}"/>
              </a:ext>
            </a:extLst>
          </p:cNvPr>
          <p:cNvSpPr/>
          <p:nvPr/>
        </p:nvSpPr>
        <p:spPr>
          <a:xfrm>
            <a:off x="1129090" y="423310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9C5BA84F-DDC3-B619-29CF-FCDD126DE9E6}"/>
              </a:ext>
            </a:extLst>
          </p:cNvPr>
          <p:cNvSpPr/>
          <p:nvPr/>
        </p:nvSpPr>
        <p:spPr>
          <a:xfrm>
            <a:off x="4069745" y="423310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37FF78B8-1242-0E01-B72C-360BF54F584C}"/>
              </a:ext>
            </a:extLst>
          </p:cNvPr>
          <p:cNvSpPr/>
          <p:nvPr/>
        </p:nvSpPr>
        <p:spPr>
          <a:xfrm>
            <a:off x="7010400" y="423310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58C6E2CE-D6A5-0C2D-2DC1-74360C641A86}"/>
              </a:ext>
            </a:extLst>
          </p:cNvPr>
          <p:cNvSpPr/>
          <p:nvPr/>
        </p:nvSpPr>
        <p:spPr>
          <a:xfrm>
            <a:off x="9951054" y="423310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F5BA8841-3BE2-9D1C-6BD5-A764E9E8D135}"/>
              </a:ext>
            </a:extLst>
          </p:cNvPr>
          <p:cNvSpPr/>
          <p:nvPr/>
        </p:nvSpPr>
        <p:spPr>
          <a:xfrm>
            <a:off x="384173" y="5779064"/>
            <a:ext cx="11436352" cy="34623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BF203414-79BA-0EF9-75C9-02F8814E0BEC}"/>
              </a:ext>
            </a:extLst>
          </p:cNvPr>
          <p:cNvSpPr/>
          <p:nvPr/>
        </p:nvSpPr>
        <p:spPr>
          <a:xfrm>
            <a:off x="1129090" y="5829071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5AA014C9-D277-D68C-F91E-CE6372E2CC29}"/>
              </a:ext>
            </a:extLst>
          </p:cNvPr>
          <p:cNvSpPr/>
          <p:nvPr/>
        </p:nvSpPr>
        <p:spPr>
          <a:xfrm>
            <a:off x="4069745" y="5829071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18692908-1E8D-88E2-4173-6E008B5ED2C9}"/>
              </a:ext>
            </a:extLst>
          </p:cNvPr>
          <p:cNvSpPr/>
          <p:nvPr/>
        </p:nvSpPr>
        <p:spPr>
          <a:xfrm>
            <a:off x="7010400" y="5829071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8" name="Rectángulo 17407">
            <a:extLst>
              <a:ext uri="{FF2B5EF4-FFF2-40B4-BE49-F238E27FC236}">
                <a16:creationId xmlns:a16="http://schemas.microsoft.com/office/drawing/2014/main" id="{5847E725-C257-A443-8B4A-54181D367D15}"/>
              </a:ext>
            </a:extLst>
          </p:cNvPr>
          <p:cNvSpPr/>
          <p:nvPr/>
        </p:nvSpPr>
        <p:spPr>
          <a:xfrm>
            <a:off x="9951054" y="5829071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1" name="Rectángulo 17410">
            <a:extLst>
              <a:ext uri="{FF2B5EF4-FFF2-40B4-BE49-F238E27FC236}">
                <a16:creationId xmlns:a16="http://schemas.microsoft.com/office/drawing/2014/main" id="{6FA10AE8-D59D-0040-A1B0-EBA801BEACCF}"/>
              </a:ext>
            </a:extLst>
          </p:cNvPr>
          <p:cNvSpPr/>
          <p:nvPr/>
        </p:nvSpPr>
        <p:spPr>
          <a:xfrm>
            <a:off x="1129090" y="1993396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2" name="Rectángulo 17411">
            <a:extLst>
              <a:ext uri="{FF2B5EF4-FFF2-40B4-BE49-F238E27FC236}">
                <a16:creationId xmlns:a16="http://schemas.microsoft.com/office/drawing/2014/main" id="{8E1458F2-ECBA-FA63-F15D-F33353DE0820}"/>
              </a:ext>
            </a:extLst>
          </p:cNvPr>
          <p:cNvSpPr/>
          <p:nvPr/>
        </p:nvSpPr>
        <p:spPr>
          <a:xfrm>
            <a:off x="4069745" y="1993396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3" name="Rectángulo 17412">
            <a:extLst>
              <a:ext uri="{FF2B5EF4-FFF2-40B4-BE49-F238E27FC236}">
                <a16:creationId xmlns:a16="http://schemas.microsoft.com/office/drawing/2014/main" id="{E9FFEC00-DE4D-65D4-086C-0F763381257C}"/>
              </a:ext>
            </a:extLst>
          </p:cNvPr>
          <p:cNvSpPr/>
          <p:nvPr/>
        </p:nvSpPr>
        <p:spPr>
          <a:xfrm>
            <a:off x="7010400" y="1993396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4" name="Rectángulo 17413">
            <a:extLst>
              <a:ext uri="{FF2B5EF4-FFF2-40B4-BE49-F238E27FC236}">
                <a16:creationId xmlns:a16="http://schemas.microsoft.com/office/drawing/2014/main" id="{CCAE2DA9-0007-69A7-7BF6-2AE76BEAD9E9}"/>
              </a:ext>
            </a:extLst>
          </p:cNvPr>
          <p:cNvSpPr/>
          <p:nvPr/>
        </p:nvSpPr>
        <p:spPr>
          <a:xfrm>
            <a:off x="9951054" y="1993396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5" name="Rectángulo 17414">
            <a:extLst>
              <a:ext uri="{FF2B5EF4-FFF2-40B4-BE49-F238E27FC236}">
                <a16:creationId xmlns:a16="http://schemas.microsoft.com/office/drawing/2014/main" id="{73E7DE5D-6822-9954-D018-4AE93B256F84}"/>
              </a:ext>
            </a:extLst>
          </p:cNvPr>
          <p:cNvSpPr/>
          <p:nvPr/>
        </p:nvSpPr>
        <p:spPr>
          <a:xfrm>
            <a:off x="1129090" y="3535119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6" name="Rectángulo 17415">
            <a:extLst>
              <a:ext uri="{FF2B5EF4-FFF2-40B4-BE49-F238E27FC236}">
                <a16:creationId xmlns:a16="http://schemas.microsoft.com/office/drawing/2014/main" id="{A13956EF-59FE-FFB2-4F44-AA930CF41E78}"/>
              </a:ext>
            </a:extLst>
          </p:cNvPr>
          <p:cNvSpPr/>
          <p:nvPr/>
        </p:nvSpPr>
        <p:spPr>
          <a:xfrm>
            <a:off x="4069745" y="3535119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7" name="Rectángulo 17416">
            <a:extLst>
              <a:ext uri="{FF2B5EF4-FFF2-40B4-BE49-F238E27FC236}">
                <a16:creationId xmlns:a16="http://schemas.microsoft.com/office/drawing/2014/main" id="{A0246398-A567-D019-DCF2-BAA2A99A0FAF}"/>
              </a:ext>
            </a:extLst>
          </p:cNvPr>
          <p:cNvSpPr/>
          <p:nvPr/>
        </p:nvSpPr>
        <p:spPr>
          <a:xfrm>
            <a:off x="7010400" y="3535119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8" name="Rectángulo 17417">
            <a:extLst>
              <a:ext uri="{FF2B5EF4-FFF2-40B4-BE49-F238E27FC236}">
                <a16:creationId xmlns:a16="http://schemas.microsoft.com/office/drawing/2014/main" id="{A6A92F9F-94D5-6E9D-574D-042706C1A920}"/>
              </a:ext>
            </a:extLst>
          </p:cNvPr>
          <p:cNvSpPr/>
          <p:nvPr/>
        </p:nvSpPr>
        <p:spPr>
          <a:xfrm>
            <a:off x="9951054" y="3535119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19" name="Rectángulo 17418">
            <a:extLst>
              <a:ext uri="{FF2B5EF4-FFF2-40B4-BE49-F238E27FC236}">
                <a16:creationId xmlns:a16="http://schemas.microsoft.com/office/drawing/2014/main" id="{DBA658A9-9469-C975-196E-04323EF0D003}"/>
              </a:ext>
            </a:extLst>
          </p:cNvPr>
          <p:cNvSpPr/>
          <p:nvPr/>
        </p:nvSpPr>
        <p:spPr>
          <a:xfrm>
            <a:off x="1129090" y="513108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20" name="Rectángulo 17419">
            <a:extLst>
              <a:ext uri="{FF2B5EF4-FFF2-40B4-BE49-F238E27FC236}">
                <a16:creationId xmlns:a16="http://schemas.microsoft.com/office/drawing/2014/main" id="{325D9CD8-4999-083A-A5A4-9D2E6498975F}"/>
              </a:ext>
            </a:extLst>
          </p:cNvPr>
          <p:cNvSpPr/>
          <p:nvPr/>
        </p:nvSpPr>
        <p:spPr>
          <a:xfrm>
            <a:off x="4069745" y="513108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21" name="Rectángulo 17420">
            <a:extLst>
              <a:ext uri="{FF2B5EF4-FFF2-40B4-BE49-F238E27FC236}">
                <a16:creationId xmlns:a16="http://schemas.microsoft.com/office/drawing/2014/main" id="{47B05022-A88C-E687-12F0-2C1C2B11B2A9}"/>
              </a:ext>
            </a:extLst>
          </p:cNvPr>
          <p:cNvSpPr/>
          <p:nvPr/>
        </p:nvSpPr>
        <p:spPr>
          <a:xfrm>
            <a:off x="7010400" y="513108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22" name="Rectángulo 17421">
            <a:extLst>
              <a:ext uri="{FF2B5EF4-FFF2-40B4-BE49-F238E27FC236}">
                <a16:creationId xmlns:a16="http://schemas.microsoft.com/office/drawing/2014/main" id="{49B3A30B-746E-3D11-68C2-A38359AE2134}"/>
              </a:ext>
            </a:extLst>
          </p:cNvPr>
          <p:cNvSpPr/>
          <p:nvPr/>
        </p:nvSpPr>
        <p:spPr>
          <a:xfrm>
            <a:off x="9951054" y="5131085"/>
            <a:ext cx="112455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go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8081320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5537B75-9001-4D50-060E-1328D09E65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C5537B75-9001-4D50-060E-1328D09E6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Inflow and outflow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C78BE35-1501-73D8-179E-EA62855BDDE3}"/>
              </a:ext>
            </a:extLst>
          </p:cNvPr>
          <p:cNvSpPr/>
          <p:nvPr/>
        </p:nvSpPr>
        <p:spPr>
          <a:xfrm>
            <a:off x="2150355" y="2491807"/>
            <a:ext cx="299952" cy="6228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F551D513-5190-9107-FF08-8AEDF63C10A4}"/>
              </a:ext>
            </a:extLst>
          </p:cNvPr>
          <p:cNvSpPr/>
          <p:nvPr/>
        </p:nvSpPr>
        <p:spPr>
          <a:xfrm>
            <a:off x="2150355" y="3668147"/>
            <a:ext cx="299952" cy="3990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2D35C5A-9F40-D9FD-0A93-87D9CD667EFF}"/>
              </a:ext>
            </a:extLst>
          </p:cNvPr>
          <p:cNvSpPr/>
          <p:nvPr/>
        </p:nvSpPr>
        <p:spPr>
          <a:xfrm>
            <a:off x="2150355" y="4661130"/>
            <a:ext cx="299952" cy="1728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42B4AF99-E8F2-9C32-16BD-AE49347129DC}"/>
              </a:ext>
            </a:extLst>
          </p:cNvPr>
          <p:cNvSpPr/>
          <p:nvPr/>
        </p:nvSpPr>
        <p:spPr>
          <a:xfrm>
            <a:off x="2150355" y="5453063"/>
            <a:ext cx="299952" cy="1492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3C7CDFE-5768-9BC8-A4CE-13777EED0AB7}"/>
              </a:ext>
            </a:extLst>
          </p:cNvPr>
          <p:cNvSpPr/>
          <p:nvPr/>
        </p:nvSpPr>
        <p:spPr>
          <a:xfrm>
            <a:off x="4206964" y="3382396"/>
            <a:ext cx="299952" cy="1342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B05C522-5AAD-B7EF-07E9-89908C433E84}"/>
              </a:ext>
            </a:extLst>
          </p:cNvPr>
          <p:cNvSpPr/>
          <p:nvPr/>
        </p:nvSpPr>
        <p:spPr>
          <a:xfrm>
            <a:off x="6083300" y="3034731"/>
            <a:ext cx="299952" cy="5347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B49A4B2A-A2C7-BE88-BE61-04EA112CA5D3}"/>
              </a:ext>
            </a:extLst>
          </p:cNvPr>
          <p:cNvSpPr/>
          <p:nvPr/>
        </p:nvSpPr>
        <p:spPr>
          <a:xfrm>
            <a:off x="6083300" y="4338467"/>
            <a:ext cx="299952" cy="8050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5BE7EDB-E7F5-D7D9-DD7A-12C633FAD5FA}"/>
              </a:ext>
            </a:extLst>
          </p:cNvPr>
          <p:cNvSpPr/>
          <p:nvPr/>
        </p:nvSpPr>
        <p:spPr>
          <a:xfrm>
            <a:off x="7878416" y="4281319"/>
            <a:ext cx="299952" cy="2716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0EA68E7-DE9C-3696-2AF0-FA3EDCCDEADF}"/>
              </a:ext>
            </a:extLst>
          </p:cNvPr>
          <p:cNvSpPr/>
          <p:nvPr/>
        </p:nvSpPr>
        <p:spPr>
          <a:xfrm>
            <a:off x="7878416" y="2769904"/>
            <a:ext cx="299952" cy="2614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43950FE9-59D0-6BFD-AB36-55CEF60781BF}"/>
              </a:ext>
            </a:extLst>
          </p:cNvPr>
          <p:cNvSpPr/>
          <p:nvPr/>
        </p:nvSpPr>
        <p:spPr>
          <a:xfrm>
            <a:off x="9831039" y="2494191"/>
            <a:ext cx="299952" cy="2442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6ECA5578-28D8-FBB1-E188-53DD8D19CD58}"/>
              </a:ext>
            </a:extLst>
          </p:cNvPr>
          <p:cNvSpPr/>
          <p:nvPr/>
        </p:nvSpPr>
        <p:spPr>
          <a:xfrm>
            <a:off x="9831039" y="4134564"/>
            <a:ext cx="299952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E5BA7D5B-6DB4-CB26-48B5-FD8D2E71B3E8}"/>
              </a:ext>
            </a:extLst>
          </p:cNvPr>
          <p:cNvSpPr/>
          <p:nvPr/>
        </p:nvSpPr>
        <p:spPr>
          <a:xfrm>
            <a:off x="9831039" y="4786313"/>
            <a:ext cx="299952" cy="1147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4034239-C7EE-0971-4BD9-B8E5D937BC2A}"/>
              </a:ext>
            </a:extLst>
          </p:cNvPr>
          <p:cNvSpPr/>
          <p:nvPr/>
        </p:nvSpPr>
        <p:spPr>
          <a:xfrm>
            <a:off x="9831039" y="5353050"/>
            <a:ext cx="299952" cy="9889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8092EA72-A793-1941-C814-9D77DBE0580E}"/>
              </a:ext>
            </a:extLst>
          </p:cNvPr>
          <p:cNvSpPr/>
          <p:nvPr/>
        </p:nvSpPr>
        <p:spPr>
          <a:xfrm>
            <a:off x="9831039" y="5903119"/>
            <a:ext cx="299952" cy="692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15C59ED0-AF29-C01D-21C4-52FD169A0627}"/>
              </a:ext>
            </a:extLst>
          </p:cNvPr>
          <p:cNvSpPr/>
          <p:nvPr/>
        </p:nvSpPr>
        <p:spPr>
          <a:xfrm>
            <a:off x="4206964" y="3601244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3D75AF04-61F1-39EF-83F0-C0AB8B2915DA}"/>
              </a:ext>
            </a:extLst>
          </p:cNvPr>
          <p:cNvSpPr/>
          <p:nvPr/>
        </p:nvSpPr>
        <p:spPr>
          <a:xfrm>
            <a:off x="4206964" y="4134564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790B8114-615F-9955-6CF0-D3DFCE09D514}"/>
              </a:ext>
            </a:extLst>
          </p:cNvPr>
          <p:cNvSpPr/>
          <p:nvPr/>
        </p:nvSpPr>
        <p:spPr>
          <a:xfrm>
            <a:off x="4206964" y="4429482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798B7E0F-C5B6-160C-B25F-D9696690B034}"/>
              </a:ext>
            </a:extLst>
          </p:cNvPr>
          <p:cNvSpPr/>
          <p:nvPr/>
        </p:nvSpPr>
        <p:spPr>
          <a:xfrm>
            <a:off x="4206964" y="4605453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29DBD8F7-5C7E-B360-CE8E-7A28336BD931}"/>
              </a:ext>
            </a:extLst>
          </p:cNvPr>
          <p:cNvSpPr/>
          <p:nvPr/>
        </p:nvSpPr>
        <p:spPr>
          <a:xfrm>
            <a:off x="6083300" y="3252786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931107F1-B993-77FE-CD3B-C6459AE02492}"/>
              </a:ext>
            </a:extLst>
          </p:cNvPr>
          <p:cNvSpPr/>
          <p:nvPr/>
        </p:nvSpPr>
        <p:spPr>
          <a:xfrm>
            <a:off x="6284599" y="3114675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D1A1E0A0-2141-DF49-3578-9A822D493E02}"/>
              </a:ext>
            </a:extLst>
          </p:cNvPr>
          <p:cNvSpPr/>
          <p:nvPr/>
        </p:nvSpPr>
        <p:spPr>
          <a:xfrm>
            <a:off x="6284599" y="3375928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FE16FBB7-B727-8D7D-ACDD-96FD32743409}"/>
              </a:ext>
            </a:extLst>
          </p:cNvPr>
          <p:cNvSpPr/>
          <p:nvPr/>
        </p:nvSpPr>
        <p:spPr>
          <a:xfrm>
            <a:off x="8079715" y="2825096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2" name="Rectángulo 18431">
            <a:extLst>
              <a:ext uri="{FF2B5EF4-FFF2-40B4-BE49-F238E27FC236}">
                <a16:creationId xmlns:a16="http://schemas.microsoft.com/office/drawing/2014/main" id="{5F2A76DD-433E-0196-6168-F46D69EBBEF3}"/>
              </a:ext>
            </a:extLst>
          </p:cNvPr>
          <p:cNvSpPr/>
          <p:nvPr/>
        </p:nvSpPr>
        <p:spPr>
          <a:xfrm>
            <a:off x="8079715" y="2959775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3" name="Rectángulo 18432">
            <a:extLst>
              <a:ext uri="{FF2B5EF4-FFF2-40B4-BE49-F238E27FC236}">
                <a16:creationId xmlns:a16="http://schemas.microsoft.com/office/drawing/2014/main" id="{DB89E891-3599-F124-E164-CE95F23F7228}"/>
              </a:ext>
            </a:extLst>
          </p:cNvPr>
          <p:cNvSpPr/>
          <p:nvPr/>
        </p:nvSpPr>
        <p:spPr>
          <a:xfrm>
            <a:off x="8079715" y="4281319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5" name="Rectángulo 18434">
            <a:extLst>
              <a:ext uri="{FF2B5EF4-FFF2-40B4-BE49-F238E27FC236}">
                <a16:creationId xmlns:a16="http://schemas.microsoft.com/office/drawing/2014/main" id="{429CCEEB-7D5A-E328-2514-A3812A910024}"/>
              </a:ext>
            </a:extLst>
          </p:cNvPr>
          <p:cNvSpPr/>
          <p:nvPr/>
        </p:nvSpPr>
        <p:spPr>
          <a:xfrm>
            <a:off x="8079715" y="4367809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6" name="Rectángulo 18435">
            <a:extLst>
              <a:ext uri="{FF2B5EF4-FFF2-40B4-BE49-F238E27FC236}">
                <a16:creationId xmlns:a16="http://schemas.microsoft.com/office/drawing/2014/main" id="{C664A97B-C21F-374B-7B01-68C586F3D8AC}"/>
              </a:ext>
            </a:extLst>
          </p:cNvPr>
          <p:cNvSpPr/>
          <p:nvPr/>
        </p:nvSpPr>
        <p:spPr>
          <a:xfrm>
            <a:off x="8079715" y="4454298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8" name="Rectángulo 18437">
            <a:extLst>
              <a:ext uri="{FF2B5EF4-FFF2-40B4-BE49-F238E27FC236}">
                <a16:creationId xmlns:a16="http://schemas.microsoft.com/office/drawing/2014/main" id="{D9C1B34E-67A1-47B0-DD1A-D5793B4EA801}"/>
              </a:ext>
            </a:extLst>
          </p:cNvPr>
          <p:cNvSpPr/>
          <p:nvPr/>
        </p:nvSpPr>
        <p:spPr>
          <a:xfrm>
            <a:off x="7878416" y="4367809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9" name="Rectángulo 18438">
            <a:extLst>
              <a:ext uri="{FF2B5EF4-FFF2-40B4-BE49-F238E27FC236}">
                <a16:creationId xmlns:a16="http://schemas.microsoft.com/office/drawing/2014/main" id="{AB3D82AA-3D05-98D4-1B03-7BCAE3EE1872}"/>
              </a:ext>
            </a:extLst>
          </p:cNvPr>
          <p:cNvSpPr/>
          <p:nvPr/>
        </p:nvSpPr>
        <p:spPr>
          <a:xfrm>
            <a:off x="6083300" y="4691657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8452" name="Conector recto 18451">
            <a:extLst>
              <a:ext uri="{FF2B5EF4-FFF2-40B4-BE49-F238E27FC236}">
                <a16:creationId xmlns:a16="http://schemas.microsoft.com/office/drawing/2014/main" id="{AFB3A6FA-3E43-0A09-5538-E5A6734C6323}"/>
              </a:ext>
            </a:extLst>
          </p:cNvPr>
          <p:cNvCxnSpPr>
            <a:cxnSpLocks/>
            <a:stCxn id="10" idx="3"/>
            <a:endCxn id="24" idx="1"/>
          </p:cNvCxnSpPr>
          <p:nvPr/>
        </p:nvCxnSpPr>
        <p:spPr>
          <a:xfrm>
            <a:off x="2450307" y="2803241"/>
            <a:ext cx="1756657" cy="84733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54" name="Conector recto 18453">
            <a:extLst>
              <a:ext uri="{FF2B5EF4-FFF2-40B4-BE49-F238E27FC236}">
                <a16:creationId xmlns:a16="http://schemas.microsoft.com/office/drawing/2014/main" id="{B6FB2A8E-0E88-173A-ACED-DFFFFEE4C98C}"/>
              </a:ext>
            </a:extLst>
          </p:cNvPr>
          <p:cNvCxnSpPr>
            <a:cxnSpLocks/>
            <a:stCxn id="11" idx="3"/>
            <a:endCxn id="25" idx="1"/>
          </p:cNvCxnSpPr>
          <p:nvPr/>
        </p:nvCxnSpPr>
        <p:spPr>
          <a:xfrm>
            <a:off x="2450307" y="3867661"/>
            <a:ext cx="1756657" cy="31623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57" name="Conector recto 18456">
            <a:extLst>
              <a:ext uri="{FF2B5EF4-FFF2-40B4-BE49-F238E27FC236}">
                <a16:creationId xmlns:a16="http://schemas.microsoft.com/office/drawing/2014/main" id="{3A491BDA-A854-DA6F-7D98-095E57F19B4F}"/>
              </a:ext>
            </a:extLst>
          </p:cNvPr>
          <p:cNvCxnSpPr>
            <a:cxnSpLocks/>
            <a:stCxn id="12" idx="3"/>
            <a:endCxn id="26" idx="1"/>
          </p:cNvCxnSpPr>
          <p:nvPr/>
        </p:nvCxnSpPr>
        <p:spPr>
          <a:xfrm flipV="1">
            <a:off x="2450307" y="4478809"/>
            <a:ext cx="1756657" cy="26872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60" name="Conector recto 18459">
            <a:extLst>
              <a:ext uri="{FF2B5EF4-FFF2-40B4-BE49-F238E27FC236}">
                <a16:creationId xmlns:a16="http://schemas.microsoft.com/office/drawing/2014/main" id="{D09D804F-F54A-69A8-9368-82B57514FED3}"/>
              </a:ext>
            </a:extLst>
          </p:cNvPr>
          <p:cNvCxnSpPr>
            <a:cxnSpLocks/>
            <a:stCxn id="13" idx="3"/>
            <a:endCxn id="27" idx="1"/>
          </p:cNvCxnSpPr>
          <p:nvPr/>
        </p:nvCxnSpPr>
        <p:spPr>
          <a:xfrm flipV="1">
            <a:off x="2450307" y="4654780"/>
            <a:ext cx="1756657" cy="8728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65" name="Rectángulo 18464">
            <a:extLst>
              <a:ext uri="{FF2B5EF4-FFF2-40B4-BE49-F238E27FC236}">
                <a16:creationId xmlns:a16="http://schemas.microsoft.com/office/drawing/2014/main" id="{F839B89B-9C2F-6C48-D85E-0BC96E773671}"/>
              </a:ext>
            </a:extLst>
          </p:cNvPr>
          <p:cNvSpPr/>
          <p:nvPr/>
        </p:nvSpPr>
        <p:spPr>
          <a:xfrm>
            <a:off x="4408263" y="4238978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66" name="Rectángulo 18465">
            <a:extLst>
              <a:ext uri="{FF2B5EF4-FFF2-40B4-BE49-F238E27FC236}">
                <a16:creationId xmlns:a16="http://schemas.microsoft.com/office/drawing/2014/main" id="{42D22AEB-A46F-6FCC-EDCD-70AAB9244E8E}"/>
              </a:ext>
            </a:extLst>
          </p:cNvPr>
          <p:cNvSpPr/>
          <p:nvPr/>
        </p:nvSpPr>
        <p:spPr>
          <a:xfrm>
            <a:off x="4408263" y="3604531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8467" name="Conector recto 18466">
            <a:extLst>
              <a:ext uri="{FF2B5EF4-FFF2-40B4-BE49-F238E27FC236}">
                <a16:creationId xmlns:a16="http://schemas.microsoft.com/office/drawing/2014/main" id="{160D885E-5C97-58D0-DC18-725A757D4C31}"/>
              </a:ext>
            </a:extLst>
          </p:cNvPr>
          <p:cNvCxnSpPr>
            <a:cxnSpLocks/>
            <a:stCxn id="18466" idx="3"/>
            <a:endCxn id="28" idx="1"/>
          </p:cNvCxnSpPr>
          <p:nvPr/>
        </p:nvCxnSpPr>
        <p:spPr>
          <a:xfrm flipV="1">
            <a:off x="4506916" y="3302113"/>
            <a:ext cx="1576384" cy="35174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70" name="Conector recto 18469">
            <a:extLst>
              <a:ext uri="{FF2B5EF4-FFF2-40B4-BE49-F238E27FC236}">
                <a16:creationId xmlns:a16="http://schemas.microsoft.com/office/drawing/2014/main" id="{F53F5D3C-46DF-1FAF-B32E-6D50B9DD15BD}"/>
              </a:ext>
            </a:extLst>
          </p:cNvPr>
          <p:cNvCxnSpPr>
            <a:cxnSpLocks/>
            <a:stCxn id="18465" idx="3"/>
            <a:endCxn id="18439" idx="1"/>
          </p:cNvCxnSpPr>
          <p:nvPr/>
        </p:nvCxnSpPr>
        <p:spPr>
          <a:xfrm>
            <a:off x="4506916" y="4288305"/>
            <a:ext cx="1576384" cy="45267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74" name="Conector recto 18473">
            <a:extLst>
              <a:ext uri="{FF2B5EF4-FFF2-40B4-BE49-F238E27FC236}">
                <a16:creationId xmlns:a16="http://schemas.microsoft.com/office/drawing/2014/main" id="{F8EA5511-ED7D-196C-9F63-2C88C76FF177}"/>
              </a:ext>
            </a:extLst>
          </p:cNvPr>
          <p:cNvCxnSpPr>
            <a:cxnSpLocks/>
            <a:stCxn id="29" idx="3"/>
            <a:endCxn id="18" idx="1"/>
          </p:cNvCxnSpPr>
          <p:nvPr/>
        </p:nvCxnSpPr>
        <p:spPr>
          <a:xfrm flipV="1">
            <a:off x="6383252" y="2900618"/>
            <a:ext cx="1495164" cy="263384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77" name="Conector recto 18476">
            <a:extLst>
              <a:ext uri="{FF2B5EF4-FFF2-40B4-BE49-F238E27FC236}">
                <a16:creationId xmlns:a16="http://schemas.microsoft.com/office/drawing/2014/main" id="{2DC45998-43DF-0B25-342B-82D70D872CE9}"/>
              </a:ext>
            </a:extLst>
          </p:cNvPr>
          <p:cNvCxnSpPr>
            <a:cxnSpLocks/>
            <a:stCxn id="30" idx="3"/>
            <a:endCxn id="18438" idx="1"/>
          </p:cNvCxnSpPr>
          <p:nvPr/>
        </p:nvCxnSpPr>
        <p:spPr>
          <a:xfrm>
            <a:off x="6383252" y="3425255"/>
            <a:ext cx="1495164" cy="99188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80" name="Conector recto 18479">
            <a:extLst>
              <a:ext uri="{FF2B5EF4-FFF2-40B4-BE49-F238E27FC236}">
                <a16:creationId xmlns:a16="http://schemas.microsoft.com/office/drawing/2014/main" id="{783FDB1E-26CC-AA5A-A05D-B1BC31D10298}"/>
              </a:ext>
            </a:extLst>
          </p:cNvPr>
          <p:cNvCxnSpPr>
            <a:cxnSpLocks/>
            <a:stCxn id="31" idx="3"/>
            <a:endCxn id="19" idx="1"/>
          </p:cNvCxnSpPr>
          <p:nvPr/>
        </p:nvCxnSpPr>
        <p:spPr>
          <a:xfrm flipV="1">
            <a:off x="8178368" y="2616315"/>
            <a:ext cx="1652671" cy="25810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83" name="Conector recto 18482">
            <a:extLst>
              <a:ext uri="{FF2B5EF4-FFF2-40B4-BE49-F238E27FC236}">
                <a16:creationId xmlns:a16="http://schemas.microsoft.com/office/drawing/2014/main" id="{65D3EF02-CAA2-14A9-FAD9-D6D72C15D5FA}"/>
              </a:ext>
            </a:extLst>
          </p:cNvPr>
          <p:cNvCxnSpPr>
            <a:cxnSpLocks/>
            <a:stCxn id="18432" idx="3"/>
            <a:endCxn id="20" idx="1"/>
          </p:cNvCxnSpPr>
          <p:nvPr/>
        </p:nvCxnSpPr>
        <p:spPr>
          <a:xfrm>
            <a:off x="8178368" y="3009102"/>
            <a:ext cx="1652671" cy="114832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88" name="Conector recto 18487">
            <a:extLst>
              <a:ext uri="{FF2B5EF4-FFF2-40B4-BE49-F238E27FC236}">
                <a16:creationId xmlns:a16="http://schemas.microsoft.com/office/drawing/2014/main" id="{F0E10BB0-DC81-6445-C338-2CE12CB5BFAF}"/>
              </a:ext>
            </a:extLst>
          </p:cNvPr>
          <p:cNvCxnSpPr>
            <a:cxnSpLocks/>
            <a:stCxn id="21" idx="1"/>
            <a:endCxn id="18433" idx="3"/>
          </p:cNvCxnSpPr>
          <p:nvPr/>
        </p:nvCxnSpPr>
        <p:spPr>
          <a:xfrm flipH="1" flipV="1">
            <a:off x="8178368" y="4330646"/>
            <a:ext cx="1652671" cy="51305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91" name="Conector recto 18490">
            <a:extLst>
              <a:ext uri="{FF2B5EF4-FFF2-40B4-BE49-F238E27FC236}">
                <a16:creationId xmlns:a16="http://schemas.microsoft.com/office/drawing/2014/main" id="{D1FD729D-9C6E-833C-B926-FA54767F2C4A}"/>
              </a:ext>
            </a:extLst>
          </p:cNvPr>
          <p:cNvCxnSpPr>
            <a:cxnSpLocks/>
            <a:stCxn id="22" idx="1"/>
            <a:endCxn id="18435" idx="3"/>
          </p:cNvCxnSpPr>
          <p:nvPr/>
        </p:nvCxnSpPr>
        <p:spPr>
          <a:xfrm flipH="1" flipV="1">
            <a:off x="8178368" y="4417136"/>
            <a:ext cx="1652671" cy="985363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94" name="Conector recto 18493">
            <a:extLst>
              <a:ext uri="{FF2B5EF4-FFF2-40B4-BE49-F238E27FC236}">
                <a16:creationId xmlns:a16="http://schemas.microsoft.com/office/drawing/2014/main" id="{4D8E1732-6148-6359-74C5-C079F3581A07}"/>
              </a:ext>
            </a:extLst>
          </p:cNvPr>
          <p:cNvCxnSpPr>
            <a:cxnSpLocks/>
            <a:stCxn id="23" idx="1"/>
            <a:endCxn id="18436" idx="3"/>
          </p:cNvCxnSpPr>
          <p:nvPr/>
        </p:nvCxnSpPr>
        <p:spPr>
          <a:xfrm flipH="1" flipV="1">
            <a:off x="8178368" y="4503625"/>
            <a:ext cx="1652671" cy="143413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99" name="Rectángulo 18498">
            <a:extLst>
              <a:ext uri="{FF2B5EF4-FFF2-40B4-BE49-F238E27FC236}">
                <a16:creationId xmlns:a16="http://schemas.microsoft.com/office/drawing/2014/main" id="{03E61EC5-B285-19B5-AD30-5B814430E8C6}"/>
              </a:ext>
            </a:extLst>
          </p:cNvPr>
          <p:cNvSpPr/>
          <p:nvPr/>
        </p:nvSpPr>
        <p:spPr>
          <a:xfrm>
            <a:off x="2150355" y="6207128"/>
            <a:ext cx="299952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8500" name="Conector recto 18499">
            <a:extLst>
              <a:ext uri="{FF2B5EF4-FFF2-40B4-BE49-F238E27FC236}">
                <a16:creationId xmlns:a16="http://schemas.microsoft.com/office/drawing/2014/main" id="{047E823B-EF19-FA1A-F1C5-E882C1C0BBB1}"/>
              </a:ext>
            </a:extLst>
          </p:cNvPr>
          <p:cNvCxnSpPr>
            <a:cxnSpLocks/>
            <a:stCxn id="18499" idx="3"/>
            <a:endCxn id="18503" idx="1"/>
          </p:cNvCxnSpPr>
          <p:nvPr/>
        </p:nvCxnSpPr>
        <p:spPr>
          <a:xfrm flipV="1">
            <a:off x="2450307" y="4716242"/>
            <a:ext cx="1756657" cy="151374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03" name="Rectángulo 18502">
            <a:extLst>
              <a:ext uri="{FF2B5EF4-FFF2-40B4-BE49-F238E27FC236}">
                <a16:creationId xmlns:a16="http://schemas.microsoft.com/office/drawing/2014/main" id="{BDEDE335-9F16-47B9-A7B9-41E9F41500FC}"/>
              </a:ext>
            </a:extLst>
          </p:cNvPr>
          <p:cNvSpPr/>
          <p:nvPr/>
        </p:nvSpPr>
        <p:spPr>
          <a:xfrm>
            <a:off x="4206964" y="4666915"/>
            <a:ext cx="98653" cy="98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05" name="Rectángulo 18504">
            <a:extLst>
              <a:ext uri="{FF2B5EF4-FFF2-40B4-BE49-F238E27FC236}">
                <a16:creationId xmlns:a16="http://schemas.microsoft.com/office/drawing/2014/main" id="{C9D41B15-3208-841F-3C54-BEF50716A826}"/>
              </a:ext>
            </a:extLst>
          </p:cNvPr>
          <p:cNvSpPr/>
          <p:nvPr/>
        </p:nvSpPr>
        <p:spPr>
          <a:xfrm>
            <a:off x="384174" y="2710908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06" name="Rectángulo 18505">
            <a:extLst>
              <a:ext uri="{FF2B5EF4-FFF2-40B4-BE49-F238E27FC236}">
                <a16:creationId xmlns:a16="http://schemas.microsoft.com/office/drawing/2014/main" id="{FF1DAC9B-5835-E3CF-8A5C-06382CB6C2DA}"/>
              </a:ext>
            </a:extLst>
          </p:cNvPr>
          <p:cNvSpPr/>
          <p:nvPr/>
        </p:nvSpPr>
        <p:spPr>
          <a:xfrm>
            <a:off x="384174" y="1790278"/>
            <a:ext cx="777876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07" name="Rectángulo 18506">
            <a:extLst>
              <a:ext uri="{FF2B5EF4-FFF2-40B4-BE49-F238E27FC236}">
                <a16:creationId xmlns:a16="http://schemas.microsoft.com/office/drawing/2014/main" id="{11FF5965-2CFE-0648-1FA8-1ED8FA700089}"/>
              </a:ext>
            </a:extLst>
          </p:cNvPr>
          <p:cNvSpPr/>
          <p:nvPr/>
        </p:nvSpPr>
        <p:spPr>
          <a:xfrm>
            <a:off x="384174" y="3775328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08" name="Rectángulo 18507">
            <a:extLst>
              <a:ext uri="{FF2B5EF4-FFF2-40B4-BE49-F238E27FC236}">
                <a16:creationId xmlns:a16="http://schemas.microsoft.com/office/drawing/2014/main" id="{6E58E156-2A30-DEE8-658B-869425932E2E}"/>
              </a:ext>
            </a:extLst>
          </p:cNvPr>
          <p:cNvSpPr/>
          <p:nvPr/>
        </p:nvSpPr>
        <p:spPr>
          <a:xfrm>
            <a:off x="384174" y="4658255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09" name="Rectángulo 18508">
            <a:extLst>
              <a:ext uri="{FF2B5EF4-FFF2-40B4-BE49-F238E27FC236}">
                <a16:creationId xmlns:a16="http://schemas.microsoft.com/office/drawing/2014/main" id="{3D8B6CDF-2AAC-F072-12AA-2B4D63DE6B38}"/>
              </a:ext>
            </a:extLst>
          </p:cNvPr>
          <p:cNvSpPr/>
          <p:nvPr/>
        </p:nvSpPr>
        <p:spPr>
          <a:xfrm>
            <a:off x="384174" y="5435018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4" name="Rectángulo 18513">
            <a:extLst>
              <a:ext uri="{FF2B5EF4-FFF2-40B4-BE49-F238E27FC236}">
                <a16:creationId xmlns:a16="http://schemas.microsoft.com/office/drawing/2014/main" id="{89EF2F26-DA1A-2BA7-0B34-1A159C3A375E}"/>
              </a:ext>
            </a:extLst>
          </p:cNvPr>
          <p:cNvSpPr/>
          <p:nvPr/>
        </p:nvSpPr>
        <p:spPr>
          <a:xfrm>
            <a:off x="384174" y="6138512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1" name="Rectángulo 18520">
            <a:extLst>
              <a:ext uri="{FF2B5EF4-FFF2-40B4-BE49-F238E27FC236}">
                <a16:creationId xmlns:a16="http://schemas.microsoft.com/office/drawing/2014/main" id="{088041F3-A3DE-D447-0283-02CD088E33CE}"/>
              </a:ext>
            </a:extLst>
          </p:cNvPr>
          <p:cNvSpPr/>
          <p:nvPr/>
        </p:nvSpPr>
        <p:spPr>
          <a:xfrm>
            <a:off x="1303600" y="2710908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2" name="Rectángulo 18521">
            <a:extLst>
              <a:ext uri="{FF2B5EF4-FFF2-40B4-BE49-F238E27FC236}">
                <a16:creationId xmlns:a16="http://schemas.microsoft.com/office/drawing/2014/main" id="{E5C2B3E7-6B49-14D4-E302-BC5C5715374B}"/>
              </a:ext>
            </a:extLst>
          </p:cNvPr>
          <p:cNvSpPr/>
          <p:nvPr/>
        </p:nvSpPr>
        <p:spPr>
          <a:xfrm>
            <a:off x="1303600" y="3775328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3" name="Rectángulo 18522">
            <a:extLst>
              <a:ext uri="{FF2B5EF4-FFF2-40B4-BE49-F238E27FC236}">
                <a16:creationId xmlns:a16="http://schemas.microsoft.com/office/drawing/2014/main" id="{49247BDC-2E1E-01DF-2FEC-DE4D122D8A89}"/>
              </a:ext>
            </a:extLst>
          </p:cNvPr>
          <p:cNvSpPr/>
          <p:nvPr/>
        </p:nvSpPr>
        <p:spPr>
          <a:xfrm>
            <a:off x="1303600" y="4658255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4" name="Rectángulo 18523">
            <a:extLst>
              <a:ext uri="{FF2B5EF4-FFF2-40B4-BE49-F238E27FC236}">
                <a16:creationId xmlns:a16="http://schemas.microsoft.com/office/drawing/2014/main" id="{BBF7DEF2-182D-6398-0B9F-47A38BB839FA}"/>
              </a:ext>
            </a:extLst>
          </p:cNvPr>
          <p:cNvSpPr/>
          <p:nvPr/>
        </p:nvSpPr>
        <p:spPr>
          <a:xfrm>
            <a:off x="1303600" y="5435018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5" name="Rectángulo 18524">
            <a:extLst>
              <a:ext uri="{FF2B5EF4-FFF2-40B4-BE49-F238E27FC236}">
                <a16:creationId xmlns:a16="http://schemas.microsoft.com/office/drawing/2014/main" id="{DF0A209F-DE09-2B7E-C802-42EC34F3B1C6}"/>
              </a:ext>
            </a:extLst>
          </p:cNvPr>
          <p:cNvSpPr/>
          <p:nvPr/>
        </p:nvSpPr>
        <p:spPr>
          <a:xfrm>
            <a:off x="1303600" y="6138512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6" name="Rectángulo 18525">
            <a:extLst>
              <a:ext uri="{FF2B5EF4-FFF2-40B4-BE49-F238E27FC236}">
                <a16:creationId xmlns:a16="http://schemas.microsoft.com/office/drawing/2014/main" id="{36A412A1-436C-6BE3-D798-5CDE42409606}"/>
              </a:ext>
            </a:extLst>
          </p:cNvPr>
          <p:cNvSpPr/>
          <p:nvPr/>
        </p:nvSpPr>
        <p:spPr>
          <a:xfrm>
            <a:off x="1922860" y="2272313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7" name="Rectángulo 18526">
            <a:extLst>
              <a:ext uri="{FF2B5EF4-FFF2-40B4-BE49-F238E27FC236}">
                <a16:creationId xmlns:a16="http://schemas.microsoft.com/office/drawing/2014/main" id="{142F94F0-2983-C3F8-A909-99B20FD214D9}"/>
              </a:ext>
            </a:extLst>
          </p:cNvPr>
          <p:cNvSpPr/>
          <p:nvPr/>
        </p:nvSpPr>
        <p:spPr>
          <a:xfrm>
            <a:off x="1922860" y="3413090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8" name="Rectángulo 18527">
            <a:extLst>
              <a:ext uri="{FF2B5EF4-FFF2-40B4-BE49-F238E27FC236}">
                <a16:creationId xmlns:a16="http://schemas.microsoft.com/office/drawing/2014/main" id="{4F4FA67E-E887-BFB4-EFA5-2E03A826CA92}"/>
              </a:ext>
            </a:extLst>
          </p:cNvPr>
          <p:cNvSpPr/>
          <p:nvPr/>
        </p:nvSpPr>
        <p:spPr>
          <a:xfrm>
            <a:off x="1922860" y="4398399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9" name="Rectángulo 18528">
            <a:extLst>
              <a:ext uri="{FF2B5EF4-FFF2-40B4-BE49-F238E27FC236}">
                <a16:creationId xmlns:a16="http://schemas.microsoft.com/office/drawing/2014/main" id="{0E838315-69C6-5741-3317-AFE39946EE14}"/>
              </a:ext>
            </a:extLst>
          </p:cNvPr>
          <p:cNvSpPr/>
          <p:nvPr/>
        </p:nvSpPr>
        <p:spPr>
          <a:xfrm>
            <a:off x="1922860" y="5189660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7D34FDBD-EE6B-4D8A-4134-9C8FCE5252E9}"/>
              </a:ext>
            </a:extLst>
          </p:cNvPr>
          <p:cNvSpPr/>
          <p:nvPr/>
        </p:nvSpPr>
        <p:spPr>
          <a:xfrm>
            <a:off x="3975587" y="3134965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46DFF852-FEC2-CC2F-D6D8-0619ECE91A6F}"/>
              </a:ext>
            </a:extLst>
          </p:cNvPr>
          <p:cNvSpPr/>
          <p:nvPr/>
        </p:nvSpPr>
        <p:spPr>
          <a:xfrm>
            <a:off x="5847472" y="2797293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D737640-E982-5F5A-F9C1-CA54794BB240}"/>
              </a:ext>
            </a:extLst>
          </p:cNvPr>
          <p:cNvSpPr/>
          <p:nvPr/>
        </p:nvSpPr>
        <p:spPr>
          <a:xfrm>
            <a:off x="7638822" y="2515951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b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7" name="Rectángulo 18436">
            <a:extLst>
              <a:ext uri="{FF2B5EF4-FFF2-40B4-BE49-F238E27FC236}">
                <a16:creationId xmlns:a16="http://schemas.microsoft.com/office/drawing/2014/main" id="{9F932B78-B627-4BE2-C9EA-006183AD92AA}"/>
              </a:ext>
            </a:extLst>
          </p:cNvPr>
          <p:cNvSpPr/>
          <p:nvPr/>
        </p:nvSpPr>
        <p:spPr>
          <a:xfrm>
            <a:off x="10215213" y="2526242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40" name="Rectángulo 18439">
            <a:extLst>
              <a:ext uri="{FF2B5EF4-FFF2-40B4-BE49-F238E27FC236}">
                <a16:creationId xmlns:a16="http://schemas.microsoft.com/office/drawing/2014/main" id="{9ACFC348-D304-DFDB-D5E4-60EAA250C750}"/>
              </a:ext>
            </a:extLst>
          </p:cNvPr>
          <p:cNvSpPr/>
          <p:nvPr/>
        </p:nvSpPr>
        <p:spPr>
          <a:xfrm>
            <a:off x="10215213" y="4061283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41" name="Rectángulo 18440">
            <a:extLst>
              <a:ext uri="{FF2B5EF4-FFF2-40B4-BE49-F238E27FC236}">
                <a16:creationId xmlns:a16="http://schemas.microsoft.com/office/drawing/2014/main" id="{7539F493-BB28-111B-BD2B-52871B4D5613}"/>
              </a:ext>
            </a:extLst>
          </p:cNvPr>
          <p:cNvSpPr/>
          <p:nvPr/>
        </p:nvSpPr>
        <p:spPr>
          <a:xfrm>
            <a:off x="10215213" y="4754142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42" name="Rectángulo 18441">
            <a:extLst>
              <a:ext uri="{FF2B5EF4-FFF2-40B4-BE49-F238E27FC236}">
                <a16:creationId xmlns:a16="http://schemas.microsoft.com/office/drawing/2014/main" id="{D9205F51-74FC-1254-A00B-DACC441330C1}"/>
              </a:ext>
            </a:extLst>
          </p:cNvPr>
          <p:cNvSpPr/>
          <p:nvPr/>
        </p:nvSpPr>
        <p:spPr>
          <a:xfrm>
            <a:off x="10215213" y="5310166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43" name="Rectángulo 18442">
            <a:extLst>
              <a:ext uri="{FF2B5EF4-FFF2-40B4-BE49-F238E27FC236}">
                <a16:creationId xmlns:a16="http://schemas.microsoft.com/office/drawing/2014/main" id="{BA42EDCC-48D5-51A4-710A-AC5073E2FDF8}"/>
              </a:ext>
            </a:extLst>
          </p:cNvPr>
          <p:cNvSpPr/>
          <p:nvPr/>
        </p:nvSpPr>
        <p:spPr>
          <a:xfrm>
            <a:off x="10215213" y="5842353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44" name="Rectángulo 18443">
            <a:extLst>
              <a:ext uri="{FF2B5EF4-FFF2-40B4-BE49-F238E27FC236}">
                <a16:creationId xmlns:a16="http://schemas.microsoft.com/office/drawing/2014/main" id="{16A3E529-C1DF-DD5C-BA22-C65966096089}"/>
              </a:ext>
            </a:extLst>
          </p:cNvPr>
          <p:cNvSpPr/>
          <p:nvPr/>
        </p:nvSpPr>
        <p:spPr>
          <a:xfrm>
            <a:off x="7638822" y="4642530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45" name="Rectángulo 18444">
            <a:extLst>
              <a:ext uri="{FF2B5EF4-FFF2-40B4-BE49-F238E27FC236}">
                <a16:creationId xmlns:a16="http://schemas.microsoft.com/office/drawing/2014/main" id="{E8C8FA22-3035-B344-C982-DD611152D8A1}"/>
              </a:ext>
            </a:extLst>
          </p:cNvPr>
          <p:cNvSpPr/>
          <p:nvPr/>
        </p:nvSpPr>
        <p:spPr>
          <a:xfrm>
            <a:off x="5852409" y="5226395"/>
            <a:ext cx="77787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1692972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3223582470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E4B6F3D-F39D-82FA-3528-A3F1F7B178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E4B6F3D-F39D-82FA-3528-A3F1F7B17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87" name="Conector angular 33">
            <a:extLst>
              <a:ext uri="{FF2B5EF4-FFF2-40B4-BE49-F238E27FC236}">
                <a16:creationId xmlns:a16="http://schemas.microsoft.com/office/drawing/2014/main" id="{0EAB512E-EDC8-4437-8922-70BA985EE700}"/>
              </a:ext>
            </a:extLst>
          </p:cNvPr>
          <p:cNvCxnSpPr>
            <a:cxnSpLocks/>
            <a:stCxn id="28" idx="1"/>
            <a:endCxn id="14" idx="3"/>
          </p:cNvCxnSpPr>
          <p:nvPr/>
        </p:nvCxnSpPr>
        <p:spPr>
          <a:xfrm rot="10800000">
            <a:off x="3965576" y="2985153"/>
            <a:ext cx="4263769" cy="2479040"/>
          </a:xfrm>
          <a:prstGeom prst="bentConnector3">
            <a:avLst>
              <a:gd name="adj1" fmla="val 94934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1" name="Conector angular 33">
            <a:extLst>
              <a:ext uri="{FF2B5EF4-FFF2-40B4-BE49-F238E27FC236}">
                <a16:creationId xmlns:a16="http://schemas.microsoft.com/office/drawing/2014/main" id="{35BF4BE7-4A4A-DC00-58D3-3ECF53D45E69}"/>
              </a:ext>
            </a:extLst>
          </p:cNvPr>
          <p:cNvCxnSpPr>
            <a:cxnSpLocks/>
            <a:stCxn id="29" idx="1"/>
            <a:endCxn id="14" idx="3"/>
          </p:cNvCxnSpPr>
          <p:nvPr/>
        </p:nvCxnSpPr>
        <p:spPr>
          <a:xfrm rot="10800000">
            <a:off x="3965576" y="2985153"/>
            <a:ext cx="6246755" cy="1239520"/>
          </a:xfrm>
          <a:prstGeom prst="bentConnector3">
            <a:avLst>
              <a:gd name="adj1" fmla="val 96622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A3A6A1D-C712-7E52-BF1C-733B61E596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D66EAD0-976A-9CBA-E440-3B5D7F6C7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Organization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1D8E929-E2C1-0062-B90A-63F39F97A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B806AD11-D192-F88B-229E-C1DB18303A7B}"/>
              </a:ext>
            </a:extLst>
          </p:cNvPr>
          <p:cNvSpPr/>
          <p:nvPr/>
        </p:nvSpPr>
        <p:spPr>
          <a:xfrm>
            <a:off x="4344930" y="214443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C180DAC3-3FFE-FC92-C9DE-8562A2683F74}"/>
              </a:ext>
            </a:extLst>
          </p:cNvPr>
          <p:cNvSpPr/>
          <p:nvPr/>
        </p:nvSpPr>
        <p:spPr>
          <a:xfrm>
            <a:off x="4344930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2EC277E3-95C2-D00F-D869-0207F9123D06}"/>
              </a:ext>
            </a:extLst>
          </p:cNvPr>
          <p:cNvSpPr/>
          <p:nvPr/>
        </p:nvSpPr>
        <p:spPr>
          <a:xfrm>
            <a:off x="2357380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5" name="Rounded Rectangle 33">
            <a:extLst>
              <a:ext uri="{FF2B5EF4-FFF2-40B4-BE49-F238E27FC236}">
                <a16:creationId xmlns:a16="http://schemas.microsoft.com/office/drawing/2014/main" id="{D5E64C63-20C4-9CAC-6BC3-C084C19D2FED}"/>
              </a:ext>
            </a:extLst>
          </p:cNvPr>
          <p:cNvSpPr/>
          <p:nvPr/>
        </p:nvSpPr>
        <p:spPr>
          <a:xfrm>
            <a:off x="2357380" y="338014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6" name="Rounded Rectangle 33">
            <a:extLst>
              <a:ext uri="{FF2B5EF4-FFF2-40B4-BE49-F238E27FC236}">
                <a16:creationId xmlns:a16="http://schemas.microsoft.com/office/drawing/2014/main" id="{1D9B0760-014E-B82C-EC6A-ACEE6FF70EB8}"/>
              </a:ext>
            </a:extLst>
          </p:cNvPr>
          <p:cNvSpPr/>
          <p:nvPr/>
        </p:nvSpPr>
        <p:spPr>
          <a:xfrm>
            <a:off x="2357380" y="523942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58FAE6E1-51E7-FA55-B790-CDF6AD2BDCF4}"/>
              </a:ext>
            </a:extLst>
          </p:cNvPr>
          <p:cNvSpPr/>
          <p:nvPr/>
        </p:nvSpPr>
        <p:spPr>
          <a:xfrm>
            <a:off x="2357380" y="58591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8" name="Rounded Rectangle 33">
            <a:extLst>
              <a:ext uri="{FF2B5EF4-FFF2-40B4-BE49-F238E27FC236}">
                <a16:creationId xmlns:a16="http://schemas.microsoft.com/office/drawing/2014/main" id="{FE0BAF40-AFD8-1F73-9A0C-AA92C96B5158}"/>
              </a:ext>
            </a:extLst>
          </p:cNvPr>
          <p:cNvSpPr/>
          <p:nvPr/>
        </p:nvSpPr>
        <p:spPr>
          <a:xfrm>
            <a:off x="2357380" y="399990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9" name="Rounded Rectangle 33">
            <a:extLst>
              <a:ext uri="{FF2B5EF4-FFF2-40B4-BE49-F238E27FC236}">
                <a16:creationId xmlns:a16="http://schemas.microsoft.com/office/drawing/2014/main" id="{8DA623C7-29EE-421F-106A-B1B24EF88572}"/>
              </a:ext>
            </a:extLst>
          </p:cNvPr>
          <p:cNvSpPr/>
          <p:nvPr/>
        </p:nvSpPr>
        <p:spPr>
          <a:xfrm>
            <a:off x="2357380" y="461966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0" name="Rounded Rectangle 33">
            <a:extLst>
              <a:ext uri="{FF2B5EF4-FFF2-40B4-BE49-F238E27FC236}">
                <a16:creationId xmlns:a16="http://schemas.microsoft.com/office/drawing/2014/main" id="{E4C3A955-9913-A119-7B75-79165722AB24}"/>
              </a:ext>
            </a:extLst>
          </p:cNvPr>
          <p:cNvSpPr/>
          <p:nvPr/>
        </p:nvSpPr>
        <p:spPr>
          <a:xfrm>
            <a:off x="6283327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1" name="Rounded Rectangle 33">
            <a:extLst>
              <a:ext uri="{FF2B5EF4-FFF2-40B4-BE49-F238E27FC236}">
                <a16:creationId xmlns:a16="http://schemas.microsoft.com/office/drawing/2014/main" id="{1B0D5BAB-5614-C8DD-5831-20473D737734}"/>
              </a:ext>
            </a:extLst>
          </p:cNvPr>
          <p:cNvSpPr/>
          <p:nvPr/>
        </p:nvSpPr>
        <p:spPr>
          <a:xfrm>
            <a:off x="6283327" y="461966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2" name="Rounded Rectangle 33">
            <a:extLst>
              <a:ext uri="{FF2B5EF4-FFF2-40B4-BE49-F238E27FC236}">
                <a16:creationId xmlns:a16="http://schemas.microsoft.com/office/drawing/2014/main" id="{1E2BB5F0-6C1D-EBAF-5493-94E97B4B54FB}"/>
              </a:ext>
            </a:extLst>
          </p:cNvPr>
          <p:cNvSpPr/>
          <p:nvPr/>
        </p:nvSpPr>
        <p:spPr>
          <a:xfrm>
            <a:off x="6283327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C82EEC47-011A-3986-C4CD-0F6BF3E13A5C}"/>
              </a:ext>
            </a:extLst>
          </p:cNvPr>
          <p:cNvSpPr/>
          <p:nvPr/>
        </p:nvSpPr>
        <p:spPr>
          <a:xfrm>
            <a:off x="6283327" y="15284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4" name="Rounded Rectangle 33">
            <a:extLst>
              <a:ext uri="{FF2B5EF4-FFF2-40B4-BE49-F238E27FC236}">
                <a16:creationId xmlns:a16="http://schemas.microsoft.com/office/drawing/2014/main" id="{C9A13A72-E42D-6BC9-CA47-B2DF838EC308}"/>
              </a:ext>
            </a:extLst>
          </p:cNvPr>
          <p:cNvSpPr/>
          <p:nvPr/>
        </p:nvSpPr>
        <p:spPr>
          <a:xfrm>
            <a:off x="8229344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5" name="Rounded Rectangle 33">
            <a:extLst>
              <a:ext uri="{FF2B5EF4-FFF2-40B4-BE49-F238E27FC236}">
                <a16:creationId xmlns:a16="http://schemas.microsoft.com/office/drawing/2014/main" id="{41A60602-B73B-69EC-4BC5-A701D9304E7F}"/>
              </a:ext>
            </a:extLst>
          </p:cNvPr>
          <p:cNvSpPr/>
          <p:nvPr/>
        </p:nvSpPr>
        <p:spPr>
          <a:xfrm>
            <a:off x="10212330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6" name="Rounded Rectangle 33">
            <a:extLst>
              <a:ext uri="{FF2B5EF4-FFF2-40B4-BE49-F238E27FC236}">
                <a16:creationId xmlns:a16="http://schemas.microsoft.com/office/drawing/2014/main" id="{A46F4AA6-3903-4283-6F3D-6BEA28EB642E}"/>
              </a:ext>
            </a:extLst>
          </p:cNvPr>
          <p:cNvSpPr/>
          <p:nvPr/>
        </p:nvSpPr>
        <p:spPr>
          <a:xfrm>
            <a:off x="8229344" y="399990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7" name="Rounded Rectangle 33">
            <a:extLst>
              <a:ext uri="{FF2B5EF4-FFF2-40B4-BE49-F238E27FC236}">
                <a16:creationId xmlns:a16="http://schemas.microsoft.com/office/drawing/2014/main" id="{61164AB8-41D4-F9E4-CD7F-5A5770A890F4}"/>
              </a:ext>
            </a:extLst>
          </p:cNvPr>
          <p:cNvSpPr/>
          <p:nvPr/>
        </p:nvSpPr>
        <p:spPr>
          <a:xfrm>
            <a:off x="8229344" y="461966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8" name="Rounded Rectangle 33">
            <a:extLst>
              <a:ext uri="{FF2B5EF4-FFF2-40B4-BE49-F238E27FC236}">
                <a16:creationId xmlns:a16="http://schemas.microsoft.com/office/drawing/2014/main" id="{4A598A78-671D-C716-0E87-3DDF27D932B5}"/>
              </a:ext>
            </a:extLst>
          </p:cNvPr>
          <p:cNvSpPr/>
          <p:nvPr/>
        </p:nvSpPr>
        <p:spPr>
          <a:xfrm>
            <a:off x="8229344" y="523942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9" name="Rounded Rectangle 33">
            <a:extLst>
              <a:ext uri="{FF2B5EF4-FFF2-40B4-BE49-F238E27FC236}">
                <a16:creationId xmlns:a16="http://schemas.microsoft.com/office/drawing/2014/main" id="{5359D713-3161-B2FF-27DF-16DD223E8E0D}"/>
              </a:ext>
            </a:extLst>
          </p:cNvPr>
          <p:cNvSpPr/>
          <p:nvPr/>
        </p:nvSpPr>
        <p:spPr>
          <a:xfrm>
            <a:off x="10212330" y="399990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30" name="Rounded Rectangle 33">
            <a:extLst>
              <a:ext uri="{FF2B5EF4-FFF2-40B4-BE49-F238E27FC236}">
                <a16:creationId xmlns:a16="http://schemas.microsoft.com/office/drawing/2014/main" id="{5967A0B9-C5CE-6EAF-8BB6-98DFA92F72FD}"/>
              </a:ext>
            </a:extLst>
          </p:cNvPr>
          <p:cNvSpPr/>
          <p:nvPr/>
        </p:nvSpPr>
        <p:spPr>
          <a:xfrm>
            <a:off x="385762" y="338014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4" name="Rounded Rectangle 33">
            <a:extLst>
              <a:ext uri="{FF2B5EF4-FFF2-40B4-BE49-F238E27FC236}">
                <a16:creationId xmlns:a16="http://schemas.microsoft.com/office/drawing/2014/main" id="{A573BB3E-F8CA-5BE9-7336-893E99651FC4}"/>
              </a:ext>
            </a:extLst>
          </p:cNvPr>
          <p:cNvSpPr/>
          <p:nvPr/>
        </p:nvSpPr>
        <p:spPr>
          <a:xfrm>
            <a:off x="385762" y="399990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7" name="Rounded Rectangle 33">
            <a:extLst>
              <a:ext uri="{FF2B5EF4-FFF2-40B4-BE49-F238E27FC236}">
                <a16:creationId xmlns:a16="http://schemas.microsoft.com/office/drawing/2014/main" id="{BAF08AB9-4F5E-1128-D1E3-1DA58BBE5686}"/>
              </a:ext>
            </a:extLst>
          </p:cNvPr>
          <p:cNvSpPr/>
          <p:nvPr/>
        </p:nvSpPr>
        <p:spPr>
          <a:xfrm>
            <a:off x="385762" y="15284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cxnSp>
        <p:nvCxnSpPr>
          <p:cNvPr id="1029" name="Conector recto 1028">
            <a:extLst>
              <a:ext uri="{FF2B5EF4-FFF2-40B4-BE49-F238E27FC236}">
                <a16:creationId xmlns:a16="http://schemas.microsoft.com/office/drawing/2014/main" id="{CC16E7A5-6B24-EBB2-5CD7-ADA03CC5955B}"/>
              </a:ext>
            </a:extLst>
          </p:cNvPr>
          <p:cNvCxnSpPr>
            <a:cxnSpLocks/>
          </p:cNvCxnSpPr>
          <p:nvPr/>
        </p:nvCxnSpPr>
        <p:spPr>
          <a:xfrm flipV="1">
            <a:off x="1189859" y="1978025"/>
            <a:ext cx="0" cy="140211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ector angular 33">
            <a:extLst>
              <a:ext uri="{FF2B5EF4-FFF2-40B4-BE49-F238E27FC236}">
                <a16:creationId xmlns:a16="http://schemas.microsoft.com/office/drawing/2014/main" id="{3232CA5D-DD47-906E-B2F1-A56C49083C17}"/>
              </a:ext>
            </a:extLst>
          </p:cNvPr>
          <p:cNvCxnSpPr>
            <a:cxnSpLocks/>
            <a:stCxn id="12" idx="0"/>
            <a:endCxn id="23" idx="2"/>
          </p:cNvCxnSpPr>
          <p:nvPr/>
        </p:nvCxnSpPr>
        <p:spPr>
          <a:xfrm rot="5400000" flipH="1" flipV="1">
            <a:off x="6035024" y="1092030"/>
            <a:ext cx="166405" cy="193839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4" name="Conector angular 33">
            <a:extLst>
              <a:ext uri="{FF2B5EF4-FFF2-40B4-BE49-F238E27FC236}">
                <a16:creationId xmlns:a16="http://schemas.microsoft.com/office/drawing/2014/main" id="{E298B312-EF6D-17F2-5F5B-3BCBD56180DD}"/>
              </a:ext>
            </a:extLst>
          </p:cNvPr>
          <p:cNvCxnSpPr>
            <a:cxnSpLocks/>
            <a:stCxn id="23" idx="2"/>
            <a:endCxn id="24" idx="0"/>
          </p:cNvCxnSpPr>
          <p:nvPr/>
        </p:nvCxnSpPr>
        <p:spPr>
          <a:xfrm rot="16200000" flipH="1">
            <a:off x="7977231" y="1088218"/>
            <a:ext cx="166405" cy="194601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Conector angular 33">
            <a:extLst>
              <a:ext uri="{FF2B5EF4-FFF2-40B4-BE49-F238E27FC236}">
                <a16:creationId xmlns:a16="http://schemas.microsoft.com/office/drawing/2014/main" id="{B4C49147-7A8C-517E-A821-F6CEC1BE4064}"/>
              </a:ext>
            </a:extLst>
          </p:cNvPr>
          <p:cNvCxnSpPr>
            <a:cxnSpLocks/>
            <a:stCxn id="12" idx="2"/>
            <a:endCxn id="14" idx="0"/>
          </p:cNvCxnSpPr>
          <p:nvPr/>
        </p:nvCxnSpPr>
        <p:spPr>
          <a:xfrm rot="5400000">
            <a:off x="4072051" y="1683402"/>
            <a:ext cx="166405" cy="1987550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Conector angular 33">
            <a:extLst>
              <a:ext uri="{FF2B5EF4-FFF2-40B4-BE49-F238E27FC236}">
                <a16:creationId xmlns:a16="http://schemas.microsoft.com/office/drawing/2014/main" id="{6E696748-5A0F-C410-F309-8289E49AA83F}"/>
              </a:ext>
            </a:extLst>
          </p:cNvPr>
          <p:cNvCxnSpPr>
            <a:cxnSpLocks/>
            <a:stCxn id="12" idx="2"/>
            <a:endCxn id="20" idx="0"/>
          </p:cNvCxnSpPr>
          <p:nvPr/>
        </p:nvCxnSpPr>
        <p:spPr>
          <a:xfrm rot="16200000" flipH="1">
            <a:off x="6035024" y="1707978"/>
            <a:ext cx="166405" cy="193839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Conector recto 1043">
            <a:extLst>
              <a:ext uri="{FF2B5EF4-FFF2-40B4-BE49-F238E27FC236}">
                <a16:creationId xmlns:a16="http://schemas.microsoft.com/office/drawing/2014/main" id="{5FFE254A-8105-D072-2973-7710B46C04E3}"/>
              </a:ext>
            </a:extLst>
          </p:cNvPr>
          <p:cNvCxnSpPr>
            <a:cxnSpLocks/>
            <a:endCxn id="20" idx="2"/>
          </p:cNvCxnSpPr>
          <p:nvPr/>
        </p:nvCxnSpPr>
        <p:spPr>
          <a:xfrm flipH="1" flipV="1">
            <a:off x="7087425" y="3209925"/>
            <a:ext cx="7619" cy="15494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7" name="Conector recto 1046">
            <a:extLst>
              <a:ext uri="{FF2B5EF4-FFF2-40B4-BE49-F238E27FC236}">
                <a16:creationId xmlns:a16="http://schemas.microsoft.com/office/drawing/2014/main" id="{F33AF4EA-B3B8-B4BE-BE9E-FD2D0F843795}"/>
              </a:ext>
            </a:extLst>
          </p:cNvPr>
          <p:cNvCxnSpPr>
            <a:cxnSpLocks/>
            <a:stCxn id="29" idx="0"/>
            <a:endCxn id="25" idx="2"/>
          </p:cNvCxnSpPr>
          <p:nvPr/>
        </p:nvCxnSpPr>
        <p:spPr>
          <a:xfrm flipV="1">
            <a:off x="11016428" y="2593975"/>
            <a:ext cx="0" cy="14059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3">
            <a:extLst>
              <a:ext uri="{FF2B5EF4-FFF2-40B4-BE49-F238E27FC236}">
                <a16:creationId xmlns:a16="http://schemas.microsoft.com/office/drawing/2014/main" id="{45073DCD-9873-B44D-58C2-AD3E23F33179}"/>
              </a:ext>
            </a:extLst>
          </p:cNvPr>
          <p:cNvSpPr/>
          <p:nvPr/>
        </p:nvSpPr>
        <p:spPr>
          <a:xfrm>
            <a:off x="385762" y="27603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5" name="Rounded Rectangle 33">
            <a:extLst>
              <a:ext uri="{FF2B5EF4-FFF2-40B4-BE49-F238E27FC236}">
                <a16:creationId xmlns:a16="http://schemas.microsoft.com/office/drawing/2014/main" id="{1ECD0475-4BE1-FC60-007F-D6CF6F023D7C}"/>
              </a:ext>
            </a:extLst>
          </p:cNvPr>
          <p:cNvSpPr/>
          <p:nvPr/>
        </p:nvSpPr>
        <p:spPr>
          <a:xfrm>
            <a:off x="385762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cxnSp>
        <p:nvCxnSpPr>
          <p:cNvPr id="1050" name="Conector angular 33">
            <a:extLst>
              <a:ext uri="{FF2B5EF4-FFF2-40B4-BE49-F238E27FC236}">
                <a16:creationId xmlns:a16="http://schemas.microsoft.com/office/drawing/2014/main" id="{575684A9-3307-AD18-85A8-DF7387F11FF9}"/>
              </a:ext>
            </a:extLst>
          </p:cNvPr>
          <p:cNvCxnSpPr>
            <a:cxnSpLocks/>
            <a:stCxn id="27" idx="1"/>
            <a:endCxn id="24" idx="1"/>
          </p:cNvCxnSpPr>
          <p:nvPr/>
        </p:nvCxnSpPr>
        <p:spPr>
          <a:xfrm rot="10800000">
            <a:off x="8229344" y="2369203"/>
            <a:ext cx="12700" cy="247523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3" name="Conector angular 33">
            <a:extLst>
              <a:ext uri="{FF2B5EF4-FFF2-40B4-BE49-F238E27FC236}">
                <a16:creationId xmlns:a16="http://schemas.microsoft.com/office/drawing/2014/main" id="{0C201DA6-1D9D-BBCF-A5BD-47F18AF16B81}"/>
              </a:ext>
            </a:extLst>
          </p:cNvPr>
          <p:cNvCxnSpPr>
            <a:cxnSpLocks/>
            <a:stCxn id="28" idx="1"/>
            <a:endCxn id="24" idx="1"/>
          </p:cNvCxnSpPr>
          <p:nvPr/>
        </p:nvCxnSpPr>
        <p:spPr>
          <a:xfrm rot="10800000">
            <a:off x="8229344" y="2369203"/>
            <a:ext cx="12700" cy="309499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6" name="Conector recto 1055">
            <a:extLst>
              <a:ext uri="{FF2B5EF4-FFF2-40B4-BE49-F238E27FC236}">
                <a16:creationId xmlns:a16="http://schemas.microsoft.com/office/drawing/2014/main" id="{89100E5C-7A72-B4BF-5350-2A1127058883}"/>
              </a:ext>
            </a:extLst>
          </p:cNvPr>
          <p:cNvCxnSpPr>
            <a:cxnSpLocks/>
            <a:stCxn id="22" idx="0"/>
            <a:endCxn id="23" idx="2"/>
          </p:cNvCxnSpPr>
          <p:nvPr/>
        </p:nvCxnSpPr>
        <p:spPr>
          <a:xfrm flipV="1">
            <a:off x="7087425" y="1978025"/>
            <a:ext cx="0" cy="16640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Conector recto 1058">
            <a:extLst>
              <a:ext uri="{FF2B5EF4-FFF2-40B4-BE49-F238E27FC236}">
                <a16:creationId xmlns:a16="http://schemas.microsoft.com/office/drawing/2014/main" id="{25193D0E-A57D-575C-A130-BF0C8AF801A1}"/>
              </a:ext>
            </a:extLst>
          </p:cNvPr>
          <p:cNvCxnSpPr>
            <a:cxnSpLocks/>
            <a:stCxn id="13" idx="0"/>
            <a:endCxn id="12" idx="2"/>
          </p:cNvCxnSpPr>
          <p:nvPr/>
        </p:nvCxnSpPr>
        <p:spPr>
          <a:xfrm flipV="1">
            <a:off x="5149028" y="2593975"/>
            <a:ext cx="0" cy="16640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" name="Conector angular 33">
            <a:extLst>
              <a:ext uri="{FF2B5EF4-FFF2-40B4-BE49-F238E27FC236}">
                <a16:creationId xmlns:a16="http://schemas.microsoft.com/office/drawing/2014/main" id="{1E51E505-0F00-6D28-1CC2-1B8C82F31CA1}"/>
              </a:ext>
            </a:extLst>
          </p:cNvPr>
          <p:cNvCxnSpPr>
            <a:cxnSpLocks/>
            <a:stCxn id="17" idx="1"/>
            <a:endCxn id="14" idx="1"/>
          </p:cNvCxnSpPr>
          <p:nvPr/>
        </p:nvCxnSpPr>
        <p:spPr>
          <a:xfrm rot="10800000">
            <a:off x="2357380" y="2985153"/>
            <a:ext cx="12700" cy="309880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9" name="Conector angular 33">
            <a:extLst>
              <a:ext uri="{FF2B5EF4-FFF2-40B4-BE49-F238E27FC236}">
                <a16:creationId xmlns:a16="http://schemas.microsoft.com/office/drawing/2014/main" id="{1241CC64-8539-0BED-2CE4-0E988864A01A}"/>
              </a:ext>
            </a:extLst>
          </p:cNvPr>
          <p:cNvCxnSpPr>
            <a:cxnSpLocks/>
            <a:stCxn id="18" idx="1"/>
            <a:endCxn id="15" idx="1"/>
          </p:cNvCxnSpPr>
          <p:nvPr/>
        </p:nvCxnSpPr>
        <p:spPr>
          <a:xfrm rot="10800000">
            <a:off x="2357380" y="3604913"/>
            <a:ext cx="12700" cy="61976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4" name="Conector angular 33">
            <a:extLst>
              <a:ext uri="{FF2B5EF4-FFF2-40B4-BE49-F238E27FC236}">
                <a16:creationId xmlns:a16="http://schemas.microsoft.com/office/drawing/2014/main" id="{341C1AE9-854E-359A-6A24-1D7137F291AD}"/>
              </a:ext>
            </a:extLst>
          </p:cNvPr>
          <p:cNvCxnSpPr>
            <a:cxnSpLocks/>
            <a:stCxn id="16" idx="1"/>
            <a:endCxn id="19" idx="1"/>
          </p:cNvCxnSpPr>
          <p:nvPr/>
        </p:nvCxnSpPr>
        <p:spPr>
          <a:xfrm rot="10800000">
            <a:off x="2357380" y="4844433"/>
            <a:ext cx="12700" cy="61976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6" name="Conector angular 33">
            <a:extLst>
              <a:ext uri="{FF2B5EF4-FFF2-40B4-BE49-F238E27FC236}">
                <a16:creationId xmlns:a16="http://schemas.microsoft.com/office/drawing/2014/main" id="{D9FFE1B5-47C6-E5D1-FFA8-458056974ECD}"/>
              </a:ext>
            </a:extLst>
          </p:cNvPr>
          <p:cNvCxnSpPr>
            <a:cxnSpLocks/>
            <a:stCxn id="30" idx="3"/>
            <a:endCxn id="12" idx="1"/>
          </p:cNvCxnSpPr>
          <p:nvPr/>
        </p:nvCxnSpPr>
        <p:spPr>
          <a:xfrm flipV="1">
            <a:off x="1993957" y="2369203"/>
            <a:ext cx="2350973" cy="1235710"/>
          </a:xfrm>
          <a:prstGeom prst="bentConnector3">
            <a:avLst>
              <a:gd name="adj1" fmla="val 3543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777380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BCDBDEFA-7E32-97CB-A95E-CF1D2D4276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744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BCDBDEFA-7E32-97CB-A95E-CF1D2D42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322">
            <a:extLst>
              <a:ext uri="{FF2B5EF4-FFF2-40B4-BE49-F238E27FC236}">
                <a16:creationId xmlns:a16="http://schemas.microsoft.com/office/drawing/2014/main" id="{C0265D3E-5B2E-2057-6645-F2B57AB6D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9638" y="1546774"/>
            <a:ext cx="1472137" cy="1472136"/>
          </a:xfrm>
          <a:custGeom>
            <a:avLst/>
            <a:gdLst>
              <a:gd name="T0" fmla="*/ 2362 w 2363"/>
              <a:gd name="T1" fmla="*/ 1181 h 2363"/>
              <a:gd name="T2" fmla="*/ 2362 w 2363"/>
              <a:gd name="T3" fmla="*/ 1181 h 2363"/>
              <a:gd name="T4" fmla="*/ 1181 w 2363"/>
              <a:gd name="T5" fmla="*/ 2362 h 2363"/>
              <a:gd name="T6" fmla="*/ 1181 w 2363"/>
              <a:gd name="T7" fmla="*/ 2362 h 2363"/>
              <a:gd name="T8" fmla="*/ 0 w 2363"/>
              <a:gd name="T9" fmla="*/ 1181 h 2363"/>
              <a:gd name="T10" fmla="*/ 0 w 2363"/>
              <a:gd name="T11" fmla="*/ 1181 h 2363"/>
              <a:gd name="T12" fmla="*/ 1181 w 2363"/>
              <a:gd name="T13" fmla="*/ 0 h 2363"/>
              <a:gd name="T14" fmla="*/ 1181 w 2363"/>
              <a:gd name="T15" fmla="*/ 0 h 2363"/>
              <a:gd name="T16" fmla="*/ 2362 w 2363"/>
              <a:gd name="T17" fmla="*/ 1181 h 2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3">
                <a:moveTo>
                  <a:pt x="2362" y="1181"/>
                </a:moveTo>
                <a:lnTo>
                  <a:pt x="2362" y="1181"/>
                </a:lnTo>
                <a:cubicBezTo>
                  <a:pt x="2362" y="1834"/>
                  <a:pt x="1833" y="2362"/>
                  <a:pt x="1181" y="2362"/>
                </a:cubicBezTo>
                <a:lnTo>
                  <a:pt x="1181" y="2362"/>
                </a:lnTo>
                <a:cubicBezTo>
                  <a:pt x="529" y="2362"/>
                  <a:pt x="0" y="1834"/>
                  <a:pt x="0" y="1181"/>
                </a:cubicBezTo>
                <a:lnTo>
                  <a:pt x="0" y="1181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1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410C1E2-6896-154A-8858-FB9F4D354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289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6" name="Freeform 192">
            <a:extLst>
              <a:ext uri="{FF2B5EF4-FFF2-40B4-BE49-F238E27FC236}">
                <a16:creationId xmlns:a16="http://schemas.microsoft.com/office/drawing/2014/main" id="{3D0F3B46-6672-2990-D09B-3465FAC0E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113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9" name="Freeform 254">
            <a:extLst>
              <a:ext uri="{FF2B5EF4-FFF2-40B4-BE49-F238E27FC236}">
                <a16:creationId xmlns:a16="http://schemas.microsoft.com/office/drawing/2014/main" id="{36ABE412-9E2E-7F89-36DE-001A00A66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6838" y="3516030"/>
            <a:ext cx="1472137" cy="1472136"/>
          </a:xfrm>
          <a:custGeom>
            <a:avLst/>
            <a:gdLst>
              <a:gd name="T0" fmla="*/ 2361 w 2362"/>
              <a:gd name="T1" fmla="*/ 1182 h 2364"/>
              <a:gd name="T2" fmla="*/ 2361 w 2362"/>
              <a:gd name="T3" fmla="*/ 1182 h 2364"/>
              <a:gd name="T4" fmla="*/ 1181 w 2362"/>
              <a:gd name="T5" fmla="*/ 2363 h 2364"/>
              <a:gd name="T6" fmla="*/ 1181 w 2362"/>
              <a:gd name="T7" fmla="*/ 2363 h 2364"/>
              <a:gd name="T8" fmla="*/ 0 w 2362"/>
              <a:gd name="T9" fmla="*/ 1182 h 2364"/>
              <a:gd name="T10" fmla="*/ 0 w 2362"/>
              <a:gd name="T11" fmla="*/ 1182 h 2364"/>
              <a:gd name="T12" fmla="*/ 1181 w 2362"/>
              <a:gd name="T13" fmla="*/ 0 h 2364"/>
              <a:gd name="T14" fmla="*/ 1181 w 2362"/>
              <a:gd name="T15" fmla="*/ 0 h 2364"/>
              <a:gd name="T16" fmla="*/ 2361 w 2362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2" h="2364">
                <a:moveTo>
                  <a:pt x="2361" y="1182"/>
                </a:moveTo>
                <a:lnTo>
                  <a:pt x="2361" y="1182"/>
                </a:lnTo>
                <a:cubicBezTo>
                  <a:pt x="2361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8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8" y="0"/>
                  <a:pt x="1181" y="0"/>
                </a:cubicBezTo>
                <a:lnTo>
                  <a:pt x="1181" y="0"/>
                </a:lnTo>
                <a:cubicBezTo>
                  <a:pt x="1833" y="0"/>
                  <a:pt x="2361" y="529"/>
                  <a:pt x="2361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2" name="Freeform 315">
            <a:extLst>
              <a:ext uri="{FF2B5EF4-FFF2-40B4-BE49-F238E27FC236}">
                <a16:creationId xmlns:a16="http://schemas.microsoft.com/office/drawing/2014/main" id="{843326A4-26A3-85DB-4313-F893EAF33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3387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8" name="Freeform 438">
            <a:extLst>
              <a:ext uri="{FF2B5EF4-FFF2-40B4-BE49-F238E27FC236}">
                <a16:creationId xmlns:a16="http://schemas.microsoft.com/office/drawing/2014/main" id="{031DEEBB-1D3C-E49A-9B29-13C9BA9025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3564" y="3516030"/>
            <a:ext cx="1472137" cy="1472136"/>
          </a:xfrm>
          <a:custGeom>
            <a:avLst/>
            <a:gdLst>
              <a:gd name="T0" fmla="*/ 2363 w 2364"/>
              <a:gd name="T1" fmla="*/ 1182 h 2364"/>
              <a:gd name="T2" fmla="*/ 2363 w 2364"/>
              <a:gd name="T3" fmla="*/ 1182 h 2364"/>
              <a:gd name="T4" fmla="*/ 1181 w 2364"/>
              <a:gd name="T5" fmla="*/ 2363 h 2364"/>
              <a:gd name="T6" fmla="*/ 1181 w 2364"/>
              <a:gd name="T7" fmla="*/ 2363 h 2364"/>
              <a:gd name="T8" fmla="*/ 0 w 2364"/>
              <a:gd name="T9" fmla="*/ 1182 h 2364"/>
              <a:gd name="T10" fmla="*/ 0 w 2364"/>
              <a:gd name="T11" fmla="*/ 1182 h 2364"/>
              <a:gd name="T12" fmla="*/ 1181 w 2364"/>
              <a:gd name="T13" fmla="*/ 0 h 2364"/>
              <a:gd name="T14" fmla="*/ 1181 w 2364"/>
              <a:gd name="T15" fmla="*/ 0 h 2364"/>
              <a:gd name="T16" fmla="*/ 2363 w 2364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4" h="2364">
                <a:moveTo>
                  <a:pt x="2363" y="1182"/>
                </a:moveTo>
                <a:lnTo>
                  <a:pt x="2363" y="1182"/>
                </a:lnTo>
                <a:cubicBezTo>
                  <a:pt x="2363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3" y="529"/>
                  <a:pt x="2363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63C12FC8-7E17-AA9C-C8DF-4076DF5B19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" name="Freeform 70">
            <a:extLst>
              <a:ext uri="{FF2B5EF4-FFF2-40B4-BE49-F238E27FC236}">
                <a16:creationId xmlns:a16="http://schemas.microsoft.com/office/drawing/2014/main" id="{E8F2E836-14C2-5D6B-C094-7311FE65B9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8119" y="3194689"/>
            <a:ext cx="8613097" cy="181271"/>
          </a:xfrm>
          <a:custGeom>
            <a:avLst/>
            <a:gdLst>
              <a:gd name="T0" fmla="*/ 0 w 13828"/>
              <a:gd name="T1" fmla="*/ 292 h 293"/>
              <a:gd name="T2" fmla="*/ 0 w 13828"/>
              <a:gd name="T3" fmla="*/ 292 h 293"/>
              <a:gd name="T4" fmla="*/ 293 w 13828"/>
              <a:gd name="T5" fmla="*/ 0 h 293"/>
              <a:gd name="T6" fmla="*/ 13548 w 13828"/>
              <a:gd name="T7" fmla="*/ 0 h 293"/>
              <a:gd name="T8" fmla="*/ 13548 w 13828"/>
              <a:gd name="T9" fmla="*/ 0 h 293"/>
              <a:gd name="T10" fmla="*/ 13827 w 13828"/>
              <a:gd name="T11" fmla="*/ 278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28" h="293">
                <a:moveTo>
                  <a:pt x="0" y="292"/>
                </a:moveTo>
                <a:lnTo>
                  <a:pt x="0" y="292"/>
                </a:lnTo>
                <a:cubicBezTo>
                  <a:pt x="0" y="130"/>
                  <a:pt x="131" y="0"/>
                  <a:pt x="293" y="0"/>
                </a:cubicBezTo>
                <a:lnTo>
                  <a:pt x="13548" y="0"/>
                </a:lnTo>
                <a:lnTo>
                  <a:pt x="13548" y="0"/>
                </a:lnTo>
                <a:cubicBezTo>
                  <a:pt x="13702" y="0"/>
                  <a:pt x="13827" y="123"/>
                  <a:pt x="13827" y="278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" name="Line 71">
            <a:extLst>
              <a:ext uri="{FF2B5EF4-FFF2-40B4-BE49-F238E27FC236}">
                <a16:creationId xmlns:a16="http://schemas.microsoft.com/office/drawing/2014/main" id="{42199440-9589-09A5-8307-0052BF5A199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72907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1" name="Line 72">
            <a:extLst>
              <a:ext uri="{FF2B5EF4-FFF2-40B4-BE49-F238E27FC236}">
                <a16:creationId xmlns:a16="http://schemas.microsoft.com/office/drawing/2014/main" id="{16078488-C343-6362-022C-D330D2D297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919632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2" name="Line 73">
            <a:extLst>
              <a:ext uri="{FF2B5EF4-FFF2-40B4-BE49-F238E27FC236}">
                <a16:creationId xmlns:a16="http://schemas.microsoft.com/office/drawing/2014/main" id="{B913BB4A-C3A2-BEEF-F4BC-4512ACD3303E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6181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5" name="Freeform 23">
            <a:extLst>
              <a:ext uri="{FF2B5EF4-FFF2-40B4-BE49-F238E27FC236}">
                <a16:creationId xmlns:a16="http://schemas.microsoft.com/office/drawing/2014/main" id="{875C9923-59DD-23FE-A805-D9CB894F6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9361" y="3974701"/>
            <a:ext cx="556862" cy="556920"/>
          </a:xfrm>
          <a:custGeom>
            <a:avLst/>
            <a:gdLst>
              <a:gd name="connsiteX0" fmla="*/ 556368 w 1113724"/>
              <a:gd name="connsiteY0" fmla="*/ 579346 h 1113840"/>
              <a:gd name="connsiteX1" fmla="*/ 410333 w 1113724"/>
              <a:gd name="connsiteY1" fmla="*/ 725117 h 1113840"/>
              <a:gd name="connsiteX2" fmla="*/ 394107 w 1113724"/>
              <a:gd name="connsiteY2" fmla="*/ 728855 h 1113840"/>
              <a:gd name="connsiteX3" fmla="*/ 382874 w 1113724"/>
              <a:gd name="connsiteY3" fmla="*/ 713904 h 1113840"/>
              <a:gd name="connsiteX4" fmla="*/ 382874 w 1113724"/>
              <a:gd name="connsiteY4" fmla="*/ 612986 h 1113840"/>
              <a:gd name="connsiteX5" fmla="*/ 131993 w 1113724"/>
              <a:gd name="connsiteY5" fmla="*/ 864659 h 1113840"/>
              <a:gd name="connsiteX6" fmla="*/ 185664 w 1113724"/>
              <a:gd name="connsiteY6" fmla="*/ 926954 h 1113840"/>
              <a:gd name="connsiteX7" fmla="*/ 556368 w 1113724"/>
              <a:gd name="connsiteY7" fmla="*/ 1080201 h 1113840"/>
              <a:gd name="connsiteX8" fmla="*/ 915840 w 1113724"/>
              <a:gd name="connsiteY8" fmla="*/ 938167 h 1113840"/>
              <a:gd name="connsiteX9" fmla="*/ 834142 w 1113724"/>
              <a:gd name="connsiteY9" fmla="*/ 532823 h 1113840"/>
              <a:gd name="connsiteX10" fmla="*/ 854893 w 1113724"/>
              <a:gd name="connsiteY10" fmla="*/ 554795 h 1113840"/>
              <a:gd name="connsiteX11" fmla="*/ 834142 w 1113724"/>
              <a:gd name="connsiteY11" fmla="*/ 575546 h 1113840"/>
              <a:gd name="connsiteX12" fmla="*/ 812170 w 1113724"/>
              <a:gd name="connsiteY12" fmla="*/ 554795 h 1113840"/>
              <a:gd name="connsiteX13" fmla="*/ 834142 w 1113724"/>
              <a:gd name="connsiteY13" fmla="*/ 532823 h 1113840"/>
              <a:gd name="connsiteX14" fmla="*/ 937286 w 1113724"/>
              <a:gd name="connsiteY14" fmla="*/ 461415 h 1113840"/>
              <a:gd name="connsiteX15" fmla="*/ 959258 w 1113724"/>
              <a:gd name="connsiteY15" fmla="*/ 483387 h 1113840"/>
              <a:gd name="connsiteX16" fmla="*/ 937286 w 1113724"/>
              <a:gd name="connsiteY16" fmla="*/ 504138 h 1113840"/>
              <a:gd name="connsiteX17" fmla="*/ 916535 w 1113724"/>
              <a:gd name="connsiteY17" fmla="*/ 483387 h 1113840"/>
              <a:gd name="connsiteX18" fmla="*/ 937286 w 1113724"/>
              <a:gd name="connsiteY18" fmla="*/ 461415 h 1113840"/>
              <a:gd name="connsiteX19" fmla="*/ 830638 w 1113724"/>
              <a:gd name="connsiteY19" fmla="*/ 451996 h 1113840"/>
              <a:gd name="connsiteX20" fmla="*/ 841719 w 1113724"/>
              <a:gd name="connsiteY20" fmla="*/ 456694 h 1113840"/>
              <a:gd name="connsiteX21" fmla="*/ 946371 w 1113724"/>
              <a:gd name="connsiteY21" fmla="*/ 564435 h 1113840"/>
              <a:gd name="connsiteX22" fmla="*/ 946371 w 1113724"/>
              <a:gd name="connsiteY22" fmla="*/ 586985 h 1113840"/>
              <a:gd name="connsiteX23" fmla="*/ 935290 w 1113724"/>
              <a:gd name="connsiteY23" fmla="*/ 591996 h 1113840"/>
              <a:gd name="connsiteX24" fmla="*/ 924209 w 1113724"/>
              <a:gd name="connsiteY24" fmla="*/ 586985 h 1113840"/>
              <a:gd name="connsiteX25" fmla="*/ 819557 w 1113724"/>
              <a:gd name="connsiteY25" fmla="*/ 480497 h 1113840"/>
              <a:gd name="connsiteX26" fmla="*/ 819557 w 1113724"/>
              <a:gd name="connsiteY26" fmla="*/ 456694 h 1113840"/>
              <a:gd name="connsiteX27" fmla="*/ 830638 w 1113724"/>
              <a:gd name="connsiteY27" fmla="*/ 451996 h 1113840"/>
              <a:gd name="connsiteX28" fmla="*/ 939555 w 1113724"/>
              <a:gd name="connsiteY28" fmla="*/ 198099 h 1113840"/>
              <a:gd name="connsiteX29" fmla="*/ 580084 w 1113724"/>
              <a:gd name="connsiteY29" fmla="*/ 556920 h 1113840"/>
              <a:gd name="connsiteX30" fmla="*/ 939555 w 1113724"/>
              <a:gd name="connsiteY30" fmla="*/ 915741 h 1113840"/>
              <a:gd name="connsiteX31" fmla="*/ 939555 w 1113724"/>
              <a:gd name="connsiteY31" fmla="*/ 198099 h 1113840"/>
              <a:gd name="connsiteX32" fmla="*/ 174430 w 1113724"/>
              <a:gd name="connsiteY32" fmla="*/ 198099 h 1113840"/>
              <a:gd name="connsiteX33" fmla="*/ 113270 w 1113724"/>
              <a:gd name="connsiteY33" fmla="*/ 837249 h 1113840"/>
              <a:gd name="connsiteX34" fmla="*/ 387866 w 1113724"/>
              <a:gd name="connsiteY34" fmla="*/ 563150 h 1113840"/>
              <a:gd name="connsiteX35" fmla="*/ 406589 w 1113724"/>
              <a:gd name="connsiteY35" fmla="*/ 558166 h 1113840"/>
              <a:gd name="connsiteX36" fmla="*/ 416574 w 1113724"/>
              <a:gd name="connsiteY36" fmla="*/ 573117 h 1113840"/>
              <a:gd name="connsiteX37" fmla="*/ 416574 w 1113724"/>
              <a:gd name="connsiteY37" fmla="*/ 674035 h 1113840"/>
              <a:gd name="connsiteX38" fmla="*/ 533901 w 1113724"/>
              <a:gd name="connsiteY38" fmla="*/ 556920 h 1113840"/>
              <a:gd name="connsiteX39" fmla="*/ 573843 w 1113724"/>
              <a:gd name="connsiteY39" fmla="*/ 33639 h 1113840"/>
              <a:gd name="connsiteX40" fmla="*/ 573843 w 1113724"/>
              <a:gd name="connsiteY40" fmla="*/ 517051 h 1113840"/>
              <a:gd name="connsiteX41" fmla="*/ 915840 w 1113724"/>
              <a:gd name="connsiteY41" fmla="*/ 175673 h 1113840"/>
              <a:gd name="connsiteX42" fmla="*/ 573843 w 1113724"/>
              <a:gd name="connsiteY42" fmla="*/ 33639 h 1113840"/>
              <a:gd name="connsiteX43" fmla="*/ 540142 w 1113724"/>
              <a:gd name="connsiteY43" fmla="*/ 33639 h 1113840"/>
              <a:gd name="connsiteX44" fmla="*/ 198145 w 1113724"/>
              <a:gd name="connsiteY44" fmla="*/ 175673 h 1113840"/>
              <a:gd name="connsiteX45" fmla="*/ 540142 w 1113724"/>
              <a:gd name="connsiteY45" fmla="*/ 517051 h 1113840"/>
              <a:gd name="connsiteX46" fmla="*/ 556368 w 1113724"/>
              <a:gd name="connsiteY46" fmla="*/ 0 h 1113840"/>
              <a:gd name="connsiteX47" fmla="*/ 939555 w 1113724"/>
              <a:gd name="connsiteY47" fmla="*/ 152001 h 1113840"/>
              <a:gd name="connsiteX48" fmla="*/ 1023182 w 1113724"/>
              <a:gd name="connsiteY48" fmla="*/ 68525 h 1113840"/>
              <a:gd name="connsiteX49" fmla="*/ 993226 w 1113724"/>
              <a:gd name="connsiteY49" fmla="*/ 68525 h 1113840"/>
              <a:gd name="connsiteX50" fmla="*/ 977000 w 1113724"/>
              <a:gd name="connsiteY50" fmla="*/ 51082 h 1113840"/>
              <a:gd name="connsiteX51" fmla="*/ 993226 w 1113724"/>
              <a:gd name="connsiteY51" fmla="*/ 34885 h 1113840"/>
              <a:gd name="connsiteX52" fmla="*/ 1063123 w 1113724"/>
              <a:gd name="connsiteY52" fmla="*/ 34885 h 1113840"/>
              <a:gd name="connsiteX53" fmla="*/ 1079349 w 1113724"/>
              <a:gd name="connsiteY53" fmla="*/ 51082 h 1113840"/>
              <a:gd name="connsiteX54" fmla="*/ 1079349 w 1113724"/>
              <a:gd name="connsiteY54" fmla="*/ 120853 h 1113840"/>
              <a:gd name="connsiteX55" fmla="*/ 1063123 w 1113724"/>
              <a:gd name="connsiteY55" fmla="*/ 137050 h 1113840"/>
              <a:gd name="connsiteX56" fmla="*/ 1046897 w 1113724"/>
              <a:gd name="connsiteY56" fmla="*/ 120853 h 1113840"/>
              <a:gd name="connsiteX57" fmla="*/ 1046897 w 1113724"/>
              <a:gd name="connsiteY57" fmla="*/ 90951 h 1113840"/>
              <a:gd name="connsiteX58" fmla="*/ 962022 w 1113724"/>
              <a:gd name="connsiteY58" fmla="*/ 175673 h 1113840"/>
              <a:gd name="connsiteX59" fmla="*/ 950788 w 1113724"/>
              <a:gd name="connsiteY59" fmla="*/ 950626 h 1113840"/>
              <a:gd name="connsiteX60" fmla="*/ 556368 w 1113724"/>
              <a:gd name="connsiteY60" fmla="*/ 1113840 h 1113840"/>
              <a:gd name="connsiteX61" fmla="*/ 163197 w 1113724"/>
              <a:gd name="connsiteY61" fmla="*/ 950626 h 1113840"/>
              <a:gd name="connsiteX62" fmla="*/ 108278 w 1113724"/>
              <a:gd name="connsiteY62" fmla="*/ 887085 h 1113840"/>
              <a:gd name="connsiteX63" fmla="*/ 27147 w 1113724"/>
              <a:gd name="connsiteY63" fmla="*/ 968069 h 1113840"/>
              <a:gd name="connsiteX64" fmla="*/ 15914 w 1113724"/>
              <a:gd name="connsiteY64" fmla="*/ 974299 h 1113840"/>
              <a:gd name="connsiteX65" fmla="*/ 4680 w 1113724"/>
              <a:gd name="connsiteY65" fmla="*/ 968069 h 1113840"/>
              <a:gd name="connsiteX66" fmla="*/ 4680 w 1113724"/>
              <a:gd name="connsiteY66" fmla="*/ 945643 h 1113840"/>
              <a:gd name="connsiteX67" fmla="*/ 89555 w 1113724"/>
              <a:gd name="connsiteY67" fmla="*/ 859675 h 1113840"/>
              <a:gd name="connsiteX68" fmla="*/ 163197 w 1113724"/>
              <a:gd name="connsiteY68" fmla="*/ 163214 h 1113840"/>
              <a:gd name="connsiteX69" fmla="*/ 556368 w 1113724"/>
              <a:gd name="connsiteY69" fmla="*/ 0 h 111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113724" h="1113840">
                <a:moveTo>
                  <a:pt x="556368" y="579346"/>
                </a:moveTo>
                <a:lnTo>
                  <a:pt x="410333" y="725117"/>
                </a:lnTo>
                <a:cubicBezTo>
                  <a:pt x="406589" y="728855"/>
                  <a:pt x="399100" y="730101"/>
                  <a:pt x="394107" y="728855"/>
                </a:cubicBezTo>
                <a:cubicBezTo>
                  <a:pt x="387866" y="726363"/>
                  <a:pt x="382874" y="720134"/>
                  <a:pt x="382874" y="713904"/>
                </a:cubicBezTo>
                <a:lnTo>
                  <a:pt x="382874" y="612986"/>
                </a:lnTo>
                <a:lnTo>
                  <a:pt x="131993" y="864659"/>
                </a:lnTo>
                <a:cubicBezTo>
                  <a:pt x="148219" y="885839"/>
                  <a:pt x="165693" y="907020"/>
                  <a:pt x="185664" y="926954"/>
                </a:cubicBezTo>
                <a:cubicBezTo>
                  <a:pt x="285517" y="1025381"/>
                  <a:pt x="416574" y="1080201"/>
                  <a:pt x="556368" y="1080201"/>
                </a:cubicBezTo>
                <a:cubicBezTo>
                  <a:pt x="692418" y="1080201"/>
                  <a:pt x="818483" y="1029119"/>
                  <a:pt x="915840" y="938167"/>
                </a:cubicBezTo>
                <a:close/>
                <a:moveTo>
                  <a:pt x="834142" y="532823"/>
                </a:moveTo>
                <a:cubicBezTo>
                  <a:pt x="846349" y="532823"/>
                  <a:pt x="854893" y="542588"/>
                  <a:pt x="854893" y="554795"/>
                </a:cubicBezTo>
                <a:cubicBezTo>
                  <a:pt x="854893" y="565781"/>
                  <a:pt x="846349" y="575546"/>
                  <a:pt x="834142" y="575546"/>
                </a:cubicBezTo>
                <a:cubicBezTo>
                  <a:pt x="821935" y="575546"/>
                  <a:pt x="812170" y="565781"/>
                  <a:pt x="812170" y="554795"/>
                </a:cubicBezTo>
                <a:cubicBezTo>
                  <a:pt x="812170" y="542588"/>
                  <a:pt x="821935" y="532823"/>
                  <a:pt x="834142" y="532823"/>
                </a:cubicBezTo>
                <a:close/>
                <a:moveTo>
                  <a:pt x="937286" y="461415"/>
                </a:moveTo>
                <a:cubicBezTo>
                  <a:pt x="949493" y="461415"/>
                  <a:pt x="959258" y="471180"/>
                  <a:pt x="959258" y="483387"/>
                </a:cubicBezTo>
                <a:cubicBezTo>
                  <a:pt x="959258" y="495594"/>
                  <a:pt x="949493" y="504138"/>
                  <a:pt x="937286" y="504138"/>
                </a:cubicBezTo>
                <a:cubicBezTo>
                  <a:pt x="925080" y="504138"/>
                  <a:pt x="916535" y="495594"/>
                  <a:pt x="916535" y="483387"/>
                </a:cubicBezTo>
                <a:cubicBezTo>
                  <a:pt x="916535" y="471180"/>
                  <a:pt x="925080" y="461415"/>
                  <a:pt x="937286" y="461415"/>
                </a:cubicBezTo>
                <a:close/>
                <a:moveTo>
                  <a:pt x="830638" y="451996"/>
                </a:moveTo>
                <a:cubicBezTo>
                  <a:pt x="834640" y="451996"/>
                  <a:pt x="838641" y="453562"/>
                  <a:pt x="841719" y="456694"/>
                </a:cubicBezTo>
                <a:lnTo>
                  <a:pt x="946371" y="564435"/>
                </a:lnTo>
                <a:cubicBezTo>
                  <a:pt x="953758" y="569446"/>
                  <a:pt x="953758" y="580721"/>
                  <a:pt x="946371" y="586985"/>
                </a:cubicBezTo>
                <a:cubicBezTo>
                  <a:pt x="943908" y="590743"/>
                  <a:pt x="940215" y="591996"/>
                  <a:pt x="935290" y="591996"/>
                </a:cubicBezTo>
                <a:cubicBezTo>
                  <a:pt x="931596" y="591996"/>
                  <a:pt x="926672" y="590743"/>
                  <a:pt x="924209" y="586985"/>
                </a:cubicBezTo>
                <a:lnTo>
                  <a:pt x="819557" y="480497"/>
                </a:lnTo>
                <a:cubicBezTo>
                  <a:pt x="812170" y="474233"/>
                  <a:pt x="812170" y="462958"/>
                  <a:pt x="819557" y="456694"/>
                </a:cubicBezTo>
                <a:cubicBezTo>
                  <a:pt x="822635" y="453562"/>
                  <a:pt x="826637" y="451996"/>
                  <a:pt x="830638" y="451996"/>
                </a:cubicBezTo>
                <a:close/>
                <a:moveTo>
                  <a:pt x="939555" y="198099"/>
                </a:moveTo>
                <a:lnTo>
                  <a:pt x="580084" y="556920"/>
                </a:lnTo>
                <a:lnTo>
                  <a:pt x="939555" y="915741"/>
                </a:lnTo>
                <a:cubicBezTo>
                  <a:pt x="1128028" y="713904"/>
                  <a:pt x="1128028" y="399936"/>
                  <a:pt x="939555" y="198099"/>
                </a:cubicBezTo>
                <a:close/>
                <a:moveTo>
                  <a:pt x="174430" y="198099"/>
                </a:moveTo>
                <a:cubicBezTo>
                  <a:pt x="8425" y="373772"/>
                  <a:pt x="-11546" y="637904"/>
                  <a:pt x="113270" y="837249"/>
                </a:cubicBezTo>
                <a:lnTo>
                  <a:pt x="387866" y="563150"/>
                </a:lnTo>
                <a:cubicBezTo>
                  <a:pt x="392859" y="558166"/>
                  <a:pt x="400348" y="556920"/>
                  <a:pt x="406589" y="558166"/>
                </a:cubicBezTo>
                <a:cubicBezTo>
                  <a:pt x="412830" y="561904"/>
                  <a:pt x="416574" y="568133"/>
                  <a:pt x="416574" y="573117"/>
                </a:cubicBezTo>
                <a:lnTo>
                  <a:pt x="416574" y="674035"/>
                </a:lnTo>
                <a:lnTo>
                  <a:pt x="533901" y="556920"/>
                </a:lnTo>
                <a:close/>
                <a:moveTo>
                  <a:pt x="573843" y="33639"/>
                </a:moveTo>
                <a:lnTo>
                  <a:pt x="573843" y="517051"/>
                </a:lnTo>
                <a:lnTo>
                  <a:pt x="915840" y="175673"/>
                </a:lnTo>
                <a:cubicBezTo>
                  <a:pt x="822228" y="87213"/>
                  <a:pt x="702404" y="37377"/>
                  <a:pt x="573843" y="33639"/>
                </a:cubicBezTo>
                <a:close/>
                <a:moveTo>
                  <a:pt x="540142" y="33639"/>
                </a:moveTo>
                <a:cubicBezTo>
                  <a:pt x="411581" y="37377"/>
                  <a:pt x="291758" y="87213"/>
                  <a:pt x="198145" y="175673"/>
                </a:cubicBezTo>
                <a:lnTo>
                  <a:pt x="540142" y="517051"/>
                </a:lnTo>
                <a:close/>
                <a:moveTo>
                  <a:pt x="556368" y="0"/>
                </a:moveTo>
                <a:cubicBezTo>
                  <a:pt x="699907" y="0"/>
                  <a:pt x="835957" y="54820"/>
                  <a:pt x="939555" y="152001"/>
                </a:cubicBezTo>
                <a:lnTo>
                  <a:pt x="1023182" y="68525"/>
                </a:lnTo>
                <a:lnTo>
                  <a:pt x="993226" y="68525"/>
                </a:lnTo>
                <a:cubicBezTo>
                  <a:pt x="984489" y="68525"/>
                  <a:pt x="977000" y="59803"/>
                  <a:pt x="977000" y="51082"/>
                </a:cubicBezTo>
                <a:cubicBezTo>
                  <a:pt x="977000" y="42361"/>
                  <a:pt x="984489" y="34885"/>
                  <a:pt x="993226" y="34885"/>
                </a:cubicBezTo>
                <a:lnTo>
                  <a:pt x="1063123" y="34885"/>
                </a:lnTo>
                <a:cubicBezTo>
                  <a:pt x="1071860" y="34885"/>
                  <a:pt x="1079349" y="42361"/>
                  <a:pt x="1079349" y="51082"/>
                </a:cubicBezTo>
                <a:lnTo>
                  <a:pt x="1079349" y="120853"/>
                </a:lnTo>
                <a:cubicBezTo>
                  <a:pt x="1079349" y="130820"/>
                  <a:pt x="1071860" y="137050"/>
                  <a:pt x="1063123" y="137050"/>
                </a:cubicBezTo>
                <a:cubicBezTo>
                  <a:pt x="1053138" y="137050"/>
                  <a:pt x="1046897" y="130820"/>
                  <a:pt x="1046897" y="120853"/>
                </a:cubicBezTo>
                <a:lnTo>
                  <a:pt x="1046897" y="90951"/>
                </a:lnTo>
                <a:lnTo>
                  <a:pt x="962022" y="175673"/>
                </a:lnTo>
                <a:cubicBezTo>
                  <a:pt x="1167969" y="392460"/>
                  <a:pt x="1164225" y="736331"/>
                  <a:pt x="950788" y="950626"/>
                </a:cubicBezTo>
                <a:cubicBezTo>
                  <a:pt x="845943" y="1055283"/>
                  <a:pt x="706148" y="1113840"/>
                  <a:pt x="556368" y="1113840"/>
                </a:cubicBezTo>
                <a:cubicBezTo>
                  <a:pt x="407837" y="1113840"/>
                  <a:pt x="268043" y="1055283"/>
                  <a:pt x="163197" y="950626"/>
                </a:cubicBezTo>
                <a:cubicBezTo>
                  <a:pt x="143226" y="930692"/>
                  <a:pt x="124504" y="909511"/>
                  <a:pt x="108278" y="887085"/>
                </a:cubicBezTo>
                <a:lnTo>
                  <a:pt x="27147" y="968069"/>
                </a:lnTo>
                <a:cubicBezTo>
                  <a:pt x="23403" y="971807"/>
                  <a:pt x="20906" y="974299"/>
                  <a:pt x="15914" y="974299"/>
                </a:cubicBezTo>
                <a:cubicBezTo>
                  <a:pt x="12169" y="974299"/>
                  <a:pt x="7176" y="971807"/>
                  <a:pt x="4680" y="968069"/>
                </a:cubicBezTo>
                <a:cubicBezTo>
                  <a:pt x="-1561" y="963085"/>
                  <a:pt x="-1561" y="951872"/>
                  <a:pt x="4680" y="945643"/>
                </a:cubicBezTo>
                <a:lnTo>
                  <a:pt x="89555" y="859675"/>
                </a:lnTo>
                <a:cubicBezTo>
                  <a:pt x="-50239" y="644133"/>
                  <a:pt x="-26524" y="351346"/>
                  <a:pt x="163197" y="163214"/>
                </a:cubicBezTo>
                <a:cubicBezTo>
                  <a:pt x="268043" y="57311"/>
                  <a:pt x="407837" y="0"/>
                  <a:pt x="556368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D2A80F0A-5B51-CE39-2E1E-798C03B25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305" y="3958221"/>
            <a:ext cx="587135" cy="587134"/>
          </a:xfrm>
          <a:custGeom>
            <a:avLst/>
            <a:gdLst>
              <a:gd name="connsiteX0" fmla="*/ 253762 w 1174270"/>
              <a:gd name="connsiteY0" fmla="*/ 942897 h 1174268"/>
              <a:gd name="connsiteX1" fmla="*/ 207736 w 1174270"/>
              <a:gd name="connsiteY1" fmla="*/ 990167 h 1174268"/>
              <a:gd name="connsiteX2" fmla="*/ 587135 w 1174270"/>
              <a:gd name="connsiteY2" fmla="*/ 1140682 h 1174268"/>
              <a:gd name="connsiteX3" fmla="*/ 966532 w 1174270"/>
              <a:gd name="connsiteY3" fmla="*/ 990167 h 1174268"/>
              <a:gd name="connsiteX4" fmla="*/ 920508 w 1174270"/>
              <a:gd name="connsiteY4" fmla="*/ 942897 h 1174268"/>
              <a:gd name="connsiteX5" fmla="*/ 587135 w 1174270"/>
              <a:gd name="connsiteY5" fmla="*/ 1074754 h 1174268"/>
              <a:gd name="connsiteX6" fmla="*/ 253762 w 1174270"/>
              <a:gd name="connsiteY6" fmla="*/ 942897 h 1174268"/>
              <a:gd name="connsiteX7" fmla="*/ 686626 w 1174270"/>
              <a:gd name="connsiteY7" fmla="*/ 653048 h 1174268"/>
              <a:gd name="connsiteX8" fmla="*/ 653046 w 1174270"/>
              <a:gd name="connsiteY8" fmla="*/ 685385 h 1174268"/>
              <a:gd name="connsiteX9" fmla="*/ 686626 w 1174270"/>
              <a:gd name="connsiteY9" fmla="*/ 718965 h 1174268"/>
              <a:gd name="connsiteX10" fmla="*/ 718963 w 1174270"/>
              <a:gd name="connsiteY10" fmla="*/ 685385 h 1174268"/>
              <a:gd name="connsiteX11" fmla="*/ 686626 w 1174270"/>
              <a:gd name="connsiteY11" fmla="*/ 653048 h 1174268"/>
              <a:gd name="connsiteX12" fmla="*/ 686626 w 1174270"/>
              <a:gd name="connsiteY12" fmla="*/ 620712 h 1174268"/>
              <a:gd name="connsiteX13" fmla="*/ 751299 w 1174270"/>
              <a:gd name="connsiteY13" fmla="*/ 685385 h 1174268"/>
              <a:gd name="connsiteX14" fmla="*/ 686626 w 1174270"/>
              <a:gd name="connsiteY14" fmla="*/ 751301 h 1174268"/>
              <a:gd name="connsiteX15" fmla="*/ 620710 w 1174270"/>
              <a:gd name="connsiteY15" fmla="*/ 685385 h 1174268"/>
              <a:gd name="connsiteX16" fmla="*/ 686626 w 1174270"/>
              <a:gd name="connsiteY16" fmla="*/ 620712 h 1174268"/>
              <a:gd name="connsiteX17" fmla="*/ 487635 w 1174270"/>
              <a:gd name="connsiteY17" fmla="*/ 455607 h 1174268"/>
              <a:gd name="connsiteX18" fmla="*/ 455298 w 1174270"/>
              <a:gd name="connsiteY18" fmla="*/ 488252 h 1174268"/>
              <a:gd name="connsiteX19" fmla="*/ 487635 w 1174270"/>
              <a:gd name="connsiteY19" fmla="*/ 522152 h 1174268"/>
              <a:gd name="connsiteX20" fmla="*/ 521215 w 1174270"/>
              <a:gd name="connsiteY20" fmla="*/ 488252 h 1174268"/>
              <a:gd name="connsiteX21" fmla="*/ 487635 w 1174270"/>
              <a:gd name="connsiteY21" fmla="*/ 455607 h 1174268"/>
              <a:gd name="connsiteX22" fmla="*/ 667593 w 1174270"/>
              <a:gd name="connsiteY22" fmla="*/ 425616 h 1174268"/>
              <a:gd name="connsiteX23" fmla="*/ 679624 w 1174270"/>
              <a:gd name="connsiteY23" fmla="*/ 426708 h 1174268"/>
              <a:gd name="connsiteX24" fmla="*/ 685873 w 1174270"/>
              <a:gd name="connsiteY24" fmla="*/ 449180 h 1174268"/>
              <a:gd name="connsiteX25" fmla="*/ 515886 w 1174270"/>
              <a:gd name="connsiteY25" fmla="*/ 743806 h 1174268"/>
              <a:gd name="connsiteX26" fmla="*/ 502137 w 1174270"/>
              <a:gd name="connsiteY26" fmla="*/ 751297 h 1174268"/>
              <a:gd name="connsiteX27" fmla="*/ 494637 w 1174270"/>
              <a:gd name="connsiteY27" fmla="*/ 748800 h 1174268"/>
              <a:gd name="connsiteX28" fmla="*/ 488388 w 1174270"/>
              <a:gd name="connsiteY28" fmla="*/ 727577 h 1174268"/>
              <a:gd name="connsiteX29" fmla="*/ 658375 w 1174270"/>
              <a:gd name="connsiteY29" fmla="*/ 432950 h 1174268"/>
              <a:gd name="connsiteX30" fmla="*/ 667593 w 1174270"/>
              <a:gd name="connsiteY30" fmla="*/ 425616 h 1174268"/>
              <a:gd name="connsiteX31" fmla="*/ 487635 w 1174270"/>
              <a:gd name="connsiteY31" fmla="*/ 422963 h 1174268"/>
              <a:gd name="connsiteX32" fmla="*/ 553551 w 1174270"/>
              <a:gd name="connsiteY32" fmla="*/ 488252 h 1174268"/>
              <a:gd name="connsiteX33" fmla="*/ 487635 w 1174270"/>
              <a:gd name="connsiteY33" fmla="*/ 553540 h 1174268"/>
              <a:gd name="connsiteX34" fmla="*/ 422962 w 1174270"/>
              <a:gd name="connsiteY34" fmla="*/ 488252 h 1174268"/>
              <a:gd name="connsiteX35" fmla="*/ 487635 w 1174270"/>
              <a:gd name="connsiteY35" fmla="*/ 422963 h 1174268"/>
              <a:gd name="connsiteX36" fmla="*/ 587135 w 1174270"/>
              <a:gd name="connsiteY36" fmla="*/ 131856 h 1174268"/>
              <a:gd name="connsiteX37" fmla="*/ 133100 w 1174270"/>
              <a:gd name="connsiteY37" fmla="*/ 587134 h 1174268"/>
              <a:gd name="connsiteX38" fmla="*/ 587135 w 1174270"/>
              <a:gd name="connsiteY38" fmla="*/ 1041168 h 1174268"/>
              <a:gd name="connsiteX39" fmla="*/ 1042412 w 1174270"/>
              <a:gd name="connsiteY39" fmla="*/ 587134 h 1174268"/>
              <a:gd name="connsiteX40" fmla="*/ 587135 w 1174270"/>
              <a:gd name="connsiteY40" fmla="*/ 131856 h 1174268"/>
              <a:gd name="connsiteX41" fmla="*/ 603306 w 1174270"/>
              <a:gd name="connsiteY41" fmla="*/ 32342 h 1174268"/>
              <a:gd name="connsiteX42" fmla="*/ 603306 w 1174270"/>
              <a:gd name="connsiteY42" fmla="*/ 100758 h 1174268"/>
              <a:gd name="connsiteX43" fmla="*/ 1074754 w 1174270"/>
              <a:gd name="connsiteY43" fmla="*/ 587134 h 1174268"/>
              <a:gd name="connsiteX44" fmla="*/ 942898 w 1174270"/>
              <a:gd name="connsiteY44" fmla="*/ 919263 h 1174268"/>
              <a:gd name="connsiteX45" fmla="*/ 990168 w 1174270"/>
              <a:gd name="connsiteY45" fmla="*/ 966532 h 1174268"/>
              <a:gd name="connsiteX46" fmla="*/ 1141926 w 1174270"/>
              <a:gd name="connsiteY46" fmla="*/ 587134 h 1174268"/>
              <a:gd name="connsiteX47" fmla="*/ 603306 w 1174270"/>
              <a:gd name="connsiteY47" fmla="*/ 32342 h 1174268"/>
              <a:gd name="connsiteX48" fmla="*/ 570963 w 1174270"/>
              <a:gd name="connsiteY48" fmla="*/ 32342 h 1174268"/>
              <a:gd name="connsiteX49" fmla="*/ 32342 w 1174270"/>
              <a:gd name="connsiteY49" fmla="*/ 587134 h 1174268"/>
              <a:gd name="connsiteX50" fmla="*/ 184102 w 1174270"/>
              <a:gd name="connsiteY50" fmla="*/ 966532 h 1174268"/>
              <a:gd name="connsiteX51" fmla="*/ 231371 w 1174270"/>
              <a:gd name="connsiteY51" fmla="*/ 919263 h 1174268"/>
              <a:gd name="connsiteX52" fmla="*/ 99514 w 1174270"/>
              <a:gd name="connsiteY52" fmla="*/ 587134 h 1174268"/>
              <a:gd name="connsiteX53" fmla="*/ 570963 w 1174270"/>
              <a:gd name="connsiteY53" fmla="*/ 100758 h 1174268"/>
              <a:gd name="connsiteX54" fmla="*/ 587135 w 1174270"/>
              <a:gd name="connsiteY54" fmla="*/ 0 h 1174268"/>
              <a:gd name="connsiteX55" fmla="*/ 1174270 w 1174270"/>
              <a:gd name="connsiteY55" fmla="*/ 587134 h 1174268"/>
              <a:gd name="connsiteX56" fmla="*/ 1002606 w 1174270"/>
              <a:gd name="connsiteY56" fmla="*/ 1000118 h 1174268"/>
              <a:gd name="connsiteX57" fmla="*/ 1001362 w 1174270"/>
              <a:gd name="connsiteY57" fmla="*/ 1001362 h 1174268"/>
              <a:gd name="connsiteX58" fmla="*/ 1000118 w 1174270"/>
              <a:gd name="connsiteY58" fmla="*/ 1002606 h 1174268"/>
              <a:gd name="connsiteX59" fmla="*/ 587135 w 1174270"/>
              <a:gd name="connsiteY59" fmla="*/ 1174268 h 1174268"/>
              <a:gd name="connsiteX60" fmla="*/ 174150 w 1174270"/>
              <a:gd name="connsiteY60" fmla="*/ 1002606 h 1174268"/>
              <a:gd name="connsiteX61" fmla="*/ 171662 w 1174270"/>
              <a:gd name="connsiteY61" fmla="*/ 1001362 h 1174268"/>
              <a:gd name="connsiteX62" fmla="*/ 171662 w 1174270"/>
              <a:gd name="connsiteY62" fmla="*/ 1000118 h 1174268"/>
              <a:gd name="connsiteX63" fmla="*/ 0 w 1174270"/>
              <a:gd name="connsiteY63" fmla="*/ 587134 h 1174268"/>
              <a:gd name="connsiteX64" fmla="*/ 587135 w 1174270"/>
              <a:gd name="connsiteY64" fmla="*/ 0 h 1174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174270" h="1174268">
                <a:moveTo>
                  <a:pt x="253762" y="942897"/>
                </a:moveTo>
                <a:lnTo>
                  <a:pt x="207736" y="990167"/>
                </a:lnTo>
                <a:cubicBezTo>
                  <a:pt x="307250" y="1083461"/>
                  <a:pt x="440351" y="1140682"/>
                  <a:pt x="587135" y="1140682"/>
                </a:cubicBezTo>
                <a:cubicBezTo>
                  <a:pt x="733918" y="1140682"/>
                  <a:pt x="868262" y="1083461"/>
                  <a:pt x="966532" y="990167"/>
                </a:cubicBezTo>
                <a:lnTo>
                  <a:pt x="920508" y="942897"/>
                </a:lnTo>
                <a:cubicBezTo>
                  <a:pt x="832189" y="1023753"/>
                  <a:pt x="715259" y="1074754"/>
                  <a:pt x="587135" y="1074754"/>
                </a:cubicBezTo>
                <a:cubicBezTo>
                  <a:pt x="459010" y="1074754"/>
                  <a:pt x="342080" y="1023753"/>
                  <a:pt x="253762" y="942897"/>
                </a:cubicBezTo>
                <a:close/>
                <a:moveTo>
                  <a:pt x="686626" y="653048"/>
                </a:moveTo>
                <a:cubicBezTo>
                  <a:pt x="667971" y="653048"/>
                  <a:pt x="653046" y="667973"/>
                  <a:pt x="653046" y="685385"/>
                </a:cubicBezTo>
                <a:cubicBezTo>
                  <a:pt x="653046" y="704040"/>
                  <a:pt x="667971" y="718965"/>
                  <a:pt x="686626" y="718965"/>
                </a:cubicBezTo>
                <a:cubicBezTo>
                  <a:pt x="704038" y="718965"/>
                  <a:pt x="718963" y="704040"/>
                  <a:pt x="718963" y="685385"/>
                </a:cubicBezTo>
                <a:cubicBezTo>
                  <a:pt x="718963" y="667973"/>
                  <a:pt x="704038" y="653048"/>
                  <a:pt x="686626" y="653048"/>
                </a:cubicBezTo>
                <a:close/>
                <a:moveTo>
                  <a:pt x="686626" y="620712"/>
                </a:moveTo>
                <a:cubicBezTo>
                  <a:pt x="721450" y="620712"/>
                  <a:pt x="751299" y="650561"/>
                  <a:pt x="751299" y="685385"/>
                </a:cubicBezTo>
                <a:cubicBezTo>
                  <a:pt x="751299" y="721452"/>
                  <a:pt x="721450" y="751301"/>
                  <a:pt x="686626" y="751301"/>
                </a:cubicBezTo>
                <a:cubicBezTo>
                  <a:pt x="650559" y="751301"/>
                  <a:pt x="620710" y="721452"/>
                  <a:pt x="620710" y="685385"/>
                </a:cubicBezTo>
                <a:cubicBezTo>
                  <a:pt x="620710" y="650561"/>
                  <a:pt x="650559" y="620712"/>
                  <a:pt x="686626" y="620712"/>
                </a:cubicBezTo>
                <a:close/>
                <a:moveTo>
                  <a:pt x="487635" y="455607"/>
                </a:moveTo>
                <a:cubicBezTo>
                  <a:pt x="470223" y="455607"/>
                  <a:pt x="455298" y="470674"/>
                  <a:pt x="455298" y="488252"/>
                </a:cubicBezTo>
                <a:cubicBezTo>
                  <a:pt x="455298" y="505829"/>
                  <a:pt x="470223" y="522152"/>
                  <a:pt x="487635" y="522152"/>
                </a:cubicBezTo>
                <a:cubicBezTo>
                  <a:pt x="506290" y="522152"/>
                  <a:pt x="521215" y="505829"/>
                  <a:pt x="521215" y="488252"/>
                </a:cubicBezTo>
                <a:cubicBezTo>
                  <a:pt x="521215" y="470674"/>
                  <a:pt x="506290" y="455607"/>
                  <a:pt x="487635" y="455607"/>
                </a:cubicBezTo>
                <a:close/>
                <a:moveTo>
                  <a:pt x="667593" y="425616"/>
                </a:moveTo>
                <a:cubicBezTo>
                  <a:pt x="671499" y="424524"/>
                  <a:pt x="675874" y="424836"/>
                  <a:pt x="679624" y="426708"/>
                </a:cubicBezTo>
                <a:cubicBezTo>
                  <a:pt x="688373" y="431702"/>
                  <a:pt x="690873" y="441689"/>
                  <a:pt x="685873" y="449180"/>
                </a:cubicBezTo>
                <a:lnTo>
                  <a:pt x="515886" y="743806"/>
                </a:lnTo>
                <a:cubicBezTo>
                  <a:pt x="513386" y="748800"/>
                  <a:pt x="508386" y="751297"/>
                  <a:pt x="502137" y="751297"/>
                </a:cubicBezTo>
                <a:cubicBezTo>
                  <a:pt x="499637" y="751297"/>
                  <a:pt x="497137" y="751297"/>
                  <a:pt x="494637" y="748800"/>
                </a:cubicBezTo>
                <a:cubicBezTo>
                  <a:pt x="485888" y="746303"/>
                  <a:pt x="483388" y="735067"/>
                  <a:pt x="488388" y="727577"/>
                </a:cubicBezTo>
                <a:lnTo>
                  <a:pt x="658375" y="432950"/>
                </a:lnTo>
                <a:cubicBezTo>
                  <a:pt x="660250" y="429205"/>
                  <a:pt x="663687" y="426708"/>
                  <a:pt x="667593" y="425616"/>
                </a:cubicBezTo>
                <a:close/>
                <a:moveTo>
                  <a:pt x="487635" y="422963"/>
                </a:moveTo>
                <a:cubicBezTo>
                  <a:pt x="523702" y="422963"/>
                  <a:pt x="553551" y="451841"/>
                  <a:pt x="553551" y="488252"/>
                </a:cubicBezTo>
                <a:cubicBezTo>
                  <a:pt x="553551" y="524663"/>
                  <a:pt x="523702" y="553540"/>
                  <a:pt x="487635" y="553540"/>
                </a:cubicBezTo>
                <a:cubicBezTo>
                  <a:pt x="452811" y="553540"/>
                  <a:pt x="422962" y="524663"/>
                  <a:pt x="422962" y="488252"/>
                </a:cubicBezTo>
                <a:cubicBezTo>
                  <a:pt x="422962" y="451841"/>
                  <a:pt x="452811" y="422963"/>
                  <a:pt x="487635" y="422963"/>
                </a:cubicBezTo>
                <a:close/>
                <a:moveTo>
                  <a:pt x="587135" y="131856"/>
                </a:moveTo>
                <a:cubicBezTo>
                  <a:pt x="335861" y="131856"/>
                  <a:pt x="133100" y="335861"/>
                  <a:pt x="133100" y="587134"/>
                </a:cubicBezTo>
                <a:cubicBezTo>
                  <a:pt x="133100" y="837164"/>
                  <a:pt x="335861" y="1041168"/>
                  <a:pt x="587135" y="1041168"/>
                </a:cubicBezTo>
                <a:cubicBezTo>
                  <a:pt x="837164" y="1041168"/>
                  <a:pt x="1042412" y="837164"/>
                  <a:pt x="1042412" y="587134"/>
                </a:cubicBezTo>
                <a:cubicBezTo>
                  <a:pt x="1042412" y="335861"/>
                  <a:pt x="837164" y="131856"/>
                  <a:pt x="587135" y="131856"/>
                </a:cubicBezTo>
                <a:close/>
                <a:moveTo>
                  <a:pt x="603306" y="32342"/>
                </a:moveTo>
                <a:lnTo>
                  <a:pt x="603306" y="100758"/>
                </a:lnTo>
                <a:cubicBezTo>
                  <a:pt x="864531" y="108222"/>
                  <a:pt x="1074754" y="323421"/>
                  <a:pt x="1074754" y="587134"/>
                </a:cubicBezTo>
                <a:cubicBezTo>
                  <a:pt x="1074754" y="715259"/>
                  <a:pt x="1023754" y="832188"/>
                  <a:pt x="942898" y="919263"/>
                </a:cubicBezTo>
                <a:lnTo>
                  <a:pt x="990168" y="966532"/>
                </a:lnTo>
                <a:cubicBezTo>
                  <a:pt x="1084706" y="867018"/>
                  <a:pt x="1141926" y="733918"/>
                  <a:pt x="1141926" y="587134"/>
                </a:cubicBezTo>
                <a:cubicBezTo>
                  <a:pt x="1141926" y="287347"/>
                  <a:pt x="901848" y="42294"/>
                  <a:pt x="603306" y="32342"/>
                </a:cubicBezTo>
                <a:close/>
                <a:moveTo>
                  <a:pt x="570963" y="32342"/>
                </a:moveTo>
                <a:cubicBezTo>
                  <a:pt x="272420" y="42294"/>
                  <a:pt x="32342" y="287347"/>
                  <a:pt x="32342" y="587134"/>
                </a:cubicBezTo>
                <a:cubicBezTo>
                  <a:pt x="32342" y="733918"/>
                  <a:pt x="90807" y="867018"/>
                  <a:pt x="184102" y="966532"/>
                </a:cubicBezTo>
                <a:lnTo>
                  <a:pt x="231371" y="919263"/>
                </a:lnTo>
                <a:cubicBezTo>
                  <a:pt x="150515" y="832188"/>
                  <a:pt x="99514" y="715259"/>
                  <a:pt x="99514" y="587134"/>
                </a:cubicBezTo>
                <a:cubicBezTo>
                  <a:pt x="99514" y="323421"/>
                  <a:pt x="309738" y="108222"/>
                  <a:pt x="570963" y="100758"/>
                </a:cubicBezTo>
                <a:close/>
                <a:moveTo>
                  <a:pt x="587135" y="0"/>
                </a:moveTo>
                <a:cubicBezTo>
                  <a:pt x="910556" y="0"/>
                  <a:pt x="1174270" y="263713"/>
                  <a:pt x="1174270" y="587134"/>
                </a:cubicBezTo>
                <a:cubicBezTo>
                  <a:pt x="1174270" y="747601"/>
                  <a:pt x="1108340" y="894384"/>
                  <a:pt x="1002606" y="1000118"/>
                </a:cubicBezTo>
                <a:cubicBezTo>
                  <a:pt x="1002606" y="1001362"/>
                  <a:pt x="1002606" y="1001362"/>
                  <a:pt x="1001362" y="1001362"/>
                </a:cubicBezTo>
                <a:cubicBezTo>
                  <a:pt x="1001362" y="1001362"/>
                  <a:pt x="1001362" y="1002606"/>
                  <a:pt x="1000118" y="1002606"/>
                </a:cubicBezTo>
                <a:cubicBezTo>
                  <a:pt x="894386" y="1108340"/>
                  <a:pt x="748845" y="1174268"/>
                  <a:pt x="587135" y="1174268"/>
                </a:cubicBezTo>
                <a:cubicBezTo>
                  <a:pt x="426668" y="1174268"/>
                  <a:pt x="279884" y="1108340"/>
                  <a:pt x="174150" y="1002606"/>
                </a:cubicBezTo>
                <a:cubicBezTo>
                  <a:pt x="172906" y="1002606"/>
                  <a:pt x="171662" y="1001362"/>
                  <a:pt x="171662" y="1001362"/>
                </a:cubicBezTo>
                <a:cubicBezTo>
                  <a:pt x="171662" y="1001362"/>
                  <a:pt x="171662" y="1001362"/>
                  <a:pt x="171662" y="1000118"/>
                </a:cubicBezTo>
                <a:cubicBezTo>
                  <a:pt x="65928" y="894384"/>
                  <a:pt x="0" y="747601"/>
                  <a:pt x="0" y="587134"/>
                </a:cubicBezTo>
                <a:cubicBezTo>
                  <a:pt x="0" y="263713"/>
                  <a:pt x="263713" y="0"/>
                  <a:pt x="58713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1" name="Freeform 29">
            <a:extLst>
              <a:ext uri="{FF2B5EF4-FFF2-40B4-BE49-F238E27FC236}">
                <a16:creationId xmlns:a16="http://schemas.microsoft.com/office/drawing/2014/main" id="{903A3718-B68B-D07D-CA9F-FAA821C22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2760" y="3972944"/>
            <a:ext cx="558678" cy="558676"/>
          </a:xfrm>
          <a:custGeom>
            <a:avLst/>
            <a:gdLst>
              <a:gd name="connsiteX0" fmla="*/ 521842 w 1117356"/>
              <a:gd name="connsiteY0" fmla="*/ 964794 h 1117352"/>
              <a:gd name="connsiteX1" fmla="*/ 537144 w 1117356"/>
              <a:gd name="connsiteY1" fmla="*/ 979884 h 1117352"/>
              <a:gd name="connsiteX2" fmla="*/ 537144 w 1117356"/>
              <a:gd name="connsiteY2" fmla="*/ 1051559 h 1117352"/>
              <a:gd name="connsiteX3" fmla="*/ 521842 w 1117356"/>
              <a:gd name="connsiteY3" fmla="*/ 1067907 h 1117352"/>
              <a:gd name="connsiteX4" fmla="*/ 505362 w 1117356"/>
              <a:gd name="connsiteY4" fmla="*/ 1051559 h 1117352"/>
              <a:gd name="connsiteX5" fmla="*/ 505362 w 1117356"/>
              <a:gd name="connsiteY5" fmla="*/ 979884 h 1117352"/>
              <a:gd name="connsiteX6" fmla="*/ 521842 w 1117356"/>
              <a:gd name="connsiteY6" fmla="*/ 964794 h 1117352"/>
              <a:gd name="connsiteX7" fmla="*/ 963700 w 1117356"/>
              <a:gd name="connsiteY7" fmla="*/ 663635 h 1117352"/>
              <a:gd name="connsiteX8" fmla="*/ 936308 w 1117356"/>
              <a:gd name="connsiteY8" fmla="*/ 679839 h 1117352"/>
              <a:gd name="connsiteX9" fmla="*/ 936308 w 1117356"/>
              <a:gd name="connsiteY9" fmla="*/ 682332 h 1117352"/>
              <a:gd name="connsiteX10" fmla="*/ 935063 w 1117356"/>
              <a:gd name="connsiteY10" fmla="*/ 683579 h 1117352"/>
              <a:gd name="connsiteX11" fmla="*/ 933818 w 1117356"/>
              <a:gd name="connsiteY11" fmla="*/ 689811 h 1117352"/>
              <a:gd name="connsiteX12" fmla="*/ 933818 w 1117356"/>
              <a:gd name="connsiteY12" fmla="*/ 692304 h 1117352"/>
              <a:gd name="connsiteX13" fmla="*/ 933818 w 1117356"/>
              <a:gd name="connsiteY13" fmla="*/ 694797 h 1117352"/>
              <a:gd name="connsiteX14" fmla="*/ 957475 w 1117356"/>
              <a:gd name="connsiteY14" fmla="*/ 720973 h 1117352"/>
              <a:gd name="connsiteX15" fmla="*/ 1047122 w 1117356"/>
              <a:gd name="connsiteY15" fmla="*/ 739670 h 1117352"/>
              <a:gd name="connsiteX16" fmla="*/ 1040896 w 1117356"/>
              <a:gd name="connsiteY16" fmla="*/ 728452 h 1117352"/>
              <a:gd name="connsiteX17" fmla="*/ 1048367 w 1117356"/>
              <a:gd name="connsiteY17" fmla="*/ 689811 h 1117352"/>
              <a:gd name="connsiteX18" fmla="*/ 1059572 w 1117356"/>
              <a:gd name="connsiteY18" fmla="*/ 682332 h 1117352"/>
              <a:gd name="connsiteX19" fmla="*/ 968681 w 1117356"/>
              <a:gd name="connsiteY19" fmla="*/ 664882 h 1117352"/>
              <a:gd name="connsiteX20" fmla="*/ 963700 w 1117356"/>
              <a:gd name="connsiteY20" fmla="*/ 663635 h 1117352"/>
              <a:gd name="connsiteX21" fmla="*/ 627526 w 1117356"/>
              <a:gd name="connsiteY21" fmla="*/ 510319 h 1117352"/>
              <a:gd name="connsiteX22" fmla="*/ 560291 w 1117356"/>
              <a:gd name="connsiteY22" fmla="*/ 578875 h 1117352"/>
              <a:gd name="connsiteX23" fmla="*/ 562781 w 1117356"/>
              <a:gd name="connsiteY23" fmla="*/ 590093 h 1117352"/>
              <a:gd name="connsiteX24" fmla="*/ 657408 w 1117356"/>
              <a:gd name="connsiteY24" fmla="*/ 611283 h 1117352"/>
              <a:gd name="connsiteX25" fmla="*/ 657408 w 1117356"/>
              <a:gd name="connsiteY25" fmla="*/ 597572 h 1117352"/>
              <a:gd name="connsiteX26" fmla="*/ 627526 w 1117356"/>
              <a:gd name="connsiteY26" fmla="*/ 510319 h 1117352"/>
              <a:gd name="connsiteX27" fmla="*/ 519203 w 1117356"/>
              <a:gd name="connsiteY27" fmla="*/ 456720 h 1117352"/>
              <a:gd name="connsiteX28" fmla="*/ 378508 w 1117356"/>
              <a:gd name="connsiteY28" fmla="*/ 597572 h 1117352"/>
              <a:gd name="connsiteX29" fmla="*/ 519203 w 1117356"/>
              <a:gd name="connsiteY29" fmla="*/ 738424 h 1117352"/>
              <a:gd name="connsiteX30" fmla="*/ 649938 w 1117356"/>
              <a:gd name="connsiteY30" fmla="*/ 642445 h 1117352"/>
              <a:gd name="connsiteX31" fmla="*/ 556556 w 1117356"/>
              <a:gd name="connsiteY31" fmla="*/ 622502 h 1117352"/>
              <a:gd name="connsiteX32" fmla="*/ 519203 w 1117356"/>
              <a:gd name="connsiteY32" fmla="*/ 642445 h 1117352"/>
              <a:gd name="connsiteX33" fmla="*/ 473135 w 1117356"/>
              <a:gd name="connsiteY33" fmla="*/ 597572 h 1117352"/>
              <a:gd name="connsiteX34" fmla="*/ 519203 w 1117356"/>
              <a:gd name="connsiteY34" fmla="*/ 552699 h 1117352"/>
              <a:gd name="connsiteX35" fmla="*/ 536634 w 1117356"/>
              <a:gd name="connsiteY35" fmla="*/ 556438 h 1117352"/>
              <a:gd name="connsiteX36" fmla="*/ 603869 w 1117356"/>
              <a:gd name="connsiteY36" fmla="*/ 487882 h 1117352"/>
              <a:gd name="connsiteX37" fmla="*/ 581458 w 1117356"/>
              <a:gd name="connsiteY37" fmla="*/ 472924 h 1117352"/>
              <a:gd name="connsiteX38" fmla="*/ 519203 w 1117356"/>
              <a:gd name="connsiteY38" fmla="*/ 456720 h 1117352"/>
              <a:gd name="connsiteX39" fmla="*/ 750790 w 1117356"/>
              <a:gd name="connsiteY39" fmla="*/ 386918 h 1117352"/>
              <a:gd name="connsiteX40" fmla="*/ 651183 w 1117356"/>
              <a:gd name="connsiteY40" fmla="*/ 486636 h 1117352"/>
              <a:gd name="connsiteX41" fmla="*/ 691026 w 1117356"/>
              <a:gd name="connsiteY41" fmla="*/ 597572 h 1117352"/>
              <a:gd name="connsiteX42" fmla="*/ 688535 w 1117356"/>
              <a:gd name="connsiteY42" fmla="*/ 617516 h 1117352"/>
              <a:gd name="connsiteX43" fmla="*/ 827986 w 1117356"/>
              <a:gd name="connsiteY43" fmla="*/ 647431 h 1117352"/>
              <a:gd name="connsiteX44" fmla="*/ 831721 w 1117356"/>
              <a:gd name="connsiteY44" fmla="*/ 597572 h 1117352"/>
              <a:gd name="connsiteX45" fmla="*/ 750790 w 1117356"/>
              <a:gd name="connsiteY45" fmla="*/ 386918 h 1117352"/>
              <a:gd name="connsiteX46" fmla="*/ 519203 w 1117356"/>
              <a:gd name="connsiteY46" fmla="*/ 282214 h 1117352"/>
              <a:gd name="connsiteX47" fmla="*/ 204195 w 1117356"/>
              <a:gd name="connsiteY47" fmla="*/ 597572 h 1117352"/>
              <a:gd name="connsiteX48" fmla="*/ 519203 w 1117356"/>
              <a:gd name="connsiteY48" fmla="*/ 911684 h 1117352"/>
              <a:gd name="connsiteX49" fmla="*/ 667942 w 1117356"/>
              <a:gd name="connsiteY49" fmla="*/ 873494 h 1117352"/>
              <a:gd name="connsiteX50" fmla="*/ 668017 w 1117356"/>
              <a:gd name="connsiteY50" fmla="*/ 873444 h 1117352"/>
              <a:gd name="connsiteX51" fmla="*/ 710013 w 1117356"/>
              <a:gd name="connsiteY51" fmla="*/ 845776 h 1117352"/>
              <a:gd name="connsiteX52" fmla="*/ 820515 w 1117356"/>
              <a:gd name="connsiteY52" fmla="*/ 679839 h 1117352"/>
              <a:gd name="connsiteX53" fmla="*/ 807103 w 1117356"/>
              <a:gd name="connsiteY53" fmla="*/ 676936 h 1117352"/>
              <a:gd name="connsiteX54" fmla="*/ 682310 w 1117356"/>
              <a:gd name="connsiteY54" fmla="*/ 649924 h 1117352"/>
              <a:gd name="connsiteX55" fmla="*/ 519203 w 1117356"/>
              <a:gd name="connsiteY55" fmla="*/ 770832 h 1117352"/>
              <a:gd name="connsiteX56" fmla="*/ 344890 w 1117356"/>
              <a:gd name="connsiteY56" fmla="*/ 597572 h 1117352"/>
              <a:gd name="connsiteX57" fmla="*/ 519203 w 1117356"/>
              <a:gd name="connsiteY57" fmla="*/ 424312 h 1117352"/>
              <a:gd name="connsiteX58" fmla="*/ 596399 w 1117356"/>
              <a:gd name="connsiteY58" fmla="*/ 443009 h 1117352"/>
              <a:gd name="connsiteX59" fmla="*/ 627526 w 1117356"/>
              <a:gd name="connsiteY59" fmla="*/ 464199 h 1117352"/>
              <a:gd name="connsiteX60" fmla="*/ 728378 w 1117356"/>
              <a:gd name="connsiteY60" fmla="*/ 364481 h 1117352"/>
              <a:gd name="connsiteX61" fmla="*/ 519203 w 1117356"/>
              <a:gd name="connsiteY61" fmla="*/ 282214 h 1117352"/>
              <a:gd name="connsiteX62" fmla="*/ 872809 w 1117356"/>
              <a:gd name="connsiteY62" fmla="*/ 264763 h 1117352"/>
              <a:gd name="connsiteX63" fmla="*/ 774447 w 1117356"/>
              <a:gd name="connsiteY63" fmla="*/ 364481 h 1117352"/>
              <a:gd name="connsiteX64" fmla="*/ 864093 w 1117356"/>
              <a:gd name="connsiteY64" fmla="*/ 597572 h 1117352"/>
              <a:gd name="connsiteX65" fmla="*/ 859113 w 1117356"/>
              <a:gd name="connsiteY65" fmla="*/ 653663 h 1117352"/>
              <a:gd name="connsiteX66" fmla="*/ 907671 w 1117356"/>
              <a:gd name="connsiteY66" fmla="*/ 664882 h 1117352"/>
              <a:gd name="connsiteX67" fmla="*/ 974906 w 1117356"/>
              <a:gd name="connsiteY67" fmla="*/ 632473 h 1117352"/>
              <a:gd name="connsiteX68" fmla="*/ 1002298 w 1117356"/>
              <a:gd name="connsiteY68" fmla="*/ 637459 h 1117352"/>
              <a:gd name="connsiteX69" fmla="*/ 1003543 w 1117356"/>
              <a:gd name="connsiteY69" fmla="*/ 597572 h 1117352"/>
              <a:gd name="connsiteX70" fmla="*/ 872809 w 1117356"/>
              <a:gd name="connsiteY70" fmla="*/ 264763 h 1117352"/>
              <a:gd name="connsiteX71" fmla="*/ 521842 w 1117356"/>
              <a:gd name="connsiteY71" fmla="*/ 129851 h 1117352"/>
              <a:gd name="connsiteX72" fmla="*/ 537144 w 1117356"/>
              <a:gd name="connsiteY72" fmla="*/ 146004 h 1117352"/>
              <a:gd name="connsiteX73" fmla="*/ 537144 w 1117356"/>
              <a:gd name="connsiteY73" fmla="*/ 215584 h 1117352"/>
              <a:gd name="connsiteX74" fmla="*/ 521842 w 1117356"/>
              <a:gd name="connsiteY74" fmla="*/ 232978 h 1117352"/>
              <a:gd name="connsiteX75" fmla="*/ 505362 w 1117356"/>
              <a:gd name="connsiteY75" fmla="*/ 215584 h 1117352"/>
              <a:gd name="connsiteX76" fmla="*/ 505362 w 1117356"/>
              <a:gd name="connsiteY76" fmla="*/ 146004 h 1117352"/>
              <a:gd name="connsiteX77" fmla="*/ 521842 w 1117356"/>
              <a:gd name="connsiteY77" fmla="*/ 129851 h 1117352"/>
              <a:gd name="connsiteX78" fmla="*/ 519203 w 1117356"/>
              <a:gd name="connsiteY78" fmla="*/ 110200 h 1117352"/>
              <a:gd name="connsiteX79" fmla="*/ 32372 w 1117356"/>
              <a:gd name="connsiteY79" fmla="*/ 597572 h 1117352"/>
              <a:gd name="connsiteX80" fmla="*/ 519203 w 1117356"/>
              <a:gd name="connsiteY80" fmla="*/ 1083698 h 1117352"/>
              <a:gd name="connsiteX81" fmla="*/ 976151 w 1117356"/>
              <a:gd name="connsiteY81" fmla="*/ 758367 h 1117352"/>
              <a:gd name="connsiteX82" fmla="*/ 951250 w 1117356"/>
              <a:gd name="connsiteY82" fmla="*/ 753382 h 1117352"/>
              <a:gd name="connsiteX83" fmla="*/ 901446 w 1117356"/>
              <a:gd name="connsiteY83" fmla="*/ 697290 h 1117352"/>
              <a:gd name="connsiteX84" fmla="*/ 901446 w 1117356"/>
              <a:gd name="connsiteY84" fmla="*/ 696044 h 1117352"/>
              <a:gd name="connsiteX85" fmla="*/ 852887 w 1117356"/>
              <a:gd name="connsiteY85" fmla="*/ 686072 h 1117352"/>
              <a:gd name="connsiteX86" fmla="*/ 633148 w 1117356"/>
              <a:gd name="connsiteY86" fmla="*/ 925687 h 1117352"/>
              <a:gd name="connsiteX87" fmla="*/ 630558 w 1117356"/>
              <a:gd name="connsiteY87" fmla="*/ 926370 h 1117352"/>
              <a:gd name="connsiteX88" fmla="*/ 577715 w 1117356"/>
              <a:gd name="connsiteY88" fmla="*/ 940282 h 1117352"/>
              <a:gd name="connsiteX89" fmla="*/ 519203 w 1117356"/>
              <a:gd name="connsiteY89" fmla="*/ 945339 h 1117352"/>
              <a:gd name="connsiteX90" fmla="*/ 171823 w 1117356"/>
              <a:gd name="connsiteY90" fmla="*/ 597572 h 1117352"/>
              <a:gd name="connsiteX91" fmla="*/ 519203 w 1117356"/>
              <a:gd name="connsiteY91" fmla="*/ 249805 h 1117352"/>
              <a:gd name="connsiteX92" fmla="*/ 750790 w 1117356"/>
              <a:gd name="connsiteY92" fmla="*/ 340798 h 1117352"/>
              <a:gd name="connsiteX93" fmla="*/ 849152 w 1117356"/>
              <a:gd name="connsiteY93" fmla="*/ 242326 h 1117352"/>
              <a:gd name="connsiteX94" fmla="*/ 519203 w 1117356"/>
              <a:gd name="connsiteY94" fmla="*/ 110200 h 1117352"/>
              <a:gd name="connsiteX95" fmla="*/ 1029690 w 1117356"/>
              <a:gd name="connsiteY95" fmla="*/ 46629 h 1117352"/>
              <a:gd name="connsiteX96" fmla="*/ 963700 w 1117356"/>
              <a:gd name="connsiteY96" fmla="*/ 112693 h 1117352"/>
              <a:gd name="connsiteX97" fmla="*/ 958720 w 1117356"/>
              <a:gd name="connsiteY97" fmla="*/ 148841 h 1117352"/>
              <a:gd name="connsiteX98" fmla="*/ 959965 w 1117356"/>
              <a:gd name="connsiteY98" fmla="*/ 150087 h 1117352"/>
              <a:gd name="connsiteX99" fmla="*/ 959965 w 1117356"/>
              <a:gd name="connsiteY99" fmla="*/ 152580 h 1117352"/>
              <a:gd name="connsiteX100" fmla="*/ 966191 w 1117356"/>
              <a:gd name="connsiteY100" fmla="*/ 156319 h 1117352"/>
              <a:gd name="connsiteX101" fmla="*/ 967436 w 1117356"/>
              <a:gd name="connsiteY101" fmla="*/ 157566 h 1117352"/>
              <a:gd name="connsiteX102" fmla="*/ 969926 w 1117356"/>
              <a:gd name="connsiteY102" fmla="*/ 158812 h 1117352"/>
              <a:gd name="connsiteX103" fmla="*/ 1004788 w 1117356"/>
              <a:gd name="connsiteY103" fmla="*/ 153827 h 1117352"/>
              <a:gd name="connsiteX104" fmla="*/ 1070778 w 1117356"/>
              <a:gd name="connsiteY104" fmla="*/ 89010 h 1117352"/>
              <a:gd name="connsiteX105" fmla="*/ 1057082 w 1117356"/>
              <a:gd name="connsiteY105" fmla="*/ 89010 h 1117352"/>
              <a:gd name="connsiteX106" fmla="*/ 1029690 w 1117356"/>
              <a:gd name="connsiteY106" fmla="*/ 61587 h 1117352"/>
              <a:gd name="connsiteX107" fmla="*/ 1034359 w 1117356"/>
              <a:gd name="connsiteY107" fmla="*/ 510 h 1117352"/>
              <a:gd name="connsiteX108" fmla="*/ 1047122 w 1117356"/>
              <a:gd name="connsiteY108" fmla="*/ 1756 h 1117352"/>
              <a:gd name="connsiteX109" fmla="*/ 1062063 w 1117356"/>
              <a:gd name="connsiteY109" fmla="*/ 22946 h 1117352"/>
              <a:gd name="connsiteX110" fmla="*/ 1062063 w 1117356"/>
              <a:gd name="connsiteY110" fmla="*/ 56601 h 1117352"/>
              <a:gd name="connsiteX111" fmla="*/ 1094435 w 1117356"/>
              <a:gd name="connsiteY111" fmla="*/ 56601 h 1117352"/>
              <a:gd name="connsiteX112" fmla="*/ 1115602 w 1117356"/>
              <a:gd name="connsiteY112" fmla="*/ 70313 h 1117352"/>
              <a:gd name="connsiteX113" fmla="*/ 1110621 w 1117356"/>
              <a:gd name="connsiteY113" fmla="*/ 95242 h 1117352"/>
              <a:gd name="connsiteX114" fmla="*/ 1028445 w 1117356"/>
              <a:gd name="connsiteY114" fmla="*/ 177510 h 1117352"/>
              <a:gd name="connsiteX115" fmla="*/ 984867 w 1117356"/>
              <a:gd name="connsiteY115" fmla="*/ 194960 h 1117352"/>
              <a:gd name="connsiteX116" fmla="*/ 953740 w 1117356"/>
              <a:gd name="connsiteY116" fmla="*/ 187481 h 1117352"/>
              <a:gd name="connsiteX117" fmla="*/ 951250 w 1117356"/>
              <a:gd name="connsiteY117" fmla="*/ 186235 h 1117352"/>
              <a:gd name="connsiteX118" fmla="*/ 895220 w 1117356"/>
              <a:gd name="connsiteY118" fmla="*/ 242326 h 1117352"/>
              <a:gd name="connsiteX119" fmla="*/ 1035916 w 1117356"/>
              <a:gd name="connsiteY119" fmla="*/ 597572 h 1117352"/>
              <a:gd name="connsiteX120" fmla="*/ 1033426 w 1117356"/>
              <a:gd name="connsiteY120" fmla="*/ 643692 h 1117352"/>
              <a:gd name="connsiteX121" fmla="*/ 1090700 w 1117356"/>
              <a:gd name="connsiteY121" fmla="*/ 654910 h 1117352"/>
              <a:gd name="connsiteX122" fmla="*/ 1108131 w 1117356"/>
              <a:gd name="connsiteY122" fmla="*/ 672361 h 1117352"/>
              <a:gd name="connsiteX123" fmla="*/ 1098170 w 1117356"/>
              <a:gd name="connsiteY123" fmla="*/ 696044 h 1117352"/>
              <a:gd name="connsiteX124" fmla="*/ 1070778 w 1117356"/>
              <a:gd name="connsiteY124" fmla="*/ 714741 h 1117352"/>
              <a:gd name="connsiteX125" fmla="*/ 1088210 w 1117356"/>
              <a:gd name="connsiteY125" fmla="*/ 742163 h 1117352"/>
              <a:gd name="connsiteX126" fmla="*/ 1088210 w 1117356"/>
              <a:gd name="connsiteY126" fmla="*/ 767093 h 1117352"/>
              <a:gd name="connsiteX127" fmla="*/ 1070778 w 1117356"/>
              <a:gd name="connsiteY127" fmla="*/ 777065 h 1117352"/>
              <a:gd name="connsiteX128" fmla="*/ 1065798 w 1117356"/>
              <a:gd name="connsiteY128" fmla="*/ 777065 h 1117352"/>
              <a:gd name="connsiteX129" fmla="*/ 1008524 w 1117356"/>
              <a:gd name="connsiteY129" fmla="*/ 765846 h 1117352"/>
              <a:gd name="connsiteX130" fmla="*/ 519203 w 1117356"/>
              <a:gd name="connsiteY130" fmla="*/ 1117352 h 1117352"/>
              <a:gd name="connsiteX131" fmla="*/ 0 w 1117356"/>
              <a:gd name="connsiteY131" fmla="*/ 597572 h 1117352"/>
              <a:gd name="connsiteX132" fmla="*/ 519203 w 1117356"/>
              <a:gd name="connsiteY132" fmla="*/ 77791 h 1117352"/>
              <a:gd name="connsiteX133" fmla="*/ 872809 w 1117356"/>
              <a:gd name="connsiteY133" fmla="*/ 218643 h 1117352"/>
              <a:gd name="connsiteX134" fmla="*/ 930083 w 1117356"/>
              <a:gd name="connsiteY134" fmla="*/ 161305 h 1117352"/>
              <a:gd name="connsiteX135" fmla="*/ 940044 w 1117356"/>
              <a:gd name="connsiteY135" fmla="*/ 89010 h 1117352"/>
              <a:gd name="connsiteX136" fmla="*/ 1023465 w 1117356"/>
              <a:gd name="connsiteY136" fmla="*/ 6742 h 1117352"/>
              <a:gd name="connsiteX137" fmla="*/ 1034359 w 1117356"/>
              <a:gd name="connsiteY137" fmla="*/ 510 h 11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1117356" h="1117352">
                <a:moveTo>
                  <a:pt x="521842" y="964794"/>
                </a:moveTo>
                <a:cubicBezTo>
                  <a:pt x="528904" y="964794"/>
                  <a:pt x="537144" y="971081"/>
                  <a:pt x="537144" y="979884"/>
                </a:cubicBezTo>
                <a:lnTo>
                  <a:pt x="537144" y="1051559"/>
                </a:lnTo>
                <a:cubicBezTo>
                  <a:pt x="537144" y="1060362"/>
                  <a:pt x="528904" y="1067907"/>
                  <a:pt x="521842" y="1067907"/>
                </a:cubicBezTo>
                <a:cubicBezTo>
                  <a:pt x="512425" y="1067907"/>
                  <a:pt x="505362" y="1060362"/>
                  <a:pt x="505362" y="1051559"/>
                </a:cubicBezTo>
                <a:lnTo>
                  <a:pt x="505362" y="979884"/>
                </a:lnTo>
                <a:cubicBezTo>
                  <a:pt x="505362" y="971081"/>
                  <a:pt x="512425" y="964794"/>
                  <a:pt x="521842" y="964794"/>
                </a:cubicBezTo>
                <a:close/>
                <a:moveTo>
                  <a:pt x="963700" y="663635"/>
                </a:moveTo>
                <a:cubicBezTo>
                  <a:pt x="952495" y="663635"/>
                  <a:pt x="941289" y="669868"/>
                  <a:pt x="936308" y="679839"/>
                </a:cubicBezTo>
                <a:lnTo>
                  <a:pt x="936308" y="682332"/>
                </a:lnTo>
                <a:cubicBezTo>
                  <a:pt x="935063" y="682332"/>
                  <a:pt x="935063" y="683579"/>
                  <a:pt x="935063" y="683579"/>
                </a:cubicBezTo>
                <a:lnTo>
                  <a:pt x="933818" y="689811"/>
                </a:lnTo>
                <a:cubicBezTo>
                  <a:pt x="933818" y="691058"/>
                  <a:pt x="933818" y="691058"/>
                  <a:pt x="933818" y="692304"/>
                </a:cubicBezTo>
                <a:lnTo>
                  <a:pt x="933818" y="694797"/>
                </a:lnTo>
                <a:cubicBezTo>
                  <a:pt x="935063" y="707262"/>
                  <a:pt x="943779" y="718480"/>
                  <a:pt x="957475" y="720973"/>
                </a:cubicBezTo>
                <a:lnTo>
                  <a:pt x="1047122" y="739670"/>
                </a:lnTo>
                <a:lnTo>
                  <a:pt x="1040896" y="728452"/>
                </a:lnTo>
                <a:cubicBezTo>
                  <a:pt x="1030935" y="715987"/>
                  <a:pt x="1035916" y="698537"/>
                  <a:pt x="1048367" y="689811"/>
                </a:cubicBezTo>
                <a:lnTo>
                  <a:pt x="1059572" y="682332"/>
                </a:lnTo>
                <a:lnTo>
                  <a:pt x="968681" y="664882"/>
                </a:lnTo>
                <a:cubicBezTo>
                  <a:pt x="966191" y="663635"/>
                  <a:pt x="964946" y="663635"/>
                  <a:pt x="963700" y="663635"/>
                </a:cubicBezTo>
                <a:close/>
                <a:moveTo>
                  <a:pt x="627526" y="510319"/>
                </a:moveTo>
                <a:lnTo>
                  <a:pt x="560291" y="578875"/>
                </a:lnTo>
                <a:cubicBezTo>
                  <a:pt x="561536" y="582614"/>
                  <a:pt x="561536" y="586354"/>
                  <a:pt x="562781" y="590093"/>
                </a:cubicBezTo>
                <a:lnTo>
                  <a:pt x="657408" y="611283"/>
                </a:lnTo>
                <a:cubicBezTo>
                  <a:pt x="657408" y="606297"/>
                  <a:pt x="657408" y="601311"/>
                  <a:pt x="657408" y="597572"/>
                </a:cubicBezTo>
                <a:cubicBezTo>
                  <a:pt x="657408" y="565164"/>
                  <a:pt x="647447" y="535248"/>
                  <a:pt x="627526" y="510319"/>
                </a:cubicBezTo>
                <a:close/>
                <a:moveTo>
                  <a:pt x="519203" y="456720"/>
                </a:moveTo>
                <a:cubicBezTo>
                  <a:pt x="440762" y="456720"/>
                  <a:pt x="378508" y="520290"/>
                  <a:pt x="378508" y="597572"/>
                </a:cubicBezTo>
                <a:cubicBezTo>
                  <a:pt x="378508" y="674854"/>
                  <a:pt x="440762" y="738424"/>
                  <a:pt x="519203" y="738424"/>
                </a:cubicBezTo>
                <a:cubicBezTo>
                  <a:pt x="578967" y="738424"/>
                  <a:pt x="631261" y="697290"/>
                  <a:pt x="649938" y="642445"/>
                </a:cubicBezTo>
                <a:lnTo>
                  <a:pt x="556556" y="622502"/>
                </a:lnTo>
                <a:cubicBezTo>
                  <a:pt x="549085" y="634966"/>
                  <a:pt x="534144" y="642445"/>
                  <a:pt x="519203" y="642445"/>
                </a:cubicBezTo>
                <a:cubicBezTo>
                  <a:pt x="494301" y="642445"/>
                  <a:pt x="473135" y="622502"/>
                  <a:pt x="473135" y="597572"/>
                </a:cubicBezTo>
                <a:cubicBezTo>
                  <a:pt x="473135" y="572642"/>
                  <a:pt x="494301" y="552699"/>
                  <a:pt x="519203" y="552699"/>
                </a:cubicBezTo>
                <a:cubicBezTo>
                  <a:pt x="525428" y="552699"/>
                  <a:pt x="530409" y="553945"/>
                  <a:pt x="536634" y="556438"/>
                </a:cubicBezTo>
                <a:lnTo>
                  <a:pt x="603869" y="487882"/>
                </a:lnTo>
                <a:cubicBezTo>
                  <a:pt x="597644" y="481650"/>
                  <a:pt x="590173" y="476664"/>
                  <a:pt x="581458" y="472924"/>
                </a:cubicBezTo>
                <a:cubicBezTo>
                  <a:pt x="562781" y="461706"/>
                  <a:pt x="540370" y="456720"/>
                  <a:pt x="519203" y="456720"/>
                </a:cubicBezTo>
                <a:close/>
                <a:moveTo>
                  <a:pt x="750790" y="386918"/>
                </a:moveTo>
                <a:lnTo>
                  <a:pt x="651183" y="486636"/>
                </a:lnTo>
                <a:cubicBezTo>
                  <a:pt x="676084" y="516551"/>
                  <a:pt x="691026" y="556438"/>
                  <a:pt x="691026" y="597572"/>
                </a:cubicBezTo>
                <a:cubicBezTo>
                  <a:pt x="691026" y="603804"/>
                  <a:pt x="689780" y="611283"/>
                  <a:pt x="688535" y="617516"/>
                </a:cubicBezTo>
                <a:lnTo>
                  <a:pt x="827986" y="647431"/>
                </a:lnTo>
                <a:cubicBezTo>
                  <a:pt x="830476" y="631227"/>
                  <a:pt x="831721" y="615023"/>
                  <a:pt x="831721" y="597572"/>
                </a:cubicBezTo>
                <a:cubicBezTo>
                  <a:pt x="831721" y="516551"/>
                  <a:pt x="800594" y="443009"/>
                  <a:pt x="750790" y="386918"/>
                </a:cubicBezTo>
                <a:close/>
                <a:moveTo>
                  <a:pt x="519203" y="282214"/>
                </a:moveTo>
                <a:cubicBezTo>
                  <a:pt x="344890" y="282214"/>
                  <a:pt x="204195" y="424312"/>
                  <a:pt x="204195" y="597572"/>
                </a:cubicBezTo>
                <a:cubicBezTo>
                  <a:pt x="204195" y="770832"/>
                  <a:pt x="344890" y="911684"/>
                  <a:pt x="519203" y="911684"/>
                </a:cubicBezTo>
                <a:cubicBezTo>
                  <a:pt x="572897" y="911684"/>
                  <a:pt x="623615" y="897836"/>
                  <a:pt x="667942" y="873494"/>
                </a:cubicBezTo>
                <a:lnTo>
                  <a:pt x="668017" y="873444"/>
                </a:lnTo>
                <a:lnTo>
                  <a:pt x="710013" y="845776"/>
                </a:lnTo>
                <a:cubicBezTo>
                  <a:pt x="762929" y="804487"/>
                  <a:pt x="802461" y="746525"/>
                  <a:pt x="820515" y="679839"/>
                </a:cubicBezTo>
                <a:lnTo>
                  <a:pt x="807103" y="676936"/>
                </a:lnTo>
                <a:lnTo>
                  <a:pt x="682310" y="649924"/>
                </a:lnTo>
                <a:cubicBezTo>
                  <a:pt x="659898" y="719727"/>
                  <a:pt x="593908" y="770832"/>
                  <a:pt x="519203" y="770832"/>
                </a:cubicBezTo>
                <a:cubicBezTo>
                  <a:pt x="423331" y="770832"/>
                  <a:pt x="344890" y="693551"/>
                  <a:pt x="344890" y="597572"/>
                </a:cubicBezTo>
                <a:cubicBezTo>
                  <a:pt x="344890" y="501593"/>
                  <a:pt x="423331" y="424312"/>
                  <a:pt x="519203" y="424312"/>
                </a:cubicBezTo>
                <a:cubicBezTo>
                  <a:pt x="546595" y="424312"/>
                  <a:pt x="572742" y="430544"/>
                  <a:pt x="596399" y="443009"/>
                </a:cubicBezTo>
                <a:cubicBezTo>
                  <a:pt x="607604" y="449241"/>
                  <a:pt x="617565" y="456720"/>
                  <a:pt x="627526" y="464199"/>
                </a:cubicBezTo>
                <a:lnTo>
                  <a:pt x="728378" y="364481"/>
                </a:lnTo>
                <a:cubicBezTo>
                  <a:pt x="672349" y="313375"/>
                  <a:pt x="598889" y="282214"/>
                  <a:pt x="519203" y="282214"/>
                </a:cubicBezTo>
                <a:close/>
                <a:moveTo>
                  <a:pt x="872809" y="264763"/>
                </a:moveTo>
                <a:lnTo>
                  <a:pt x="774447" y="364481"/>
                </a:lnTo>
                <a:cubicBezTo>
                  <a:pt x="829231" y="425558"/>
                  <a:pt x="864093" y="507826"/>
                  <a:pt x="864093" y="597572"/>
                </a:cubicBezTo>
                <a:cubicBezTo>
                  <a:pt x="864093" y="617516"/>
                  <a:pt x="862848" y="636213"/>
                  <a:pt x="859113" y="653663"/>
                </a:cubicBezTo>
                <a:lnTo>
                  <a:pt x="907671" y="664882"/>
                </a:lnTo>
                <a:cubicBezTo>
                  <a:pt x="920122" y="639952"/>
                  <a:pt x="947514" y="626241"/>
                  <a:pt x="974906" y="632473"/>
                </a:cubicBezTo>
                <a:lnTo>
                  <a:pt x="1002298" y="637459"/>
                </a:lnTo>
                <a:cubicBezTo>
                  <a:pt x="1002298" y="623748"/>
                  <a:pt x="1003543" y="611283"/>
                  <a:pt x="1003543" y="597572"/>
                </a:cubicBezTo>
                <a:cubicBezTo>
                  <a:pt x="1003543" y="469185"/>
                  <a:pt x="953740" y="352016"/>
                  <a:pt x="872809" y="264763"/>
                </a:cubicBezTo>
                <a:close/>
                <a:moveTo>
                  <a:pt x="521842" y="129851"/>
                </a:moveTo>
                <a:cubicBezTo>
                  <a:pt x="528904" y="129851"/>
                  <a:pt x="537144" y="137306"/>
                  <a:pt x="537144" y="146004"/>
                </a:cubicBezTo>
                <a:lnTo>
                  <a:pt x="537144" y="215584"/>
                </a:lnTo>
                <a:cubicBezTo>
                  <a:pt x="537144" y="224281"/>
                  <a:pt x="528904" y="232978"/>
                  <a:pt x="521842" y="232978"/>
                </a:cubicBezTo>
                <a:cubicBezTo>
                  <a:pt x="512425" y="232978"/>
                  <a:pt x="505362" y="224281"/>
                  <a:pt x="505362" y="215584"/>
                </a:cubicBezTo>
                <a:lnTo>
                  <a:pt x="505362" y="146004"/>
                </a:lnTo>
                <a:cubicBezTo>
                  <a:pt x="505362" y="137306"/>
                  <a:pt x="512425" y="129851"/>
                  <a:pt x="521842" y="129851"/>
                </a:cubicBezTo>
                <a:close/>
                <a:moveTo>
                  <a:pt x="519203" y="110200"/>
                </a:moveTo>
                <a:cubicBezTo>
                  <a:pt x="250263" y="110200"/>
                  <a:pt x="32372" y="329580"/>
                  <a:pt x="32372" y="597572"/>
                </a:cubicBezTo>
                <a:cubicBezTo>
                  <a:pt x="32372" y="866811"/>
                  <a:pt x="250263" y="1083698"/>
                  <a:pt x="519203" y="1083698"/>
                </a:cubicBezTo>
                <a:cubicBezTo>
                  <a:pt x="724643" y="1083698"/>
                  <a:pt x="907671" y="954064"/>
                  <a:pt x="976151" y="758367"/>
                </a:cubicBezTo>
                <a:lnTo>
                  <a:pt x="951250" y="753382"/>
                </a:lnTo>
                <a:cubicBezTo>
                  <a:pt x="923858" y="748396"/>
                  <a:pt x="903936" y="724713"/>
                  <a:pt x="901446" y="697290"/>
                </a:cubicBezTo>
                <a:cubicBezTo>
                  <a:pt x="901446" y="697290"/>
                  <a:pt x="901446" y="697290"/>
                  <a:pt x="901446" y="696044"/>
                </a:cubicBezTo>
                <a:lnTo>
                  <a:pt x="852887" y="686072"/>
                </a:lnTo>
                <a:cubicBezTo>
                  <a:pt x="823939" y="797320"/>
                  <a:pt x="740363" y="887533"/>
                  <a:pt x="633148" y="925687"/>
                </a:cubicBezTo>
                <a:lnTo>
                  <a:pt x="630558" y="926370"/>
                </a:lnTo>
                <a:lnTo>
                  <a:pt x="577715" y="940282"/>
                </a:lnTo>
                <a:cubicBezTo>
                  <a:pt x="558676" y="943606"/>
                  <a:pt x="539125" y="945339"/>
                  <a:pt x="519203" y="945339"/>
                </a:cubicBezTo>
                <a:cubicBezTo>
                  <a:pt x="327459" y="945339"/>
                  <a:pt x="171823" y="789529"/>
                  <a:pt x="171823" y="597572"/>
                </a:cubicBezTo>
                <a:cubicBezTo>
                  <a:pt x="171823" y="405615"/>
                  <a:pt x="327459" y="249805"/>
                  <a:pt x="519203" y="249805"/>
                </a:cubicBezTo>
                <a:cubicBezTo>
                  <a:pt x="607604" y="249805"/>
                  <a:pt x="688535" y="284706"/>
                  <a:pt x="750790" y="340798"/>
                </a:cubicBezTo>
                <a:lnTo>
                  <a:pt x="849152" y="242326"/>
                </a:lnTo>
                <a:cubicBezTo>
                  <a:pt x="761996" y="160059"/>
                  <a:pt x="644957" y="110200"/>
                  <a:pt x="519203" y="110200"/>
                </a:cubicBezTo>
                <a:close/>
                <a:moveTo>
                  <a:pt x="1029690" y="46629"/>
                </a:moveTo>
                <a:lnTo>
                  <a:pt x="963700" y="112693"/>
                </a:lnTo>
                <a:cubicBezTo>
                  <a:pt x="953740" y="122665"/>
                  <a:pt x="952495" y="136376"/>
                  <a:pt x="958720" y="148841"/>
                </a:cubicBezTo>
                <a:lnTo>
                  <a:pt x="959965" y="150087"/>
                </a:lnTo>
                <a:cubicBezTo>
                  <a:pt x="959965" y="151334"/>
                  <a:pt x="959965" y="151334"/>
                  <a:pt x="959965" y="152580"/>
                </a:cubicBezTo>
                <a:lnTo>
                  <a:pt x="966191" y="156319"/>
                </a:lnTo>
                <a:cubicBezTo>
                  <a:pt x="966191" y="157566"/>
                  <a:pt x="966191" y="157566"/>
                  <a:pt x="967436" y="157566"/>
                </a:cubicBezTo>
                <a:lnTo>
                  <a:pt x="969926" y="158812"/>
                </a:lnTo>
                <a:cubicBezTo>
                  <a:pt x="981132" y="166291"/>
                  <a:pt x="996073" y="163798"/>
                  <a:pt x="1004788" y="153827"/>
                </a:cubicBezTo>
                <a:lnTo>
                  <a:pt x="1070778" y="89010"/>
                </a:lnTo>
                <a:lnTo>
                  <a:pt x="1057082" y="89010"/>
                </a:lnTo>
                <a:cubicBezTo>
                  <a:pt x="1042141" y="89010"/>
                  <a:pt x="1029690" y="76545"/>
                  <a:pt x="1029690" y="61587"/>
                </a:cubicBezTo>
                <a:close/>
                <a:moveTo>
                  <a:pt x="1034359" y="510"/>
                </a:moveTo>
                <a:cubicBezTo>
                  <a:pt x="1038406" y="-425"/>
                  <a:pt x="1042764" y="-113"/>
                  <a:pt x="1047122" y="1756"/>
                </a:cubicBezTo>
                <a:cubicBezTo>
                  <a:pt x="1055837" y="5496"/>
                  <a:pt x="1062063" y="12974"/>
                  <a:pt x="1062063" y="22946"/>
                </a:cubicBezTo>
                <a:lnTo>
                  <a:pt x="1062063" y="56601"/>
                </a:lnTo>
                <a:lnTo>
                  <a:pt x="1094435" y="56601"/>
                </a:lnTo>
                <a:cubicBezTo>
                  <a:pt x="1103151" y="56601"/>
                  <a:pt x="1111866" y="61587"/>
                  <a:pt x="1115602" y="70313"/>
                </a:cubicBezTo>
                <a:cubicBezTo>
                  <a:pt x="1119337" y="77791"/>
                  <a:pt x="1116847" y="87763"/>
                  <a:pt x="1110621" y="95242"/>
                </a:cubicBezTo>
                <a:lnTo>
                  <a:pt x="1028445" y="177510"/>
                </a:lnTo>
                <a:cubicBezTo>
                  <a:pt x="1015994" y="188728"/>
                  <a:pt x="1001053" y="194960"/>
                  <a:pt x="984867" y="194960"/>
                </a:cubicBezTo>
                <a:cubicBezTo>
                  <a:pt x="974906" y="194960"/>
                  <a:pt x="963700" y="193714"/>
                  <a:pt x="953740" y="187481"/>
                </a:cubicBezTo>
                <a:cubicBezTo>
                  <a:pt x="952495" y="187481"/>
                  <a:pt x="952495" y="186235"/>
                  <a:pt x="951250" y="186235"/>
                </a:cubicBezTo>
                <a:lnTo>
                  <a:pt x="895220" y="242326"/>
                </a:lnTo>
                <a:cubicBezTo>
                  <a:pt x="982377" y="334566"/>
                  <a:pt x="1035916" y="460460"/>
                  <a:pt x="1035916" y="597572"/>
                </a:cubicBezTo>
                <a:cubicBezTo>
                  <a:pt x="1035916" y="613776"/>
                  <a:pt x="1035916" y="628734"/>
                  <a:pt x="1033426" y="643692"/>
                </a:cubicBezTo>
                <a:lnTo>
                  <a:pt x="1090700" y="654910"/>
                </a:lnTo>
                <a:cubicBezTo>
                  <a:pt x="1098170" y="656156"/>
                  <a:pt x="1105641" y="663635"/>
                  <a:pt x="1108131" y="672361"/>
                </a:cubicBezTo>
                <a:cubicBezTo>
                  <a:pt x="1109376" y="682332"/>
                  <a:pt x="1105641" y="691058"/>
                  <a:pt x="1098170" y="696044"/>
                </a:cubicBezTo>
                <a:lnTo>
                  <a:pt x="1070778" y="714741"/>
                </a:lnTo>
                <a:lnTo>
                  <a:pt x="1088210" y="742163"/>
                </a:lnTo>
                <a:cubicBezTo>
                  <a:pt x="1094435" y="749642"/>
                  <a:pt x="1094435" y="759614"/>
                  <a:pt x="1088210" y="767093"/>
                </a:cubicBezTo>
                <a:cubicBezTo>
                  <a:pt x="1084474" y="773325"/>
                  <a:pt x="1077004" y="777065"/>
                  <a:pt x="1070778" y="777065"/>
                </a:cubicBezTo>
                <a:cubicBezTo>
                  <a:pt x="1068288" y="777065"/>
                  <a:pt x="1067043" y="777065"/>
                  <a:pt x="1065798" y="777065"/>
                </a:cubicBezTo>
                <a:lnTo>
                  <a:pt x="1008524" y="765846"/>
                </a:lnTo>
                <a:cubicBezTo>
                  <a:pt x="937554" y="976501"/>
                  <a:pt x="739584" y="1117352"/>
                  <a:pt x="519203" y="1117352"/>
                </a:cubicBezTo>
                <a:cubicBezTo>
                  <a:pt x="232832" y="1117352"/>
                  <a:pt x="0" y="884262"/>
                  <a:pt x="0" y="597572"/>
                </a:cubicBezTo>
                <a:cubicBezTo>
                  <a:pt x="0" y="310882"/>
                  <a:pt x="232832" y="77791"/>
                  <a:pt x="519203" y="77791"/>
                </a:cubicBezTo>
                <a:cubicBezTo>
                  <a:pt x="654918" y="77791"/>
                  <a:pt x="779427" y="131390"/>
                  <a:pt x="872809" y="218643"/>
                </a:cubicBezTo>
                <a:lnTo>
                  <a:pt x="930083" y="161305"/>
                </a:lnTo>
                <a:cubicBezTo>
                  <a:pt x="917632" y="137622"/>
                  <a:pt x="921367" y="108953"/>
                  <a:pt x="940044" y="89010"/>
                </a:cubicBezTo>
                <a:lnTo>
                  <a:pt x="1023465" y="6742"/>
                </a:lnTo>
                <a:cubicBezTo>
                  <a:pt x="1026578" y="3626"/>
                  <a:pt x="1030313" y="1445"/>
                  <a:pt x="1034359" y="5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4" name="Freeform 32">
            <a:extLst>
              <a:ext uri="{FF2B5EF4-FFF2-40B4-BE49-F238E27FC236}">
                <a16:creationId xmlns:a16="http://schemas.microsoft.com/office/drawing/2014/main" id="{A80C200E-E1FB-C086-04AA-3C7BBDB29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6352" y="3938996"/>
            <a:ext cx="625585" cy="625581"/>
          </a:xfrm>
          <a:custGeom>
            <a:avLst/>
            <a:gdLst>
              <a:gd name="connsiteX0" fmla="*/ 762924 w 1251170"/>
              <a:gd name="connsiteY0" fmla="*/ 1016214 h 1251162"/>
              <a:gd name="connsiteX1" fmla="*/ 778794 w 1251170"/>
              <a:gd name="connsiteY1" fmla="*/ 1032547 h 1251162"/>
              <a:gd name="connsiteX2" fmla="*/ 778794 w 1251170"/>
              <a:gd name="connsiteY2" fmla="*/ 1234824 h 1251162"/>
              <a:gd name="connsiteX3" fmla="*/ 762924 w 1251170"/>
              <a:gd name="connsiteY3" fmla="*/ 1251157 h 1251162"/>
              <a:gd name="connsiteX4" fmla="*/ 747056 w 1251170"/>
              <a:gd name="connsiteY4" fmla="*/ 1234824 h 1251162"/>
              <a:gd name="connsiteX5" fmla="*/ 747056 w 1251170"/>
              <a:gd name="connsiteY5" fmla="*/ 1032547 h 1251162"/>
              <a:gd name="connsiteX6" fmla="*/ 762924 w 1251170"/>
              <a:gd name="connsiteY6" fmla="*/ 1016214 h 1251162"/>
              <a:gd name="connsiteX7" fmla="*/ 482782 w 1251170"/>
              <a:gd name="connsiteY7" fmla="*/ 1016214 h 1251162"/>
              <a:gd name="connsiteX8" fmla="*/ 498650 w 1251170"/>
              <a:gd name="connsiteY8" fmla="*/ 1032547 h 1251162"/>
              <a:gd name="connsiteX9" fmla="*/ 498650 w 1251170"/>
              <a:gd name="connsiteY9" fmla="*/ 1234824 h 1251162"/>
              <a:gd name="connsiteX10" fmla="*/ 482782 w 1251170"/>
              <a:gd name="connsiteY10" fmla="*/ 1251157 h 1251162"/>
              <a:gd name="connsiteX11" fmla="*/ 466912 w 1251170"/>
              <a:gd name="connsiteY11" fmla="*/ 1234824 h 1251162"/>
              <a:gd name="connsiteX12" fmla="*/ 466912 w 1251170"/>
              <a:gd name="connsiteY12" fmla="*/ 1032547 h 1251162"/>
              <a:gd name="connsiteX13" fmla="*/ 482782 w 1251170"/>
              <a:gd name="connsiteY13" fmla="*/ 1016214 h 1251162"/>
              <a:gd name="connsiteX14" fmla="*/ 467394 w 1251170"/>
              <a:gd name="connsiteY14" fmla="*/ 829451 h 1251162"/>
              <a:gd name="connsiteX15" fmla="*/ 783774 w 1251170"/>
              <a:gd name="connsiteY15" fmla="*/ 829451 h 1251162"/>
              <a:gd name="connsiteX16" fmla="*/ 899614 w 1251170"/>
              <a:gd name="connsiteY16" fmla="*/ 945828 h 1251162"/>
              <a:gd name="connsiteX17" fmla="*/ 899614 w 1251170"/>
              <a:gd name="connsiteY17" fmla="*/ 1234894 h 1251162"/>
              <a:gd name="connsiteX18" fmla="*/ 883420 w 1251170"/>
              <a:gd name="connsiteY18" fmla="*/ 1251162 h 1251162"/>
              <a:gd name="connsiteX19" fmla="*/ 867228 w 1251170"/>
              <a:gd name="connsiteY19" fmla="*/ 1234894 h 1251162"/>
              <a:gd name="connsiteX20" fmla="*/ 867228 w 1251170"/>
              <a:gd name="connsiteY20" fmla="*/ 945828 h 1251162"/>
              <a:gd name="connsiteX21" fmla="*/ 783774 w 1251170"/>
              <a:gd name="connsiteY21" fmla="*/ 860735 h 1251162"/>
              <a:gd name="connsiteX22" fmla="*/ 467394 w 1251170"/>
              <a:gd name="connsiteY22" fmla="*/ 860735 h 1251162"/>
              <a:gd name="connsiteX23" fmla="*/ 383940 w 1251170"/>
              <a:gd name="connsiteY23" fmla="*/ 945828 h 1251162"/>
              <a:gd name="connsiteX24" fmla="*/ 383940 w 1251170"/>
              <a:gd name="connsiteY24" fmla="*/ 1234894 h 1251162"/>
              <a:gd name="connsiteX25" fmla="*/ 367748 w 1251170"/>
              <a:gd name="connsiteY25" fmla="*/ 1251162 h 1251162"/>
              <a:gd name="connsiteX26" fmla="*/ 351556 w 1251170"/>
              <a:gd name="connsiteY26" fmla="*/ 1234894 h 1251162"/>
              <a:gd name="connsiteX27" fmla="*/ 351556 w 1251170"/>
              <a:gd name="connsiteY27" fmla="*/ 945828 h 1251162"/>
              <a:gd name="connsiteX28" fmla="*/ 467394 w 1251170"/>
              <a:gd name="connsiteY28" fmla="*/ 829451 h 1251162"/>
              <a:gd name="connsiteX29" fmla="*/ 622834 w 1251170"/>
              <a:gd name="connsiteY29" fmla="*/ 533786 h 1251162"/>
              <a:gd name="connsiteX30" fmla="*/ 517310 w 1251170"/>
              <a:gd name="connsiteY30" fmla="*/ 639311 h 1251162"/>
              <a:gd name="connsiteX31" fmla="*/ 622834 w 1251170"/>
              <a:gd name="connsiteY31" fmla="*/ 744837 h 1251162"/>
              <a:gd name="connsiteX32" fmla="*/ 728360 w 1251170"/>
              <a:gd name="connsiteY32" fmla="*/ 639311 h 1251162"/>
              <a:gd name="connsiteX33" fmla="*/ 670572 w 1251170"/>
              <a:gd name="connsiteY33" fmla="*/ 545092 h 1251162"/>
              <a:gd name="connsiteX34" fmla="*/ 622834 w 1251170"/>
              <a:gd name="connsiteY34" fmla="*/ 533786 h 1251162"/>
              <a:gd name="connsiteX35" fmla="*/ 622834 w 1251170"/>
              <a:gd name="connsiteY35" fmla="*/ 499867 h 1251162"/>
              <a:gd name="connsiteX36" fmla="*/ 686904 w 1251170"/>
              <a:gd name="connsiteY36" fmla="*/ 516198 h 1251162"/>
              <a:gd name="connsiteX37" fmla="*/ 762280 w 1251170"/>
              <a:gd name="connsiteY37" fmla="*/ 639311 h 1251162"/>
              <a:gd name="connsiteX38" fmla="*/ 622834 w 1251170"/>
              <a:gd name="connsiteY38" fmla="*/ 778756 h 1251162"/>
              <a:gd name="connsiteX39" fmla="*/ 483390 w 1251170"/>
              <a:gd name="connsiteY39" fmla="*/ 639311 h 1251162"/>
              <a:gd name="connsiteX40" fmla="*/ 622834 w 1251170"/>
              <a:gd name="connsiteY40" fmla="*/ 499867 h 1251162"/>
              <a:gd name="connsiteX41" fmla="*/ 641752 w 1251170"/>
              <a:gd name="connsiteY41" fmla="*/ 113474 h 1251162"/>
              <a:gd name="connsiteX42" fmla="*/ 641752 w 1251170"/>
              <a:gd name="connsiteY42" fmla="*/ 265604 h 1251162"/>
              <a:gd name="connsiteX43" fmla="*/ 996210 w 1251170"/>
              <a:gd name="connsiteY43" fmla="*/ 620990 h 1251162"/>
              <a:gd name="connsiteX44" fmla="*/ 1146698 w 1251170"/>
              <a:gd name="connsiteY44" fmla="*/ 620990 h 1251162"/>
              <a:gd name="connsiteX45" fmla="*/ 641752 w 1251170"/>
              <a:gd name="connsiteY45" fmla="*/ 113474 h 1251162"/>
              <a:gd name="connsiteX46" fmla="*/ 609416 w 1251170"/>
              <a:gd name="connsiteY46" fmla="*/ 113474 h 1251162"/>
              <a:gd name="connsiteX47" fmla="*/ 103226 w 1251170"/>
              <a:gd name="connsiteY47" fmla="*/ 620990 h 1251162"/>
              <a:gd name="connsiteX48" fmla="*/ 254960 w 1251170"/>
              <a:gd name="connsiteY48" fmla="*/ 620990 h 1251162"/>
              <a:gd name="connsiteX49" fmla="*/ 609416 w 1251170"/>
              <a:gd name="connsiteY49" fmla="*/ 265604 h 1251162"/>
              <a:gd name="connsiteX50" fmla="*/ 625584 w 1251170"/>
              <a:gd name="connsiteY50" fmla="*/ 0 h 1251162"/>
              <a:gd name="connsiteX51" fmla="*/ 641752 w 1251170"/>
              <a:gd name="connsiteY51" fmla="*/ 16210 h 1251162"/>
              <a:gd name="connsiteX52" fmla="*/ 641752 w 1251170"/>
              <a:gd name="connsiteY52" fmla="*/ 81053 h 1251162"/>
              <a:gd name="connsiteX53" fmla="*/ 1180278 w 1251170"/>
              <a:gd name="connsiteY53" fmla="*/ 620990 h 1251162"/>
              <a:gd name="connsiteX54" fmla="*/ 1233758 w 1251170"/>
              <a:gd name="connsiteY54" fmla="*/ 620990 h 1251162"/>
              <a:gd name="connsiteX55" fmla="*/ 1251170 w 1251170"/>
              <a:gd name="connsiteY55" fmla="*/ 638448 h 1251162"/>
              <a:gd name="connsiteX56" fmla="*/ 1233758 w 1251170"/>
              <a:gd name="connsiteY56" fmla="*/ 654659 h 1251162"/>
              <a:gd name="connsiteX57" fmla="*/ 1180278 w 1251170"/>
              <a:gd name="connsiteY57" fmla="*/ 654659 h 1251162"/>
              <a:gd name="connsiteX58" fmla="*/ 981286 w 1251170"/>
              <a:gd name="connsiteY58" fmla="*/ 1064911 h 1251162"/>
              <a:gd name="connsiteX59" fmla="*/ 958898 w 1251170"/>
              <a:gd name="connsiteY59" fmla="*/ 1062417 h 1251162"/>
              <a:gd name="connsiteX60" fmla="*/ 960142 w 1251170"/>
              <a:gd name="connsiteY60" fmla="*/ 1038725 h 1251162"/>
              <a:gd name="connsiteX61" fmla="*/ 1146698 w 1251170"/>
              <a:gd name="connsiteY61" fmla="*/ 654659 h 1251162"/>
              <a:gd name="connsiteX62" fmla="*/ 996210 w 1251170"/>
              <a:gd name="connsiteY62" fmla="*/ 654659 h 1251162"/>
              <a:gd name="connsiteX63" fmla="*/ 950192 w 1251170"/>
              <a:gd name="connsiteY63" fmla="*/ 818011 h 1251162"/>
              <a:gd name="connsiteX64" fmla="*/ 935268 w 1251170"/>
              <a:gd name="connsiteY64" fmla="*/ 826740 h 1251162"/>
              <a:gd name="connsiteX65" fmla="*/ 927806 w 1251170"/>
              <a:gd name="connsiteY65" fmla="*/ 824246 h 1251162"/>
              <a:gd name="connsiteX66" fmla="*/ 921588 w 1251170"/>
              <a:gd name="connsiteY66" fmla="*/ 801801 h 1251162"/>
              <a:gd name="connsiteX67" fmla="*/ 962630 w 1251170"/>
              <a:gd name="connsiteY67" fmla="*/ 654659 h 1251162"/>
              <a:gd name="connsiteX68" fmla="*/ 851940 w 1251170"/>
              <a:gd name="connsiteY68" fmla="*/ 654659 h 1251162"/>
              <a:gd name="connsiteX69" fmla="*/ 835772 w 1251170"/>
              <a:gd name="connsiteY69" fmla="*/ 638448 h 1251162"/>
              <a:gd name="connsiteX70" fmla="*/ 851940 w 1251170"/>
              <a:gd name="connsiteY70" fmla="*/ 620990 h 1251162"/>
              <a:gd name="connsiteX71" fmla="*/ 962630 w 1251170"/>
              <a:gd name="connsiteY71" fmla="*/ 620990 h 1251162"/>
              <a:gd name="connsiteX72" fmla="*/ 641752 w 1251170"/>
              <a:gd name="connsiteY72" fmla="*/ 299272 h 1251162"/>
              <a:gd name="connsiteX73" fmla="*/ 641752 w 1251170"/>
              <a:gd name="connsiteY73" fmla="*/ 412747 h 1251162"/>
              <a:gd name="connsiteX74" fmla="*/ 625584 w 1251170"/>
              <a:gd name="connsiteY74" fmla="*/ 430204 h 1251162"/>
              <a:gd name="connsiteX75" fmla="*/ 609416 w 1251170"/>
              <a:gd name="connsiteY75" fmla="*/ 412747 h 1251162"/>
              <a:gd name="connsiteX76" fmla="*/ 609416 w 1251170"/>
              <a:gd name="connsiteY76" fmla="*/ 299272 h 1251162"/>
              <a:gd name="connsiteX77" fmla="*/ 287296 w 1251170"/>
              <a:gd name="connsiteY77" fmla="*/ 620990 h 1251162"/>
              <a:gd name="connsiteX78" fmla="*/ 399230 w 1251170"/>
              <a:gd name="connsiteY78" fmla="*/ 620990 h 1251162"/>
              <a:gd name="connsiteX79" fmla="*/ 415398 w 1251170"/>
              <a:gd name="connsiteY79" fmla="*/ 638448 h 1251162"/>
              <a:gd name="connsiteX80" fmla="*/ 399230 w 1251170"/>
              <a:gd name="connsiteY80" fmla="*/ 654659 h 1251162"/>
              <a:gd name="connsiteX81" fmla="*/ 287296 w 1251170"/>
              <a:gd name="connsiteY81" fmla="*/ 654659 h 1251162"/>
              <a:gd name="connsiteX82" fmla="*/ 329582 w 1251170"/>
              <a:gd name="connsiteY82" fmla="*/ 801801 h 1251162"/>
              <a:gd name="connsiteX83" fmla="*/ 323364 w 1251170"/>
              <a:gd name="connsiteY83" fmla="*/ 824246 h 1251162"/>
              <a:gd name="connsiteX84" fmla="*/ 300976 w 1251170"/>
              <a:gd name="connsiteY84" fmla="*/ 816764 h 1251162"/>
              <a:gd name="connsiteX85" fmla="*/ 256204 w 1251170"/>
              <a:gd name="connsiteY85" fmla="*/ 654659 h 1251162"/>
              <a:gd name="connsiteX86" fmla="*/ 103226 w 1251170"/>
              <a:gd name="connsiteY86" fmla="*/ 654659 h 1251162"/>
              <a:gd name="connsiteX87" fmla="*/ 292270 w 1251170"/>
              <a:gd name="connsiteY87" fmla="*/ 1039972 h 1251162"/>
              <a:gd name="connsiteX88" fmla="*/ 293514 w 1251170"/>
              <a:gd name="connsiteY88" fmla="*/ 1062417 h 1251162"/>
              <a:gd name="connsiteX89" fmla="*/ 281078 w 1251170"/>
              <a:gd name="connsiteY89" fmla="*/ 1068652 h 1251162"/>
              <a:gd name="connsiteX90" fmla="*/ 271128 w 1251170"/>
              <a:gd name="connsiteY90" fmla="*/ 1064911 h 1251162"/>
              <a:gd name="connsiteX91" fmla="*/ 70890 w 1251170"/>
              <a:gd name="connsiteY91" fmla="*/ 654659 h 1251162"/>
              <a:gd name="connsiteX92" fmla="*/ 17410 w 1251170"/>
              <a:gd name="connsiteY92" fmla="*/ 654659 h 1251162"/>
              <a:gd name="connsiteX93" fmla="*/ 0 w 1251170"/>
              <a:gd name="connsiteY93" fmla="*/ 638448 h 1251162"/>
              <a:gd name="connsiteX94" fmla="*/ 17410 w 1251170"/>
              <a:gd name="connsiteY94" fmla="*/ 620990 h 1251162"/>
              <a:gd name="connsiteX95" fmla="*/ 70890 w 1251170"/>
              <a:gd name="connsiteY95" fmla="*/ 620990 h 1251162"/>
              <a:gd name="connsiteX96" fmla="*/ 609416 w 1251170"/>
              <a:gd name="connsiteY96" fmla="*/ 81053 h 1251162"/>
              <a:gd name="connsiteX97" fmla="*/ 609416 w 1251170"/>
              <a:gd name="connsiteY97" fmla="*/ 16210 h 1251162"/>
              <a:gd name="connsiteX98" fmla="*/ 625584 w 1251170"/>
              <a:gd name="connsiteY98" fmla="*/ 0 h 1251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1251170" h="1251162">
                <a:moveTo>
                  <a:pt x="762924" y="1016214"/>
                </a:moveTo>
                <a:cubicBezTo>
                  <a:pt x="771470" y="1016214"/>
                  <a:pt x="778794" y="1023752"/>
                  <a:pt x="778794" y="1032547"/>
                </a:cubicBezTo>
                <a:lnTo>
                  <a:pt x="778794" y="1234824"/>
                </a:lnTo>
                <a:cubicBezTo>
                  <a:pt x="778794" y="1243618"/>
                  <a:pt x="771470" y="1251157"/>
                  <a:pt x="762924" y="1251157"/>
                </a:cubicBezTo>
                <a:cubicBezTo>
                  <a:pt x="754380" y="1251157"/>
                  <a:pt x="747056" y="1243618"/>
                  <a:pt x="747056" y="1234824"/>
                </a:cubicBezTo>
                <a:lnTo>
                  <a:pt x="747056" y="1032547"/>
                </a:lnTo>
                <a:cubicBezTo>
                  <a:pt x="747056" y="1023752"/>
                  <a:pt x="754380" y="1016214"/>
                  <a:pt x="762924" y="1016214"/>
                </a:cubicBezTo>
                <a:close/>
                <a:moveTo>
                  <a:pt x="482782" y="1016214"/>
                </a:moveTo>
                <a:cubicBezTo>
                  <a:pt x="491326" y="1016214"/>
                  <a:pt x="498650" y="1023752"/>
                  <a:pt x="498650" y="1032547"/>
                </a:cubicBezTo>
                <a:lnTo>
                  <a:pt x="498650" y="1234824"/>
                </a:lnTo>
                <a:cubicBezTo>
                  <a:pt x="498650" y="1243618"/>
                  <a:pt x="491326" y="1251157"/>
                  <a:pt x="482782" y="1251157"/>
                </a:cubicBezTo>
                <a:cubicBezTo>
                  <a:pt x="474236" y="1251157"/>
                  <a:pt x="466912" y="1243618"/>
                  <a:pt x="466912" y="1234824"/>
                </a:cubicBezTo>
                <a:lnTo>
                  <a:pt x="466912" y="1032547"/>
                </a:lnTo>
                <a:cubicBezTo>
                  <a:pt x="466912" y="1023752"/>
                  <a:pt x="474236" y="1016214"/>
                  <a:pt x="482782" y="1016214"/>
                </a:cubicBezTo>
                <a:close/>
                <a:moveTo>
                  <a:pt x="467394" y="829451"/>
                </a:moveTo>
                <a:lnTo>
                  <a:pt x="783774" y="829451"/>
                </a:lnTo>
                <a:cubicBezTo>
                  <a:pt x="847298" y="829451"/>
                  <a:pt x="899614" y="880757"/>
                  <a:pt x="899614" y="945828"/>
                </a:cubicBezTo>
                <a:lnTo>
                  <a:pt x="899614" y="1234894"/>
                </a:lnTo>
                <a:cubicBezTo>
                  <a:pt x="899614" y="1243653"/>
                  <a:pt x="893386" y="1251162"/>
                  <a:pt x="883420" y="1251162"/>
                </a:cubicBezTo>
                <a:cubicBezTo>
                  <a:pt x="874702" y="1251162"/>
                  <a:pt x="867228" y="1243653"/>
                  <a:pt x="867228" y="1234894"/>
                </a:cubicBezTo>
                <a:lnTo>
                  <a:pt x="867228" y="945828"/>
                </a:lnTo>
                <a:cubicBezTo>
                  <a:pt x="867228" y="899528"/>
                  <a:pt x="829860" y="860735"/>
                  <a:pt x="783774" y="860735"/>
                </a:cubicBezTo>
                <a:lnTo>
                  <a:pt x="467394" y="860735"/>
                </a:lnTo>
                <a:cubicBezTo>
                  <a:pt x="421308" y="860735"/>
                  <a:pt x="383940" y="899528"/>
                  <a:pt x="383940" y="945828"/>
                </a:cubicBezTo>
                <a:lnTo>
                  <a:pt x="383940" y="1234894"/>
                </a:lnTo>
                <a:cubicBezTo>
                  <a:pt x="383940" y="1243653"/>
                  <a:pt x="376466" y="1251162"/>
                  <a:pt x="367748" y="1251162"/>
                </a:cubicBezTo>
                <a:cubicBezTo>
                  <a:pt x="359028" y="1251162"/>
                  <a:pt x="351556" y="1243653"/>
                  <a:pt x="351556" y="1234894"/>
                </a:cubicBezTo>
                <a:lnTo>
                  <a:pt x="351556" y="945828"/>
                </a:lnTo>
                <a:cubicBezTo>
                  <a:pt x="351556" y="880757"/>
                  <a:pt x="403870" y="829451"/>
                  <a:pt x="467394" y="829451"/>
                </a:cubicBezTo>
                <a:close/>
                <a:moveTo>
                  <a:pt x="622834" y="533786"/>
                </a:moveTo>
                <a:cubicBezTo>
                  <a:pt x="563790" y="533786"/>
                  <a:pt x="517310" y="580267"/>
                  <a:pt x="517310" y="639311"/>
                </a:cubicBezTo>
                <a:cubicBezTo>
                  <a:pt x="517310" y="697099"/>
                  <a:pt x="563790" y="744837"/>
                  <a:pt x="622834" y="744837"/>
                </a:cubicBezTo>
                <a:cubicBezTo>
                  <a:pt x="680622" y="744837"/>
                  <a:pt x="728360" y="697099"/>
                  <a:pt x="728360" y="639311"/>
                </a:cubicBezTo>
                <a:cubicBezTo>
                  <a:pt x="728360" y="599111"/>
                  <a:pt x="707004" y="563936"/>
                  <a:pt x="670572" y="545092"/>
                </a:cubicBezTo>
                <a:cubicBezTo>
                  <a:pt x="656754" y="537555"/>
                  <a:pt x="639166" y="533786"/>
                  <a:pt x="622834" y="533786"/>
                </a:cubicBezTo>
                <a:close/>
                <a:moveTo>
                  <a:pt x="622834" y="499867"/>
                </a:moveTo>
                <a:cubicBezTo>
                  <a:pt x="645448" y="499867"/>
                  <a:pt x="666804" y="506148"/>
                  <a:pt x="686904" y="516198"/>
                </a:cubicBezTo>
                <a:cubicBezTo>
                  <a:pt x="732130" y="540067"/>
                  <a:pt x="762280" y="586549"/>
                  <a:pt x="762280" y="639311"/>
                </a:cubicBezTo>
                <a:cubicBezTo>
                  <a:pt x="762280" y="715943"/>
                  <a:pt x="699466" y="778756"/>
                  <a:pt x="622834" y="778756"/>
                </a:cubicBezTo>
                <a:cubicBezTo>
                  <a:pt x="546204" y="778756"/>
                  <a:pt x="483390" y="715943"/>
                  <a:pt x="483390" y="639311"/>
                </a:cubicBezTo>
                <a:cubicBezTo>
                  <a:pt x="483390" y="562680"/>
                  <a:pt x="546204" y="499867"/>
                  <a:pt x="622834" y="499867"/>
                </a:cubicBezTo>
                <a:close/>
                <a:moveTo>
                  <a:pt x="641752" y="113474"/>
                </a:moveTo>
                <a:lnTo>
                  <a:pt x="641752" y="265604"/>
                </a:lnTo>
                <a:cubicBezTo>
                  <a:pt x="833284" y="274333"/>
                  <a:pt x="987504" y="428957"/>
                  <a:pt x="996210" y="620990"/>
                </a:cubicBezTo>
                <a:lnTo>
                  <a:pt x="1146698" y="620990"/>
                </a:lnTo>
                <a:cubicBezTo>
                  <a:pt x="1139236" y="345410"/>
                  <a:pt x="916612" y="122203"/>
                  <a:pt x="641752" y="113474"/>
                </a:cubicBezTo>
                <a:close/>
                <a:moveTo>
                  <a:pt x="609416" y="113474"/>
                </a:moveTo>
                <a:cubicBezTo>
                  <a:pt x="334556" y="122203"/>
                  <a:pt x="111932" y="345410"/>
                  <a:pt x="103226" y="620990"/>
                </a:cubicBezTo>
                <a:lnTo>
                  <a:pt x="254960" y="620990"/>
                </a:lnTo>
                <a:cubicBezTo>
                  <a:pt x="263666" y="428957"/>
                  <a:pt x="417886" y="274333"/>
                  <a:pt x="609416" y="265604"/>
                </a:cubicBezTo>
                <a:close/>
                <a:moveTo>
                  <a:pt x="625584" y="0"/>
                </a:moveTo>
                <a:cubicBezTo>
                  <a:pt x="634290" y="0"/>
                  <a:pt x="641752" y="7482"/>
                  <a:pt x="641752" y="16210"/>
                </a:cubicBezTo>
                <a:lnTo>
                  <a:pt x="641752" y="81053"/>
                </a:lnTo>
                <a:cubicBezTo>
                  <a:pt x="935268" y="89781"/>
                  <a:pt x="1171572" y="327953"/>
                  <a:pt x="1180278" y="620990"/>
                </a:cubicBezTo>
                <a:lnTo>
                  <a:pt x="1233758" y="620990"/>
                </a:lnTo>
                <a:cubicBezTo>
                  <a:pt x="1243708" y="620990"/>
                  <a:pt x="1251170" y="628472"/>
                  <a:pt x="1251170" y="638448"/>
                </a:cubicBezTo>
                <a:cubicBezTo>
                  <a:pt x="1251170" y="647177"/>
                  <a:pt x="1243708" y="654659"/>
                  <a:pt x="1233758" y="654659"/>
                </a:cubicBezTo>
                <a:lnTo>
                  <a:pt x="1180278" y="654659"/>
                </a:lnTo>
                <a:cubicBezTo>
                  <a:pt x="1175304" y="813023"/>
                  <a:pt x="1103168" y="961413"/>
                  <a:pt x="981286" y="1064911"/>
                </a:cubicBezTo>
                <a:cubicBezTo>
                  <a:pt x="975066" y="1069899"/>
                  <a:pt x="963874" y="1068652"/>
                  <a:pt x="958898" y="1062417"/>
                </a:cubicBezTo>
                <a:cubicBezTo>
                  <a:pt x="952680" y="1054935"/>
                  <a:pt x="952680" y="1044960"/>
                  <a:pt x="960142" y="1038725"/>
                </a:cubicBezTo>
                <a:cubicBezTo>
                  <a:pt x="1074564" y="942708"/>
                  <a:pt x="1142968" y="803048"/>
                  <a:pt x="1146698" y="654659"/>
                </a:cubicBezTo>
                <a:lnTo>
                  <a:pt x="996210" y="654659"/>
                </a:lnTo>
                <a:cubicBezTo>
                  <a:pt x="992478" y="710772"/>
                  <a:pt x="977554" y="768133"/>
                  <a:pt x="950192" y="818011"/>
                </a:cubicBezTo>
                <a:cubicBezTo>
                  <a:pt x="946462" y="822999"/>
                  <a:pt x="941486" y="826740"/>
                  <a:pt x="935268" y="826740"/>
                </a:cubicBezTo>
                <a:cubicBezTo>
                  <a:pt x="932780" y="826740"/>
                  <a:pt x="930294" y="825493"/>
                  <a:pt x="927806" y="824246"/>
                </a:cubicBezTo>
                <a:cubicBezTo>
                  <a:pt x="920344" y="819258"/>
                  <a:pt x="916612" y="809283"/>
                  <a:pt x="921588" y="801801"/>
                </a:cubicBezTo>
                <a:cubicBezTo>
                  <a:pt x="946462" y="756910"/>
                  <a:pt x="960142" y="705784"/>
                  <a:pt x="962630" y="654659"/>
                </a:cubicBezTo>
                <a:lnTo>
                  <a:pt x="851940" y="654659"/>
                </a:lnTo>
                <a:cubicBezTo>
                  <a:pt x="843234" y="654659"/>
                  <a:pt x="835772" y="647177"/>
                  <a:pt x="835772" y="638448"/>
                </a:cubicBezTo>
                <a:cubicBezTo>
                  <a:pt x="835772" y="628472"/>
                  <a:pt x="843234" y="620990"/>
                  <a:pt x="851940" y="620990"/>
                </a:cubicBezTo>
                <a:lnTo>
                  <a:pt x="962630" y="620990"/>
                </a:lnTo>
                <a:cubicBezTo>
                  <a:pt x="955168" y="447662"/>
                  <a:pt x="815872" y="306754"/>
                  <a:pt x="641752" y="299272"/>
                </a:cubicBezTo>
                <a:lnTo>
                  <a:pt x="641752" y="412747"/>
                </a:lnTo>
                <a:cubicBezTo>
                  <a:pt x="641752" y="421475"/>
                  <a:pt x="634290" y="430204"/>
                  <a:pt x="625584" y="430204"/>
                </a:cubicBezTo>
                <a:cubicBezTo>
                  <a:pt x="616878" y="430204"/>
                  <a:pt x="609416" y="421475"/>
                  <a:pt x="609416" y="412747"/>
                </a:cubicBezTo>
                <a:lnTo>
                  <a:pt x="609416" y="299272"/>
                </a:lnTo>
                <a:cubicBezTo>
                  <a:pt x="435298" y="306754"/>
                  <a:pt x="296002" y="447662"/>
                  <a:pt x="287296" y="620990"/>
                </a:cubicBezTo>
                <a:lnTo>
                  <a:pt x="399230" y="620990"/>
                </a:lnTo>
                <a:cubicBezTo>
                  <a:pt x="409180" y="620990"/>
                  <a:pt x="415398" y="628472"/>
                  <a:pt x="415398" y="638448"/>
                </a:cubicBezTo>
                <a:cubicBezTo>
                  <a:pt x="415398" y="647177"/>
                  <a:pt x="409180" y="654659"/>
                  <a:pt x="399230" y="654659"/>
                </a:cubicBezTo>
                <a:lnTo>
                  <a:pt x="287296" y="654659"/>
                </a:lnTo>
                <a:cubicBezTo>
                  <a:pt x="291026" y="705784"/>
                  <a:pt x="304708" y="756910"/>
                  <a:pt x="329582" y="801801"/>
                </a:cubicBezTo>
                <a:cubicBezTo>
                  <a:pt x="334556" y="809283"/>
                  <a:pt x="332070" y="819258"/>
                  <a:pt x="323364" y="824246"/>
                </a:cubicBezTo>
                <a:cubicBezTo>
                  <a:pt x="315902" y="827987"/>
                  <a:pt x="305952" y="825493"/>
                  <a:pt x="300976" y="816764"/>
                </a:cubicBezTo>
                <a:cubicBezTo>
                  <a:pt x="273616" y="768133"/>
                  <a:pt x="258690" y="710772"/>
                  <a:pt x="256204" y="654659"/>
                </a:cubicBezTo>
                <a:lnTo>
                  <a:pt x="103226" y="654659"/>
                </a:lnTo>
                <a:cubicBezTo>
                  <a:pt x="109446" y="804295"/>
                  <a:pt x="176606" y="943955"/>
                  <a:pt x="292270" y="1039972"/>
                </a:cubicBezTo>
                <a:cubicBezTo>
                  <a:pt x="299732" y="1046207"/>
                  <a:pt x="299732" y="1056182"/>
                  <a:pt x="293514" y="1062417"/>
                </a:cubicBezTo>
                <a:cubicBezTo>
                  <a:pt x="291026" y="1067405"/>
                  <a:pt x="286052" y="1068652"/>
                  <a:pt x="281078" y="1068652"/>
                </a:cubicBezTo>
                <a:cubicBezTo>
                  <a:pt x="277346" y="1068652"/>
                  <a:pt x="273616" y="1068652"/>
                  <a:pt x="271128" y="1064911"/>
                </a:cubicBezTo>
                <a:cubicBezTo>
                  <a:pt x="148000" y="962660"/>
                  <a:pt x="75866" y="813023"/>
                  <a:pt x="70890" y="654659"/>
                </a:cubicBezTo>
                <a:lnTo>
                  <a:pt x="17410" y="654659"/>
                </a:lnTo>
                <a:cubicBezTo>
                  <a:pt x="7462" y="654659"/>
                  <a:pt x="0" y="647177"/>
                  <a:pt x="0" y="638448"/>
                </a:cubicBezTo>
                <a:cubicBezTo>
                  <a:pt x="0" y="628472"/>
                  <a:pt x="7462" y="620990"/>
                  <a:pt x="17410" y="620990"/>
                </a:cubicBezTo>
                <a:lnTo>
                  <a:pt x="70890" y="620990"/>
                </a:lnTo>
                <a:cubicBezTo>
                  <a:pt x="79596" y="327953"/>
                  <a:pt x="315902" y="89781"/>
                  <a:pt x="609416" y="81053"/>
                </a:cubicBezTo>
                <a:lnTo>
                  <a:pt x="609416" y="16210"/>
                </a:lnTo>
                <a:cubicBezTo>
                  <a:pt x="609416" y="7482"/>
                  <a:pt x="616878" y="0"/>
                  <a:pt x="62558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7" name="Freeform 35">
            <a:extLst>
              <a:ext uri="{FF2B5EF4-FFF2-40B4-BE49-F238E27FC236}">
                <a16:creationId xmlns:a16="http://schemas.microsoft.com/office/drawing/2014/main" id="{4AC165F6-5B77-9A0B-214D-E2CC98657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69" y="1994457"/>
            <a:ext cx="570656" cy="570656"/>
          </a:xfrm>
          <a:custGeom>
            <a:avLst/>
            <a:gdLst>
              <a:gd name="connsiteX0" fmla="*/ 782009 w 1141311"/>
              <a:gd name="connsiteY0" fmla="*/ 887686 h 1141311"/>
              <a:gd name="connsiteX1" fmla="*/ 662656 w 1141311"/>
              <a:gd name="connsiteY1" fmla="*/ 1104013 h 1141311"/>
              <a:gd name="connsiteX2" fmla="*/ 941146 w 1141311"/>
              <a:gd name="connsiteY2" fmla="*/ 963525 h 1141311"/>
              <a:gd name="connsiteX3" fmla="*/ 782009 w 1141311"/>
              <a:gd name="connsiteY3" fmla="*/ 887686 h 1141311"/>
              <a:gd name="connsiteX4" fmla="*/ 359302 w 1141311"/>
              <a:gd name="connsiteY4" fmla="*/ 887686 h 1141311"/>
              <a:gd name="connsiteX5" fmla="*/ 200165 w 1141311"/>
              <a:gd name="connsiteY5" fmla="*/ 963525 h 1141311"/>
              <a:gd name="connsiteX6" fmla="*/ 478654 w 1141311"/>
              <a:gd name="connsiteY6" fmla="*/ 1104013 h 1141311"/>
              <a:gd name="connsiteX7" fmla="*/ 359302 w 1141311"/>
              <a:gd name="connsiteY7" fmla="*/ 887686 h 1141311"/>
              <a:gd name="connsiteX8" fmla="*/ 570655 w 1141311"/>
              <a:gd name="connsiteY8" fmla="*/ 855362 h 1141311"/>
              <a:gd name="connsiteX9" fmla="*/ 389140 w 1141311"/>
              <a:gd name="connsiteY9" fmla="*/ 878984 h 1141311"/>
              <a:gd name="connsiteX10" fmla="*/ 570655 w 1141311"/>
              <a:gd name="connsiteY10" fmla="*/ 1111473 h 1141311"/>
              <a:gd name="connsiteX11" fmla="*/ 753414 w 1141311"/>
              <a:gd name="connsiteY11" fmla="*/ 878984 h 1141311"/>
              <a:gd name="connsiteX12" fmla="*/ 570655 w 1141311"/>
              <a:gd name="connsiteY12" fmla="*/ 855362 h 1141311"/>
              <a:gd name="connsiteX13" fmla="*/ 823037 w 1141311"/>
              <a:gd name="connsiteY13" fmla="*/ 570656 h 1141311"/>
              <a:gd name="connsiteX14" fmla="*/ 790712 w 1141311"/>
              <a:gd name="connsiteY14" fmla="*/ 859091 h 1141311"/>
              <a:gd name="connsiteX15" fmla="*/ 963525 w 1141311"/>
              <a:gd name="connsiteY15" fmla="*/ 942390 h 1141311"/>
              <a:gd name="connsiteX16" fmla="*/ 1110229 w 1141311"/>
              <a:gd name="connsiteY16" fmla="*/ 601737 h 1141311"/>
              <a:gd name="connsiteX17" fmla="*/ 823037 w 1141311"/>
              <a:gd name="connsiteY17" fmla="*/ 570656 h 1141311"/>
              <a:gd name="connsiteX18" fmla="*/ 318274 w 1141311"/>
              <a:gd name="connsiteY18" fmla="*/ 570656 h 1141311"/>
              <a:gd name="connsiteX19" fmla="*/ 31081 w 1141311"/>
              <a:gd name="connsiteY19" fmla="*/ 601737 h 1141311"/>
              <a:gd name="connsiteX20" fmla="*/ 177786 w 1141311"/>
              <a:gd name="connsiteY20" fmla="*/ 942390 h 1141311"/>
              <a:gd name="connsiteX21" fmla="*/ 351842 w 1141311"/>
              <a:gd name="connsiteY21" fmla="*/ 859091 h 1141311"/>
              <a:gd name="connsiteX22" fmla="*/ 318274 w 1141311"/>
              <a:gd name="connsiteY22" fmla="*/ 570656 h 1141311"/>
              <a:gd name="connsiteX23" fmla="*/ 570655 w 1141311"/>
              <a:gd name="connsiteY23" fmla="*/ 566926 h 1141311"/>
              <a:gd name="connsiteX24" fmla="*/ 348112 w 1141311"/>
              <a:gd name="connsiteY24" fmla="*/ 570656 h 1141311"/>
              <a:gd name="connsiteX25" fmla="*/ 380437 w 1141311"/>
              <a:gd name="connsiteY25" fmla="*/ 850389 h 1141311"/>
              <a:gd name="connsiteX26" fmla="*/ 570655 w 1141311"/>
              <a:gd name="connsiteY26" fmla="*/ 825523 h 1141311"/>
              <a:gd name="connsiteX27" fmla="*/ 760874 w 1141311"/>
              <a:gd name="connsiteY27" fmla="*/ 850389 h 1141311"/>
              <a:gd name="connsiteX28" fmla="*/ 794442 w 1141311"/>
              <a:gd name="connsiteY28" fmla="*/ 570656 h 1141311"/>
              <a:gd name="connsiteX29" fmla="*/ 570655 w 1141311"/>
              <a:gd name="connsiteY29" fmla="*/ 566926 h 1141311"/>
              <a:gd name="connsiteX30" fmla="*/ 380437 w 1141311"/>
              <a:gd name="connsiteY30" fmla="*/ 290923 h 1141311"/>
              <a:gd name="connsiteX31" fmla="*/ 348112 w 1141311"/>
              <a:gd name="connsiteY31" fmla="*/ 539574 h 1141311"/>
              <a:gd name="connsiteX32" fmla="*/ 570655 w 1141311"/>
              <a:gd name="connsiteY32" fmla="*/ 537088 h 1141311"/>
              <a:gd name="connsiteX33" fmla="*/ 793199 w 1141311"/>
              <a:gd name="connsiteY33" fmla="*/ 539574 h 1141311"/>
              <a:gd name="connsiteX34" fmla="*/ 760874 w 1141311"/>
              <a:gd name="connsiteY34" fmla="*/ 290923 h 1141311"/>
              <a:gd name="connsiteX35" fmla="*/ 570655 w 1141311"/>
              <a:gd name="connsiteY35" fmla="*/ 315788 h 1141311"/>
              <a:gd name="connsiteX36" fmla="*/ 380437 w 1141311"/>
              <a:gd name="connsiteY36" fmla="*/ 290923 h 1141311"/>
              <a:gd name="connsiteX37" fmla="*/ 823037 w 1141311"/>
              <a:gd name="connsiteY37" fmla="*/ 271030 h 1141311"/>
              <a:gd name="connsiteX38" fmla="*/ 790712 w 1141311"/>
              <a:gd name="connsiteY38" fmla="*/ 283463 h 1141311"/>
              <a:gd name="connsiteX39" fmla="*/ 823037 w 1141311"/>
              <a:gd name="connsiteY39" fmla="*/ 540817 h 1141311"/>
              <a:gd name="connsiteX40" fmla="*/ 953579 w 1141311"/>
              <a:gd name="connsiteY40" fmla="*/ 548277 h 1141311"/>
              <a:gd name="connsiteX41" fmla="*/ 1111473 w 1141311"/>
              <a:gd name="connsiteY41" fmla="*/ 570656 h 1141311"/>
              <a:gd name="connsiteX42" fmla="*/ 1069202 w 1141311"/>
              <a:gd name="connsiteY42" fmla="*/ 360545 h 1141311"/>
              <a:gd name="connsiteX43" fmla="*/ 992120 w 1141311"/>
              <a:gd name="connsiteY43" fmla="*/ 494817 h 1141311"/>
              <a:gd name="connsiteX44" fmla="*/ 967255 w 1141311"/>
              <a:gd name="connsiteY44" fmla="*/ 508493 h 1141311"/>
              <a:gd name="connsiteX45" fmla="*/ 954822 w 1141311"/>
              <a:gd name="connsiteY45" fmla="*/ 504763 h 1141311"/>
              <a:gd name="connsiteX46" fmla="*/ 953579 w 1141311"/>
              <a:gd name="connsiteY46" fmla="*/ 504763 h 1141311"/>
              <a:gd name="connsiteX47" fmla="*/ 951092 w 1141311"/>
              <a:gd name="connsiteY47" fmla="*/ 502276 h 1141311"/>
              <a:gd name="connsiteX48" fmla="*/ 948606 w 1141311"/>
              <a:gd name="connsiteY48" fmla="*/ 501033 h 1141311"/>
              <a:gd name="connsiteX49" fmla="*/ 947363 w 1141311"/>
              <a:gd name="connsiteY49" fmla="*/ 499790 h 1141311"/>
              <a:gd name="connsiteX50" fmla="*/ 943633 w 1141311"/>
              <a:gd name="connsiteY50" fmla="*/ 494817 h 1141311"/>
              <a:gd name="connsiteX51" fmla="*/ 830496 w 1141311"/>
              <a:gd name="connsiteY51" fmla="*/ 285950 h 1141311"/>
              <a:gd name="connsiteX52" fmla="*/ 825523 w 1141311"/>
              <a:gd name="connsiteY52" fmla="*/ 273517 h 1141311"/>
              <a:gd name="connsiteX53" fmla="*/ 823037 w 1141311"/>
              <a:gd name="connsiteY53" fmla="*/ 271030 h 1141311"/>
              <a:gd name="connsiteX54" fmla="*/ 177786 w 1141311"/>
              <a:gd name="connsiteY54" fmla="*/ 200165 h 1141311"/>
              <a:gd name="connsiteX55" fmla="*/ 29838 w 1141311"/>
              <a:gd name="connsiteY55" fmla="*/ 570656 h 1141311"/>
              <a:gd name="connsiteX56" fmla="*/ 187732 w 1141311"/>
              <a:gd name="connsiteY56" fmla="*/ 548277 h 1141311"/>
              <a:gd name="connsiteX57" fmla="*/ 318274 w 1141311"/>
              <a:gd name="connsiteY57" fmla="*/ 540817 h 1141311"/>
              <a:gd name="connsiteX58" fmla="*/ 351842 w 1141311"/>
              <a:gd name="connsiteY58" fmla="*/ 283463 h 1141311"/>
              <a:gd name="connsiteX59" fmla="*/ 177786 w 1141311"/>
              <a:gd name="connsiteY59" fmla="*/ 200165 h 1141311"/>
              <a:gd name="connsiteX60" fmla="*/ 968897 w 1141311"/>
              <a:gd name="connsiteY60" fmla="*/ 128978 h 1141311"/>
              <a:gd name="connsiteX61" fmla="*/ 919978 w 1141311"/>
              <a:gd name="connsiteY61" fmla="*/ 177898 h 1141311"/>
              <a:gd name="connsiteX62" fmla="*/ 968897 w 1141311"/>
              <a:gd name="connsiteY62" fmla="*/ 226817 h 1141311"/>
              <a:gd name="connsiteX63" fmla="*/ 1017817 w 1141311"/>
              <a:gd name="connsiteY63" fmla="*/ 177898 h 1141311"/>
              <a:gd name="connsiteX64" fmla="*/ 968897 w 1141311"/>
              <a:gd name="connsiteY64" fmla="*/ 128978 h 1141311"/>
              <a:gd name="connsiteX65" fmla="*/ 968897 w 1141311"/>
              <a:gd name="connsiteY65" fmla="*/ 98874 h 1141311"/>
              <a:gd name="connsiteX66" fmla="*/ 1047921 w 1141311"/>
              <a:gd name="connsiteY66" fmla="*/ 177898 h 1141311"/>
              <a:gd name="connsiteX67" fmla="*/ 968897 w 1141311"/>
              <a:gd name="connsiteY67" fmla="*/ 256921 h 1141311"/>
              <a:gd name="connsiteX68" fmla="*/ 889874 w 1141311"/>
              <a:gd name="connsiteY68" fmla="*/ 177898 h 1141311"/>
              <a:gd name="connsiteX69" fmla="*/ 968897 w 1141311"/>
              <a:gd name="connsiteY69" fmla="*/ 98874 h 1141311"/>
              <a:gd name="connsiteX70" fmla="*/ 662656 w 1141311"/>
              <a:gd name="connsiteY70" fmla="*/ 38541 h 1141311"/>
              <a:gd name="connsiteX71" fmla="*/ 782009 w 1141311"/>
              <a:gd name="connsiteY71" fmla="*/ 253625 h 1141311"/>
              <a:gd name="connsiteX72" fmla="*/ 813091 w 1141311"/>
              <a:gd name="connsiteY72" fmla="*/ 243679 h 1141311"/>
              <a:gd name="connsiteX73" fmla="*/ 811847 w 1141311"/>
              <a:gd name="connsiteY73" fmla="*/ 239949 h 1141311"/>
              <a:gd name="connsiteX74" fmla="*/ 804388 w 1141311"/>
              <a:gd name="connsiteY74" fmla="*/ 217570 h 1141311"/>
              <a:gd name="connsiteX75" fmla="*/ 796928 w 1141311"/>
              <a:gd name="connsiteY75" fmla="*/ 172813 h 1141311"/>
              <a:gd name="connsiteX76" fmla="*/ 798172 w 1141311"/>
              <a:gd name="connsiteY76" fmla="*/ 157894 h 1141311"/>
              <a:gd name="connsiteX77" fmla="*/ 798172 w 1141311"/>
              <a:gd name="connsiteY77" fmla="*/ 154164 h 1141311"/>
              <a:gd name="connsiteX78" fmla="*/ 800658 w 1141311"/>
              <a:gd name="connsiteY78" fmla="*/ 139245 h 1141311"/>
              <a:gd name="connsiteX79" fmla="*/ 800658 w 1141311"/>
              <a:gd name="connsiteY79" fmla="*/ 136759 h 1141311"/>
              <a:gd name="connsiteX80" fmla="*/ 804388 w 1141311"/>
              <a:gd name="connsiteY80" fmla="*/ 124326 h 1141311"/>
              <a:gd name="connsiteX81" fmla="*/ 804388 w 1141311"/>
              <a:gd name="connsiteY81" fmla="*/ 121840 h 1141311"/>
              <a:gd name="connsiteX82" fmla="*/ 810604 w 1141311"/>
              <a:gd name="connsiteY82" fmla="*/ 108164 h 1141311"/>
              <a:gd name="connsiteX83" fmla="*/ 811847 w 1141311"/>
              <a:gd name="connsiteY83" fmla="*/ 104434 h 1141311"/>
              <a:gd name="connsiteX84" fmla="*/ 816820 w 1141311"/>
              <a:gd name="connsiteY84" fmla="*/ 93245 h 1141311"/>
              <a:gd name="connsiteX85" fmla="*/ 818064 w 1141311"/>
              <a:gd name="connsiteY85" fmla="*/ 90758 h 1141311"/>
              <a:gd name="connsiteX86" fmla="*/ 662656 w 1141311"/>
              <a:gd name="connsiteY86" fmla="*/ 38541 h 1141311"/>
              <a:gd name="connsiteX87" fmla="*/ 478654 w 1141311"/>
              <a:gd name="connsiteY87" fmla="*/ 38541 h 1141311"/>
              <a:gd name="connsiteX88" fmla="*/ 200165 w 1141311"/>
              <a:gd name="connsiteY88" fmla="*/ 179029 h 1141311"/>
              <a:gd name="connsiteX89" fmla="*/ 359302 w 1141311"/>
              <a:gd name="connsiteY89" fmla="*/ 253625 h 1141311"/>
              <a:gd name="connsiteX90" fmla="*/ 478654 w 1141311"/>
              <a:gd name="connsiteY90" fmla="*/ 38541 h 1141311"/>
              <a:gd name="connsiteX91" fmla="*/ 967255 w 1141311"/>
              <a:gd name="connsiteY91" fmla="*/ 32325 h 1141311"/>
              <a:gd name="connsiteX92" fmla="*/ 851632 w 1141311"/>
              <a:gd name="connsiteY92" fmla="*/ 93245 h 1141311"/>
              <a:gd name="connsiteX93" fmla="*/ 849145 w 1141311"/>
              <a:gd name="connsiteY93" fmla="*/ 96974 h 1141311"/>
              <a:gd name="connsiteX94" fmla="*/ 845415 w 1141311"/>
              <a:gd name="connsiteY94" fmla="*/ 104434 h 1141311"/>
              <a:gd name="connsiteX95" fmla="*/ 842929 w 1141311"/>
              <a:gd name="connsiteY95" fmla="*/ 108164 h 1141311"/>
              <a:gd name="connsiteX96" fmla="*/ 839199 w 1141311"/>
              <a:gd name="connsiteY96" fmla="*/ 116866 h 1141311"/>
              <a:gd name="connsiteX97" fmla="*/ 836713 w 1141311"/>
              <a:gd name="connsiteY97" fmla="*/ 119353 h 1141311"/>
              <a:gd name="connsiteX98" fmla="*/ 829253 w 1141311"/>
              <a:gd name="connsiteY98" fmla="*/ 142975 h 1141311"/>
              <a:gd name="connsiteX99" fmla="*/ 829253 w 1141311"/>
              <a:gd name="connsiteY99" fmla="*/ 146705 h 1141311"/>
              <a:gd name="connsiteX100" fmla="*/ 828010 w 1141311"/>
              <a:gd name="connsiteY100" fmla="*/ 156651 h 1141311"/>
              <a:gd name="connsiteX101" fmla="*/ 828010 w 1141311"/>
              <a:gd name="connsiteY101" fmla="*/ 159137 h 1141311"/>
              <a:gd name="connsiteX102" fmla="*/ 826767 w 1141311"/>
              <a:gd name="connsiteY102" fmla="*/ 172813 h 1141311"/>
              <a:gd name="connsiteX103" fmla="*/ 967255 w 1141311"/>
              <a:gd name="connsiteY103" fmla="*/ 477411 h 1141311"/>
              <a:gd name="connsiteX104" fmla="*/ 1053039 w 1141311"/>
              <a:gd name="connsiteY104" fmla="*/ 324491 h 1141311"/>
              <a:gd name="connsiteX105" fmla="*/ 1107743 w 1141311"/>
              <a:gd name="connsiteY105" fmla="*/ 172813 h 1141311"/>
              <a:gd name="connsiteX106" fmla="*/ 967255 w 1141311"/>
              <a:gd name="connsiteY106" fmla="*/ 32325 h 1141311"/>
              <a:gd name="connsiteX107" fmla="*/ 570655 w 1141311"/>
              <a:gd name="connsiteY107" fmla="*/ 29838 h 1141311"/>
              <a:gd name="connsiteX108" fmla="*/ 389140 w 1141311"/>
              <a:gd name="connsiteY108" fmla="*/ 263571 h 1141311"/>
              <a:gd name="connsiteX109" fmla="*/ 570655 w 1141311"/>
              <a:gd name="connsiteY109" fmla="*/ 285950 h 1141311"/>
              <a:gd name="connsiteX110" fmla="*/ 753414 w 1141311"/>
              <a:gd name="connsiteY110" fmla="*/ 262328 h 1141311"/>
              <a:gd name="connsiteX111" fmla="*/ 570655 w 1141311"/>
              <a:gd name="connsiteY111" fmla="*/ 29838 h 1141311"/>
              <a:gd name="connsiteX112" fmla="*/ 570655 w 1141311"/>
              <a:gd name="connsiteY112" fmla="*/ 0 h 1141311"/>
              <a:gd name="connsiteX113" fmla="*/ 835469 w 1141311"/>
              <a:gd name="connsiteY113" fmla="*/ 64650 h 1141311"/>
              <a:gd name="connsiteX114" fmla="*/ 967255 w 1141311"/>
              <a:gd name="connsiteY114" fmla="*/ 2487 h 1141311"/>
              <a:gd name="connsiteX115" fmla="*/ 1137581 w 1141311"/>
              <a:gd name="connsiteY115" fmla="*/ 172813 h 1141311"/>
              <a:gd name="connsiteX116" fmla="*/ 1086607 w 1141311"/>
              <a:gd name="connsiteY116" fmla="*/ 325734 h 1141311"/>
              <a:gd name="connsiteX117" fmla="*/ 1141311 w 1141311"/>
              <a:gd name="connsiteY117" fmla="*/ 570656 h 1141311"/>
              <a:gd name="connsiteX118" fmla="*/ 1141311 w 1141311"/>
              <a:gd name="connsiteY118" fmla="*/ 593034 h 1141311"/>
              <a:gd name="connsiteX119" fmla="*/ 1141311 w 1141311"/>
              <a:gd name="connsiteY119" fmla="*/ 599251 h 1141311"/>
              <a:gd name="connsiteX120" fmla="*/ 570655 w 1141311"/>
              <a:gd name="connsiteY120" fmla="*/ 1141311 h 1141311"/>
              <a:gd name="connsiteX121" fmla="*/ 1243 w 1141311"/>
              <a:gd name="connsiteY121" fmla="*/ 599251 h 1141311"/>
              <a:gd name="connsiteX122" fmla="*/ 0 w 1141311"/>
              <a:gd name="connsiteY122" fmla="*/ 599251 h 1141311"/>
              <a:gd name="connsiteX123" fmla="*/ 1243 w 1141311"/>
              <a:gd name="connsiteY123" fmla="*/ 593034 h 1141311"/>
              <a:gd name="connsiteX124" fmla="*/ 0 w 1141311"/>
              <a:gd name="connsiteY124" fmla="*/ 570656 h 1141311"/>
              <a:gd name="connsiteX125" fmla="*/ 570655 w 1141311"/>
              <a:gd name="connsiteY125" fmla="*/ 0 h 114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1141311" h="1141311">
                <a:moveTo>
                  <a:pt x="782009" y="887686"/>
                </a:moveTo>
                <a:cubicBezTo>
                  <a:pt x="753414" y="985904"/>
                  <a:pt x="712387" y="1061742"/>
                  <a:pt x="662656" y="1104013"/>
                </a:cubicBezTo>
                <a:cubicBezTo>
                  <a:pt x="769577" y="1085364"/>
                  <a:pt x="866551" y="1035634"/>
                  <a:pt x="941146" y="963525"/>
                </a:cubicBezTo>
                <a:cubicBezTo>
                  <a:pt x="892659" y="931200"/>
                  <a:pt x="839199" y="906335"/>
                  <a:pt x="782009" y="887686"/>
                </a:cubicBezTo>
                <a:close/>
                <a:moveTo>
                  <a:pt x="359302" y="887686"/>
                </a:moveTo>
                <a:cubicBezTo>
                  <a:pt x="303355" y="906335"/>
                  <a:pt x="248652" y="931200"/>
                  <a:pt x="200165" y="963525"/>
                </a:cubicBezTo>
                <a:cubicBezTo>
                  <a:pt x="276003" y="1035634"/>
                  <a:pt x="371734" y="1085364"/>
                  <a:pt x="478654" y="1104013"/>
                </a:cubicBezTo>
                <a:cubicBezTo>
                  <a:pt x="428924" y="1061742"/>
                  <a:pt x="387896" y="985904"/>
                  <a:pt x="359302" y="887686"/>
                </a:cubicBezTo>
                <a:close/>
                <a:moveTo>
                  <a:pt x="570655" y="855362"/>
                </a:moveTo>
                <a:cubicBezTo>
                  <a:pt x="508492" y="855362"/>
                  <a:pt x="446330" y="864064"/>
                  <a:pt x="389140" y="878984"/>
                </a:cubicBezTo>
                <a:cubicBezTo>
                  <a:pt x="430167" y="1019472"/>
                  <a:pt x="497303" y="1111473"/>
                  <a:pt x="570655" y="1111473"/>
                </a:cubicBezTo>
                <a:cubicBezTo>
                  <a:pt x="645251" y="1111473"/>
                  <a:pt x="712387" y="1019472"/>
                  <a:pt x="753414" y="878984"/>
                </a:cubicBezTo>
                <a:cubicBezTo>
                  <a:pt x="693738" y="864064"/>
                  <a:pt x="634061" y="855362"/>
                  <a:pt x="570655" y="855362"/>
                </a:cubicBezTo>
                <a:close/>
                <a:moveTo>
                  <a:pt x="823037" y="570656"/>
                </a:moveTo>
                <a:cubicBezTo>
                  <a:pt x="823037" y="676333"/>
                  <a:pt x="811847" y="774550"/>
                  <a:pt x="790712" y="859091"/>
                </a:cubicBezTo>
                <a:cubicBezTo>
                  <a:pt x="851632" y="878984"/>
                  <a:pt x="910065" y="906335"/>
                  <a:pt x="963525" y="942390"/>
                </a:cubicBezTo>
                <a:cubicBezTo>
                  <a:pt x="1048066" y="852875"/>
                  <a:pt x="1102770" y="733522"/>
                  <a:pt x="1110229" y="601737"/>
                </a:cubicBezTo>
                <a:cubicBezTo>
                  <a:pt x="1087851" y="590548"/>
                  <a:pt x="984660" y="578115"/>
                  <a:pt x="823037" y="570656"/>
                </a:cubicBezTo>
                <a:close/>
                <a:moveTo>
                  <a:pt x="318274" y="570656"/>
                </a:moveTo>
                <a:cubicBezTo>
                  <a:pt x="156651" y="578115"/>
                  <a:pt x="52217" y="590548"/>
                  <a:pt x="31081" y="601737"/>
                </a:cubicBezTo>
                <a:cubicBezTo>
                  <a:pt x="38541" y="733522"/>
                  <a:pt x="93244" y="852875"/>
                  <a:pt x="177786" y="942390"/>
                </a:cubicBezTo>
                <a:cubicBezTo>
                  <a:pt x="231246" y="906335"/>
                  <a:pt x="289679" y="878984"/>
                  <a:pt x="351842" y="859091"/>
                </a:cubicBezTo>
                <a:cubicBezTo>
                  <a:pt x="330707" y="774550"/>
                  <a:pt x="318274" y="676333"/>
                  <a:pt x="318274" y="570656"/>
                </a:cubicBezTo>
                <a:close/>
                <a:moveTo>
                  <a:pt x="570655" y="566926"/>
                </a:moveTo>
                <a:cubicBezTo>
                  <a:pt x="488600" y="566926"/>
                  <a:pt x="414005" y="568169"/>
                  <a:pt x="348112" y="570656"/>
                </a:cubicBezTo>
                <a:cubicBezTo>
                  <a:pt x="348112" y="672603"/>
                  <a:pt x="359302" y="768334"/>
                  <a:pt x="380437" y="850389"/>
                </a:cubicBezTo>
                <a:cubicBezTo>
                  <a:pt x="441357" y="834226"/>
                  <a:pt x="504763" y="825523"/>
                  <a:pt x="570655" y="825523"/>
                </a:cubicBezTo>
                <a:cubicBezTo>
                  <a:pt x="636548" y="825523"/>
                  <a:pt x="699954" y="834226"/>
                  <a:pt x="760874" y="850389"/>
                </a:cubicBezTo>
                <a:cubicBezTo>
                  <a:pt x="782009" y="768334"/>
                  <a:pt x="794442" y="672603"/>
                  <a:pt x="794442" y="570656"/>
                </a:cubicBezTo>
                <a:cubicBezTo>
                  <a:pt x="728549" y="568169"/>
                  <a:pt x="652710" y="566926"/>
                  <a:pt x="570655" y="566926"/>
                </a:cubicBezTo>
                <a:close/>
                <a:moveTo>
                  <a:pt x="380437" y="290923"/>
                </a:moveTo>
                <a:cubicBezTo>
                  <a:pt x="361788" y="364275"/>
                  <a:pt x="350599" y="450060"/>
                  <a:pt x="348112" y="539574"/>
                </a:cubicBezTo>
                <a:cubicBezTo>
                  <a:pt x="416491" y="537088"/>
                  <a:pt x="492330" y="537088"/>
                  <a:pt x="570655" y="537088"/>
                </a:cubicBezTo>
                <a:cubicBezTo>
                  <a:pt x="648981" y="537088"/>
                  <a:pt x="724819" y="537088"/>
                  <a:pt x="793199" y="539574"/>
                </a:cubicBezTo>
                <a:cubicBezTo>
                  <a:pt x="790712" y="450060"/>
                  <a:pt x="779523" y="364275"/>
                  <a:pt x="760874" y="290923"/>
                </a:cubicBezTo>
                <a:cubicBezTo>
                  <a:pt x="698711" y="308328"/>
                  <a:pt x="636548" y="315788"/>
                  <a:pt x="570655" y="315788"/>
                </a:cubicBezTo>
                <a:cubicBezTo>
                  <a:pt x="504763" y="315788"/>
                  <a:pt x="441357" y="308328"/>
                  <a:pt x="380437" y="290923"/>
                </a:cubicBezTo>
                <a:close/>
                <a:moveTo>
                  <a:pt x="823037" y="271030"/>
                </a:moveTo>
                <a:cubicBezTo>
                  <a:pt x="813091" y="276003"/>
                  <a:pt x="801901" y="278490"/>
                  <a:pt x="790712" y="283463"/>
                </a:cubicBezTo>
                <a:cubicBezTo>
                  <a:pt x="809361" y="359302"/>
                  <a:pt x="821793" y="446330"/>
                  <a:pt x="823037" y="540817"/>
                </a:cubicBezTo>
                <a:cubicBezTo>
                  <a:pt x="871524" y="543304"/>
                  <a:pt x="915038" y="544547"/>
                  <a:pt x="953579" y="548277"/>
                </a:cubicBezTo>
                <a:cubicBezTo>
                  <a:pt x="1039364" y="555736"/>
                  <a:pt x="1086607" y="563196"/>
                  <a:pt x="1111473" y="570656"/>
                </a:cubicBezTo>
                <a:cubicBezTo>
                  <a:pt x="1111473" y="498547"/>
                  <a:pt x="1096553" y="427681"/>
                  <a:pt x="1069202" y="360545"/>
                </a:cubicBezTo>
                <a:cubicBezTo>
                  <a:pt x="1036877" y="421465"/>
                  <a:pt x="1005796" y="473681"/>
                  <a:pt x="992120" y="494817"/>
                </a:cubicBezTo>
                <a:cubicBezTo>
                  <a:pt x="985903" y="503520"/>
                  <a:pt x="977201" y="508493"/>
                  <a:pt x="967255" y="508493"/>
                </a:cubicBezTo>
                <a:cubicBezTo>
                  <a:pt x="963525" y="508493"/>
                  <a:pt x="958552" y="507249"/>
                  <a:pt x="954822" y="504763"/>
                </a:cubicBezTo>
                <a:cubicBezTo>
                  <a:pt x="954822" y="504763"/>
                  <a:pt x="954822" y="504763"/>
                  <a:pt x="953579" y="504763"/>
                </a:cubicBezTo>
                <a:cubicBezTo>
                  <a:pt x="953579" y="504763"/>
                  <a:pt x="952336" y="503520"/>
                  <a:pt x="951092" y="502276"/>
                </a:cubicBezTo>
                <a:cubicBezTo>
                  <a:pt x="949849" y="502276"/>
                  <a:pt x="949849" y="502276"/>
                  <a:pt x="948606" y="501033"/>
                </a:cubicBezTo>
                <a:cubicBezTo>
                  <a:pt x="948606" y="501033"/>
                  <a:pt x="948606" y="499790"/>
                  <a:pt x="947363" y="499790"/>
                </a:cubicBezTo>
                <a:cubicBezTo>
                  <a:pt x="946119" y="498547"/>
                  <a:pt x="944876" y="497303"/>
                  <a:pt x="943633" y="494817"/>
                </a:cubicBezTo>
                <a:cubicBezTo>
                  <a:pt x="924984" y="466222"/>
                  <a:pt x="866551" y="370491"/>
                  <a:pt x="830496" y="285950"/>
                </a:cubicBezTo>
                <a:cubicBezTo>
                  <a:pt x="828010" y="282220"/>
                  <a:pt x="826767" y="277247"/>
                  <a:pt x="825523" y="273517"/>
                </a:cubicBezTo>
                <a:cubicBezTo>
                  <a:pt x="824280" y="272274"/>
                  <a:pt x="824280" y="272274"/>
                  <a:pt x="823037" y="271030"/>
                </a:cubicBezTo>
                <a:close/>
                <a:moveTo>
                  <a:pt x="177786" y="200165"/>
                </a:moveTo>
                <a:cubicBezTo>
                  <a:pt x="85785" y="297139"/>
                  <a:pt x="29838" y="427681"/>
                  <a:pt x="29838" y="570656"/>
                </a:cubicBezTo>
                <a:cubicBezTo>
                  <a:pt x="55947" y="563196"/>
                  <a:pt x="101947" y="555736"/>
                  <a:pt x="187732" y="548277"/>
                </a:cubicBezTo>
                <a:cubicBezTo>
                  <a:pt x="226273" y="544547"/>
                  <a:pt x="269787" y="543304"/>
                  <a:pt x="318274" y="540817"/>
                </a:cubicBezTo>
                <a:cubicBezTo>
                  <a:pt x="320761" y="446330"/>
                  <a:pt x="331950" y="359302"/>
                  <a:pt x="351842" y="283463"/>
                </a:cubicBezTo>
                <a:cubicBezTo>
                  <a:pt x="289679" y="263571"/>
                  <a:pt x="231246" y="236219"/>
                  <a:pt x="177786" y="200165"/>
                </a:cubicBezTo>
                <a:close/>
                <a:moveTo>
                  <a:pt x="968897" y="128978"/>
                </a:moveTo>
                <a:cubicBezTo>
                  <a:pt x="942556" y="128978"/>
                  <a:pt x="919978" y="151556"/>
                  <a:pt x="919978" y="177898"/>
                </a:cubicBezTo>
                <a:cubicBezTo>
                  <a:pt x="919978" y="205493"/>
                  <a:pt x="942556" y="226817"/>
                  <a:pt x="968897" y="226817"/>
                </a:cubicBezTo>
                <a:cubicBezTo>
                  <a:pt x="995238" y="226817"/>
                  <a:pt x="1017817" y="205493"/>
                  <a:pt x="1017817" y="177898"/>
                </a:cubicBezTo>
                <a:cubicBezTo>
                  <a:pt x="1017817" y="151556"/>
                  <a:pt x="995238" y="128978"/>
                  <a:pt x="968897" y="128978"/>
                </a:cubicBezTo>
                <a:close/>
                <a:moveTo>
                  <a:pt x="968897" y="98874"/>
                </a:moveTo>
                <a:cubicBezTo>
                  <a:pt x="1012799" y="98874"/>
                  <a:pt x="1047921" y="135250"/>
                  <a:pt x="1047921" y="177898"/>
                </a:cubicBezTo>
                <a:cubicBezTo>
                  <a:pt x="1047921" y="221799"/>
                  <a:pt x="1012799" y="256921"/>
                  <a:pt x="968897" y="256921"/>
                </a:cubicBezTo>
                <a:cubicBezTo>
                  <a:pt x="924995" y="256921"/>
                  <a:pt x="889874" y="221799"/>
                  <a:pt x="889874" y="177898"/>
                </a:cubicBezTo>
                <a:cubicBezTo>
                  <a:pt x="889874" y="135250"/>
                  <a:pt x="924995" y="98874"/>
                  <a:pt x="968897" y="98874"/>
                </a:cubicBezTo>
                <a:close/>
                <a:moveTo>
                  <a:pt x="662656" y="38541"/>
                </a:moveTo>
                <a:cubicBezTo>
                  <a:pt x="712387" y="80812"/>
                  <a:pt x="753414" y="156651"/>
                  <a:pt x="782009" y="253625"/>
                </a:cubicBezTo>
                <a:cubicBezTo>
                  <a:pt x="793199" y="251138"/>
                  <a:pt x="803145" y="247409"/>
                  <a:pt x="813091" y="243679"/>
                </a:cubicBezTo>
                <a:cubicBezTo>
                  <a:pt x="813091" y="241192"/>
                  <a:pt x="813091" y="239949"/>
                  <a:pt x="811847" y="239949"/>
                </a:cubicBezTo>
                <a:cubicBezTo>
                  <a:pt x="809361" y="232489"/>
                  <a:pt x="806874" y="223787"/>
                  <a:pt x="804388" y="217570"/>
                </a:cubicBezTo>
                <a:cubicBezTo>
                  <a:pt x="800658" y="200165"/>
                  <a:pt x="796928" y="185246"/>
                  <a:pt x="796928" y="172813"/>
                </a:cubicBezTo>
                <a:cubicBezTo>
                  <a:pt x="796928" y="167840"/>
                  <a:pt x="796928" y="162867"/>
                  <a:pt x="798172" y="157894"/>
                </a:cubicBezTo>
                <a:cubicBezTo>
                  <a:pt x="798172" y="156651"/>
                  <a:pt x="798172" y="155407"/>
                  <a:pt x="798172" y="154164"/>
                </a:cubicBezTo>
                <a:cubicBezTo>
                  <a:pt x="798172" y="149191"/>
                  <a:pt x="799415" y="144218"/>
                  <a:pt x="800658" y="139245"/>
                </a:cubicBezTo>
                <a:cubicBezTo>
                  <a:pt x="800658" y="138002"/>
                  <a:pt x="800658" y="138002"/>
                  <a:pt x="800658" y="136759"/>
                </a:cubicBezTo>
                <a:cubicBezTo>
                  <a:pt x="801901" y="133029"/>
                  <a:pt x="803145" y="128056"/>
                  <a:pt x="804388" y="124326"/>
                </a:cubicBezTo>
                <a:cubicBezTo>
                  <a:pt x="804388" y="123083"/>
                  <a:pt x="804388" y="121840"/>
                  <a:pt x="804388" y="121840"/>
                </a:cubicBezTo>
                <a:cubicBezTo>
                  <a:pt x="806874" y="116866"/>
                  <a:pt x="808118" y="113137"/>
                  <a:pt x="810604" y="108164"/>
                </a:cubicBezTo>
                <a:cubicBezTo>
                  <a:pt x="810604" y="106920"/>
                  <a:pt x="810604" y="105677"/>
                  <a:pt x="811847" y="104434"/>
                </a:cubicBezTo>
                <a:cubicBezTo>
                  <a:pt x="813091" y="100704"/>
                  <a:pt x="814334" y="96974"/>
                  <a:pt x="816820" y="93245"/>
                </a:cubicBezTo>
                <a:cubicBezTo>
                  <a:pt x="818064" y="93245"/>
                  <a:pt x="818064" y="92001"/>
                  <a:pt x="818064" y="90758"/>
                </a:cubicBezTo>
                <a:cubicBezTo>
                  <a:pt x="769577" y="64650"/>
                  <a:pt x="717360" y="48487"/>
                  <a:pt x="662656" y="38541"/>
                </a:cubicBezTo>
                <a:close/>
                <a:moveTo>
                  <a:pt x="478654" y="38541"/>
                </a:moveTo>
                <a:cubicBezTo>
                  <a:pt x="371734" y="57190"/>
                  <a:pt x="276003" y="106920"/>
                  <a:pt x="200165" y="179029"/>
                </a:cubicBezTo>
                <a:cubicBezTo>
                  <a:pt x="248652" y="211354"/>
                  <a:pt x="303355" y="236219"/>
                  <a:pt x="359302" y="253625"/>
                </a:cubicBezTo>
                <a:cubicBezTo>
                  <a:pt x="387896" y="156651"/>
                  <a:pt x="428924" y="80812"/>
                  <a:pt x="478654" y="38541"/>
                </a:cubicBezTo>
                <a:close/>
                <a:moveTo>
                  <a:pt x="967255" y="32325"/>
                </a:moveTo>
                <a:cubicBezTo>
                  <a:pt x="920011" y="32325"/>
                  <a:pt x="876497" y="55947"/>
                  <a:pt x="851632" y="93245"/>
                </a:cubicBezTo>
                <a:cubicBezTo>
                  <a:pt x="850388" y="94488"/>
                  <a:pt x="850388" y="95731"/>
                  <a:pt x="849145" y="96974"/>
                </a:cubicBezTo>
                <a:cubicBezTo>
                  <a:pt x="847902" y="99461"/>
                  <a:pt x="846659" y="101947"/>
                  <a:pt x="845415" y="104434"/>
                </a:cubicBezTo>
                <a:cubicBezTo>
                  <a:pt x="844172" y="105677"/>
                  <a:pt x="842929" y="106920"/>
                  <a:pt x="842929" y="108164"/>
                </a:cubicBezTo>
                <a:cubicBezTo>
                  <a:pt x="841686" y="110650"/>
                  <a:pt x="840442" y="113137"/>
                  <a:pt x="839199" y="116866"/>
                </a:cubicBezTo>
                <a:cubicBezTo>
                  <a:pt x="837956" y="116866"/>
                  <a:pt x="837956" y="119353"/>
                  <a:pt x="836713" y="119353"/>
                </a:cubicBezTo>
                <a:cubicBezTo>
                  <a:pt x="834226" y="126813"/>
                  <a:pt x="831739" y="135515"/>
                  <a:pt x="829253" y="142975"/>
                </a:cubicBezTo>
                <a:cubicBezTo>
                  <a:pt x="829253" y="144218"/>
                  <a:pt x="829253" y="146705"/>
                  <a:pt x="829253" y="146705"/>
                </a:cubicBezTo>
                <a:cubicBezTo>
                  <a:pt x="829253" y="149191"/>
                  <a:pt x="828010" y="152921"/>
                  <a:pt x="828010" y="156651"/>
                </a:cubicBezTo>
                <a:cubicBezTo>
                  <a:pt x="828010" y="157894"/>
                  <a:pt x="828010" y="159137"/>
                  <a:pt x="828010" y="159137"/>
                </a:cubicBezTo>
                <a:cubicBezTo>
                  <a:pt x="826767" y="164110"/>
                  <a:pt x="826767" y="169083"/>
                  <a:pt x="826767" y="172813"/>
                </a:cubicBezTo>
                <a:cubicBezTo>
                  <a:pt x="826767" y="233733"/>
                  <a:pt x="920011" y="402816"/>
                  <a:pt x="967255" y="477411"/>
                </a:cubicBezTo>
                <a:cubicBezTo>
                  <a:pt x="985903" y="448816"/>
                  <a:pt x="1021958" y="386653"/>
                  <a:pt x="1053039" y="324491"/>
                </a:cubicBezTo>
                <a:cubicBezTo>
                  <a:pt x="1084121" y="263571"/>
                  <a:pt x="1107743" y="203895"/>
                  <a:pt x="1107743" y="172813"/>
                </a:cubicBezTo>
                <a:cubicBezTo>
                  <a:pt x="1107743" y="94488"/>
                  <a:pt x="1044337" y="32325"/>
                  <a:pt x="967255" y="32325"/>
                </a:cubicBezTo>
                <a:close/>
                <a:moveTo>
                  <a:pt x="570655" y="29838"/>
                </a:moveTo>
                <a:cubicBezTo>
                  <a:pt x="497303" y="29838"/>
                  <a:pt x="430167" y="123083"/>
                  <a:pt x="389140" y="263571"/>
                </a:cubicBezTo>
                <a:cubicBezTo>
                  <a:pt x="446330" y="278490"/>
                  <a:pt x="508492" y="285950"/>
                  <a:pt x="570655" y="285950"/>
                </a:cubicBezTo>
                <a:cubicBezTo>
                  <a:pt x="632818" y="285950"/>
                  <a:pt x="693738" y="278490"/>
                  <a:pt x="753414" y="262328"/>
                </a:cubicBezTo>
                <a:cubicBezTo>
                  <a:pt x="712387" y="123083"/>
                  <a:pt x="645251" y="29838"/>
                  <a:pt x="570655" y="29838"/>
                </a:cubicBezTo>
                <a:close/>
                <a:moveTo>
                  <a:pt x="570655" y="0"/>
                </a:moveTo>
                <a:cubicBezTo>
                  <a:pt x="662656" y="0"/>
                  <a:pt x="753414" y="22379"/>
                  <a:pt x="835469" y="64650"/>
                </a:cubicBezTo>
                <a:cubicBezTo>
                  <a:pt x="866551" y="27352"/>
                  <a:pt x="913795" y="2487"/>
                  <a:pt x="967255" y="2487"/>
                </a:cubicBezTo>
                <a:cubicBezTo>
                  <a:pt x="1061742" y="2487"/>
                  <a:pt x="1137581" y="78325"/>
                  <a:pt x="1137581" y="172813"/>
                </a:cubicBezTo>
                <a:cubicBezTo>
                  <a:pt x="1137581" y="207624"/>
                  <a:pt x="1113959" y="267301"/>
                  <a:pt x="1086607" y="325734"/>
                </a:cubicBezTo>
                <a:cubicBezTo>
                  <a:pt x="1122662" y="402816"/>
                  <a:pt x="1141311" y="484871"/>
                  <a:pt x="1141311" y="570656"/>
                </a:cubicBezTo>
                <a:cubicBezTo>
                  <a:pt x="1141311" y="578115"/>
                  <a:pt x="1141311" y="585575"/>
                  <a:pt x="1141311" y="593034"/>
                </a:cubicBezTo>
                <a:cubicBezTo>
                  <a:pt x="1141311" y="595521"/>
                  <a:pt x="1141311" y="596764"/>
                  <a:pt x="1141311" y="599251"/>
                </a:cubicBezTo>
                <a:cubicBezTo>
                  <a:pt x="1125148" y="900119"/>
                  <a:pt x="876497" y="1141311"/>
                  <a:pt x="570655" y="1141311"/>
                </a:cubicBezTo>
                <a:cubicBezTo>
                  <a:pt x="266057" y="1141311"/>
                  <a:pt x="14919" y="900119"/>
                  <a:pt x="1243" y="599251"/>
                </a:cubicBezTo>
                <a:lnTo>
                  <a:pt x="0" y="599251"/>
                </a:lnTo>
                <a:cubicBezTo>
                  <a:pt x="0" y="596764"/>
                  <a:pt x="0" y="595521"/>
                  <a:pt x="1243" y="593034"/>
                </a:cubicBezTo>
                <a:cubicBezTo>
                  <a:pt x="0" y="585575"/>
                  <a:pt x="0" y="578115"/>
                  <a:pt x="0" y="570656"/>
                </a:cubicBezTo>
                <a:cubicBezTo>
                  <a:pt x="0" y="256111"/>
                  <a:pt x="256111" y="0"/>
                  <a:pt x="57065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0" name="Freeform 38">
            <a:extLst>
              <a:ext uri="{FF2B5EF4-FFF2-40B4-BE49-F238E27FC236}">
                <a16:creationId xmlns:a16="http://schemas.microsoft.com/office/drawing/2014/main" id="{F32D7B1E-13AB-AD13-5BF7-C56CECD09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529" y="3938994"/>
            <a:ext cx="625585" cy="625585"/>
          </a:xfrm>
          <a:custGeom>
            <a:avLst/>
            <a:gdLst>
              <a:gd name="connsiteX0" fmla="*/ 625600 w 1251169"/>
              <a:gd name="connsiteY0" fmla="*/ 988748 h 1251170"/>
              <a:gd name="connsiteX1" fmla="*/ 641470 w 1251169"/>
              <a:gd name="connsiteY1" fmla="*/ 1003493 h 1251170"/>
              <a:gd name="connsiteX2" fmla="*/ 641470 w 1251169"/>
              <a:gd name="connsiteY2" fmla="*/ 1063700 h 1251170"/>
              <a:gd name="connsiteX3" fmla="*/ 625600 w 1251169"/>
              <a:gd name="connsiteY3" fmla="*/ 1080902 h 1251170"/>
              <a:gd name="connsiteX4" fmla="*/ 609731 w 1251169"/>
              <a:gd name="connsiteY4" fmla="*/ 1063700 h 1251170"/>
              <a:gd name="connsiteX5" fmla="*/ 609731 w 1251169"/>
              <a:gd name="connsiteY5" fmla="*/ 1003493 h 1251170"/>
              <a:gd name="connsiteX6" fmla="*/ 625600 w 1251169"/>
              <a:gd name="connsiteY6" fmla="*/ 988748 h 1251170"/>
              <a:gd name="connsiteX7" fmla="*/ 897556 w 1251169"/>
              <a:gd name="connsiteY7" fmla="*/ 880820 h 1251170"/>
              <a:gd name="connsiteX8" fmla="*/ 909787 w 1251169"/>
              <a:gd name="connsiteY8" fmla="*/ 886614 h 1251170"/>
              <a:gd name="connsiteX9" fmla="*/ 953561 w 1251169"/>
              <a:gd name="connsiteY9" fmla="*/ 930387 h 1251170"/>
              <a:gd name="connsiteX10" fmla="*/ 953561 w 1251169"/>
              <a:gd name="connsiteY10" fmla="*/ 954849 h 1251170"/>
              <a:gd name="connsiteX11" fmla="*/ 941973 w 1251169"/>
              <a:gd name="connsiteY11" fmla="*/ 959999 h 1251170"/>
              <a:gd name="connsiteX12" fmla="*/ 930386 w 1251169"/>
              <a:gd name="connsiteY12" fmla="*/ 954849 h 1251170"/>
              <a:gd name="connsiteX13" fmla="*/ 885326 w 1251169"/>
              <a:gd name="connsiteY13" fmla="*/ 909788 h 1251170"/>
              <a:gd name="connsiteX14" fmla="*/ 885326 w 1251169"/>
              <a:gd name="connsiteY14" fmla="*/ 886614 h 1251170"/>
              <a:gd name="connsiteX15" fmla="*/ 897556 w 1251169"/>
              <a:gd name="connsiteY15" fmla="*/ 880820 h 1251170"/>
              <a:gd name="connsiteX16" fmla="*/ 359711 w 1251169"/>
              <a:gd name="connsiteY16" fmla="*/ 880820 h 1251170"/>
              <a:gd name="connsiteX17" fmla="*/ 371298 w 1251169"/>
              <a:gd name="connsiteY17" fmla="*/ 886614 h 1251170"/>
              <a:gd name="connsiteX18" fmla="*/ 371298 w 1251169"/>
              <a:gd name="connsiteY18" fmla="*/ 909788 h 1251170"/>
              <a:gd name="connsiteX19" fmla="*/ 326237 w 1251169"/>
              <a:gd name="connsiteY19" fmla="*/ 954849 h 1251170"/>
              <a:gd name="connsiteX20" fmla="*/ 314650 w 1251169"/>
              <a:gd name="connsiteY20" fmla="*/ 959999 h 1251170"/>
              <a:gd name="connsiteX21" fmla="*/ 303063 w 1251169"/>
              <a:gd name="connsiteY21" fmla="*/ 954849 h 1251170"/>
              <a:gd name="connsiteX22" fmla="*/ 303063 w 1251169"/>
              <a:gd name="connsiteY22" fmla="*/ 930387 h 1251170"/>
              <a:gd name="connsiteX23" fmla="*/ 348124 w 1251169"/>
              <a:gd name="connsiteY23" fmla="*/ 886614 h 1251170"/>
              <a:gd name="connsiteX24" fmla="*/ 359711 w 1251169"/>
              <a:gd name="connsiteY24" fmla="*/ 880820 h 1251170"/>
              <a:gd name="connsiteX25" fmla="*/ 1004721 w 1251169"/>
              <a:gd name="connsiteY25" fmla="*/ 609731 h 1251170"/>
              <a:gd name="connsiteX26" fmla="*/ 1064928 w 1251169"/>
              <a:gd name="connsiteY26" fmla="*/ 609731 h 1251170"/>
              <a:gd name="connsiteX27" fmla="*/ 1080902 w 1251169"/>
              <a:gd name="connsiteY27" fmla="*/ 625600 h 1251170"/>
              <a:gd name="connsiteX28" fmla="*/ 1064928 w 1251169"/>
              <a:gd name="connsiteY28" fmla="*/ 641469 h 1251170"/>
              <a:gd name="connsiteX29" fmla="*/ 1004721 w 1251169"/>
              <a:gd name="connsiteY29" fmla="*/ 641469 h 1251170"/>
              <a:gd name="connsiteX30" fmla="*/ 988747 w 1251169"/>
              <a:gd name="connsiteY30" fmla="*/ 625600 h 1251170"/>
              <a:gd name="connsiteX31" fmla="*/ 1004721 w 1251169"/>
              <a:gd name="connsiteY31" fmla="*/ 609731 h 1251170"/>
              <a:gd name="connsiteX32" fmla="*/ 186052 w 1251169"/>
              <a:gd name="connsiteY32" fmla="*/ 609731 h 1251170"/>
              <a:gd name="connsiteX33" fmla="*/ 245476 w 1251169"/>
              <a:gd name="connsiteY33" fmla="*/ 609731 h 1251170"/>
              <a:gd name="connsiteX34" fmla="*/ 262454 w 1251169"/>
              <a:gd name="connsiteY34" fmla="*/ 625600 h 1251170"/>
              <a:gd name="connsiteX35" fmla="*/ 245476 w 1251169"/>
              <a:gd name="connsiteY35" fmla="*/ 641469 h 1251170"/>
              <a:gd name="connsiteX36" fmla="*/ 186052 w 1251169"/>
              <a:gd name="connsiteY36" fmla="*/ 641469 h 1251170"/>
              <a:gd name="connsiteX37" fmla="*/ 170287 w 1251169"/>
              <a:gd name="connsiteY37" fmla="*/ 625600 h 1251170"/>
              <a:gd name="connsiteX38" fmla="*/ 186052 w 1251169"/>
              <a:gd name="connsiteY38" fmla="*/ 609731 h 1251170"/>
              <a:gd name="connsiteX39" fmla="*/ 627743 w 1251169"/>
              <a:gd name="connsiteY39" fmla="*/ 593604 h 1251170"/>
              <a:gd name="connsiteX40" fmla="*/ 599243 w 1251169"/>
              <a:gd name="connsiteY40" fmla="*/ 623373 h 1251170"/>
              <a:gd name="connsiteX41" fmla="*/ 627743 w 1251169"/>
              <a:gd name="connsiteY41" fmla="*/ 651902 h 1251170"/>
              <a:gd name="connsiteX42" fmla="*/ 657483 w 1251169"/>
              <a:gd name="connsiteY42" fmla="*/ 623373 h 1251170"/>
              <a:gd name="connsiteX43" fmla="*/ 627743 w 1251169"/>
              <a:gd name="connsiteY43" fmla="*/ 593604 h 1251170"/>
              <a:gd name="connsiteX44" fmla="*/ 627743 w 1251169"/>
              <a:gd name="connsiteY44" fmla="*/ 379021 h 1251170"/>
              <a:gd name="connsiteX45" fmla="*/ 643853 w 1251169"/>
              <a:gd name="connsiteY45" fmla="*/ 395146 h 1251170"/>
              <a:gd name="connsiteX46" fmla="*/ 643853 w 1251169"/>
              <a:gd name="connsiteY46" fmla="*/ 563836 h 1251170"/>
              <a:gd name="connsiteX47" fmla="*/ 687223 w 1251169"/>
              <a:gd name="connsiteY47" fmla="*/ 607249 h 1251170"/>
              <a:gd name="connsiteX48" fmla="*/ 916469 w 1251169"/>
              <a:gd name="connsiteY48" fmla="*/ 607249 h 1251170"/>
              <a:gd name="connsiteX49" fmla="*/ 932578 w 1251169"/>
              <a:gd name="connsiteY49" fmla="*/ 623373 h 1251170"/>
              <a:gd name="connsiteX50" fmla="*/ 916469 w 1251169"/>
              <a:gd name="connsiteY50" fmla="*/ 639498 h 1251170"/>
              <a:gd name="connsiteX51" fmla="*/ 687223 w 1251169"/>
              <a:gd name="connsiteY51" fmla="*/ 639498 h 1251170"/>
              <a:gd name="connsiteX52" fmla="*/ 627743 w 1251169"/>
              <a:gd name="connsiteY52" fmla="*/ 685392 h 1251170"/>
              <a:gd name="connsiteX53" fmla="*/ 565785 w 1251169"/>
              <a:gd name="connsiteY53" fmla="*/ 623373 h 1251170"/>
              <a:gd name="connsiteX54" fmla="*/ 611634 w 1251169"/>
              <a:gd name="connsiteY54" fmla="*/ 563836 h 1251170"/>
              <a:gd name="connsiteX55" fmla="*/ 611634 w 1251169"/>
              <a:gd name="connsiteY55" fmla="*/ 395146 h 1251170"/>
              <a:gd name="connsiteX56" fmla="*/ 627743 w 1251169"/>
              <a:gd name="connsiteY56" fmla="*/ 379021 h 1251170"/>
              <a:gd name="connsiteX57" fmla="*/ 941974 w 1251169"/>
              <a:gd name="connsiteY57" fmla="*/ 298177 h 1251170"/>
              <a:gd name="connsiteX58" fmla="*/ 953561 w 1251169"/>
              <a:gd name="connsiteY58" fmla="*/ 302828 h 1251170"/>
              <a:gd name="connsiteX59" fmla="*/ 953561 w 1251169"/>
              <a:gd name="connsiteY59" fmla="*/ 325154 h 1251170"/>
              <a:gd name="connsiteX60" fmla="*/ 909787 w 1251169"/>
              <a:gd name="connsiteY60" fmla="*/ 368567 h 1251170"/>
              <a:gd name="connsiteX61" fmla="*/ 896913 w 1251169"/>
              <a:gd name="connsiteY61" fmla="*/ 372288 h 1251170"/>
              <a:gd name="connsiteX62" fmla="*/ 885326 w 1251169"/>
              <a:gd name="connsiteY62" fmla="*/ 368567 h 1251170"/>
              <a:gd name="connsiteX63" fmla="*/ 885326 w 1251169"/>
              <a:gd name="connsiteY63" fmla="*/ 346240 h 1251170"/>
              <a:gd name="connsiteX64" fmla="*/ 930386 w 1251169"/>
              <a:gd name="connsiteY64" fmla="*/ 302828 h 1251170"/>
              <a:gd name="connsiteX65" fmla="*/ 941974 w 1251169"/>
              <a:gd name="connsiteY65" fmla="*/ 298177 h 1251170"/>
              <a:gd name="connsiteX66" fmla="*/ 315133 w 1251169"/>
              <a:gd name="connsiteY66" fmla="*/ 298177 h 1251170"/>
              <a:gd name="connsiteX67" fmla="*/ 326237 w 1251169"/>
              <a:gd name="connsiteY67" fmla="*/ 302828 h 1251170"/>
              <a:gd name="connsiteX68" fmla="*/ 371298 w 1251169"/>
              <a:gd name="connsiteY68" fmla="*/ 346240 h 1251170"/>
              <a:gd name="connsiteX69" fmla="*/ 371298 w 1251169"/>
              <a:gd name="connsiteY69" fmla="*/ 368567 h 1251170"/>
              <a:gd name="connsiteX70" fmla="*/ 359711 w 1251169"/>
              <a:gd name="connsiteY70" fmla="*/ 372288 h 1251170"/>
              <a:gd name="connsiteX71" fmla="*/ 348124 w 1251169"/>
              <a:gd name="connsiteY71" fmla="*/ 368567 h 1251170"/>
              <a:gd name="connsiteX72" fmla="*/ 303063 w 1251169"/>
              <a:gd name="connsiteY72" fmla="*/ 325154 h 1251170"/>
              <a:gd name="connsiteX73" fmla="*/ 303063 w 1251169"/>
              <a:gd name="connsiteY73" fmla="*/ 302828 h 1251170"/>
              <a:gd name="connsiteX74" fmla="*/ 315133 w 1251169"/>
              <a:gd name="connsiteY74" fmla="*/ 298177 h 1251170"/>
              <a:gd name="connsiteX75" fmla="*/ 625600 w 1251169"/>
              <a:gd name="connsiteY75" fmla="*/ 170288 h 1251170"/>
              <a:gd name="connsiteX76" fmla="*/ 641470 w 1251169"/>
              <a:gd name="connsiteY76" fmla="*/ 186261 h 1251170"/>
              <a:gd name="connsiteX77" fmla="*/ 641470 w 1251169"/>
              <a:gd name="connsiteY77" fmla="*/ 246466 h 1251170"/>
              <a:gd name="connsiteX78" fmla="*/ 625600 w 1251169"/>
              <a:gd name="connsiteY78" fmla="*/ 262439 h 1251170"/>
              <a:gd name="connsiteX79" fmla="*/ 609731 w 1251169"/>
              <a:gd name="connsiteY79" fmla="*/ 246466 h 1251170"/>
              <a:gd name="connsiteX80" fmla="*/ 609731 w 1251169"/>
              <a:gd name="connsiteY80" fmla="*/ 186261 h 1251170"/>
              <a:gd name="connsiteX81" fmla="*/ 625600 w 1251169"/>
              <a:gd name="connsiteY81" fmla="*/ 170288 h 1251170"/>
              <a:gd name="connsiteX82" fmla="*/ 622843 w 1251169"/>
              <a:gd name="connsiteY82" fmla="*/ 136698 h 1251170"/>
              <a:gd name="connsiteX83" fmla="*/ 137942 w 1251169"/>
              <a:gd name="connsiteY83" fmla="*/ 622841 h 1251170"/>
              <a:gd name="connsiteX84" fmla="*/ 622843 w 1251169"/>
              <a:gd name="connsiteY84" fmla="*/ 1107741 h 1251170"/>
              <a:gd name="connsiteX85" fmla="*/ 1108986 w 1251169"/>
              <a:gd name="connsiteY85" fmla="*/ 622841 h 1251170"/>
              <a:gd name="connsiteX86" fmla="*/ 622843 w 1251169"/>
              <a:gd name="connsiteY86" fmla="*/ 136698 h 1251170"/>
              <a:gd name="connsiteX87" fmla="*/ 622843 w 1251169"/>
              <a:gd name="connsiteY87" fmla="*/ 104371 h 1251170"/>
              <a:gd name="connsiteX88" fmla="*/ 1141313 w 1251169"/>
              <a:gd name="connsiteY88" fmla="*/ 622841 h 1251170"/>
              <a:gd name="connsiteX89" fmla="*/ 622843 w 1251169"/>
              <a:gd name="connsiteY89" fmla="*/ 1141311 h 1251170"/>
              <a:gd name="connsiteX90" fmla="*/ 104372 w 1251169"/>
              <a:gd name="connsiteY90" fmla="*/ 622841 h 1251170"/>
              <a:gd name="connsiteX91" fmla="*/ 622843 w 1251169"/>
              <a:gd name="connsiteY91" fmla="*/ 104371 h 1251170"/>
              <a:gd name="connsiteX92" fmla="*/ 625585 w 1251169"/>
              <a:gd name="connsiteY92" fmla="*/ 33613 h 1251170"/>
              <a:gd name="connsiteX93" fmla="*/ 32401 w 1251169"/>
              <a:gd name="connsiteY93" fmla="*/ 626207 h 1251170"/>
              <a:gd name="connsiteX94" fmla="*/ 625585 w 1251169"/>
              <a:gd name="connsiteY94" fmla="*/ 1218801 h 1251170"/>
              <a:gd name="connsiteX95" fmla="*/ 1218768 w 1251169"/>
              <a:gd name="connsiteY95" fmla="*/ 626207 h 1251170"/>
              <a:gd name="connsiteX96" fmla="*/ 625585 w 1251169"/>
              <a:gd name="connsiteY96" fmla="*/ 33613 h 1251170"/>
              <a:gd name="connsiteX97" fmla="*/ 625585 w 1251169"/>
              <a:gd name="connsiteY97" fmla="*/ 0 h 1251170"/>
              <a:gd name="connsiteX98" fmla="*/ 1251169 w 1251169"/>
              <a:gd name="connsiteY98" fmla="*/ 626207 h 1251170"/>
              <a:gd name="connsiteX99" fmla="*/ 625585 w 1251169"/>
              <a:gd name="connsiteY99" fmla="*/ 1251170 h 1251170"/>
              <a:gd name="connsiteX100" fmla="*/ 0 w 1251169"/>
              <a:gd name="connsiteY100" fmla="*/ 626207 h 1251170"/>
              <a:gd name="connsiteX101" fmla="*/ 625585 w 1251169"/>
              <a:gd name="connsiteY101" fmla="*/ 0 h 125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51169" h="1251170">
                <a:moveTo>
                  <a:pt x="625600" y="988748"/>
                </a:moveTo>
                <a:cubicBezTo>
                  <a:pt x="634145" y="988748"/>
                  <a:pt x="641470" y="996120"/>
                  <a:pt x="641470" y="1003493"/>
                </a:cubicBezTo>
                <a:lnTo>
                  <a:pt x="641470" y="1063700"/>
                </a:lnTo>
                <a:cubicBezTo>
                  <a:pt x="641470" y="1073530"/>
                  <a:pt x="634145" y="1080902"/>
                  <a:pt x="625600" y="1080902"/>
                </a:cubicBezTo>
                <a:cubicBezTo>
                  <a:pt x="617055" y="1080902"/>
                  <a:pt x="609731" y="1073530"/>
                  <a:pt x="609731" y="1063700"/>
                </a:cubicBezTo>
                <a:lnTo>
                  <a:pt x="609731" y="1003493"/>
                </a:lnTo>
                <a:cubicBezTo>
                  <a:pt x="609731" y="996120"/>
                  <a:pt x="617055" y="988748"/>
                  <a:pt x="625600" y="988748"/>
                </a:cubicBezTo>
                <a:close/>
                <a:moveTo>
                  <a:pt x="897556" y="880820"/>
                </a:moveTo>
                <a:cubicBezTo>
                  <a:pt x="902062" y="880820"/>
                  <a:pt x="906569" y="882752"/>
                  <a:pt x="909787" y="886614"/>
                </a:cubicBezTo>
                <a:lnTo>
                  <a:pt x="953561" y="930387"/>
                </a:lnTo>
                <a:cubicBezTo>
                  <a:pt x="959998" y="938112"/>
                  <a:pt x="959998" y="947124"/>
                  <a:pt x="953561" y="954849"/>
                </a:cubicBezTo>
                <a:cubicBezTo>
                  <a:pt x="950986" y="958711"/>
                  <a:pt x="945836" y="959999"/>
                  <a:pt x="941973" y="959999"/>
                </a:cubicBezTo>
                <a:cubicBezTo>
                  <a:pt x="938111" y="959999"/>
                  <a:pt x="932961" y="958711"/>
                  <a:pt x="930386" y="954849"/>
                </a:cubicBezTo>
                <a:lnTo>
                  <a:pt x="885326" y="909788"/>
                </a:lnTo>
                <a:cubicBezTo>
                  <a:pt x="878888" y="903351"/>
                  <a:pt x="878888" y="893051"/>
                  <a:pt x="885326" y="886614"/>
                </a:cubicBezTo>
                <a:cubicBezTo>
                  <a:pt x="888544" y="882752"/>
                  <a:pt x="893050" y="880820"/>
                  <a:pt x="897556" y="880820"/>
                </a:cubicBezTo>
                <a:close/>
                <a:moveTo>
                  <a:pt x="359711" y="880820"/>
                </a:moveTo>
                <a:cubicBezTo>
                  <a:pt x="363895" y="880820"/>
                  <a:pt x="368080" y="882752"/>
                  <a:pt x="371298" y="886614"/>
                </a:cubicBezTo>
                <a:cubicBezTo>
                  <a:pt x="377735" y="893051"/>
                  <a:pt x="377735" y="903351"/>
                  <a:pt x="371298" y="909788"/>
                </a:cubicBezTo>
                <a:lnTo>
                  <a:pt x="326237" y="954849"/>
                </a:lnTo>
                <a:cubicBezTo>
                  <a:pt x="323662" y="958711"/>
                  <a:pt x="319800" y="959999"/>
                  <a:pt x="314650" y="959999"/>
                </a:cubicBezTo>
                <a:cubicBezTo>
                  <a:pt x="310788" y="959999"/>
                  <a:pt x="305638" y="958711"/>
                  <a:pt x="303063" y="954849"/>
                </a:cubicBezTo>
                <a:cubicBezTo>
                  <a:pt x="296626" y="947124"/>
                  <a:pt x="296626" y="938112"/>
                  <a:pt x="303063" y="930387"/>
                </a:cubicBezTo>
                <a:lnTo>
                  <a:pt x="348124" y="886614"/>
                </a:lnTo>
                <a:cubicBezTo>
                  <a:pt x="351343" y="882752"/>
                  <a:pt x="355527" y="880820"/>
                  <a:pt x="359711" y="880820"/>
                </a:cubicBezTo>
                <a:close/>
                <a:moveTo>
                  <a:pt x="1004721" y="609731"/>
                </a:moveTo>
                <a:lnTo>
                  <a:pt x="1064928" y="609731"/>
                </a:lnTo>
                <a:cubicBezTo>
                  <a:pt x="1073529" y="609731"/>
                  <a:pt x="1080902" y="615835"/>
                  <a:pt x="1080902" y="625600"/>
                </a:cubicBezTo>
                <a:cubicBezTo>
                  <a:pt x="1080902" y="634145"/>
                  <a:pt x="1073529" y="641469"/>
                  <a:pt x="1064928" y="641469"/>
                </a:cubicBezTo>
                <a:lnTo>
                  <a:pt x="1004721" y="641469"/>
                </a:lnTo>
                <a:cubicBezTo>
                  <a:pt x="996120" y="641469"/>
                  <a:pt x="988747" y="634145"/>
                  <a:pt x="988747" y="625600"/>
                </a:cubicBezTo>
                <a:cubicBezTo>
                  <a:pt x="988747" y="615835"/>
                  <a:pt x="996120" y="609731"/>
                  <a:pt x="1004721" y="609731"/>
                </a:cubicBezTo>
                <a:close/>
                <a:moveTo>
                  <a:pt x="186052" y="609731"/>
                </a:moveTo>
                <a:lnTo>
                  <a:pt x="245476" y="609731"/>
                </a:lnTo>
                <a:cubicBezTo>
                  <a:pt x="255178" y="609731"/>
                  <a:pt x="262454" y="615835"/>
                  <a:pt x="262454" y="625600"/>
                </a:cubicBezTo>
                <a:cubicBezTo>
                  <a:pt x="262454" y="634145"/>
                  <a:pt x="255178" y="641469"/>
                  <a:pt x="245476" y="641469"/>
                </a:cubicBezTo>
                <a:lnTo>
                  <a:pt x="186052" y="641469"/>
                </a:lnTo>
                <a:cubicBezTo>
                  <a:pt x="177563" y="641469"/>
                  <a:pt x="170287" y="634145"/>
                  <a:pt x="170287" y="625600"/>
                </a:cubicBezTo>
                <a:cubicBezTo>
                  <a:pt x="170287" y="615835"/>
                  <a:pt x="177563" y="609731"/>
                  <a:pt x="186052" y="609731"/>
                </a:cubicBezTo>
                <a:close/>
                <a:moveTo>
                  <a:pt x="627743" y="593604"/>
                </a:moveTo>
                <a:cubicBezTo>
                  <a:pt x="611634" y="593604"/>
                  <a:pt x="599243" y="607249"/>
                  <a:pt x="599243" y="623373"/>
                </a:cubicBezTo>
                <a:cubicBezTo>
                  <a:pt x="599243" y="639498"/>
                  <a:pt x="611634" y="651902"/>
                  <a:pt x="627743" y="651902"/>
                </a:cubicBezTo>
                <a:cubicBezTo>
                  <a:pt x="643853" y="651902"/>
                  <a:pt x="657483" y="639498"/>
                  <a:pt x="657483" y="623373"/>
                </a:cubicBezTo>
                <a:cubicBezTo>
                  <a:pt x="657483" y="607249"/>
                  <a:pt x="643853" y="593604"/>
                  <a:pt x="627743" y="593604"/>
                </a:cubicBezTo>
                <a:close/>
                <a:moveTo>
                  <a:pt x="627743" y="379021"/>
                </a:moveTo>
                <a:cubicBezTo>
                  <a:pt x="636418" y="379021"/>
                  <a:pt x="643853" y="386463"/>
                  <a:pt x="643853" y="395146"/>
                </a:cubicBezTo>
                <a:lnTo>
                  <a:pt x="643853" y="563836"/>
                </a:lnTo>
                <a:cubicBezTo>
                  <a:pt x="664918" y="568797"/>
                  <a:pt x="681028" y="586162"/>
                  <a:pt x="687223" y="607249"/>
                </a:cubicBezTo>
                <a:lnTo>
                  <a:pt x="916469" y="607249"/>
                </a:lnTo>
                <a:cubicBezTo>
                  <a:pt x="925143" y="607249"/>
                  <a:pt x="932578" y="613450"/>
                  <a:pt x="932578" y="623373"/>
                </a:cubicBezTo>
                <a:cubicBezTo>
                  <a:pt x="932578" y="632056"/>
                  <a:pt x="925143" y="639498"/>
                  <a:pt x="916469" y="639498"/>
                </a:cubicBezTo>
                <a:lnTo>
                  <a:pt x="687223" y="639498"/>
                </a:lnTo>
                <a:cubicBezTo>
                  <a:pt x="679788" y="665546"/>
                  <a:pt x="656244" y="685392"/>
                  <a:pt x="627743" y="685392"/>
                </a:cubicBezTo>
                <a:cubicBezTo>
                  <a:pt x="594286" y="685392"/>
                  <a:pt x="565785" y="656863"/>
                  <a:pt x="565785" y="623373"/>
                </a:cubicBezTo>
                <a:cubicBezTo>
                  <a:pt x="565785" y="594845"/>
                  <a:pt x="585612" y="570038"/>
                  <a:pt x="611634" y="563836"/>
                </a:cubicBezTo>
                <a:lnTo>
                  <a:pt x="611634" y="395146"/>
                </a:lnTo>
                <a:cubicBezTo>
                  <a:pt x="611634" y="386463"/>
                  <a:pt x="619069" y="379021"/>
                  <a:pt x="627743" y="379021"/>
                </a:cubicBezTo>
                <a:close/>
                <a:moveTo>
                  <a:pt x="941974" y="298177"/>
                </a:moveTo>
                <a:cubicBezTo>
                  <a:pt x="946158" y="298177"/>
                  <a:pt x="950342" y="299727"/>
                  <a:pt x="953561" y="302828"/>
                </a:cubicBezTo>
                <a:cubicBezTo>
                  <a:pt x="959998" y="307789"/>
                  <a:pt x="959998" y="318952"/>
                  <a:pt x="953561" y="325154"/>
                </a:cubicBezTo>
                <a:lnTo>
                  <a:pt x="909787" y="368567"/>
                </a:lnTo>
                <a:cubicBezTo>
                  <a:pt x="905925" y="371047"/>
                  <a:pt x="902062" y="372288"/>
                  <a:pt x="896913" y="372288"/>
                </a:cubicBezTo>
                <a:cubicBezTo>
                  <a:pt x="893050" y="372288"/>
                  <a:pt x="889188" y="371047"/>
                  <a:pt x="885326" y="368567"/>
                </a:cubicBezTo>
                <a:cubicBezTo>
                  <a:pt x="878888" y="361124"/>
                  <a:pt x="878888" y="351202"/>
                  <a:pt x="885326" y="346240"/>
                </a:cubicBezTo>
                <a:lnTo>
                  <a:pt x="930386" y="302828"/>
                </a:lnTo>
                <a:cubicBezTo>
                  <a:pt x="933605" y="299727"/>
                  <a:pt x="937789" y="298177"/>
                  <a:pt x="941974" y="298177"/>
                </a:cubicBezTo>
                <a:close/>
                <a:moveTo>
                  <a:pt x="315133" y="298177"/>
                </a:moveTo>
                <a:cubicBezTo>
                  <a:pt x="319478" y="298177"/>
                  <a:pt x="323662" y="299727"/>
                  <a:pt x="326237" y="302828"/>
                </a:cubicBezTo>
                <a:lnTo>
                  <a:pt x="371298" y="346240"/>
                </a:lnTo>
                <a:cubicBezTo>
                  <a:pt x="377735" y="351202"/>
                  <a:pt x="377735" y="361124"/>
                  <a:pt x="371298" y="368567"/>
                </a:cubicBezTo>
                <a:cubicBezTo>
                  <a:pt x="368723" y="371047"/>
                  <a:pt x="363573" y="372288"/>
                  <a:pt x="359711" y="372288"/>
                </a:cubicBezTo>
                <a:cubicBezTo>
                  <a:pt x="354561" y="372288"/>
                  <a:pt x="350699" y="371047"/>
                  <a:pt x="348124" y="368567"/>
                </a:cubicBezTo>
                <a:lnTo>
                  <a:pt x="303063" y="325154"/>
                </a:lnTo>
                <a:cubicBezTo>
                  <a:pt x="296626" y="318952"/>
                  <a:pt x="296626" y="307789"/>
                  <a:pt x="303063" y="302828"/>
                </a:cubicBezTo>
                <a:cubicBezTo>
                  <a:pt x="306282" y="299727"/>
                  <a:pt x="310788" y="298177"/>
                  <a:pt x="315133" y="298177"/>
                </a:cubicBezTo>
                <a:close/>
                <a:moveTo>
                  <a:pt x="625600" y="170288"/>
                </a:moveTo>
                <a:cubicBezTo>
                  <a:pt x="634145" y="170288"/>
                  <a:pt x="641470" y="177660"/>
                  <a:pt x="641470" y="186261"/>
                </a:cubicBezTo>
                <a:lnTo>
                  <a:pt x="641470" y="246466"/>
                </a:lnTo>
                <a:cubicBezTo>
                  <a:pt x="641470" y="255067"/>
                  <a:pt x="634145" y="262439"/>
                  <a:pt x="625600" y="262439"/>
                </a:cubicBezTo>
                <a:cubicBezTo>
                  <a:pt x="617055" y="262439"/>
                  <a:pt x="609731" y="255067"/>
                  <a:pt x="609731" y="246466"/>
                </a:cubicBezTo>
                <a:lnTo>
                  <a:pt x="609731" y="186261"/>
                </a:lnTo>
                <a:cubicBezTo>
                  <a:pt x="609731" y="177660"/>
                  <a:pt x="617055" y="170288"/>
                  <a:pt x="625600" y="170288"/>
                </a:cubicBezTo>
                <a:close/>
                <a:moveTo>
                  <a:pt x="622843" y="136698"/>
                </a:moveTo>
                <a:cubicBezTo>
                  <a:pt x="355525" y="136698"/>
                  <a:pt x="137942" y="354281"/>
                  <a:pt x="137942" y="622841"/>
                </a:cubicBezTo>
                <a:cubicBezTo>
                  <a:pt x="137942" y="890157"/>
                  <a:pt x="355525" y="1107741"/>
                  <a:pt x="622843" y="1107741"/>
                </a:cubicBezTo>
                <a:cubicBezTo>
                  <a:pt x="891403" y="1107741"/>
                  <a:pt x="1108986" y="890157"/>
                  <a:pt x="1108986" y="622841"/>
                </a:cubicBezTo>
                <a:cubicBezTo>
                  <a:pt x="1108986" y="354281"/>
                  <a:pt x="891403" y="136698"/>
                  <a:pt x="622843" y="136698"/>
                </a:cubicBezTo>
                <a:close/>
                <a:moveTo>
                  <a:pt x="622843" y="104371"/>
                </a:moveTo>
                <a:cubicBezTo>
                  <a:pt x="908809" y="104371"/>
                  <a:pt x="1141313" y="336874"/>
                  <a:pt x="1141313" y="622841"/>
                </a:cubicBezTo>
                <a:cubicBezTo>
                  <a:pt x="1141313" y="908807"/>
                  <a:pt x="908809" y="1141311"/>
                  <a:pt x="622843" y="1141311"/>
                </a:cubicBezTo>
                <a:cubicBezTo>
                  <a:pt x="338119" y="1141311"/>
                  <a:pt x="104372" y="908807"/>
                  <a:pt x="104372" y="622841"/>
                </a:cubicBezTo>
                <a:cubicBezTo>
                  <a:pt x="104372" y="336874"/>
                  <a:pt x="338119" y="104371"/>
                  <a:pt x="622843" y="104371"/>
                </a:cubicBezTo>
                <a:close/>
                <a:moveTo>
                  <a:pt x="625585" y="33613"/>
                </a:moveTo>
                <a:cubicBezTo>
                  <a:pt x="299084" y="33613"/>
                  <a:pt x="32401" y="298787"/>
                  <a:pt x="32401" y="626207"/>
                </a:cubicBezTo>
                <a:cubicBezTo>
                  <a:pt x="32401" y="953628"/>
                  <a:pt x="299084" y="1218801"/>
                  <a:pt x="625585" y="1218801"/>
                </a:cubicBezTo>
                <a:cubicBezTo>
                  <a:pt x="953331" y="1218801"/>
                  <a:pt x="1218768" y="953628"/>
                  <a:pt x="1218768" y="626207"/>
                </a:cubicBezTo>
                <a:cubicBezTo>
                  <a:pt x="1218768" y="298787"/>
                  <a:pt x="953331" y="33613"/>
                  <a:pt x="625585" y="33613"/>
                </a:cubicBezTo>
                <a:close/>
                <a:moveTo>
                  <a:pt x="625585" y="0"/>
                </a:moveTo>
                <a:cubicBezTo>
                  <a:pt x="970778" y="0"/>
                  <a:pt x="1251169" y="281358"/>
                  <a:pt x="1251169" y="626207"/>
                </a:cubicBezTo>
                <a:cubicBezTo>
                  <a:pt x="1251169" y="971057"/>
                  <a:pt x="970778" y="1251170"/>
                  <a:pt x="625585" y="1251170"/>
                </a:cubicBezTo>
                <a:cubicBezTo>
                  <a:pt x="280391" y="1251170"/>
                  <a:pt x="0" y="971057"/>
                  <a:pt x="0" y="626207"/>
                </a:cubicBezTo>
                <a:cubicBezTo>
                  <a:pt x="0" y="281358"/>
                  <a:pt x="280391" y="0"/>
                  <a:pt x="62558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1" name="Line 451">
            <a:extLst>
              <a:ext uri="{FF2B5EF4-FFF2-40B4-BE49-F238E27FC236}">
                <a16:creationId xmlns:a16="http://schemas.microsoft.com/office/drawing/2014/main" id="{C033C4D5-DF93-A7C1-2231-EFEDDF9F5919}"/>
              </a:ext>
            </a:extLst>
          </p:cNvPr>
          <p:cNvSpPr>
            <a:spLocks noChangeShapeType="1"/>
          </p:cNvSpPr>
          <p:nvPr/>
        </p:nvSpPr>
        <p:spPr bwMode="auto">
          <a:xfrm>
            <a:off x="5045706" y="3016164"/>
            <a:ext cx="0" cy="18127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" name="TextBox 5">
            <a:extLst>
              <a:ext uri="{FF2B5EF4-FFF2-40B4-BE49-F238E27FC236}">
                <a16:creationId xmlns:a16="http://schemas.microsoft.com/office/drawing/2014/main" id="{5D2EA0A9-572C-52AC-787E-629977B416E3}"/>
              </a:ext>
            </a:extLst>
          </p:cNvPr>
          <p:cNvSpPr txBox="1"/>
          <p:nvPr/>
        </p:nvSpPr>
        <p:spPr>
          <a:xfrm>
            <a:off x="6024563" y="1799859"/>
            <a:ext cx="2384974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1</a:t>
            </a: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64D6F959-C111-90F0-2A22-B1F05A78AE97}"/>
              </a:ext>
            </a:extLst>
          </p:cNvPr>
          <p:cNvSpPr txBox="1"/>
          <p:nvPr/>
        </p:nvSpPr>
        <p:spPr>
          <a:xfrm>
            <a:off x="6024563" y="217881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4" name="TextBox 7">
            <a:extLst>
              <a:ext uri="{FF2B5EF4-FFF2-40B4-BE49-F238E27FC236}">
                <a16:creationId xmlns:a16="http://schemas.microsoft.com/office/drawing/2014/main" id="{89C425E5-C177-6829-A715-5B0292C66AE5}"/>
              </a:ext>
            </a:extLst>
          </p:cNvPr>
          <p:cNvSpPr txBox="1"/>
          <p:nvPr/>
        </p:nvSpPr>
        <p:spPr>
          <a:xfrm>
            <a:off x="1311520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02</a:t>
            </a:r>
          </a:p>
        </p:txBody>
      </p:sp>
      <p:sp>
        <p:nvSpPr>
          <p:cNvPr id="35" name="TextBox 8">
            <a:extLst>
              <a:ext uri="{FF2B5EF4-FFF2-40B4-BE49-F238E27FC236}">
                <a16:creationId xmlns:a16="http://schemas.microsoft.com/office/drawing/2014/main" id="{DACAE294-5D72-DB7E-A642-3785427C7F44}"/>
              </a:ext>
            </a:extLst>
          </p:cNvPr>
          <p:cNvSpPr txBox="1"/>
          <p:nvPr/>
        </p:nvSpPr>
        <p:spPr>
          <a:xfrm>
            <a:off x="1311519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6" name="TextBox 9">
            <a:extLst>
              <a:ext uri="{FF2B5EF4-FFF2-40B4-BE49-F238E27FC236}">
                <a16:creationId xmlns:a16="http://schemas.microsoft.com/office/drawing/2014/main" id="{C7B5CFFA-665D-E96B-EC0F-8E2AA2D3253B}"/>
              </a:ext>
            </a:extLst>
          </p:cNvPr>
          <p:cNvSpPr txBox="1"/>
          <p:nvPr/>
        </p:nvSpPr>
        <p:spPr>
          <a:xfrm>
            <a:off x="3466385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3</a:t>
            </a: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74D2C8C8-835D-F1DC-2250-AA8B0EF460FC}"/>
              </a:ext>
            </a:extLst>
          </p:cNvPr>
          <p:cNvSpPr txBox="1"/>
          <p:nvPr/>
        </p:nvSpPr>
        <p:spPr>
          <a:xfrm>
            <a:off x="3466385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8" name="TextBox 11">
            <a:extLst>
              <a:ext uri="{FF2B5EF4-FFF2-40B4-BE49-F238E27FC236}">
                <a16:creationId xmlns:a16="http://schemas.microsoft.com/office/drawing/2014/main" id="{67F3DBBE-BC33-FBE1-C607-16A52C18A728}"/>
              </a:ext>
            </a:extLst>
          </p:cNvPr>
          <p:cNvSpPr txBox="1"/>
          <p:nvPr/>
        </p:nvSpPr>
        <p:spPr>
          <a:xfrm>
            <a:off x="5616064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4</a:t>
            </a:r>
          </a:p>
        </p:txBody>
      </p:sp>
      <p:sp>
        <p:nvSpPr>
          <p:cNvPr id="39" name="TextBox 12">
            <a:extLst>
              <a:ext uri="{FF2B5EF4-FFF2-40B4-BE49-F238E27FC236}">
                <a16:creationId xmlns:a16="http://schemas.microsoft.com/office/drawing/2014/main" id="{3E184DE6-E9E6-3920-9F00-3DF2D0483FF8}"/>
              </a:ext>
            </a:extLst>
          </p:cNvPr>
          <p:cNvSpPr txBox="1"/>
          <p:nvPr/>
        </p:nvSpPr>
        <p:spPr>
          <a:xfrm>
            <a:off x="5616064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0" name="TextBox 13">
            <a:extLst>
              <a:ext uri="{FF2B5EF4-FFF2-40B4-BE49-F238E27FC236}">
                <a16:creationId xmlns:a16="http://schemas.microsoft.com/office/drawing/2014/main" id="{A852AF35-71A2-3A48-3B28-6CB5795B1BDB}"/>
              </a:ext>
            </a:extLst>
          </p:cNvPr>
          <p:cNvSpPr txBox="1"/>
          <p:nvPr/>
        </p:nvSpPr>
        <p:spPr>
          <a:xfrm>
            <a:off x="7765744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5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56B808B5-0549-99DE-D53F-8856ADDD3CE7}"/>
              </a:ext>
            </a:extLst>
          </p:cNvPr>
          <p:cNvSpPr txBox="1"/>
          <p:nvPr/>
        </p:nvSpPr>
        <p:spPr>
          <a:xfrm>
            <a:off x="7765744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2" name="TextBox 15">
            <a:extLst>
              <a:ext uri="{FF2B5EF4-FFF2-40B4-BE49-F238E27FC236}">
                <a16:creationId xmlns:a16="http://schemas.microsoft.com/office/drawing/2014/main" id="{96AADD8A-F5B4-9AFE-F958-F6A08EE8A097}"/>
              </a:ext>
            </a:extLst>
          </p:cNvPr>
          <p:cNvSpPr txBox="1"/>
          <p:nvPr/>
        </p:nvSpPr>
        <p:spPr>
          <a:xfrm>
            <a:off x="9920608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6</a:t>
            </a:r>
          </a:p>
        </p:txBody>
      </p:sp>
      <p:sp>
        <p:nvSpPr>
          <p:cNvPr id="43" name="TextBox 16">
            <a:extLst>
              <a:ext uri="{FF2B5EF4-FFF2-40B4-BE49-F238E27FC236}">
                <a16:creationId xmlns:a16="http://schemas.microsoft.com/office/drawing/2014/main" id="{E52AE0B3-094A-070F-2198-D1A96AC540F4}"/>
              </a:ext>
            </a:extLst>
          </p:cNvPr>
          <p:cNvSpPr txBox="1"/>
          <p:nvPr/>
        </p:nvSpPr>
        <p:spPr>
          <a:xfrm>
            <a:off x="9920608" y="5509973"/>
            <a:ext cx="13834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  <a:p>
            <a:pPr algn="l"/>
            <a:r>
              <a:rPr lang="en-US" dirty="0"/>
              <a:t>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A1F766-ADD4-11B2-A765-1F6936467C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15D3451-AF21-CC6C-C50C-9DFEB97FB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ierarchy Infographic</a:t>
            </a:r>
          </a:p>
        </p:txBody>
      </p:sp>
    </p:spTree>
    <p:extLst>
      <p:ext uri="{BB962C8B-B14F-4D97-AF65-F5344CB8AC3E}">
        <p14:creationId xmlns:p14="http://schemas.microsoft.com/office/powerpoint/2010/main" val="2159724710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D70F104-6E60-2650-E6DB-54C9BFA16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D70F104-6E60-2650-E6DB-54C9BFA16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B67FAD1-24DE-3191-7767-EDE1AF333A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401B4E3-D86C-8223-5C78-95ABE0A8A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systems/hierarchy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C5D4D29-6094-754F-E300-13368529D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4D59EA5F-EC82-3CAD-95AE-BB7E8A99E968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1520825"/>
          <a:ext cx="11436351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1927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6057900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2676524">
                  <a:extLst>
                    <a:ext uri="{9D8B030D-6E8A-4147-A177-3AD203B41FA5}">
                      <a16:colId xmlns:a16="http://schemas.microsoft.com/office/drawing/2014/main" val="2085918902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569030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598582"/>
                  </a:ext>
                </a:extLst>
              </a:tr>
            </a:tbl>
          </a:graphicData>
        </a:graphic>
      </p:graphicFrame>
      <p:grpSp>
        <p:nvGrpSpPr>
          <p:cNvPr id="1105" name="Grupo 1104">
            <a:extLst>
              <a:ext uri="{FF2B5EF4-FFF2-40B4-BE49-F238E27FC236}">
                <a16:creationId xmlns:a16="http://schemas.microsoft.com/office/drawing/2014/main" id="{032F8AE8-0733-68E7-5CBF-5806C105F216}"/>
              </a:ext>
            </a:extLst>
          </p:cNvPr>
          <p:cNvGrpSpPr/>
          <p:nvPr/>
        </p:nvGrpSpPr>
        <p:grpSpPr>
          <a:xfrm>
            <a:off x="4616653" y="2419350"/>
            <a:ext cx="2969781" cy="590550"/>
            <a:chOff x="3605259" y="2419350"/>
            <a:chExt cx="2969781" cy="590550"/>
          </a:xfrm>
        </p:grpSpPr>
        <p:grpSp>
          <p:nvGrpSpPr>
            <p:cNvPr id="16" name="Grupo 15">
              <a:extLst>
                <a:ext uri="{FF2B5EF4-FFF2-40B4-BE49-F238E27FC236}">
                  <a16:creationId xmlns:a16="http://schemas.microsoft.com/office/drawing/2014/main" id="{CA368B34-8431-3549-8235-1924E34A4AED}"/>
                </a:ext>
              </a:extLst>
            </p:cNvPr>
            <p:cNvGrpSpPr/>
            <p:nvPr/>
          </p:nvGrpSpPr>
          <p:grpSpPr>
            <a:xfrm>
              <a:off x="3605259" y="2419350"/>
              <a:ext cx="590550" cy="590550"/>
              <a:chOff x="3605259" y="2419350"/>
              <a:chExt cx="590550" cy="590550"/>
            </a:xfrm>
          </p:grpSpPr>
          <p:sp>
            <p:nvSpPr>
              <p:cNvPr id="15" name="Elipse 14">
                <a:extLst>
                  <a:ext uri="{FF2B5EF4-FFF2-40B4-BE49-F238E27FC236}">
                    <a16:creationId xmlns:a16="http://schemas.microsoft.com/office/drawing/2014/main" id="{C0C5CA76-CD82-0CE5-07EE-DAAD525A21E6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2" name="Group 177">
                <a:extLst>
                  <a:ext uri="{FF2B5EF4-FFF2-40B4-BE49-F238E27FC236}">
                    <a16:creationId xmlns:a16="http://schemas.microsoft.com/office/drawing/2014/main" id="{7DDDF140-6F85-E1D8-515E-A378556C858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3" name="Freeform 178">
                  <a:extLst>
                    <a:ext uri="{FF2B5EF4-FFF2-40B4-BE49-F238E27FC236}">
                      <a16:creationId xmlns:a16="http://schemas.microsoft.com/office/drawing/2014/main" id="{56909DAC-D6E6-1071-83C2-752E82746D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6FA27411-7893-7764-4A72-49F01C155D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64564F17-BA82-2FEF-DEDD-3EFA85EAC59F}"/>
                </a:ext>
              </a:extLst>
            </p:cNvPr>
            <p:cNvGrpSpPr/>
            <p:nvPr/>
          </p:nvGrpSpPr>
          <p:grpSpPr>
            <a:xfrm>
              <a:off x="4398336" y="2419350"/>
              <a:ext cx="590550" cy="590550"/>
              <a:chOff x="3605259" y="2419350"/>
              <a:chExt cx="590550" cy="590550"/>
            </a:xfrm>
          </p:grpSpPr>
          <p:sp>
            <p:nvSpPr>
              <p:cNvPr id="18" name="Elipse 17">
                <a:extLst>
                  <a:ext uri="{FF2B5EF4-FFF2-40B4-BE49-F238E27FC236}">
                    <a16:creationId xmlns:a16="http://schemas.microsoft.com/office/drawing/2014/main" id="{99A28697-C3D5-81A3-42C8-037435F6C578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9" name="Group 177">
                <a:extLst>
                  <a:ext uri="{FF2B5EF4-FFF2-40B4-BE49-F238E27FC236}">
                    <a16:creationId xmlns:a16="http://schemas.microsoft.com/office/drawing/2014/main" id="{96737C26-68ED-E05F-F716-91657B36998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20" name="Freeform 178">
                  <a:extLst>
                    <a:ext uri="{FF2B5EF4-FFF2-40B4-BE49-F238E27FC236}">
                      <a16:creationId xmlns:a16="http://schemas.microsoft.com/office/drawing/2014/main" id="{DE7361C9-D206-83AF-ABAA-39EF759424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" name="Freeform 179">
                  <a:extLst>
                    <a:ext uri="{FF2B5EF4-FFF2-40B4-BE49-F238E27FC236}">
                      <a16:creationId xmlns:a16="http://schemas.microsoft.com/office/drawing/2014/main" id="{4A466CE2-CF82-CB58-CDE0-B64B1DCA4B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22" name="Grupo 21">
              <a:extLst>
                <a:ext uri="{FF2B5EF4-FFF2-40B4-BE49-F238E27FC236}">
                  <a16:creationId xmlns:a16="http://schemas.microsoft.com/office/drawing/2014/main" id="{28B9D803-377B-77E8-8ABB-D83CBF0CCCCE}"/>
                </a:ext>
              </a:extLst>
            </p:cNvPr>
            <p:cNvGrpSpPr/>
            <p:nvPr/>
          </p:nvGrpSpPr>
          <p:grpSpPr>
            <a:xfrm>
              <a:off x="5191413" y="2419350"/>
              <a:ext cx="590550" cy="590550"/>
              <a:chOff x="3605259" y="2419350"/>
              <a:chExt cx="590550" cy="590550"/>
            </a:xfrm>
          </p:grpSpPr>
          <p:sp>
            <p:nvSpPr>
              <p:cNvPr id="23" name="Elipse 22">
                <a:extLst>
                  <a:ext uri="{FF2B5EF4-FFF2-40B4-BE49-F238E27FC236}">
                    <a16:creationId xmlns:a16="http://schemas.microsoft.com/office/drawing/2014/main" id="{D4430F1F-F85C-32A5-9A3F-4EE1A0E9D09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24" name="Group 177">
                <a:extLst>
                  <a:ext uri="{FF2B5EF4-FFF2-40B4-BE49-F238E27FC236}">
                    <a16:creationId xmlns:a16="http://schemas.microsoft.com/office/drawing/2014/main" id="{D6EA531D-CB71-E6BD-B6BA-9340B60805D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25" name="Freeform 178">
                  <a:extLst>
                    <a:ext uri="{FF2B5EF4-FFF2-40B4-BE49-F238E27FC236}">
                      <a16:creationId xmlns:a16="http://schemas.microsoft.com/office/drawing/2014/main" id="{694F1CD7-9A63-CEA1-56F4-BF0EBC6B20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179">
                  <a:extLst>
                    <a:ext uri="{FF2B5EF4-FFF2-40B4-BE49-F238E27FC236}">
                      <a16:creationId xmlns:a16="http://schemas.microsoft.com/office/drawing/2014/main" id="{244C84AD-64ED-1C10-658B-D7631DE9EA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27" name="Grupo 26">
              <a:extLst>
                <a:ext uri="{FF2B5EF4-FFF2-40B4-BE49-F238E27FC236}">
                  <a16:creationId xmlns:a16="http://schemas.microsoft.com/office/drawing/2014/main" id="{E54FCD9A-4660-29EC-DBC6-E6367E2FC716}"/>
                </a:ext>
              </a:extLst>
            </p:cNvPr>
            <p:cNvGrpSpPr/>
            <p:nvPr/>
          </p:nvGrpSpPr>
          <p:grpSpPr>
            <a:xfrm>
              <a:off x="5984490" y="2419350"/>
              <a:ext cx="590550" cy="590550"/>
              <a:chOff x="3605259" y="2419350"/>
              <a:chExt cx="590550" cy="590550"/>
            </a:xfrm>
          </p:grpSpPr>
          <p:sp>
            <p:nvSpPr>
              <p:cNvPr id="28" name="Elipse 27">
                <a:extLst>
                  <a:ext uri="{FF2B5EF4-FFF2-40B4-BE49-F238E27FC236}">
                    <a16:creationId xmlns:a16="http://schemas.microsoft.com/office/drawing/2014/main" id="{6DCDB425-BFD7-E4AC-2CD6-47E0D6E319C9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29" name="Group 177">
                <a:extLst>
                  <a:ext uri="{FF2B5EF4-FFF2-40B4-BE49-F238E27FC236}">
                    <a16:creationId xmlns:a16="http://schemas.microsoft.com/office/drawing/2014/main" id="{EF06E79A-3384-2FF5-31B2-4136DD63AC9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30" name="Freeform 178">
                  <a:extLst>
                    <a:ext uri="{FF2B5EF4-FFF2-40B4-BE49-F238E27FC236}">
                      <a16:creationId xmlns:a16="http://schemas.microsoft.com/office/drawing/2014/main" id="{63C3E43C-A96F-4BCB-B616-7483CF4B80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179">
                  <a:extLst>
                    <a:ext uri="{FF2B5EF4-FFF2-40B4-BE49-F238E27FC236}">
                      <a16:creationId xmlns:a16="http://schemas.microsoft.com/office/drawing/2014/main" id="{F06D192F-04E2-D362-5ACD-1ABA53FD59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6" name="Grupo 1105">
            <a:extLst>
              <a:ext uri="{FF2B5EF4-FFF2-40B4-BE49-F238E27FC236}">
                <a16:creationId xmlns:a16="http://schemas.microsoft.com/office/drawing/2014/main" id="{0C92DE4C-3E6F-4177-115F-46FE759CC50D}"/>
              </a:ext>
            </a:extLst>
          </p:cNvPr>
          <p:cNvGrpSpPr/>
          <p:nvPr/>
        </p:nvGrpSpPr>
        <p:grpSpPr>
          <a:xfrm>
            <a:off x="5013191" y="3225800"/>
            <a:ext cx="2176704" cy="590550"/>
            <a:chOff x="3605259" y="3225800"/>
            <a:chExt cx="2176704" cy="590550"/>
          </a:xfrm>
        </p:grpSpPr>
        <p:grpSp>
          <p:nvGrpSpPr>
            <p:cNvPr id="1024" name="Grupo 1023">
              <a:extLst>
                <a:ext uri="{FF2B5EF4-FFF2-40B4-BE49-F238E27FC236}">
                  <a16:creationId xmlns:a16="http://schemas.microsoft.com/office/drawing/2014/main" id="{5B10A245-BDE0-FB8E-24CA-CD43E07E8B64}"/>
                </a:ext>
              </a:extLst>
            </p:cNvPr>
            <p:cNvGrpSpPr/>
            <p:nvPr/>
          </p:nvGrpSpPr>
          <p:grpSpPr>
            <a:xfrm>
              <a:off x="3605259" y="3225800"/>
              <a:ext cx="590550" cy="590550"/>
              <a:chOff x="3605259" y="2419350"/>
              <a:chExt cx="590550" cy="590550"/>
            </a:xfrm>
          </p:grpSpPr>
          <p:sp>
            <p:nvSpPr>
              <p:cNvPr id="1025" name="Elipse 1024">
                <a:extLst>
                  <a:ext uri="{FF2B5EF4-FFF2-40B4-BE49-F238E27FC236}">
                    <a16:creationId xmlns:a16="http://schemas.microsoft.com/office/drawing/2014/main" id="{8E4F373F-57BC-D61D-F4D9-6209D02B36EB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27" name="Group 177">
                <a:extLst>
                  <a:ext uri="{FF2B5EF4-FFF2-40B4-BE49-F238E27FC236}">
                    <a16:creationId xmlns:a16="http://schemas.microsoft.com/office/drawing/2014/main" id="{FFB9290C-34A3-25E5-4FE4-BF86C5C627E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28" name="Freeform 178">
                  <a:extLst>
                    <a:ext uri="{FF2B5EF4-FFF2-40B4-BE49-F238E27FC236}">
                      <a16:creationId xmlns:a16="http://schemas.microsoft.com/office/drawing/2014/main" id="{CDDB114D-082A-A318-74D7-C8CB6023FD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9" name="Freeform 179">
                  <a:extLst>
                    <a:ext uri="{FF2B5EF4-FFF2-40B4-BE49-F238E27FC236}">
                      <a16:creationId xmlns:a16="http://schemas.microsoft.com/office/drawing/2014/main" id="{8C1E38DD-28EA-47B3-F129-F26874343E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40" name="Grupo 1039">
              <a:extLst>
                <a:ext uri="{FF2B5EF4-FFF2-40B4-BE49-F238E27FC236}">
                  <a16:creationId xmlns:a16="http://schemas.microsoft.com/office/drawing/2014/main" id="{ED2A24FB-1256-1FE9-1A72-4E8189872C5A}"/>
                </a:ext>
              </a:extLst>
            </p:cNvPr>
            <p:cNvGrpSpPr/>
            <p:nvPr/>
          </p:nvGrpSpPr>
          <p:grpSpPr>
            <a:xfrm>
              <a:off x="4398336" y="3225800"/>
              <a:ext cx="590550" cy="590550"/>
              <a:chOff x="3605259" y="2419350"/>
              <a:chExt cx="590550" cy="590550"/>
            </a:xfrm>
          </p:grpSpPr>
          <p:sp>
            <p:nvSpPr>
              <p:cNvPr id="1041" name="Elipse 1040">
                <a:extLst>
                  <a:ext uri="{FF2B5EF4-FFF2-40B4-BE49-F238E27FC236}">
                    <a16:creationId xmlns:a16="http://schemas.microsoft.com/office/drawing/2014/main" id="{2B98D99A-06BD-E61E-B4DD-82DD9C6110D3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42" name="Group 177">
                <a:extLst>
                  <a:ext uri="{FF2B5EF4-FFF2-40B4-BE49-F238E27FC236}">
                    <a16:creationId xmlns:a16="http://schemas.microsoft.com/office/drawing/2014/main" id="{471D7A6A-CD7A-21A6-6115-CC4E53D7130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43" name="Freeform 178">
                  <a:extLst>
                    <a:ext uri="{FF2B5EF4-FFF2-40B4-BE49-F238E27FC236}">
                      <a16:creationId xmlns:a16="http://schemas.microsoft.com/office/drawing/2014/main" id="{FF273900-2BA6-7C3F-9E11-1E9332488E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4" name="Freeform 179">
                  <a:extLst>
                    <a:ext uri="{FF2B5EF4-FFF2-40B4-BE49-F238E27FC236}">
                      <a16:creationId xmlns:a16="http://schemas.microsoft.com/office/drawing/2014/main" id="{D73CF541-0F49-AD07-F46A-BAB676945A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45" name="Grupo 1044">
              <a:extLst>
                <a:ext uri="{FF2B5EF4-FFF2-40B4-BE49-F238E27FC236}">
                  <a16:creationId xmlns:a16="http://schemas.microsoft.com/office/drawing/2014/main" id="{17E0F488-2C37-238D-32B7-8CE19E599F8D}"/>
                </a:ext>
              </a:extLst>
            </p:cNvPr>
            <p:cNvGrpSpPr/>
            <p:nvPr/>
          </p:nvGrpSpPr>
          <p:grpSpPr>
            <a:xfrm>
              <a:off x="5191413" y="3225800"/>
              <a:ext cx="590550" cy="590550"/>
              <a:chOff x="3605259" y="2419350"/>
              <a:chExt cx="590550" cy="590550"/>
            </a:xfrm>
          </p:grpSpPr>
          <p:sp>
            <p:nvSpPr>
              <p:cNvPr id="1046" name="Elipse 1045">
                <a:extLst>
                  <a:ext uri="{FF2B5EF4-FFF2-40B4-BE49-F238E27FC236}">
                    <a16:creationId xmlns:a16="http://schemas.microsoft.com/office/drawing/2014/main" id="{B8EF02BA-51BF-BAC8-FD14-ABAFAFAA89B6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47" name="Group 177">
                <a:extLst>
                  <a:ext uri="{FF2B5EF4-FFF2-40B4-BE49-F238E27FC236}">
                    <a16:creationId xmlns:a16="http://schemas.microsoft.com/office/drawing/2014/main" id="{A012B5D4-BA91-3448-4361-BD7A12087A5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48" name="Freeform 178">
                  <a:extLst>
                    <a:ext uri="{FF2B5EF4-FFF2-40B4-BE49-F238E27FC236}">
                      <a16:creationId xmlns:a16="http://schemas.microsoft.com/office/drawing/2014/main" id="{12AE1B65-2491-18D2-814C-C7778B3742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9" name="Freeform 179">
                  <a:extLst>
                    <a:ext uri="{FF2B5EF4-FFF2-40B4-BE49-F238E27FC236}">
                      <a16:creationId xmlns:a16="http://schemas.microsoft.com/office/drawing/2014/main" id="{A9953399-14B8-48A9-2507-10AE65F8C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7" name="Grupo 1106">
            <a:extLst>
              <a:ext uri="{FF2B5EF4-FFF2-40B4-BE49-F238E27FC236}">
                <a16:creationId xmlns:a16="http://schemas.microsoft.com/office/drawing/2014/main" id="{4E485A70-9230-31A9-60BA-AF56C8320272}"/>
              </a:ext>
            </a:extLst>
          </p:cNvPr>
          <p:cNvGrpSpPr/>
          <p:nvPr/>
        </p:nvGrpSpPr>
        <p:grpSpPr>
          <a:xfrm>
            <a:off x="4220115" y="4019550"/>
            <a:ext cx="3762857" cy="590550"/>
            <a:chOff x="3605259" y="4019550"/>
            <a:chExt cx="3762857" cy="590550"/>
          </a:xfrm>
        </p:grpSpPr>
        <p:grpSp>
          <p:nvGrpSpPr>
            <p:cNvPr id="1050" name="Grupo 1049">
              <a:extLst>
                <a:ext uri="{FF2B5EF4-FFF2-40B4-BE49-F238E27FC236}">
                  <a16:creationId xmlns:a16="http://schemas.microsoft.com/office/drawing/2014/main" id="{6C1FD230-42D8-4A4A-D819-59FB1050E3D8}"/>
                </a:ext>
              </a:extLst>
            </p:cNvPr>
            <p:cNvGrpSpPr/>
            <p:nvPr/>
          </p:nvGrpSpPr>
          <p:grpSpPr>
            <a:xfrm>
              <a:off x="3605259" y="4019550"/>
              <a:ext cx="590550" cy="590550"/>
              <a:chOff x="3605259" y="2419350"/>
              <a:chExt cx="590550" cy="590550"/>
            </a:xfrm>
          </p:grpSpPr>
          <p:sp>
            <p:nvSpPr>
              <p:cNvPr id="1051" name="Elipse 1050">
                <a:extLst>
                  <a:ext uri="{FF2B5EF4-FFF2-40B4-BE49-F238E27FC236}">
                    <a16:creationId xmlns:a16="http://schemas.microsoft.com/office/drawing/2014/main" id="{5323A00F-486C-AFA4-EF4A-1D3A52A422A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52" name="Group 177">
                <a:extLst>
                  <a:ext uri="{FF2B5EF4-FFF2-40B4-BE49-F238E27FC236}">
                    <a16:creationId xmlns:a16="http://schemas.microsoft.com/office/drawing/2014/main" id="{B56CDB4B-C96B-FF47-BCA0-039FD1D9A21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53" name="Freeform 178">
                  <a:extLst>
                    <a:ext uri="{FF2B5EF4-FFF2-40B4-BE49-F238E27FC236}">
                      <a16:creationId xmlns:a16="http://schemas.microsoft.com/office/drawing/2014/main" id="{910F8C9B-77A5-9AC0-53E0-EF5343749B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4" name="Freeform 179">
                  <a:extLst>
                    <a:ext uri="{FF2B5EF4-FFF2-40B4-BE49-F238E27FC236}">
                      <a16:creationId xmlns:a16="http://schemas.microsoft.com/office/drawing/2014/main" id="{8767E309-9415-448E-66CF-0F47D8A87D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55" name="Grupo 1054">
              <a:extLst>
                <a:ext uri="{FF2B5EF4-FFF2-40B4-BE49-F238E27FC236}">
                  <a16:creationId xmlns:a16="http://schemas.microsoft.com/office/drawing/2014/main" id="{1543FDEC-3D07-67D3-E60E-4103FB2D96DB}"/>
                </a:ext>
              </a:extLst>
            </p:cNvPr>
            <p:cNvGrpSpPr/>
            <p:nvPr/>
          </p:nvGrpSpPr>
          <p:grpSpPr>
            <a:xfrm>
              <a:off x="4398336" y="4019550"/>
              <a:ext cx="590550" cy="590550"/>
              <a:chOff x="3605259" y="2419350"/>
              <a:chExt cx="590550" cy="590550"/>
            </a:xfrm>
          </p:grpSpPr>
          <p:sp>
            <p:nvSpPr>
              <p:cNvPr id="1056" name="Elipse 1055">
                <a:extLst>
                  <a:ext uri="{FF2B5EF4-FFF2-40B4-BE49-F238E27FC236}">
                    <a16:creationId xmlns:a16="http://schemas.microsoft.com/office/drawing/2014/main" id="{01BABC7E-3CD4-E122-9370-C228C2314F36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57" name="Group 177">
                <a:extLst>
                  <a:ext uri="{FF2B5EF4-FFF2-40B4-BE49-F238E27FC236}">
                    <a16:creationId xmlns:a16="http://schemas.microsoft.com/office/drawing/2014/main" id="{404EE7EF-2B12-ED13-C5C0-ECA95F51DF7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58" name="Freeform 178">
                  <a:extLst>
                    <a:ext uri="{FF2B5EF4-FFF2-40B4-BE49-F238E27FC236}">
                      <a16:creationId xmlns:a16="http://schemas.microsoft.com/office/drawing/2014/main" id="{D1E5CC4D-8A63-FDB8-AE9C-69882266ED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9" name="Freeform 179">
                  <a:extLst>
                    <a:ext uri="{FF2B5EF4-FFF2-40B4-BE49-F238E27FC236}">
                      <a16:creationId xmlns:a16="http://schemas.microsoft.com/office/drawing/2014/main" id="{B5910BC6-CE34-B69B-9919-4D889AF6D2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60" name="Grupo 1059">
              <a:extLst>
                <a:ext uri="{FF2B5EF4-FFF2-40B4-BE49-F238E27FC236}">
                  <a16:creationId xmlns:a16="http://schemas.microsoft.com/office/drawing/2014/main" id="{F59DFDA6-F233-817E-B9A4-8BB3E0848EE8}"/>
                </a:ext>
              </a:extLst>
            </p:cNvPr>
            <p:cNvGrpSpPr/>
            <p:nvPr/>
          </p:nvGrpSpPr>
          <p:grpSpPr>
            <a:xfrm>
              <a:off x="5191413" y="4019550"/>
              <a:ext cx="590550" cy="590550"/>
              <a:chOff x="3605259" y="2419350"/>
              <a:chExt cx="590550" cy="590550"/>
            </a:xfrm>
          </p:grpSpPr>
          <p:sp>
            <p:nvSpPr>
              <p:cNvPr id="1061" name="Elipse 1060">
                <a:extLst>
                  <a:ext uri="{FF2B5EF4-FFF2-40B4-BE49-F238E27FC236}">
                    <a16:creationId xmlns:a16="http://schemas.microsoft.com/office/drawing/2014/main" id="{9D0F580C-F24D-72D4-947C-524396CC6FF5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62" name="Group 177">
                <a:extLst>
                  <a:ext uri="{FF2B5EF4-FFF2-40B4-BE49-F238E27FC236}">
                    <a16:creationId xmlns:a16="http://schemas.microsoft.com/office/drawing/2014/main" id="{7D7E60CB-DDD9-6E93-66E0-27ACAF76749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63" name="Freeform 178">
                  <a:extLst>
                    <a:ext uri="{FF2B5EF4-FFF2-40B4-BE49-F238E27FC236}">
                      <a16:creationId xmlns:a16="http://schemas.microsoft.com/office/drawing/2014/main" id="{0B90A84D-2286-37FA-A0A5-DEDC1D95A6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4" name="Freeform 179">
                  <a:extLst>
                    <a:ext uri="{FF2B5EF4-FFF2-40B4-BE49-F238E27FC236}">
                      <a16:creationId xmlns:a16="http://schemas.microsoft.com/office/drawing/2014/main" id="{90DFE500-D428-9C05-A81C-2477D10444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65" name="Grupo 1064">
              <a:extLst>
                <a:ext uri="{FF2B5EF4-FFF2-40B4-BE49-F238E27FC236}">
                  <a16:creationId xmlns:a16="http://schemas.microsoft.com/office/drawing/2014/main" id="{D5C01DE8-7EFC-F799-0ABD-CADCBF52AEB4}"/>
                </a:ext>
              </a:extLst>
            </p:cNvPr>
            <p:cNvGrpSpPr/>
            <p:nvPr/>
          </p:nvGrpSpPr>
          <p:grpSpPr>
            <a:xfrm>
              <a:off x="5984490" y="4019550"/>
              <a:ext cx="590550" cy="590550"/>
              <a:chOff x="3605259" y="2419350"/>
              <a:chExt cx="590550" cy="590550"/>
            </a:xfrm>
          </p:grpSpPr>
          <p:sp>
            <p:nvSpPr>
              <p:cNvPr id="1066" name="Elipse 1065">
                <a:extLst>
                  <a:ext uri="{FF2B5EF4-FFF2-40B4-BE49-F238E27FC236}">
                    <a16:creationId xmlns:a16="http://schemas.microsoft.com/office/drawing/2014/main" id="{791BC5AC-23CD-D5B0-8D9F-DA01DD307484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67" name="Group 177">
                <a:extLst>
                  <a:ext uri="{FF2B5EF4-FFF2-40B4-BE49-F238E27FC236}">
                    <a16:creationId xmlns:a16="http://schemas.microsoft.com/office/drawing/2014/main" id="{07F95E66-AF9C-C611-561E-B0F1AC2EB35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68" name="Freeform 178">
                  <a:extLst>
                    <a:ext uri="{FF2B5EF4-FFF2-40B4-BE49-F238E27FC236}">
                      <a16:creationId xmlns:a16="http://schemas.microsoft.com/office/drawing/2014/main" id="{31F75083-DC9B-3E4D-8E7B-02BCD3516E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9" name="Freeform 179">
                  <a:extLst>
                    <a:ext uri="{FF2B5EF4-FFF2-40B4-BE49-F238E27FC236}">
                      <a16:creationId xmlns:a16="http://schemas.microsoft.com/office/drawing/2014/main" id="{44BFC0DF-3DA1-D341-843A-086DBC95C9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70" name="Grupo 1069">
              <a:extLst>
                <a:ext uri="{FF2B5EF4-FFF2-40B4-BE49-F238E27FC236}">
                  <a16:creationId xmlns:a16="http://schemas.microsoft.com/office/drawing/2014/main" id="{C7E66412-A3D3-0AB3-100A-98883E063A7D}"/>
                </a:ext>
              </a:extLst>
            </p:cNvPr>
            <p:cNvGrpSpPr/>
            <p:nvPr/>
          </p:nvGrpSpPr>
          <p:grpSpPr>
            <a:xfrm>
              <a:off x="6777566" y="4019550"/>
              <a:ext cx="590550" cy="590550"/>
              <a:chOff x="3605259" y="2419350"/>
              <a:chExt cx="590550" cy="590550"/>
            </a:xfrm>
          </p:grpSpPr>
          <p:sp>
            <p:nvSpPr>
              <p:cNvPr id="1071" name="Elipse 1070">
                <a:extLst>
                  <a:ext uri="{FF2B5EF4-FFF2-40B4-BE49-F238E27FC236}">
                    <a16:creationId xmlns:a16="http://schemas.microsoft.com/office/drawing/2014/main" id="{636BB52D-F543-1F56-882C-DEEB4C6C120B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72" name="Group 177">
                <a:extLst>
                  <a:ext uri="{FF2B5EF4-FFF2-40B4-BE49-F238E27FC236}">
                    <a16:creationId xmlns:a16="http://schemas.microsoft.com/office/drawing/2014/main" id="{68793D03-E6E5-C3B2-39EC-FAAB9643BD9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73" name="Freeform 178">
                  <a:extLst>
                    <a:ext uri="{FF2B5EF4-FFF2-40B4-BE49-F238E27FC236}">
                      <a16:creationId xmlns:a16="http://schemas.microsoft.com/office/drawing/2014/main" id="{CBD093F8-9205-5AFD-A5EB-D0AB73E9F12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4" name="Freeform 179">
                  <a:extLst>
                    <a:ext uri="{FF2B5EF4-FFF2-40B4-BE49-F238E27FC236}">
                      <a16:creationId xmlns:a16="http://schemas.microsoft.com/office/drawing/2014/main" id="{625002D4-0C2E-C25C-4ED7-28256BF0B71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8" name="Grupo 1107">
            <a:extLst>
              <a:ext uri="{FF2B5EF4-FFF2-40B4-BE49-F238E27FC236}">
                <a16:creationId xmlns:a16="http://schemas.microsoft.com/office/drawing/2014/main" id="{BA13F6BF-A81B-F893-0D46-CA34A226D95E}"/>
              </a:ext>
            </a:extLst>
          </p:cNvPr>
          <p:cNvGrpSpPr/>
          <p:nvPr/>
        </p:nvGrpSpPr>
        <p:grpSpPr>
          <a:xfrm>
            <a:off x="5409730" y="4818061"/>
            <a:ext cx="1383627" cy="590550"/>
            <a:chOff x="3605259" y="4818061"/>
            <a:chExt cx="1383627" cy="590550"/>
          </a:xfrm>
        </p:grpSpPr>
        <p:grpSp>
          <p:nvGrpSpPr>
            <p:cNvPr id="1075" name="Grupo 1074">
              <a:extLst>
                <a:ext uri="{FF2B5EF4-FFF2-40B4-BE49-F238E27FC236}">
                  <a16:creationId xmlns:a16="http://schemas.microsoft.com/office/drawing/2014/main" id="{EFF0AE75-E3BA-2177-A217-D34A7A5FEBB8}"/>
                </a:ext>
              </a:extLst>
            </p:cNvPr>
            <p:cNvGrpSpPr/>
            <p:nvPr/>
          </p:nvGrpSpPr>
          <p:grpSpPr>
            <a:xfrm>
              <a:off x="3605259" y="4818061"/>
              <a:ext cx="590550" cy="590550"/>
              <a:chOff x="3605259" y="2419350"/>
              <a:chExt cx="590550" cy="590550"/>
            </a:xfrm>
          </p:grpSpPr>
          <p:sp>
            <p:nvSpPr>
              <p:cNvPr id="1076" name="Elipse 1075">
                <a:extLst>
                  <a:ext uri="{FF2B5EF4-FFF2-40B4-BE49-F238E27FC236}">
                    <a16:creationId xmlns:a16="http://schemas.microsoft.com/office/drawing/2014/main" id="{89D3D58D-EC60-16EC-C68A-0D6331CCBD1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77" name="Group 177">
                <a:extLst>
                  <a:ext uri="{FF2B5EF4-FFF2-40B4-BE49-F238E27FC236}">
                    <a16:creationId xmlns:a16="http://schemas.microsoft.com/office/drawing/2014/main" id="{02F203C9-BF05-30B9-FFCD-D10197DB343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78" name="Freeform 178">
                  <a:extLst>
                    <a:ext uri="{FF2B5EF4-FFF2-40B4-BE49-F238E27FC236}">
                      <a16:creationId xmlns:a16="http://schemas.microsoft.com/office/drawing/2014/main" id="{453794F2-633A-6798-A02C-D45BEBD42F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9" name="Freeform 179">
                  <a:extLst>
                    <a:ext uri="{FF2B5EF4-FFF2-40B4-BE49-F238E27FC236}">
                      <a16:creationId xmlns:a16="http://schemas.microsoft.com/office/drawing/2014/main" id="{9928C96F-B313-BC6D-875E-64FF579A27D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80" name="Grupo 1079">
              <a:extLst>
                <a:ext uri="{FF2B5EF4-FFF2-40B4-BE49-F238E27FC236}">
                  <a16:creationId xmlns:a16="http://schemas.microsoft.com/office/drawing/2014/main" id="{72AF1580-D7DA-E34A-02E3-6FAD3F1B39CD}"/>
                </a:ext>
              </a:extLst>
            </p:cNvPr>
            <p:cNvGrpSpPr/>
            <p:nvPr/>
          </p:nvGrpSpPr>
          <p:grpSpPr>
            <a:xfrm>
              <a:off x="4398336" y="4818061"/>
              <a:ext cx="590550" cy="590550"/>
              <a:chOff x="3605259" y="2419350"/>
              <a:chExt cx="590550" cy="590550"/>
            </a:xfrm>
          </p:grpSpPr>
          <p:sp>
            <p:nvSpPr>
              <p:cNvPr id="1081" name="Elipse 1080">
                <a:extLst>
                  <a:ext uri="{FF2B5EF4-FFF2-40B4-BE49-F238E27FC236}">
                    <a16:creationId xmlns:a16="http://schemas.microsoft.com/office/drawing/2014/main" id="{331D6774-5E08-7302-E125-23301B27C3D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82" name="Group 177">
                <a:extLst>
                  <a:ext uri="{FF2B5EF4-FFF2-40B4-BE49-F238E27FC236}">
                    <a16:creationId xmlns:a16="http://schemas.microsoft.com/office/drawing/2014/main" id="{13E81923-180B-3CA9-F84E-98A021CD3DB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83" name="Freeform 178">
                  <a:extLst>
                    <a:ext uri="{FF2B5EF4-FFF2-40B4-BE49-F238E27FC236}">
                      <a16:creationId xmlns:a16="http://schemas.microsoft.com/office/drawing/2014/main" id="{4FD88E51-26CE-D7E9-78EF-9D7D9EDD51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4" name="Freeform 179">
                  <a:extLst>
                    <a:ext uri="{FF2B5EF4-FFF2-40B4-BE49-F238E27FC236}">
                      <a16:creationId xmlns:a16="http://schemas.microsoft.com/office/drawing/2014/main" id="{399C208C-147A-A6F3-CE0F-F1A3EDCA43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9" name="Grupo 1108">
            <a:extLst>
              <a:ext uri="{FF2B5EF4-FFF2-40B4-BE49-F238E27FC236}">
                <a16:creationId xmlns:a16="http://schemas.microsoft.com/office/drawing/2014/main" id="{87BBA281-48A9-E0DF-6F7B-5576FD86CC45}"/>
              </a:ext>
            </a:extLst>
          </p:cNvPr>
          <p:cNvGrpSpPr/>
          <p:nvPr/>
        </p:nvGrpSpPr>
        <p:grpSpPr>
          <a:xfrm>
            <a:off x="4616653" y="5611118"/>
            <a:ext cx="2969781" cy="590550"/>
            <a:chOff x="3605259" y="5611118"/>
            <a:chExt cx="2969781" cy="590550"/>
          </a:xfrm>
        </p:grpSpPr>
        <p:grpSp>
          <p:nvGrpSpPr>
            <p:cNvPr id="1085" name="Grupo 1084">
              <a:extLst>
                <a:ext uri="{FF2B5EF4-FFF2-40B4-BE49-F238E27FC236}">
                  <a16:creationId xmlns:a16="http://schemas.microsoft.com/office/drawing/2014/main" id="{FCEE0B6A-E3F4-825D-4E39-5DCBEE69086C}"/>
                </a:ext>
              </a:extLst>
            </p:cNvPr>
            <p:cNvGrpSpPr/>
            <p:nvPr/>
          </p:nvGrpSpPr>
          <p:grpSpPr>
            <a:xfrm>
              <a:off x="3605259" y="5611118"/>
              <a:ext cx="590550" cy="590550"/>
              <a:chOff x="3605259" y="2419350"/>
              <a:chExt cx="590550" cy="590550"/>
            </a:xfrm>
          </p:grpSpPr>
          <p:sp>
            <p:nvSpPr>
              <p:cNvPr id="1086" name="Elipse 1085">
                <a:extLst>
                  <a:ext uri="{FF2B5EF4-FFF2-40B4-BE49-F238E27FC236}">
                    <a16:creationId xmlns:a16="http://schemas.microsoft.com/office/drawing/2014/main" id="{AE23869D-3A22-CBB0-481E-00F882B1F91B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87" name="Group 177">
                <a:extLst>
                  <a:ext uri="{FF2B5EF4-FFF2-40B4-BE49-F238E27FC236}">
                    <a16:creationId xmlns:a16="http://schemas.microsoft.com/office/drawing/2014/main" id="{60401000-A60A-1A71-7F31-FFF535F0797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88" name="Freeform 178">
                  <a:extLst>
                    <a:ext uri="{FF2B5EF4-FFF2-40B4-BE49-F238E27FC236}">
                      <a16:creationId xmlns:a16="http://schemas.microsoft.com/office/drawing/2014/main" id="{5F15334B-7B40-20AE-7993-E83E0B2825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9" name="Freeform 179">
                  <a:extLst>
                    <a:ext uri="{FF2B5EF4-FFF2-40B4-BE49-F238E27FC236}">
                      <a16:creationId xmlns:a16="http://schemas.microsoft.com/office/drawing/2014/main" id="{2CCA7C0B-16F4-5E47-C573-CE3E4AB6AB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90" name="Grupo 1089">
              <a:extLst>
                <a:ext uri="{FF2B5EF4-FFF2-40B4-BE49-F238E27FC236}">
                  <a16:creationId xmlns:a16="http://schemas.microsoft.com/office/drawing/2014/main" id="{D4AB2FC9-A292-DD5C-845D-50FA10137CB9}"/>
                </a:ext>
              </a:extLst>
            </p:cNvPr>
            <p:cNvGrpSpPr/>
            <p:nvPr/>
          </p:nvGrpSpPr>
          <p:grpSpPr>
            <a:xfrm>
              <a:off x="4398336" y="5611118"/>
              <a:ext cx="590550" cy="590550"/>
              <a:chOff x="3605259" y="2419350"/>
              <a:chExt cx="590550" cy="590550"/>
            </a:xfrm>
          </p:grpSpPr>
          <p:sp>
            <p:nvSpPr>
              <p:cNvPr id="1091" name="Elipse 1090">
                <a:extLst>
                  <a:ext uri="{FF2B5EF4-FFF2-40B4-BE49-F238E27FC236}">
                    <a16:creationId xmlns:a16="http://schemas.microsoft.com/office/drawing/2014/main" id="{916A89FD-71A3-8A9C-0E58-41AFAA96AA73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92" name="Group 177">
                <a:extLst>
                  <a:ext uri="{FF2B5EF4-FFF2-40B4-BE49-F238E27FC236}">
                    <a16:creationId xmlns:a16="http://schemas.microsoft.com/office/drawing/2014/main" id="{656BE12C-15F5-09AD-C0FC-7DF3C7D5E91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93" name="Freeform 178">
                  <a:extLst>
                    <a:ext uri="{FF2B5EF4-FFF2-40B4-BE49-F238E27FC236}">
                      <a16:creationId xmlns:a16="http://schemas.microsoft.com/office/drawing/2014/main" id="{41FE4F6E-D591-861D-E4F8-548993EE26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4" name="Freeform 179">
                  <a:extLst>
                    <a:ext uri="{FF2B5EF4-FFF2-40B4-BE49-F238E27FC236}">
                      <a16:creationId xmlns:a16="http://schemas.microsoft.com/office/drawing/2014/main" id="{697EF9B9-546F-AD9D-F1FE-6079E68C63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95" name="Grupo 1094">
              <a:extLst>
                <a:ext uri="{FF2B5EF4-FFF2-40B4-BE49-F238E27FC236}">
                  <a16:creationId xmlns:a16="http://schemas.microsoft.com/office/drawing/2014/main" id="{A7390371-0B1E-B250-17E0-01567F5E6A9D}"/>
                </a:ext>
              </a:extLst>
            </p:cNvPr>
            <p:cNvGrpSpPr/>
            <p:nvPr/>
          </p:nvGrpSpPr>
          <p:grpSpPr>
            <a:xfrm>
              <a:off x="5191413" y="5611118"/>
              <a:ext cx="590550" cy="590550"/>
              <a:chOff x="3605259" y="2419350"/>
              <a:chExt cx="590550" cy="590550"/>
            </a:xfrm>
          </p:grpSpPr>
          <p:sp>
            <p:nvSpPr>
              <p:cNvPr id="1096" name="Elipse 1095">
                <a:extLst>
                  <a:ext uri="{FF2B5EF4-FFF2-40B4-BE49-F238E27FC236}">
                    <a16:creationId xmlns:a16="http://schemas.microsoft.com/office/drawing/2014/main" id="{42621D48-1FBE-AD18-F68B-224AD85C7207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97" name="Group 177">
                <a:extLst>
                  <a:ext uri="{FF2B5EF4-FFF2-40B4-BE49-F238E27FC236}">
                    <a16:creationId xmlns:a16="http://schemas.microsoft.com/office/drawing/2014/main" id="{45664117-6A35-8205-C2C4-2BD2780694D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98" name="Freeform 178">
                  <a:extLst>
                    <a:ext uri="{FF2B5EF4-FFF2-40B4-BE49-F238E27FC236}">
                      <a16:creationId xmlns:a16="http://schemas.microsoft.com/office/drawing/2014/main" id="{ED597A13-713E-CF75-2550-5BABCC476A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9" name="Freeform 179">
                  <a:extLst>
                    <a:ext uri="{FF2B5EF4-FFF2-40B4-BE49-F238E27FC236}">
                      <a16:creationId xmlns:a16="http://schemas.microsoft.com/office/drawing/2014/main" id="{4A74150A-037A-0A3A-7DB1-931E74D9F3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100" name="Grupo 1099">
              <a:extLst>
                <a:ext uri="{FF2B5EF4-FFF2-40B4-BE49-F238E27FC236}">
                  <a16:creationId xmlns:a16="http://schemas.microsoft.com/office/drawing/2014/main" id="{23066885-AD39-142D-4E73-E9103E4C21DA}"/>
                </a:ext>
              </a:extLst>
            </p:cNvPr>
            <p:cNvGrpSpPr/>
            <p:nvPr/>
          </p:nvGrpSpPr>
          <p:grpSpPr>
            <a:xfrm>
              <a:off x="5984490" y="5611118"/>
              <a:ext cx="590550" cy="590550"/>
              <a:chOff x="3605259" y="2419350"/>
              <a:chExt cx="590550" cy="590550"/>
            </a:xfrm>
          </p:grpSpPr>
          <p:sp>
            <p:nvSpPr>
              <p:cNvPr id="1101" name="Elipse 1100">
                <a:extLst>
                  <a:ext uri="{FF2B5EF4-FFF2-40B4-BE49-F238E27FC236}">
                    <a16:creationId xmlns:a16="http://schemas.microsoft.com/office/drawing/2014/main" id="{ABC94F6A-1B95-2B03-9CA3-D82D8AC0A37E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102" name="Group 177">
                <a:extLst>
                  <a:ext uri="{FF2B5EF4-FFF2-40B4-BE49-F238E27FC236}">
                    <a16:creationId xmlns:a16="http://schemas.microsoft.com/office/drawing/2014/main" id="{79A27CDF-062E-6D7C-C9AA-F0FD30E6C91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103" name="Freeform 178">
                  <a:extLst>
                    <a:ext uri="{FF2B5EF4-FFF2-40B4-BE49-F238E27FC236}">
                      <a16:creationId xmlns:a16="http://schemas.microsoft.com/office/drawing/2014/main" id="{4DC421EF-58FB-18E3-3AB1-E683569580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04" name="Freeform 179">
                  <a:extLst>
                    <a:ext uri="{FF2B5EF4-FFF2-40B4-BE49-F238E27FC236}">
                      <a16:creationId xmlns:a16="http://schemas.microsoft.com/office/drawing/2014/main" id="{E6C283A8-5450-A5E1-A083-C330CF95770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110" name="Flecha: a la izquierda y derecha 1109">
            <a:extLst>
              <a:ext uri="{FF2B5EF4-FFF2-40B4-BE49-F238E27FC236}">
                <a16:creationId xmlns:a16="http://schemas.microsoft.com/office/drawing/2014/main" id="{169C41B2-3DF1-44CC-AA02-A9846FA7C50B}"/>
              </a:ext>
            </a:extLst>
          </p:cNvPr>
          <p:cNvSpPr/>
          <p:nvPr/>
        </p:nvSpPr>
        <p:spPr>
          <a:xfrm>
            <a:off x="2817319" y="261296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1" name="Flecha: a la izquierda y derecha 1110">
            <a:extLst>
              <a:ext uri="{FF2B5EF4-FFF2-40B4-BE49-F238E27FC236}">
                <a16:creationId xmlns:a16="http://schemas.microsoft.com/office/drawing/2014/main" id="{597D9A1F-F77D-E2E9-1582-83D2A3E01E8A}"/>
              </a:ext>
            </a:extLst>
          </p:cNvPr>
          <p:cNvSpPr/>
          <p:nvPr/>
        </p:nvSpPr>
        <p:spPr>
          <a:xfrm>
            <a:off x="2817319" y="340467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2" name="Flecha: a la izquierda y derecha 1111">
            <a:extLst>
              <a:ext uri="{FF2B5EF4-FFF2-40B4-BE49-F238E27FC236}">
                <a16:creationId xmlns:a16="http://schemas.microsoft.com/office/drawing/2014/main" id="{87B4358E-C2B8-440F-7657-16FAA4C3530A}"/>
              </a:ext>
            </a:extLst>
          </p:cNvPr>
          <p:cNvSpPr/>
          <p:nvPr/>
        </p:nvSpPr>
        <p:spPr>
          <a:xfrm>
            <a:off x="2817319" y="420016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3" name="Flecha: a la izquierda y derecha 1112">
            <a:extLst>
              <a:ext uri="{FF2B5EF4-FFF2-40B4-BE49-F238E27FC236}">
                <a16:creationId xmlns:a16="http://schemas.microsoft.com/office/drawing/2014/main" id="{DEC6971C-1B8B-E1FA-9FC6-A5A71DFB60E9}"/>
              </a:ext>
            </a:extLst>
          </p:cNvPr>
          <p:cNvSpPr/>
          <p:nvPr/>
        </p:nvSpPr>
        <p:spPr>
          <a:xfrm>
            <a:off x="2817319" y="499949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4" name="Flecha: a la izquierda y derecha 1113">
            <a:extLst>
              <a:ext uri="{FF2B5EF4-FFF2-40B4-BE49-F238E27FC236}">
                <a16:creationId xmlns:a16="http://schemas.microsoft.com/office/drawing/2014/main" id="{1233A027-3A32-998E-1D82-A42A2C5174BA}"/>
              </a:ext>
            </a:extLst>
          </p:cNvPr>
          <p:cNvSpPr/>
          <p:nvPr/>
        </p:nvSpPr>
        <p:spPr>
          <a:xfrm>
            <a:off x="2817319" y="579731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5" name="Flecha: a la izquierda y derecha 1114">
            <a:extLst>
              <a:ext uri="{FF2B5EF4-FFF2-40B4-BE49-F238E27FC236}">
                <a16:creationId xmlns:a16="http://schemas.microsoft.com/office/drawing/2014/main" id="{362632DB-8216-4FAA-DE4D-E9A5E15FE243}"/>
              </a:ext>
            </a:extLst>
          </p:cNvPr>
          <p:cNvSpPr/>
          <p:nvPr/>
        </p:nvSpPr>
        <p:spPr>
          <a:xfrm>
            <a:off x="8875466" y="261296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6" name="Flecha: a la izquierda y derecha 1115">
            <a:extLst>
              <a:ext uri="{FF2B5EF4-FFF2-40B4-BE49-F238E27FC236}">
                <a16:creationId xmlns:a16="http://schemas.microsoft.com/office/drawing/2014/main" id="{4A3DB277-99D1-8E48-CBA8-31FD97385126}"/>
              </a:ext>
            </a:extLst>
          </p:cNvPr>
          <p:cNvSpPr/>
          <p:nvPr/>
        </p:nvSpPr>
        <p:spPr>
          <a:xfrm>
            <a:off x="8875466" y="340467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7" name="Flecha: a la izquierda y derecha 1116">
            <a:extLst>
              <a:ext uri="{FF2B5EF4-FFF2-40B4-BE49-F238E27FC236}">
                <a16:creationId xmlns:a16="http://schemas.microsoft.com/office/drawing/2014/main" id="{9171174A-0FE2-8890-4CF9-70F76BF82F87}"/>
              </a:ext>
            </a:extLst>
          </p:cNvPr>
          <p:cNvSpPr/>
          <p:nvPr/>
        </p:nvSpPr>
        <p:spPr>
          <a:xfrm>
            <a:off x="8875466" y="420016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8" name="Flecha: a la izquierda y derecha 1117">
            <a:extLst>
              <a:ext uri="{FF2B5EF4-FFF2-40B4-BE49-F238E27FC236}">
                <a16:creationId xmlns:a16="http://schemas.microsoft.com/office/drawing/2014/main" id="{5923E402-16E2-4B70-82DB-54227F53FD1D}"/>
              </a:ext>
            </a:extLst>
          </p:cNvPr>
          <p:cNvSpPr/>
          <p:nvPr/>
        </p:nvSpPr>
        <p:spPr>
          <a:xfrm>
            <a:off x="8875466" y="499949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9" name="Flecha: a la izquierda y derecha 1118">
            <a:extLst>
              <a:ext uri="{FF2B5EF4-FFF2-40B4-BE49-F238E27FC236}">
                <a16:creationId xmlns:a16="http://schemas.microsoft.com/office/drawing/2014/main" id="{B8D3ABC8-B492-B386-E6C8-CD8F900F67F9}"/>
              </a:ext>
            </a:extLst>
          </p:cNvPr>
          <p:cNvSpPr/>
          <p:nvPr/>
        </p:nvSpPr>
        <p:spPr>
          <a:xfrm>
            <a:off x="8875466" y="579731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20" name="Flecha: a la izquierda y derecha 1119">
            <a:extLst>
              <a:ext uri="{FF2B5EF4-FFF2-40B4-BE49-F238E27FC236}">
                <a16:creationId xmlns:a16="http://schemas.microsoft.com/office/drawing/2014/main" id="{CC6903F1-5836-4C4D-A24A-17663B99E911}"/>
              </a:ext>
            </a:extLst>
          </p:cNvPr>
          <p:cNvSpPr/>
          <p:nvPr/>
        </p:nvSpPr>
        <p:spPr>
          <a:xfrm rot="5400000">
            <a:off x="5097228" y="5392740"/>
            <a:ext cx="381854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21" name="Flecha: a la izquierda y derecha 1120">
            <a:extLst>
              <a:ext uri="{FF2B5EF4-FFF2-40B4-BE49-F238E27FC236}">
                <a16:creationId xmlns:a16="http://schemas.microsoft.com/office/drawing/2014/main" id="{E5FCA325-7000-3E5D-089B-038C4188E795}"/>
              </a:ext>
            </a:extLst>
          </p:cNvPr>
          <p:cNvSpPr/>
          <p:nvPr/>
        </p:nvSpPr>
        <p:spPr>
          <a:xfrm rot="5400000">
            <a:off x="6688154" y="5392740"/>
            <a:ext cx="381854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6618006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3115945454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1070472-D31B-C25F-390C-57BE2AB4B8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1070472-D31B-C25F-390C-57BE2AB4B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06D497E-A0AC-6423-5CA2-997ABCA13F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7C42CCB-EBD5-EC20-3649-FEFC3F175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Many-to-o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8EAB625-2974-A019-75E1-FD567267B7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7DC425BC-C94C-8AB0-D4EF-43A0C37D7A13}"/>
              </a:ext>
            </a:extLst>
          </p:cNvPr>
          <p:cNvGrpSpPr/>
          <p:nvPr/>
        </p:nvGrpSpPr>
        <p:grpSpPr>
          <a:xfrm>
            <a:off x="2492280" y="1532721"/>
            <a:ext cx="770972" cy="770972"/>
            <a:chOff x="1486154" y="1606468"/>
            <a:chExt cx="770972" cy="770972"/>
          </a:xfrm>
        </p:grpSpPr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069B3FFF-158E-88CB-1554-B4B105AE2777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8" name="Group 167">
              <a:extLst>
                <a:ext uri="{FF2B5EF4-FFF2-40B4-BE49-F238E27FC236}">
                  <a16:creationId xmlns:a16="http://schemas.microsoft.com/office/drawing/2014/main" id="{B9225F0D-E7AF-94D0-F472-4009105EB2D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9" name="Freeform 168">
                <a:extLst>
                  <a:ext uri="{FF2B5EF4-FFF2-40B4-BE49-F238E27FC236}">
                    <a16:creationId xmlns:a16="http://schemas.microsoft.com/office/drawing/2014/main" id="{3CA98824-906B-9757-35C9-82F2E96EF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" name="Freeform 169">
                <a:extLst>
                  <a:ext uri="{FF2B5EF4-FFF2-40B4-BE49-F238E27FC236}">
                    <a16:creationId xmlns:a16="http://schemas.microsoft.com/office/drawing/2014/main" id="{FFFDE1D4-EC1B-E2EE-416E-135F337425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" name="Freeform 170">
                <a:extLst>
                  <a:ext uri="{FF2B5EF4-FFF2-40B4-BE49-F238E27FC236}">
                    <a16:creationId xmlns:a16="http://schemas.microsoft.com/office/drawing/2014/main" id="{CD278F36-4AC6-FD04-1A58-16FD42078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171">
                <a:extLst>
                  <a:ext uri="{FF2B5EF4-FFF2-40B4-BE49-F238E27FC236}">
                    <a16:creationId xmlns:a16="http://schemas.microsoft.com/office/drawing/2014/main" id="{364369C2-A3B3-CC3A-4BCF-AFFB03C09F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" name="Freeform 172">
                <a:extLst>
                  <a:ext uri="{FF2B5EF4-FFF2-40B4-BE49-F238E27FC236}">
                    <a16:creationId xmlns:a16="http://schemas.microsoft.com/office/drawing/2014/main" id="{DDE157CA-0F4A-5571-5AD3-A818F6AAE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" name="Freeform 173">
                <a:extLst>
                  <a:ext uri="{FF2B5EF4-FFF2-40B4-BE49-F238E27FC236}">
                    <a16:creationId xmlns:a16="http://schemas.microsoft.com/office/drawing/2014/main" id="{BF4FAC8C-A3B5-597E-98B1-F0CDBF325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TextBox 24">
            <a:extLst>
              <a:ext uri="{FF2B5EF4-FFF2-40B4-BE49-F238E27FC236}">
                <a16:creationId xmlns:a16="http://schemas.microsoft.com/office/drawing/2014/main" id="{C9B3C949-A07C-A177-BBB1-0E97ED8EB999}"/>
              </a:ext>
            </a:extLst>
          </p:cNvPr>
          <p:cNvSpPr txBox="1"/>
          <p:nvPr/>
        </p:nvSpPr>
        <p:spPr>
          <a:xfrm>
            <a:off x="3361976" y="1795097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30177F22-4DE8-222D-1846-2786AADA0851}"/>
              </a:ext>
            </a:extLst>
          </p:cNvPr>
          <p:cNvGrpSpPr/>
          <p:nvPr/>
        </p:nvGrpSpPr>
        <p:grpSpPr>
          <a:xfrm>
            <a:off x="2492280" y="2530655"/>
            <a:ext cx="770972" cy="770972"/>
            <a:chOff x="1486154" y="1606468"/>
            <a:chExt cx="770972" cy="770972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531AEDB8-C773-43FC-7A94-11ECD6DB9FBB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64" name="Group 167">
              <a:extLst>
                <a:ext uri="{FF2B5EF4-FFF2-40B4-BE49-F238E27FC236}">
                  <a16:creationId xmlns:a16="http://schemas.microsoft.com/office/drawing/2014/main" id="{A1BA19A2-841D-8186-E923-09F94DEED23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65" name="Freeform 168">
                <a:extLst>
                  <a:ext uri="{FF2B5EF4-FFF2-40B4-BE49-F238E27FC236}">
                    <a16:creationId xmlns:a16="http://schemas.microsoft.com/office/drawing/2014/main" id="{12CB785A-B707-29E2-9F71-D4A359BD19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67" name="Freeform 169">
                <a:extLst>
                  <a:ext uri="{FF2B5EF4-FFF2-40B4-BE49-F238E27FC236}">
                    <a16:creationId xmlns:a16="http://schemas.microsoft.com/office/drawing/2014/main" id="{BF665779-05F5-EDEF-770A-147A3C9067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68" name="Freeform 170">
                <a:extLst>
                  <a:ext uri="{FF2B5EF4-FFF2-40B4-BE49-F238E27FC236}">
                    <a16:creationId xmlns:a16="http://schemas.microsoft.com/office/drawing/2014/main" id="{41330BE4-350A-E082-BA27-6596213D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69" name="Freeform 171">
                <a:extLst>
                  <a:ext uri="{FF2B5EF4-FFF2-40B4-BE49-F238E27FC236}">
                    <a16:creationId xmlns:a16="http://schemas.microsoft.com/office/drawing/2014/main" id="{C4C5947E-B41B-6DED-9FAE-1489A9A7D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0" name="Freeform 172">
                <a:extLst>
                  <a:ext uri="{FF2B5EF4-FFF2-40B4-BE49-F238E27FC236}">
                    <a16:creationId xmlns:a16="http://schemas.microsoft.com/office/drawing/2014/main" id="{BFFD78AE-2DBE-E501-91D1-A1918C1F3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1" name="Freeform 173">
                <a:extLst>
                  <a:ext uri="{FF2B5EF4-FFF2-40B4-BE49-F238E27FC236}">
                    <a16:creationId xmlns:a16="http://schemas.microsoft.com/office/drawing/2014/main" id="{8EFF99C7-522C-AB96-4764-AB61D37E9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30" name="TextBox 24">
            <a:extLst>
              <a:ext uri="{FF2B5EF4-FFF2-40B4-BE49-F238E27FC236}">
                <a16:creationId xmlns:a16="http://schemas.microsoft.com/office/drawing/2014/main" id="{5FD439CE-032D-BE5C-8D14-D753ADEF6308}"/>
              </a:ext>
            </a:extLst>
          </p:cNvPr>
          <p:cNvSpPr txBox="1"/>
          <p:nvPr/>
        </p:nvSpPr>
        <p:spPr>
          <a:xfrm>
            <a:off x="3361976" y="2793031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273" name="Grupo 11272">
            <a:extLst>
              <a:ext uri="{FF2B5EF4-FFF2-40B4-BE49-F238E27FC236}">
                <a16:creationId xmlns:a16="http://schemas.microsoft.com/office/drawing/2014/main" id="{D91418ED-7A57-E500-6410-CD0783E88268}"/>
              </a:ext>
            </a:extLst>
          </p:cNvPr>
          <p:cNvGrpSpPr/>
          <p:nvPr/>
        </p:nvGrpSpPr>
        <p:grpSpPr>
          <a:xfrm>
            <a:off x="2492280" y="3528589"/>
            <a:ext cx="770972" cy="770972"/>
            <a:chOff x="1486154" y="1606468"/>
            <a:chExt cx="770972" cy="770972"/>
          </a:xfrm>
        </p:grpSpPr>
        <p:sp>
          <p:nvSpPr>
            <p:cNvPr id="11275" name="Elipse 11274">
              <a:extLst>
                <a:ext uri="{FF2B5EF4-FFF2-40B4-BE49-F238E27FC236}">
                  <a16:creationId xmlns:a16="http://schemas.microsoft.com/office/drawing/2014/main" id="{98EA4625-50CF-33B2-02F4-DDCC078EA605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76" name="Group 167">
              <a:extLst>
                <a:ext uri="{FF2B5EF4-FFF2-40B4-BE49-F238E27FC236}">
                  <a16:creationId xmlns:a16="http://schemas.microsoft.com/office/drawing/2014/main" id="{6BA03CEC-AE95-6E30-72D6-E211C54D5D8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77" name="Freeform 168">
                <a:extLst>
                  <a:ext uri="{FF2B5EF4-FFF2-40B4-BE49-F238E27FC236}">
                    <a16:creationId xmlns:a16="http://schemas.microsoft.com/office/drawing/2014/main" id="{1C5FDEC4-23AF-CD4D-4842-5C57648B4C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8" name="Freeform 169">
                <a:extLst>
                  <a:ext uri="{FF2B5EF4-FFF2-40B4-BE49-F238E27FC236}">
                    <a16:creationId xmlns:a16="http://schemas.microsoft.com/office/drawing/2014/main" id="{AE7CBE61-714D-271A-E939-4578FE0072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9" name="Freeform 170">
                <a:extLst>
                  <a:ext uri="{FF2B5EF4-FFF2-40B4-BE49-F238E27FC236}">
                    <a16:creationId xmlns:a16="http://schemas.microsoft.com/office/drawing/2014/main" id="{4B44E9E2-E529-5674-286B-5C6F97E41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0" name="Freeform 171">
                <a:extLst>
                  <a:ext uri="{FF2B5EF4-FFF2-40B4-BE49-F238E27FC236}">
                    <a16:creationId xmlns:a16="http://schemas.microsoft.com/office/drawing/2014/main" id="{B5978DED-AD0D-3BF5-FE22-2243F46C0D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1" name="Freeform 172">
                <a:extLst>
                  <a:ext uri="{FF2B5EF4-FFF2-40B4-BE49-F238E27FC236}">
                    <a16:creationId xmlns:a16="http://schemas.microsoft.com/office/drawing/2014/main" id="{15658C4A-7440-F9CA-FB8D-2214C262A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2" name="Freeform 173">
                <a:extLst>
                  <a:ext uri="{FF2B5EF4-FFF2-40B4-BE49-F238E27FC236}">
                    <a16:creationId xmlns:a16="http://schemas.microsoft.com/office/drawing/2014/main" id="{C49C340B-BAAC-6D4C-6A1C-6778E1E83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74" name="TextBox 24">
            <a:extLst>
              <a:ext uri="{FF2B5EF4-FFF2-40B4-BE49-F238E27FC236}">
                <a16:creationId xmlns:a16="http://schemas.microsoft.com/office/drawing/2014/main" id="{477A0994-1954-838B-DEE0-7A9C628E5B25}"/>
              </a:ext>
            </a:extLst>
          </p:cNvPr>
          <p:cNvSpPr txBox="1"/>
          <p:nvPr/>
        </p:nvSpPr>
        <p:spPr>
          <a:xfrm>
            <a:off x="3361976" y="3790965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284" name="Grupo 11283">
            <a:extLst>
              <a:ext uri="{FF2B5EF4-FFF2-40B4-BE49-F238E27FC236}">
                <a16:creationId xmlns:a16="http://schemas.microsoft.com/office/drawing/2014/main" id="{70C4A8D7-6F35-F5DE-00F7-BDD569951DA2}"/>
              </a:ext>
            </a:extLst>
          </p:cNvPr>
          <p:cNvGrpSpPr/>
          <p:nvPr/>
        </p:nvGrpSpPr>
        <p:grpSpPr>
          <a:xfrm>
            <a:off x="2492280" y="4526523"/>
            <a:ext cx="770972" cy="770972"/>
            <a:chOff x="1486154" y="1606468"/>
            <a:chExt cx="770972" cy="770972"/>
          </a:xfrm>
        </p:grpSpPr>
        <p:sp>
          <p:nvSpPr>
            <p:cNvPr id="11286" name="Elipse 11285">
              <a:extLst>
                <a:ext uri="{FF2B5EF4-FFF2-40B4-BE49-F238E27FC236}">
                  <a16:creationId xmlns:a16="http://schemas.microsoft.com/office/drawing/2014/main" id="{52119032-43B2-9EA6-4DDC-7853138FBE48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87" name="Group 167">
              <a:extLst>
                <a:ext uri="{FF2B5EF4-FFF2-40B4-BE49-F238E27FC236}">
                  <a16:creationId xmlns:a16="http://schemas.microsoft.com/office/drawing/2014/main" id="{5C90BB43-BDA7-566C-2269-7FF286A9D1C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88" name="Freeform 168">
                <a:extLst>
                  <a:ext uri="{FF2B5EF4-FFF2-40B4-BE49-F238E27FC236}">
                    <a16:creationId xmlns:a16="http://schemas.microsoft.com/office/drawing/2014/main" id="{F3D186D2-C9A0-21AC-2DA9-9C6BBC62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9" name="Freeform 169">
                <a:extLst>
                  <a:ext uri="{FF2B5EF4-FFF2-40B4-BE49-F238E27FC236}">
                    <a16:creationId xmlns:a16="http://schemas.microsoft.com/office/drawing/2014/main" id="{CA4A3B58-A46E-6737-7A79-EC4B631488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0" name="Freeform 170">
                <a:extLst>
                  <a:ext uri="{FF2B5EF4-FFF2-40B4-BE49-F238E27FC236}">
                    <a16:creationId xmlns:a16="http://schemas.microsoft.com/office/drawing/2014/main" id="{61F0CDC5-731F-8F4C-8288-3923A23CA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1" name="Freeform 171">
                <a:extLst>
                  <a:ext uri="{FF2B5EF4-FFF2-40B4-BE49-F238E27FC236}">
                    <a16:creationId xmlns:a16="http://schemas.microsoft.com/office/drawing/2014/main" id="{AD7B6F10-EC7F-49E7-D51A-8AC1BACA4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2" name="Freeform 172">
                <a:extLst>
                  <a:ext uri="{FF2B5EF4-FFF2-40B4-BE49-F238E27FC236}">
                    <a16:creationId xmlns:a16="http://schemas.microsoft.com/office/drawing/2014/main" id="{D1F74DCF-183A-F455-A59B-83ECF0E52F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3" name="Freeform 173">
                <a:extLst>
                  <a:ext uri="{FF2B5EF4-FFF2-40B4-BE49-F238E27FC236}">
                    <a16:creationId xmlns:a16="http://schemas.microsoft.com/office/drawing/2014/main" id="{B9255D65-6A6B-4BF9-D0E7-FE866973E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85" name="TextBox 24">
            <a:extLst>
              <a:ext uri="{FF2B5EF4-FFF2-40B4-BE49-F238E27FC236}">
                <a16:creationId xmlns:a16="http://schemas.microsoft.com/office/drawing/2014/main" id="{6CC79A7E-5789-9ED5-545D-7109E4827FB2}"/>
              </a:ext>
            </a:extLst>
          </p:cNvPr>
          <p:cNvSpPr txBox="1"/>
          <p:nvPr/>
        </p:nvSpPr>
        <p:spPr>
          <a:xfrm>
            <a:off x="3361976" y="4788899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295" name="Grupo 11294">
            <a:extLst>
              <a:ext uri="{FF2B5EF4-FFF2-40B4-BE49-F238E27FC236}">
                <a16:creationId xmlns:a16="http://schemas.microsoft.com/office/drawing/2014/main" id="{5B1B8568-602F-9358-420F-D312E0FD4FA3}"/>
              </a:ext>
            </a:extLst>
          </p:cNvPr>
          <p:cNvGrpSpPr/>
          <p:nvPr/>
        </p:nvGrpSpPr>
        <p:grpSpPr>
          <a:xfrm>
            <a:off x="2492280" y="5524457"/>
            <a:ext cx="770972" cy="770972"/>
            <a:chOff x="1486154" y="1606468"/>
            <a:chExt cx="770972" cy="770972"/>
          </a:xfrm>
        </p:grpSpPr>
        <p:sp>
          <p:nvSpPr>
            <p:cNvPr id="11297" name="Elipse 11296">
              <a:extLst>
                <a:ext uri="{FF2B5EF4-FFF2-40B4-BE49-F238E27FC236}">
                  <a16:creationId xmlns:a16="http://schemas.microsoft.com/office/drawing/2014/main" id="{043A527D-40B5-D5C1-7501-12AE1F6365E0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98" name="Group 167">
              <a:extLst>
                <a:ext uri="{FF2B5EF4-FFF2-40B4-BE49-F238E27FC236}">
                  <a16:creationId xmlns:a16="http://schemas.microsoft.com/office/drawing/2014/main" id="{0DFA1D44-C243-946F-3FDE-FC26689CF3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99" name="Freeform 168">
                <a:extLst>
                  <a:ext uri="{FF2B5EF4-FFF2-40B4-BE49-F238E27FC236}">
                    <a16:creationId xmlns:a16="http://schemas.microsoft.com/office/drawing/2014/main" id="{28A06C89-13BE-CC50-BEE0-3AB9CFB6BB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0" name="Freeform 169">
                <a:extLst>
                  <a:ext uri="{FF2B5EF4-FFF2-40B4-BE49-F238E27FC236}">
                    <a16:creationId xmlns:a16="http://schemas.microsoft.com/office/drawing/2014/main" id="{E7107DBB-93D3-6D4B-193E-DCE1C03F31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1" name="Freeform 170">
                <a:extLst>
                  <a:ext uri="{FF2B5EF4-FFF2-40B4-BE49-F238E27FC236}">
                    <a16:creationId xmlns:a16="http://schemas.microsoft.com/office/drawing/2014/main" id="{65693AE1-F53C-BB72-DDC1-0E33B6E28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2" name="Freeform 171">
                <a:extLst>
                  <a:ext uri="{FF2B5EF4-FFF2-40B4-BE49-F238E27FC236}">
                    <a16:creationId xmlns:a16="http://schemas.microsoft.com/office/drawing/2014/main" id="{F2971526-3318-9A52-35C9-9EE40700D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3" name="Freeform 172">
                <a:extLst>
                  <a:ext uri="{FF2B5EF4-FFF2-40B4-BE49-F238E27FC236}">
                    <a16:creationId xmlns:a16="http://schemas.microsoft.com/office/drawing/2014/main" id="{BD216EC5-D007-14F2-E91E-E86D2EF84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4" name="Freeform 173">
                <a:extLst>
                  <a:ext uri="{FF2B5EF4-FFF2-40B4-BE49-F238E27FC236}">
                    <a16:creationId xmlns:a16="http://schemas.microsoft.com/office/drawing/2014/main" id="{DC2E90C2-460F-CB04-B891-FACBA2F9A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96" name="TextBox 24">
            <a:extLst>
              <a:ext uri="{FF2B5EF4-FFF2-40B4-BE49-F238E27FC236}">
                <a16:creationId xmlns:a16="http://schemas.microsoft.com/office/drawing/2014/main" id="{23637C47-A234-FF90-A002-02C1ECCE7171}"/>
              </a:ext>
            </a:extLst>
          </p:cNvPr>
          <p:cNvSpPr txBox="1"/>
          <p:nvPr/>
        </p:nvSpPr>
        <p:spPr>
          <a:xfrm>
            <a:off x="3361976" y="5786833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306" name="Grupo 11305">
            <a:extLst>
              <a:ext uri="{FF2B5EF4-FFF2-40B4-BE49-F238E27FC236}">
                <a16:creationId xmlns:a16="http://schemas.microsoft.com/office/drawing/2014/main" id="{1BE13E40-4F3C-5653-AFC5-6F38B429667B}"/>
              </a:ext>
            </a:extLst>
          </p:cNvPr>
          <p:cNvGrpSpPr/>
          <p:nvPr/>
        </p:nvGrpSpPr>
        <p:grpSpPr>
          <a:xfrm>
            <a:off x="8166463" y="3276226"/>
            <a:ext cx="1370555" cy="1370555"/>
            <a:chOff x="1486154" y="1606468"/>
            <a:chExt cx="770972" cy="770972"/>
          </a:xfrm>
        </p:grpSpPr>
        <p:sp>
          <p:nvSpPr>
            <p:cNvPr id="11308" name="Elipse 11307">
              <a:extLst>
                <a:ext uri="{FF2B5EF4-FFF2-40B4-BE49-F238E27FC236}">
                  <a16:creationId xmlns:a16="http://schemas.microsoft.com/office/drawing/2014/main" id="{CC766B84-2681-4647-9970-09E3E4C63F12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309" name="Group 167">
              <a:extLst>
                <a:ext uri="{FF2B5EF4-FFF2-40B4-BE49-F238E27FC236}">
                  <a16:creationId xmlns:a16="http://schemas.microsoft.com/office/drawing/2014/main" id="{624F34E5-AB05-5A17-BC7D-C04870FD77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310" name="Freeform 168">
                <a:extLst>
                  <a:ext uri="{FF2B5EF4-FFF2-40B4-BE49-F238E27FC236}">
                    <a16:creationId xmlns:a16="http://schemas.microsoft.com/office/drawing/2014/main" id="{837ADFC8-D811-472E-CFC2-73121C0B2C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1" name="Freeform 169">
                <a:extLst>
                  <a:ext uri="{FF2B5EF4-FFF2-40B4-BE49-F238E27FC236}">
                    <a16:creationId xmlns:a16="http://schemas.microsoft.com/office/drawing/2014/main" id="{B18800AC-11DD-A778-9473-75C356B33E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2" name="Freeform 170">
                <a:extLst>
                  <a:ext uri="{FF2B5EF4-FFF2-40B4-BE49-F238E27FC236}">
                    <a16:creationId xmlns:a16="http://schemas.microsoft.com/office/drawing/2014/main" id="{C1937ADC-3459-54AB-CCC7-3480E2E1F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3" name="Freeform 171">
                <a:extLst>
                  <a:ext uri="{FF2B5EF4-FFF2-40B4-BE49-F238E27FC236}">
                    <a16:creationId xmlns:a16="http://schemas.microsoft.com/office/drawing/2014/main" id="{DC1E0D2B-467B-E363-2A6A-A0311CDB6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4" name="Freeform 172">
                <a:extLst>
                  <a:ext uri="{FF2B5EF4-FFF2-40B4-BE49-F238E27FC236}">
                    <a16:creationId xmlns:a16="http://schemas.microsoft.com/office/drawing/2014/main" id="{E1B0DBA4-072A-6E87-D687-6C273D457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5" name="Freeform 173">
                <a:extLst>
                  <a:ext uri="{FF2B5EF4-FFF2-40B4-BE49-F238E27FC236}">
                    <a16:creationId xmlns:a16="http://schemas.microsoft.com/office/drawing/2014/main" id="{9A288BAC-FCDD-7DE7-E330-7B65DFDC8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1318" name="Conector: angular 11317">
            <a:extLst>
              <a:ext uri="{FF2B5EF4-FFF2-40B4-BE49-F238E27FC236}">
                <a16:creationId xmlns:a16="http://schemas.microsoft.com/office/drawing/2014/main" id="{FF991D9E-1FF3-FAC8-0575-783453F0F017}"/>
              </a:ext>
            </a:extLst>
          </p:cNvPr>
          <p:cNvCxnSpPr>
            <a:cxnSpLocks/>
            <a:stCxn id="16" idx="3"/>
            <a:endCxn id="11308" idx="2"/>
          </p:cNvCxnSpPr>
          <p:nvPr/>
        </p:nvCxnSpPr>
        <p:spPr>
          <a:xfrm>
            <a:off x="5933726" y="1918208"/>
            <a:ext cx="2232737" cy="2043296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20" name="Conector: angular 11319">
            <a:extLst>
              <a:ext uri="{FF2B5EF4-FFF2-40B4-BE49-F238E27FC236}">
                <a16:creationId xmlns:a16="http://schemas.microsoft.com/office/drawing/2014/main" id="{7B581EC4-DDAE-BF98-C966-D0F4DED9336D}"/>
              </a:ext>
            </a:extLst>
          </p:cNvPr>
          <p:cNvCxnSpPr>
            <a:cxnSpLocks/>
            <a:stCxn id="30" idx="3"/>
            <a:endCxn id="11308" idx="2"/>
          </p:cNvCxnSpPr>
          <p:nvPr/>
        </p:nvCxnSpPr>
        <p:spPr>
          <a:xfrm>
            <a:off x="5933726" y="2916142"/>
            <a:ext cx="2232737" cy="1045362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23" name="Conector: angular 11322">
            <a:extLst>
              <a:ext uri="{FF2B5EF4-FFF2-40B4-BE49-F238E27FC236}">
                <a16:creationId xmlns:a16="http://schemas.microsoft.com/office/drawing/2014/main" id="{03946A55-0865-DA23-CD6C-FB98AA06D468}"/>
              </a:ext>
            </a:extLst>
          </p:cNvPr>
          <p:cNvCxnSpPr>
            <a:cxnSpLocks/>
            <a:stCxn id="11274" idx="3"/>
            <a:endCxn id="11308" idx="2"/>
          </p:cNvCxnSpPr>
          <p:nvPr/>
        </p:nvCxnSpPr>
        <p:spPr>
          <a:xfrm>
            <a:off x="5933726" y="3914076"/>
            <a:ext cx="2232737" cy="47428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26" name="Conector: angular 11325">
            <a:extLst>
              <a:ext uri="{FF2B5EF4-FFF2-40B4-BE49-F238E27FC236}">
                <a16:creationId xmlns:a16="http://schemas.microsoft.com/office/drawing/2014/main" id="{3A5D76DB-A01C-35D1-8062-3CA35289E782}"/>
              </a:ext>
            </a:extLst>
          </p:cNvPr>
          <p:cNvCxnSpPr>
            <a:cxnSpLocks/>
            <a:stCxn id="11285" idx="3"/>
            <a:endCxn id="11308" idx="2"/>
          </p:cNvCxnSpPr>
          <p:nvPr/>
        </p:nvCxnSpPr>
        <p:spPr>
          <a:xfrm flipV="1">
            <a:off x="5933726" y="3961504"/>
            <a:ext cx="2232737" cy="950506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30" name="Conector: angular 11329">
            <a:extLst>
              <a:ext uri="{FF2B5EF4-FFF2-40B4-BE49-F238E27FC236}">
                <a16:creationId xmlns:a16="http://schemas.microsoft.com/office/drawing/2014/main" id="{B9421C18-6612-F5F0-5E55-471ACC94B244}"/>
              </a:ext>
            </a:extLst>
          </p:cNvPr>
          <p:cNvCxnSpPr>
            <a:cxnSpLocks/>
            <a:stCxn id="11296" idx="3"/>
            <a:endCxn id="11308" idx="2"/>
          </p:cNvCxnSpPr>
          <p:nvPr/>
        </p:nvCxnSpPr>
        <p:spPr>
          <a:xfrm flipV="1">
            <a:off x="5933726" y="3961504"/>
            <a:ext cx="2232737" cy="1948440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39" name="TextBox 24">
            <a:extLst>
              <a:ext uri="{FF2B5EF4-FFF2-40B4-BE49-F238E27FC236}">
                <a16:creationId xmlns:a16="http://schemas.microsoft.com/office/drawing/2014/main" id="{4729CBA6-E9F9-4228-0D42-DFF79ABC0AA2}"/>
              </a:ext>
            </a:extLst>
          </p:cNvPr>
          <p:cNvSpPr txBox="1"/>
          <p:nvPr/>
        </p:nvSpPr>
        <p:spPr>
          <a:xfrm>
            <a:off x="7589464" y="4788899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729885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05307B0-6F43-967C-6C5A-CA29A13AE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05307B0-6F43-967C-6C5A-CA29A13AE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BA06A14-CA38-FE75-0695-D2E7BD6FA3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7840896-3B56-3269-084C-457903FD6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Rank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D257BD1-0FCD-377D-E027-1ECD2DA47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A840DB12-17B6-283E-AD87-B7F903284C62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0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75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873555"/>
                  </a:ext>
                </a:extLst>
              </a:tr>
            </a:tbl>
          </a:graphicData>
        </a:graphic>
      </p:graphicFrame>
      <p:sp>
        <p:nvSpPr>
          <p:cNvPr id="8" name="Elipse 7">
            <a:extLst>
              <a:ext uri="{FF2B5EF4-FFF2-40B4-BE49-F238E27FC236}">
                <a16:creationId xmlns:a16="http://schemas.microsoft.com/office/drawing/2014/main" id="{4C86DE73-E0CF-F3D5-8543-431353C4FCD7}"/>
              </a:ext>
            </a:extLst>
          </p:cNvPr>
          <p:cNvSpPr/>
          <p:nvPr/>
        </p:nvSpPr>
        <p:spPr>
          <a:xfrm>
            <a:off x="1022350" y="2387600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E0E763B8-6FBC-F11F-3EE0-D20508649218}"/>
              </a:ext>
            </a:extLst>
          </p:cNvPr>
          <p:cNvSpPr/>
          <p:nvPr/>
        </p:nvSpPr>
        <p:spPr>
          <a:xfrm>
            <a:off x="1022350" y="3197225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E819F854-1E80-7F69-C067-1BEB6F4E24B7}"/>
              </a:ext>
            </a:extLst>
          </p:cNvPr>
          <p:cNvSpPr/>
          <p:nvPr/>
        </p:nvSpPr>
        <p:spPr>
          <a:xfrm>
            <a:off x="1022350" y="3993539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18330EBE-DF16-2380-45B8-FA2CD4C04F1F}"/>
              </a:ext>
            </a:extLst>
          </p:cNvPr>
          <p:cNvSpPr/>
          <p:nvPr/>
        </p:nvSpPr>
        <p:spPr>
          <a:xfrm>
            <a:off x="1022350" y="4803164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6FDC328C-D36C-155C-FD05-338884681826}"/>
              </a:ext>
            </a:extLst>
          </p:cNvPr>
          <p:cNvSpPr/>
          <p:nvPr/>
        </p:nvSpPr>
        <p:spPr>
          <a:xfrm>
            <a:off x="1022350" y="5580428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953984540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2CE5FF5-786B-28D7-BB9F-E88F37AEC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2CE5FF5-786B-28D7-BB9F-E88F37AEC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24">
            <a:extLst>
              <a:ext uri="{FF2B5EF4-FFF2-40B4-BE49-F238E27FC236}">
                <a16:creationId xmlns:a16="http://schemas.microsoft.com/office/drawing/2014/main" id="{8EE031CE-4126-D3CC-A749-289983F91676}"/>
              </a:ext>
            </a:extLst>
          </p:cNvPr>
          <p:cNvSpPr txBox="1"/>
          <p:nvPr/>
        </p:nvSpPr>
        <p:spPr>
          <a:xfrm>
            <a:off x="5532439" y="1799859"/>
            <a:ext cx="6288086" cy="45088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BACD5715-BA88-E8A8-305A-9E9D60FD00CA}"/>
              </a:ext>
            </a:extLst>
          </p:cNvPr>
          <p:cNvSpPr txBox="1"/>
          <p:nvPr/>
        </p:nvSpPr>
        <p:spPr>
          <a:xfrm>
            <a:off x="2043114" y="1799859"/>
            <a:ext cx="3275646" cy="45088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76948AB-D58D-D15D-9005-46CC20FA00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90625C9-1AE2-B217-3515-B9F0FDFAF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ative tabl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BAED9FB-CC1A-1F6B-6A38-0DA308987D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EE7BF9C9-E997-24C9-A5AF-B98397317623}"/>
              </a:ext>
            </a:extLst>
          </p:cNvPr>
          <p:cNvSpPr txBox="1"/>
          <p:nvPr/>
        </p:nvSpPr>
        <p:spPr>
          <a:xfrm>
            <a:off x="2043114" y="1520826"/>
            <a:ext cx="329565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1E314B1F-35DD-ABEA-E5EF-FDEAFA0E34C0}"/>
              </a:ext>
            </a:extLst>
          </p:cNvPr>
          <p:cNvSpPr txBox="1"/>
          <p:nvPr/>
        </p:nvSpPr>
        <p:spPr>
          <a:xfrm>
            <a:off x="5532439" y="1520826"/>
            <a:ext cx="6288086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11" name="Group 115">
            <a:extLst>
              <a:ext uri="{FF2B5EF4-FFF2-40B4-BE49-F238E27FC236}">
                <a16:creationId xmlns:a16="http://schemas.microsoft.com/office/drawing/2014/main" id="{FE467B33-0089-58D6-520A-6F46851C1C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03883" y="1874984"/>
            <a:ext cx="528759" cy="527524"/>
            <a:chOff x="1374" y="3001"/>
            <a:chExt cx="428" cy="427"/>
          </a:xfrm>
          <a:solidFill>
            <a:schemeClr val="bg2"/>
          </a:solidFill>
        </p:grpSpPr>
        <p:sp>
          <p:nvSpPr>
            <p:cNvPr id="12" name="Freeform 116">
              <a:extLst>
                <a:ext uri="{FF2B5EF4-FFF2-40B4-BE49-F238E27FC236}">
                  <a16:creationId xmlns:a16="http://schemas.microsoft.com/office/drawing/2014/main" id="{66E1ED8F-96BC-EADC-B551-0614B2199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3001"/>
              <a:ext cx="302" cy="302"/>
            </a:xfrm>
            <a:custGeom>
              <a:avLst/>
              <a:gdLst>
                <a:gd name="T0" fmla="*/ 102 w 204"/>
                <a:gd name="T1" fmla="*/ 204 h 204"/>
                <a:gd name="T2" fmla="*/ 0 w 204"/>
                <a:gd name="T3" fmla="*/ 102 h 204"/>
                <a:gd name="T4" fmla="*/ 102 w 204"/>
                <a:gd name="T5" fmla="*/ 0 h 204"/>
                <a:gd name="T6" fmla="*/ 204 w 204"/>
                <a:gd name="T7" fmla="*/ 102 h 204"/>
                <a:gd name="T8" fmla="*/ 102 w 204"/>
                <a:gd name="T9" fmla="*/ 204 h 204"/>
                <a:gd name="T10" fmla="*/ 102 w 204"/>
                <a:gd name="T11" fmla="*/ 12 h 204"/>
                <a:gd name="T12" fmla="*/ 12 w 204"/>
                <a:gd name="T13" fmla="*/ 102 h 204"/>
                <a:gd name="T14" fmla="*/ 102 w 204"/>
                <a:gd name="T15" fmla="*/ 192 h 204"/>
                <a:gd name="T16" fmla="*/ 192 w 204"/>
                <a:gd name="T17" fmla="*/ 102 h 204"/>
                <a:gd name="T18" fmla="*/ 102 w 204"/>
                <a:gd name="T19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4">
                  <a:moveTo>
                    <a:pt x="102" y="204"/>
                  </a:moveTo>
                  <a:cubicBezTo>
                    <a:pt x="46" y="204"/>
                    <a:pt x="0" y="158"/>
                    <a:pt x="0" y="102"/>
                  </a:cubicBezTo>
                  <a:cubicBezTo>
                    <a:pt x="0" y="46"/>
                    <a:pt x="46" y="0"/>
                    <a:pt x="102" y="0"/>
                  </a:cubicBezTo>
                  <a:cubicBezTo>
                    <a:pt x="159" y="0"/>
                    <a:pt x="204" y="46"/>
                    <a:pt x="204" y="102"/>
                  </a:cubicBezTo>
                  <a:cubicBezTo>
                    <a:pt x="204" y="158"/>
                    <a:pt x="159" y="204"/>
                    <a:pt x="102" y="204"/>
                  </a:cubicBezTo>
                  <a:close/>
                  <a:moveTo>
                    <a:pt x="102" y="12"/>
                  </a:moveTo>
                  <a:cubicBezTo>
                    <a:pt x="53" y="12"/>
                    <a:pt x="12" y="52"/>
                    <a:pt x="12" y="102"/>
                  </a:cubicBezTo>
                  <a:cubicBezTo>
                    <a:pt x="12" y="151"/>
                    <a:pt x="53" y="192"/>
                    <a:pt x="102" y="192"/>
                  </a:cubicBezTo>
                  <a:cubicBezTo>
                    <a:pt x="152" y="192"/>
                    <a:pt x="192" y="151"/>
                    <a:pt x="192" y="102"/>
                  </a:cubicBezTo>
                  <a:cubicBezTo>
                    <a:pt x="192" y="52"/>
                    <a:pt x="152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17">
              <a:extLst>
                <a:ext uri="{FF2B5EF4-FFF2-40B4-BE49-F238E27FC236}">
                  <a16:creationId xmlns:a16="http://schemas.microsoft.com/office/drawing/2014/main" id="{9FCFE371-4F4B-43D3-63D6-FD79858E3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" y="3243"/>
              <a:ext cx="185" cy="185"/>
            </a:xfrm>
            <a:custGeom>
              <a:avLst/>
              <a:gdLst>
                <a:gd name="T0" fmla="*/ 118 w 125"/>
                <a:gd name="T1" fmla="*/ 125 h 125"/>
                <a:gd name="T2" fmla="*/ 114 w 125"/>
                <a:gd name="T3" fmla="*/ 123 h 125"/>
                <a:gd name="T4" fmla="*/ 2 w 125"/>
                <a:gd name="T5" fmla="*/ 11 h 125"/>
                <a:gd name="T6" fmla="*/ 2 w 125"/>
                <a:gd name="T7" fmla="*/ 2 h 125"/>
                <a:gd name="T8" fmla="*/ 11 w 125"/>
                <a:gd name="T9" fmla="*/ 2 h 125"/>
                <a:gd name="T10" fmla="*/ 123 w 125"/>
                <a:gd name="T11" fmla="*/ 115 h 125"/>
                <a:gd name="T12" fmla="*/ 123 w 125"/>
                <a:gd name="T13" fmla="*/ 123 h 125"/>
                <a:gd name="T14" fmla="*/ 118 w 12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25">
                  <a:moveTo>
                    <a:pt x="118" y="125"/>
                  </a:moveTo>
                  <a:cubicBezTo>
                    <a:pt x="117" y="125"/>
                    <a:pt x="115" y="124"/>
                    <a:pt x="114" y="1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5" y="117"/>
                    <a:pt x="125" y="121"/>
                    <a:pt x="123" y="123"/>
                  </a:cubicBezTo>
                  <a:cubicBezTo>
                    <a:pt x="122" y="124"/>
                    <a:pt x="120" y="125"/>
                    <a:pt x="118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A52A8F07-96A5-678D-FD4E-B836CF38CE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2506" y="1923944"/>
            <a:ext cx="542724" cy="429605"/>
            <a:chOff x="3435" y="483"/>
            <a:chExt cx="427" cy="338"/>
          </a:xfrm>
          <a:solidFill>
            <a:schemeClr val="bg2"/>
          </a:solidFill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E06E82F5-A2AA-D386-B21F-D88E6C91A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5" y="483"/>
              <a:ext cx="427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4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5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1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5C703378-3E03-6003-9CB9-E133721CC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" y="572"/>
              <a:ext cx="427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Oval 30">
              <a:extLst>
                <a:ext uri="{FF2B5EF4-FFF2-40B4-BE49-F238E27FC236}">
                  <a16:creationId xmlns:a16="http://schemas.microsoft.com/office/drawing/2014/main" id="{9916146F-C65A-F9C8-D930-D4F2B3F89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Oval 31">
              <a:extLst>
                <a:ext uri="{FF2B5EF4-FFF2-40B4-BE49-F238E27FC236}">
                  <a16:creationId xmlns:a16="http://schemas.microsoft.com/office/drawing/2014/main" id="{306348E8-EDC4-0BF9-6EE3-A674022B4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32">
              <a:extLst>
                <a:ext uri="{FF2B5EF4-FFF2-40B4-BE49-F238E27FC236}">
                  <a16:creationId xmlns:a16="http://schemas.microsoft.com/office/drawing/2014/main" id="{3940AE80-EE80-EEAC-7475-6C9CEF3B1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147">
            <a:extLst>
              <a:ext uri="{FF2B5EF4-FFF2-40B4-BE49-F238E27FC236}">
                <a16:creationId xmlns:a16="http://schemas.microsoft.com/office/drawing/2014/main" id="{A46A71C7-6902-FE92-01C6-176AA89FCD90}"/>
              </a:ext>
            </a:extLst>
          </p:cNvPr>
          <p:cNvSpPr>
            <a:spLocks noEditPoints="1"/>
          </p:cNvSpPr>
          <p:nvPr/>
        </p:nvSpPr>
        <p:spPr bwMode="auto">
          <a:xfrm>
            <a:off x="8736674" y="1975711"/>
            <a:ext cx="519030" cy="326071"/>
          </a:xfrm>
          <a:custGeom>
            <a:avLst/>
            <a:gdLst>
              <a:gd name="T0" fmla="*/ 54 w 288"/>
              <a:gd name="T1" fmla="*/ 180 h 180"/>
              <a:gd name="T2" fmla="*/ 14 w 288"/>
              <a:gd name="T3" fmla="*/ 164 h 180"/>
              <a:gd name="T4" fmla="*/ 0 w 288"/>
              <a:gd name="T5" fmla="*/ 129 h 180"/>
              <a:gd name="T6" fmla="*/ 19 w 288"/>
              <a:gd name="T7" fmla="*/ 89 h 180"/>
              <a:gd name="T8" fmla="*/ 55 w 288"/>
              <a:gd name="T9" fmla="*/ 78 h 180"/>
              <a:gd name="T10" fmla="*/ 144 w 288"/>
              <a:gd name="T11" fmla="*/ 0 h 180"/>
              <a:gd name="T12" fmla="*/ 224 w 288"/>
              <a:gd name="T13" fmla="*/ 48 h 180"/>
              <a:gd name="T14" fmla="*/ 268 w 288"/>
              <a:gd name="T15" fmla="*/ 66 h 180"/>
              <a:gd name="T16" fmla="*/ 288 w 288"/>
              <a:gd name="T17" fmla="*/ 114 h 180"/>
              <a:gd name="T18" fmla="*/ 229 w 288"/>
              <a:gd name="T19" fmla="*/ 180 h 180"/>
              <a:gd name="T20" fmla="*/ 228 w 288"/>
              <a:gd name="T21" fmla="*/ 180 h 180"/>
              <a:gd name="T22" fmla="*/ 54 w 288"/>
              <a:gd name="T23" fmla="*/ 180 h 180"/>
              <a:gd name="T24" fmla="*/ 54 w 288"/>
              <a:gd name="T25" fmla="*/ 180 h 180"/>
              <a:gd name="T26" fmla="*/ 51 w 288"/>
              <a:gd name="T27" fmla="*/ 90 h 180"/>
              <a:gd name="T28" fmla="*/ 27 w 288"/>
              <a:gd name="T29" fmla="*/ 99 h 180"/>
              <a:gd name="T30" fmla="*/ 12 w 288"/>
              <a:gd name="T31" fmla="*/ 129 h 180"/>
              <a:gd name="T32" fmla="*/ 22 w 288"/>
              <a:gd name="T33" fmla="*/ 156 h 180"/>
              <a:gd name="T34" fmla="*/ 54 w 288"/>
              <a:gd name="T35" fmla="*/ 168 h 180"/>
              <a:gd name="T36" fmla="*/ 54 w 288"/>
              <a:gd name="T37" fmla="*/ 168 h 180"/>
              <a:gd name="T38" fmla="*/ 228 w 288"/>
              <a:gd name="T39" fmla="*/ 168 h 180"/>
              <a:gd name="T40" fmla="*/ 276 w 288"/>
              <a:gd name="T41" fmla="*/ 114 h 180"/>
              <a:gd name="T42" fmla="*/ 260 w 288"/>
              <a:gd name="T43" fmla="*/ 75 h 180"/>
              <a:gd name="T44" fmla="*/ 220 w 288"/>
              <a:gd name="T45" fmla="*/ 60 h 180"/>
              <a:gd name="T46" fmla="*/ 215 w 288"/>
              <a:gd name="T47" fmla="*/ 57 h 180"/>
              <a:gd name="T48" fmla="*/ 144 w 288"/>
              <a:gd name="T49" fmla="*/ 12 h 180"/>
              <a:gd name="T50" fmla="*/ 66 w 288"/>
              <a:gd name="T51" fmla="*/ 85 h 180"/>
              <a:gd name="T52" fmla="*/ 64 w 288"/>
              <a:gd name="T53" fmla="*/ 90 h 180"/>
              <a:gd name="T54" fmla="*/ 59 w 288"/>
              <a:gd name="T55" fmla="*/ 91 h 180"/>
              <a:gd name="T56" fmla="*/ 51 w 288"/>
              <a:gd name="T57" fmla="*/ 9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8" h="180">
                <a:moveTo>
                  <a:pt x="54" y="180"/>
                </a:moveTo>
                <a:cubicBezTo>
                  <a:pt x="51" y="180"/>
                  <a:pt x="29" y="179"/>
                  <a:pt x="14" y="164"/>
                </a:cubicBezTo>
                <a:cubicBezTo>
                  <a:pt x="5" y="156"/>
                  <a:pt x="0" y="144"/>
                  <a:pt x="0" y="129"/>
                </a:cubicBezTo>
                <a:cubicBezTo>
                  <a:pt x="0" y="113"/>
                  <a:pt x="7" y="99"/>
                  <a:pt x="19" y="89"/>
                </a:cubicBezTo>
                <a:cubicBezTo>
                  <a:pt x="29" y="81"/>
                  <a:pt x="42" y="77"/>
                  <a:pt x="55" y="78"/>
                </a:cubicBezTo>
                <a:cubicBezTo>
                  <a:pt x="61" y="34"/>
                  <a:pt x="99" y="0"/>
                  <a:pt x="144" y="0"/>
                </a:cubicBezTo>
                <a:cubicBezTo>
                  <a:pt x="177" y="0"/>
                  <a:pt x="208" y="19"/>
                  <a:pt x="224" y="48"/>
                </a:cubicBezTo>
                <a:cubicBezTo>
                  <a:pt x="240" y="48"/>
                  <a:pt x="256" y="55"/>
                  <a:pt x="268" y="66"/>
                </a:cubicBezTo>
                <a:cubicBezTo>
                  <a:pt x="281" y="79"/>
                  <a:pt x="288" y="96"/>
                  <a:pt x="288" y="114"/>
                </a:cubicBezTo>
                <a:cubicBezTo>
                  <a:pt x="288" y="171"/>
                  <a:pt x="230" y="180"/>
                  <a:pt x="229" y="180"/>
                </a:cubicBezTo>
                <a:cubicBezTo>
                  <a:pt x="229" y="180"/>
                  <a:pt x="228" y="180"/>
                  <a:pt x="228" y="180"/>
                </a:cubicBezTo>
                <a:cubicBezTo>
                  <a:pt x="54" y="180"/>
                  <a:pt x="54" y="180"/>
                  <a:pt x="54" y="180"/>
                </a:cubicBezTo>
                <a:cubicBezTo>
                  <a:pt x="54" y="180"/>
                  <a:pt x="54" y="180"/>
                  <a:pt x="54" y="180"/>
                </a:cubicBezTo>
                <a:close/>
                <a:moveTo>
                  <a:pt x="51" y="90"/>
                </a:moveTo>
                <a:cubicBezTo>
                  <a:pt x="42" y="90"/>
                  <a:pt x="34" y="93"/>
                  <a:pt x="27" y="99"/>
                </a:cubicBezTo>
                <a:cubicBezTo>
                  <a:pt x="17" y="106"/>
                  <a:pt x="12" y="117"/>
                  <a:pt x="12" y="129"/>
                </a:cubicBezTo>
                <a:cubicBezTo>
                  <a:pt x="12" y="140"/>
                  <a:pt x="16" y="149"/>
                  <a:pt x="22" y="156"/>
                </a:cubicBezTo>
                <a:cubicBezTo>
                  <a:pt x="34" y="168"/>
                  <a:pt x="53" y="168"/>
                  <a:pt x="54" y="168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228" y="168"/>
                  <a:pt x="228" y="168"/>
                  <a:pt x="228" y="168"/>
                </a:cubicBezTo>
                <a:cubicBezTo>
                  <a:pt x="233" y="167"/>
                  <a:pt x="276" y="159"/>
                  <a:pt x="276" y="114"/>
                </a:cubicBezTo>
                <a:cubicBezTo>
                  <a:pt x="276" y="99"/>
                  <a:pt x="270" y="85"/>
                  <a:pt x="260" y="75"/>
                </a:cubicBezTo>
                <a:cubicBezTo>
                  <a:pt x="249" y="65"/>
                  <a:pt x="235" y="59"/>
                  <a:pt x="220" y="60"/>
                </a:cubicBezTo>
                <a:cubicBezTo>
                  <a:pt x="218" y="60"/>
                  <a:pt x="216" y="59"/>
                  <a:pt x="215" y="57"/>
                </a:cubicBezTo>
                <a:cubicBezTo>
                  <a:pt x="202" y="29"/>
                  <a:pt x="174" y="12"/>
                  <a:pt x="144" y="12"/>
                </a:cubicBezTo>
                <a:cubicBezTo>
                  <a:pt x="103" y="12"/>
                  <a:pt x="69" y="44"/>
                  <a:pt x="66" y="85"/>
                </a:cubicBezTo>
                <a:cubicBezTo>
                  <a:pt x="66" y="87"/>
                  <a:pt x="66" y="88"/>
                  <a:pt x="64" y="90"/>
                </a:cubicBezTo>
                <a:cubicBezTo>
                  <a:pt x="63" y="91"/>
                  <a:pt x="61" y="91"/>
                  <a:pt x="59" y="91"/>
                </a:cubicBezTo>
                <a:cubicBezTo>
                  <a:pt x="57" y="90"/>
                  <a:pt x="54" y="90"/>
                  <a:pt x="51" y="9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1" name="Group 39">
            <a:extLst>
              <a:ext uri="{FF2B5EF4-FFF2-40B4-BE49-F238E27FC236}">
                <a16:creationId xmlns:a16="http://schemas.microsoft.com/office/drawing/2014/main" id="{F4B13B17-ADF7-8059-58B8-8E4711DAEC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3107" y="1895569"/>
            <a:ext cx="487497" cy="486354"/>
            <a:chOff x="3441" y="439"/>
            <a:chExt cx="427" cy="426"/>
          </a:xfrm>
          <a:solidFill>
            <a:schemeClr val="bg2"/>
          </a:solidFill>
        </p:grpSpPr>
        <p:sp>
          <p:nvSpPr>
            <p:cNvPr id="22" name="Freeform 40">
              <a:extLst>
                <a:ext uri="{FF2B5EF4-FFF2-40B4-BE49-F238E27FC236}">
                  <a16:creationId xmlns:a16="http://schemas.microsoft.com/office/drawing/2014/main" id="{D4301D90-8C0E-A8BF-6BDE-B413DB9FF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1" y="439"/>
              <a:ext cx="427" cy="426"/>
            </a:xfrm>
            <a:custGeom>
              <a:avLst/>
              <a:gdLst>
                <a:gd name="T0" fmla="*/ 90 w 288"/>
                <a:gd name="T1" fmla="*/ 288 h 288"/>
                <a:gd name="T2" fmla="*/ 0 w 288"/>
                <a:gd name="T3" fmla="*/ 198 h 288"/>
                <a:gd name="T4" fmla="*/ 90 w 288"/>
                <a:gd name="T5" fmla="*/ 108 h 288"/>
                <a:gd name="T6" fmla="*/ 127 w 288"/>
                <a:gd name="T7" fmla="*/ 116 h 288"/>
                <a:gd name="T8" fmla="*/ 242 w 288"/>
                <a:gd name="T9" fmla="*/ 2 h 288"/>
                <a:gd name="T10" fmla="*/ 246 w 288"/>
                <a:gd name="T11" fmla="*/ 0 h 288"/>
                <a:gd name="T12" fmla="*/ 282 w 288"/>
                <a:gd name="T13" fmla="*/ 0 h 288"/>
                <a:gd name="T14" fmla="*/ 288 w 288"/>
                <a:gd name="T15" fmla="*/ 6 h 288"/>
                <a:gd name="T16" fmla="*/ 288 w 288"/>
                <a:gd name="T17" fmla="*/ 42 h 288"/>
                <a:gd name="T18" fmla="*/ 286 w 288"/>
                <a:gd name="T19" fmla="*/ 46 h 288"/>
                <a:gd name="T20" fmla="*/ 276 w 288"/>
                <a:gd name="T21" fmla="*/ 57 h 288"/>
                <a:gd name="T22" fmla="*/ 276 w 288"/>
                <a:gd name="T23" fmla="*/ 72 h 288"/>
                <a:gd name="T24" fmla="*/ 270 w 288"/>
                <a:gd name="T25" fmla="*/ 78 h 288"/>
                <a:gd name="T26" fmla="*/ 254 w 288"/>
                <a:gd name="T27" fmla="*/ 78 h 288"/>
                <a:gd name="T28" fmla="*/ 252 w 288"/>
                <a:gd name="T29" fmla="*/ 81 h 288"/>
                <a:gd name="T30" fmla="*/ 252 w 288"/>
                <a:gd name="T31" fmla="*/ 96 h 288"/>
                <a:gd name="T32" fmla="*/ 246 w 288"/>
                <a:gd name="T33" fmla="*/ 102 h 288"/>
                <a:gd name="T34" fmla="*/ 230 w 288"/>
                <a:gd name="T35" fmla="*/ 102 h 288"/>
                <a:gd name="T36" fmla="*/ 228 w 288"/>
                <a:gd name="T37" fmla="*/ 105 h 288"/>
                <a:gd name="T38" fmla="*/ 228 w 288"/>
                <a:gd name="T39" fmla="*/ 120 h 288"/>
                <a:gd name="T40" fmla="*/ 222 w 288"/>
                <a:gd name="T41" fmla="*/ 126 h 288"/>
                <a:gd name="T42" fmla="*/ 206 w 288"/>
                <a:gd name="T43" fmla="*/ 126 h 288"/>
                <a:gd name="T44" fmla="*/ 172 w 288"/>
                <a:gd name="T45" fmla="*/ 161 h 288"/>
                <a:gd name="T46" fmla="*/ 180 w 288"/>
                <a:gd name="T47" fmla="*/ 198 h 288"/>
                <a:gd name="T48" fmla="*/ 90 w 288"/>
                <a:gd name="T49" fmla="*/ 288 h 288"/>
                <a:gd name="T50" fmla="*/ 90 w 288"/>
                <a:gd name="T51" fmla="*/ 120 h 288"/>
                <a:gd name="T52" fmla="*/ 12 w 288"/>
                <a:gd name="T53" fmla="*/ 198 h 288"/>
                <a:gd name="T54" fmla="*/ 90 w 288"/>
                <a:gd name="T55" fmla="*/ 276 h 288"/>
                <a:gd name="T56" fmla="*/ 168 w 288"/>
                <a:gd name="T57" fmla="*/ 198 h 288"/>
                <a:gd name="T58" fmla="*/ 159 w 288"/>
                <a:gd name="T59" fmla="*/ 162 h 288"/>
                <a:gd name="T60" fmla="*/ 160 w 288"/>
                <a:gd name="T61" fmla="*/ 155 h 288"/>
                <a:gd name="T62" fmla="*/ 200 w 288"/>
                <a:gd name="T63" fmla="*/ 116 h 288"/>
                <a:gd name="T64" fmla="*/ 204 w 288"/>
                <a:gd name="T65" fmla="*/ 114 h 288"/>
                <a:gd name="T66" fmla="*/ 216 w 288"/>
                <a:gd name="T67" fmla="*/ 114 h 288"/>
                <a:gd name="T68" fmla="*/ 216 w 288"/>
                <a:gd name="T69" fmla="*/ 102 h 288"/>
                <a:gd name="T70" fmla="*/ 218 w 288"/>
                <a:gd name="T71" fmla="*/ 98 h 288"/>
                <a:gd name="T72" fmla="*/ 224 w 288"/>
                <a:gd name="T73" fmla="*/ 92 h 288"/>
                <a:gd name="T74" fmla="*/ 228 w 288"/>
                <a:gd name="T75" fmla="*/ 90 h 288"/>
                <a:gd name="T76" fmla="*/ 240 w 288"/>
                <a:gd name="T77" fmla="*/ 90 h 288"/>
                <a:gd name="T78" fmla="*/ 240 w 288"/>
                <a:gd name="T79" fmla="*/ 78 h 288"/>
                <a:gd name="T80" fmla="*/ 242 w 288"/>
                <a:gd name="T81" fmla="*/ 74 h 288"/>
                <a:gd name="T82" fmla="*/ 248 w 288"/>
                <a:gd name="T83" fmla="*/ 68 h 288"/>
                <a:gd name="T84" fmla="*/ 252 w 288"/>
                <a:gd name="T85" fmla="*/ 66 h 288"/>
                <a:gd name="T86" fmla="*/ 264 w 288"/>
                <a:gd name="T87" fmla="*/ 66 h 288"/>
                <a:gd name="T88" fmla="*/ 264 w 288"/>
                <a:gd name="T89" fmla="*/ 54 h 288"/>
                <a:gd name="T90" fmla="*/ 266 w 288"/>
                <a:gd name="T91" fmla="*/ 50 h 288"/>
                <a:gd name="T92" fmla="*/ 276 w 288"/>
                <a:gd name="T93" fmla="*/ 40 h 288"/>
                <a:gd name="T94" fmla="*/ 276 w 288"/>
                <a:gd name="T95" fmla="*/ 12 h 288"/>
                <a:gd name="T96" fmla="*/ 248 w 288"/>
                <a:gd name="T97" fmla="*/ 12 h 288"/>
                <a:gd name="T98" fmla="*/ 133 w 288"/>
                <a:gd name="T99" fmla="*/ 128 h 288"/>
                <a:gd name="T100" fmla="*/ 126 w 288"/>
                <a:gd name="T101" fmla="*/ 129 h 288"/>
                <a:gd name="T102" fmla="*/ 90 w 288"/>
                <a:gd name="T103" fmla="*/ 12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8" h="288">
                  <a:moveTo>
                    <a:pt x="90" y="288"/>
                  </a:moveTo>
                  <a:cubicBezTo>
                    <a:pt x="40" y="288"/>
                    <a:pt x="0" y="248"/>
                    <a:pt x="0" y="198"/>
                  </a:cubicBezTo>
                  <a:cubicBezTo>
                    <a:pt x="0" y="149"/>
                    <a:pt x="40" y="108"/>
                    <a:pt x="90" y="108"/>
                  </a:cubicBezTo>
                  <a:cubicBezTo>
                    <a:pt x="103" y="108"/>
                    <a:pt x="115" y="111"/>
                    <a:pt x="127" y="116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3" y="1"/>
                    <a:pt x="244" y="0"/>
                    <a:pt x="24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44"/>
                    <a:pt x="287" y="45"/>
                    <a:pt x="286" y="46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76" y="72"/>
                    <a:pt x="276" y="72"/>
                    <a:pt x="276" y="72"/>
                  </a:cubicBezTo>
                  <a:cubicBezTo>
                    <a:pt x="276" y="76"/>
                    <a:pt x="273" y="78"/>
                    <a:pt x="270" y="78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96"/>
                    <a:pt x="252" y="96"/>
                    <a:pt x="252" y="96"/>
                  </a:cubicBezTo>
                  <a:cubicBezTo>
                    <a:pt x="252" y="100"/>
                    <a:pt x="249" y="102"/>
                    <a:pt x="246" y="102"/>
                  </a:cubicBezTo>
                  <a:cubicBezTo>
                    <a:pt x="230" y="102"/>
                    <a:pt x="230" y="102"/>
                    <a:pt x="230" y="102"/>
                  </a:cubicBezTo>
                  <a:cubicBezTo>
                    <a:pt x="228" y="105"/>
                    <a:pt x="228" y="105"/>
                    <a:pt x="228" y="105"/>
                  </a:cubicBezTo>
                  <a:cubicBezTo>
                    <a:pt x="228" y="120"/>
                    <a:pt x="228" y="120"/>
                    <a:pt x="228" y="120"/>
                  </a:cubicBezTo>
                  <a:cubicBezTo>
                    <a:pt x="228" y="124"/>
                    <a:pt x="225" y="126"/>
                    <a:pt x="222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172" y="161"/>
                    <a:pt x="172" y="161"/>
                    <a:pt x="172" y="161"/>
                  </a:cubicBezTo>
                  <a:cubicBezTo>
                    <a:pt x="177" y="173"/>
                    <a:pt x="180" y="185"/>
                    <a:pt x="180" y="198"/>
                  </a:cubicBezTo>
                  <a:cubicBezTo>
                    <a:pt x="180" y="248"/>
                    <a:pt x="139" y="288"/>
                    <a:pt x="90" y="288"/>
                  </a:cubicBezTo>
                  <a:close/>
                  <a:moveTo>
                    <a:pt x="90" y="120"/>
                  </a:moveTo>
                  <a:cubicBezTo>
                    <a:pt x="47" y="120"/>
                    <a:pt x="12" y="155"/>
                    <a:pt x="12" y="198"/>
                  </a:cubicBezTo>
                  <a:cubicBezTo>
                    <a:pt x="12" y="241"/>
                    <a:pt x="47" y="276"/>
                    <a:pt x="90" y="276"/>
                  </a:cubicBezTo>
                  <a:cubicBezTo>
                    <a:pt x="133" y="276"/>
                    <a:pt x="168" y="241"/>
                    <a:pt x="168" y="198"/>
                  </a:cubicBezTo>
                  <a:cubicBezTo>
                    <a:pt x="168" y="186"/>
                    <a:pt x="165" y="174"/>
                    <a:pt x="159" y="162"/>
                  </a:cubicBezTo>
                  <a:cubicBezTo>
                    <a:pt x="158" y="160"/>
                    <a:pt x="158" y="157"/>
                    <a:pt x="160" y="155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1" y="115"/>
                    <a:pt x="202" y="114"/>
                    <a:pt x="204" y="114"/>
                  </a:cubicBezTo>
                  <a:cubicBezTo>
                    <a:pt x="216" y="114"/>
                    <a:pt x="216" y="114"/>
                    <a:pt x="216" y="114"/>
                  </a:cubicBezTo>
                  <a:cubicBezTo>
                    <a:pt x="216" y="102"/>
                    <a:pt x="216" y="102"/>
                    <a:pt x="216" y="102"/>
                  </a:cubicBezTo>
                  <a:cubicBezTo>
                    <a:pt x="216" y="101"/>
                    <a:pt x="216" y="99"/>
                    <a:pt x="218" y="98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5" y="91"/>
                    <a:pt x="226" y="90"/>
                    <a:pt x="228" y="90"/>
                  </a:cubicBezTo>
                  <a:cubicBezTo>
                    <a:pt x="240" y="90"/>
                    <a:pt x="240" y="90"/>
                    <a:pt x="240" y="90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0" y="77"/>
                    <a:pt x="240" y="75"/>
                    <a:pt x="242" y="74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49" y="67"/>
                    <a:pt x="250" y="66"/>
                    <a:pt x="252" y="66"/>
                  </a:cubicBezTo>
                  <a:cubicBezTo>
                    <a:pt x="264" y="66"/>
                    <a:pt x="264" y="66"/>
                    <a:pt x="264" y="66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4" y="53"/>
                    <a:pt x="264" y="51"/>
                    <a:pt x="266" y="50"/>
                  </a:cubicBezTo>
                  <a:cubicBezTo>
                    <a:pt x="276" y="40"/>
                    <a:pt x="276" y="40"/>
                    <a:pt x="276" y="40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1" y="130"/>
                    <a:pt x="128" y="130"/>
                    <a:pt x="126" y="129"/>
                  </a:cubicBezTo>
                  <a:cubicBezTo>
                    <a:pt x="114" y="123"/>
                    <a:pt x="102" y="120"/>
                    <a:pt x="90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41">
              <a:extLst>
                <a:ext uri="{FF2B5EF4-FFF2-40B4-BE49-F238E27FC236}">
                  <a16:creationId xmlns:a16="http://schemas.microsoft.com/office/drawing/2014/main" id="{5524C824-AB51-67F3-DD26-4EB8378F60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" y="732"/>
              <a:ext cx="72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B7230A1C-7E4A-AA5A-D10B-2907044902E6}"/>
              </a:ext>
            </a:extLst>
          </p:cNvPr>
          <p:cNvSpPr/>
          <p:nvPr/>
        </p:nvSpPr>
        <p:spPr>
          <a:xfrm>
            <a:off x="2203318" y="3248025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3A9026D7-6838-D425-E8A1-460DAF1DE68B}"/>
              </a:ext>
            </a:extLst>
          </p:cNvPr>
          <p:cNvSpPr/>
          <p:nvPr/>
        </p:nvSpPr>
        <p:spPr>
          <a:xfrm>
            <a:off x="3742506" y="3248025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9D2413F6-38E0-3A11-7C52-D6675B4E2A4B}"/>
              </a:ext>
            </a:extLst>
          </p:cNvPr>
          <p:cNvSpPr/>
          <p:nvPr/>
        </p:nvSpPr>
        <p:spPr>
          <a:xfrm>
            <a:off x="2203318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0AB457E3-D91F-55D6-8627-4219920B0FB9}"/>
              </a:ext>
            </a:extLst>
          </p:cNvPr>
          <p:cNvSpPr/>
          <p:nvPr/>
        </p:nvSpPr>
        <p:spPr>
          <a:xfrm>
            <a:off x="3742506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4DE94F7-6874-5FC5-F6AB-E3F712EA82D8}"/>
              </a:ext>
            </a:extLst>
          </p:cNvPr>
          <p:cNvSpPr/>
          <p:nvPr/>
        </p:nvSpPr>
        <p:spPr>
          <a:xfrm>
            <a:off x="2203318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0" name="Rectángulo 25599">
            <a:extLst>
              <a:ext uri="{FF2B5EF4-FFF2-40B4-BE49-F238E27FC236}">
                <a16:creationId xmlns:a16="http://schemas.microsoft.com/office/drawing/2014/main" id="{E18C7043-6028-00C9-1805-3B149BE2222E}"/>
              </a:ext>
            </a:extLst>
          </p:cNvPr>
          <p:cNvSpPr/>
          <p:nvPr/>
        </p:nvSpPr>
        <p:spPr>
          <a:xfrm>
            <a:off x="3742506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7" name="Rectángulo 25606">
            <a:extLst>
              <a:ext uri="{FF2B5EF4-FFF2-40B4-BE49-F238E27FC236}">
                <a16:creationId xmlns:a16="http://schemas.microsoft.com/office/drawing/2014/main" id="{E12EF6C2-98DD-5E4D-9C07-A08283B69C2E}"/>
              </a:ext>
            </a:extLst>
          </p:cNvPr>
          <p:cNvSpPr/>
          <p:nvPr/>
        </p:nvSpPr>
        <p:spPr>
          <a:xfrm>
            <a:off x="10273107" y="3248025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8" name="Rectángulo 25607">
            <a:extLst>
              <a:ext uri="{FF2B5EF4-FFF2-40B4-BE49-F238E27FC236}">
                <a16:creationId xmlns:a16="http://schemas.microsoft.com/office/drawing/2014/main" id="{46E39F06-D438-01A9-CD53-B3C5418FB04B}"/>
              </a:ext>
            </a:extLst>
          </p:cNvPr>
          <p:cNvSpPr/>
          <p:nvPr/>
        </p:nvSpPr>
        <p:spPr>
          <a:xfrm>
            <a:off x="5663808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9" name="Rectángulo 25608">
            <a:extLst>
              <a:ext uri="{FF2B5EF4-FFF2-40B4-BE49-F238E27FC236}">
                <a16:creationId xmlns:a16="http://schemas.microsoft.com/office/drawing/2014/main" id="{032D8F6A-AD17-E638-BA3F-5BAD252F3984}"/>
              </a:ext>
            </a:extLst>
          </p:cNvPr>
          <p:cNvSpPr/>
          <p:nvPr/>
        </p:nvSpPr>
        <p:spPr>
          <a:xfrm>
            <a:off x="7200241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0" name="Rectángulo 25609">
            <a:extLst>
              <a:ext uri="{FF2B5EF4-FFF2-40B4-BE49-F238E27FC236}">
                <a16:creationId xmlns:a16="http://schemas.microsoft.com/office/drawing/2014/main" id="{34AADF13-C67B-E7DE-4F2D-0E489E76B87E}"/>
              </a:ext>
            </a:extLst>
          </p:cNvPr>
          <p:cNvSpPr/>
          <p:nvPr/>
        </p:nvSpPr>
        <p:spPr>
          <a:xfrm>
            <a:off x="8736674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1" name="Rectángulo 25610">
            <a:extLst>
              <a:ext uri="{FF2B5EF4-FFF2-40B4-BE49-F238E27FC236}">
                <a16:creationId xmlns:a16="http://schemas.microsoft.com/office/drawing/2014/main" id="{E71E4A6C-1E31-17D7-740A-4A97A70A3629}"/>
              </a:ext>
            </a:extLst>
          </p:cNvPr>
          <p:cNvSpPr/>
          <p:nvPr/>
        </p:nvSpPr>
        <p:spPr>
          <a:xfrm>
            <a:off x="10273107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2" name="Rectángulo 25611">
            <a:extLst>
              <a:ext uri="{FF2B5EF4-FFF2-40B4-BE49-F238E27FC236}">
                <a16:creationId xmlns:a16="http://schemas.microsoft.com/office/drawing/2014/main" id="{33A2748E-C9D3-92B9-16B0-CDA6904E5A27}"/>
              </a:ext>
            </a:extLst>
          </p:cNvPr>
          <p:cNvSpPr/>
          <p:nvPr/>
        </p:nvSpPr>
        <p:spPr>
          <a:xfrm>
            <a:off x="5663808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3" name="Rectángulo 25612">
            <a:extLst>
              <a:ext uri="{FF2B5EF4-FFF2-40B4-BE49-F238E27FC236}">
                <a16:creationId xmlns:a16="http://schemas.microsoft.com/office/drawing/2014/main" id="{9D427EC1-C10C-4B34-B99A-3A9C6E420AD0}"/>
              </a:ext>
            </a:extLst>
          </p:cNvPr>
          <p:cNvSpPr/>
          <p:nvPr/>
        </p:nvSpPr>
        <p:spPr>
          <a:xfrm>
            <a:off x="7200241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4" name="Rectángulo 25613">
            <a:extLst>
              <a:ext uri="{FF2B5EF4-FFF2-40B4-BE49-F238E27FC236}">
                <a16:creationId xmlns:a16="http://schemas.microsoft.com/office/drawing/2014/main" id="{2FC5E315-9165-F65F-89A8-F341FD0A0FFE}"/>
              </a:ext>
            </a:extLst>
          </p:cNvPr>
          <p:cNvSpPr/>
          <p:nvPr/>
        </p:nvSpPr>
        <p:spPr>
          <a:xfrm>
            <a:off x="8736674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5" name="TextBox 24">
            <a:extLst>
              <a:ext uri="{FF2B5EF4-FFF2-40B4-BE49-F238E27FC236}">
                <a16:creationId xmlns:a16="http://schemas.microsoft.com/office/drawing/2014/main" id="{65C471B4-36B7-775E-8004-204B265F2FCB}"/>
              </a:ext>
            </a:extLst>
          </p:cNvPr>
          <p:cNvSpPr txBox="1"/>
          <p:nvPr/>
        </p:nvSpPr>
        <p:spPr>
          <a:xfrm>
            <a:off x="384175" y="3248025"/>
            <a:ext cx="16230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616" name="TextBox 24">
            <a:extLst>
              <a:ext uri="{FF2B5EF4-FFF2-40B4-BE49-F238E27FC236}">
                <a16:creationId xmlns:a16="http://schemas.microsoft.com/office/drawing/2014/main" id="{D459A84E-4F23-8D1A-7B3B-E9E379FA14AC}"/>
              </a:ext>
            </a:extLst>
          </p:cNvPr>
          <p:cNvSpPr txBox="1"/>
          <p:nvPr/>
        </p:nvSpPr>
        <p:spPr>
          <a:xfrm>
            <a:off x="384175" y="4262926"/>
            <a:ext cx="16230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617" name="TextBox 24">
            <a:extLst>
              <a:ext uri="{FF2B5EF4-FFF2-40B4-BE49-F238E27FC236}">
                <a16:creationId xmlns:a16="http://schemas.microsoft.com/office/drawing/2014/main" id="{9003B71B-4D1A-04CD-7BAC-9792B61A13A0}"/>
              </a:ext>
            </a:extLst>
          </p:cNvPr>
          <p:cNvSpPr txBox="1"/>
          <p:nvPr/>
        </p:nvSpPr>
        <p:spPr>
          <a:xfrm>
            <a:off x="384175" y="5277827"/>
            <a:ext cx="16230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618" name="TextBox 24">
            <a:extLst>
              <a:ext uri="{FF2B5EF4-FFF2-40B4-BE49-F238E27FC236}">
                <a16:creationId xmlns:a16="http://schemas.microsoft.com/office/drawing/2014/main" id="{E943D5BB-BB76-2AF3-AF3C-89CC41A6562A}"/>
              </a:ext>
            </a:extLst>
          </p:cNvPr>
          <p:cNvSpPr txBox="1"/>
          <p:nvPr/>
        </p:nvSpPr>
        <p:spPr>
          <a:xfrm>
            <a:off x="2203318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19" name="TextBox 24">
            <a:extLst>
              <a:ext uri="{FF2B5EF4-FFF2-40B4-BE49-F238E27FC236}">
                <a16:creationId xmlns:a16="http://schemas.microsoft.com/office/drawing/2014/main" id="{68340CBF-4CE7-C224-0664-70EC46DBEB19}"/>
              </a:ext>
            </a:extLst>
          </p:cNvPr>
          <p:cNvSpPr txBox="1"/>
          <p:nvPr/>
        </p:nvSpPr>
        <p:spPr>
          <a:xfrm>
            <a:off x="3742506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0" name="TextBox 24">
            <a:extLst>
              <a:ext uri="{FF2B5EF4-FFF2-40B4-BE49-F238E27FC236}">
                <a16:creationId xmlns:a16="http://schemas.microsoft.com/office/drawing/2014/main" id="{75C66669-0C14-52B9-6A25-A6458D611516}"/>
              </a:ext>
            </a:extLst>
          </p:cNvPr>
          <p:cNvSpPr txBox="1"/>
          <p:nvPr/>
        </p:nvSpPr>
        <p:spPr>
          <a:xfrm>
            <a:off x="5663808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1" name="TextBox 24">
            <a:extLst>
              <a:ext uri="{FF2B5EF4-FFF2-40B4-BE49-F238E27FC236}">
                <a16:creationId xmlns:a16="http://schemas.microsoft.com/office/drawing/2014/main" id="{C03A5B49-BC24-D150-83F2-97F73A84BC76}"/>
              </a:ext>
            </a:extLst>
          </p:cNvPr>
          <p:cNvSpPr txBox="1"/>
          <p:nvPr/>
        </p:nvSpPr>
        <p:spPr>
          <a:xfrm>
            <a:off x="7200241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2" name="TextBox 24">
            <a:extLst>
              <a:ext uri="{FF2B5EF4-FFF2-40B4-BE49-F238E27FC236}">
                <a16:creationId xmlns:a16="http://schemas.microsoft.com/office/drawing/2014/main" id="{0AA193E8-5268-C0FB-80E8-95CB1C892CD9}"/>
              </a:ext>
            </a:extLst>
          </p:cNvPr>
          <p:cNvSpPr txBox="1"/>
          <p:nvPr/>
        </p:nvSpPr>
        <p:spPr>
          <a:xfrm>
            <a:off x="8736674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3" name="TextBox 24">
            <a:extLst>
              <a:ext uri="{FF2B5EF4-FFF2-40B4-BE49-F238E27FC236}">
                <a16:creationId xmlns:a16="http://schemas.microsoft.com/office/drawing/2014/main" id="{55F42599-AC81-DDC1-A62A-7115FDE309D2}"/>
              </a:ext>
            </a:extLst>
          </p:cNvPr>
          <p:cNvSpPr txBox="1"/>
          <p:nvPr/>
        </p:nvSpPr>
        <p:spPr>
          <a:xfrm>
            <a:off x="10273107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25624" name="Group 109">
            <a:extLst>
              <a:ext uri="{FF2B5EF4-FFF2-40B4-BE49-F238E27FC236}">
                <a16:creationId xmlns:a16="http://schemas.microsoft.com/office/drawing/2014/main" id="{469CEE20-700E-CE21-51C8-9AD81C5D4A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00241" y="1941693"/>
            <a:ext cx="392301" cy="522252"/>
            <a:chOff x="1423" y="2994"/>
            <a:chExt cx="320" cy="426"/>
          </a:xfrm>
          <a:solidFill>
            <a:schemeClr val="bg2"/>
          </a:solidFill>
        </p:grpSpPr>
        <p:sp>
          <p:nvSpPr>
            <p:cNvPr id="25625" name="Freeform 110">
              <a:extLst>
                <a:ext uri="{FF2B5EF4-FFF2-40B4-BE49-F238E27FC236}">
                  <a16:creationId xmlns:a16="http://schemas.microsoft.com/office/drawing/2014/main" id="{CB458AEF-EAD6-CBF3-FED3-525700EF3F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9" y="3234"/>
              <a:ext cx="88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60" y="14"/>
                    <a:pt x="60" y="30"/>
                  </a:cubicBezTo>
                  <a:cubicBezTo>
                    <a:pt x="60" y="47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26" name="Freeform 111">
              <a:extLst>
                <a:ext uri="{FF2B5EF4-FFF2-40B4-BE49-F238E27FC236}">
                  <a16:creationId xmlns:a16="http://schemas.microsoft.com/office/drawing/2014/main" id="{2E80C3AD-182C-1758-444E-017FED280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3" y="3154"/>
              <a:ext cx="320" cy="266"/>
            </a:xfrm>
            <a:custGeom>
              <a:avLst/>
              <a:gdLst>
                <a:gd name="T0" fmla="*/ 162 w 216"/>
                <a:gd name="T1" fmla="*/ 180 h 180"/>
                <a:gd name="T2" fmla="*/ 54 w 216"/>
                <a:gd name="T3" fmla="*/ 180 h 180"/>
                <a:gd name="T4" fmla="*/ 0 w 216"/>
                <a:gd name="T5" fmla="*/ 126 h 180"/>
                <a:gd name="T6" fmla="*/ 0 w 216"/>
                <a:gd name="T7" fmla="*/ 54 h 180"/>
                <a:gd name="T8" fmla="*/ 54 w 216"/>
                <a:gd name="T9" fmla="*/ 0 h 180"/>
                <a:gd name="T10" fmla="*/ 162 w 216"/>
                <a:gd name="T11" fmla="*/ 0 h 180"/>
                <a:gd name="T12" fmla="*/ 216 w 216"/>
                <a:gd name="T13" fmla="*/ 54 h 180"/>
                <a:gd name="T14" fmla="*/ 216 w 216"/>
                <a:gd name="T15" fmla="*/ 126 h 180"/>
                <a:gd name="T16" fmla="*/ 162 w 216"/>
                <a:gd name="T17" fmla="*/ 180 h 180"/>
                <a:gd name="T18" fmla="*/ 54 w 216"/>
                <a:gd name="T19" fmla="*/ 12 h 180"/>
                <a:gd name="T20" fmla="*/ 12 w 216"/>
                <a:gd name="T21" fmla="*/ 54 h 180"/>
                <a:gd name="T22" fmla="*/ 12 w 216"/>
                <a:gd name="T23" fmla="*/ 126 h 180"/>
                <a:gd name="T24" fmla="*/ 54 w 216"/>
                <a:gd name="T25" fmla="*/ 168 h 180"/>
                <a:gd name="T26" fmla="*/ 162 w 216"/>
                <a:gd name="T27" fmla="*/ 168 h 180"/>
                <a:gd name="T28" fmla="*/ 204 w 216"/>
                <a:gd name="T29" fmla="*/ 126 h 180"/>
                <a:gd name="T30" fmla="*/ 204 w 216"/>
                <a:gd name="T31" fmla="*/ 54 h 180"/>
                <a:gd name="T32" fmla="*/ 162 w 216"/>
                <a:gd name="T33" fmla="*/ 12 h 180"/>
                <a:gd name="T34" fmla="*/ 54 w 216"/>
                <a:gd name="T35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6" h="180">
                  <a:moveTo>
                    <a:pt x="162" y="180"/>
                  </a:moveTo>
                  <a:cubicBezTo>
                    <a:pt x="54" y="180"/>
                    <a:pt x="54" y="180"/>
                    <a:pt x="54" y="180"/>
                  </a:cubicBezTo>
                  <a:cubicBezTo>
                    <a:pt x="24" y="180"/>
                    <a:pt x="0" y="156"/>
                    <a:pt x="0" y="12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91" y="0"/>
                    <a:pt x="216" y="24"/>
                    <a:pt x="216" y="54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56"/>
                    <a:pt x="191" y="180"/>
                    <a:pt x="162" y="180"/>
                  </a:cubicBezTo>
                  <a:close/>
                  <a:moveTo>
                    <a:pt x="54" y="12"/>
                  </a:moveTo>
                  <a:cubicBezTo>
                    <a:pt x="30" y="12"/>
                    <a:pt x="12" y="31"/>
                    <a:pt x="12" y="54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49"/>
                    <a:pt x="30" y="168"/>
                    <a:pt x="54" y="168"/>
                  </a:cubicBezTo>
                  <a:cubicBezTo>
                    <a:pt x="162" y="168"/>
                    <a:pt x="162" y="168"/>
                    <a:pt x="162" y="168"/>
                  </a:cubicBezTo>
                  <a:cubicBezTo>
                    <a:pt x="185" y="168"/>
                    <a:pt x="204" y="149"/>
                    <a:pt x="204" y="126"/>
                  </a:cubicBezTo>
                  <a:cubicBezTo>
                    <a:pt x="204" y="54"/>
                    <a:pt x="204" y="54"/>
                    <a:pt x="204" y="54"/>
                  </a:cubicBezTo>
                  <a:cubicBezTo>
                    <a:pt x="204" y="31"/>
                    <a:pt x="185" y="12"/>
                    <a:pt x="162" y="12"/>
                  </a:cubicBezTo>
                  <a:lnTo>
                    <a:pt x="5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27" name="Freeform 112">
              <a:extLst>
                <a:ext uri="{FF2B5EF4-FFF2-40B4-BE49-F238E27FC236}">
                  <a16:creationId xmlns:a16="http://schemas.microsoft.com/office/drawing/2014/main" id="{B3B6A9AB-593A-4E39-9035-5A237F249C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6" y="2994"/>
              <a:ext cx="214" cy="177"/>
            </a:xfrm>
            <a:custGeom>
              <a:avLst/>
              <a:gdLst>
                <a:gd name="T0" fmla="*/ 138 w 144"/>
                <a:gd name="T1" fmla="*/ 120 h 120"/>
                <a:gd name="T2" fmla="*/ 6 w 144"/>
                <a:gd name="T3" fmla="*/ 120 h 120"/>
                <a:gd name="T4" fmla="*/ 0 w 144"/>
                <a:gd name="T5" fmla="*/ 114 h 120"/>
                <a:gd name="T6" fmla="*/ 0 w 144"/>
                <a:gd name="T7" fmla="*/ 72 h 120"/>
                <a:gd name="T8" fmla="*/ 72 w 144"/>
                <a:gd name="T9" fmla="*/ 0 h 120"/>
                <a:gd name="T10" fmla="*/ 144 w 144"/>
                <a:gd name="T11" fmla="*/ 72 h 120"/>
                <a:gd name="T12" fmla="*/ 144 w 144"/>
                <a:gd name="T13" fmla="*/ 114 h 120"/>
                <a:gd name="T14" fmla="*/ 138 w 144"/>
                <a:gd name="T15" fmla="*/ 120 h 120"/>
                <a:gd name="T16" fmla="*/ 12 w 144"/>
                <a:gd name="T17" fmla="*/ 108 h 120"/>
                <a:gd name="T18" fmla="*/ 132 w 144"/>
                <a:gd name="T19" fmla="*/ 108 h 120"/>
                <a:gd name="T20" fmla="*/ 132 w 144"/>
                <a:gd name="T21" fmla="*/ 72 h 120"/>
                <a:gd name="T22" fmla="*/ 72 w 144"/>
                <a:gd name="T23" fmla="*/ 12 h 120"/>
                <a:gd name="T24" fmla="*/ 12 w 144"/>
                <a:gd name="T25" fmla="*/ 72 h 120"/>
                <a:gd name="T26" fmla="*/ 12 w 144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8"/>
                    <a:pt x="0" y="11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1" y="0"/>
                    <a:pt x="144" y="33"/>
                    <a:pt x="144" y="72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8"/>
                    <a:pt x="141" y="120"/>
                    <a:pt x="138" y="120"/>
                  </a:cubicBezTo>
                  <a:close/>
                  <a:moveTo>
                    <a:pt x="12" y="108"/>
                  </a:moveTo>
                  <a:cubicBezTo>
                    <a:pt x="132" y="108"/>
                    <a:pt x="132" y="108"/>
                    <a:pt x="132" y="108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2" y="39"/>
                    <a:pt x="105" y="12"/>
                    <a:pt x="72" y="12"/>
                  </a:cubicBezTo>
                  <a:cubicBezTo>
                    <a:pt x="39" y="12"/>
                    <a:pt x="12" y="39"/>
                    <a:pt x="12" y="72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5628" name="Group 40">
            <a:extLst>
              <a:ext uri="{FF2B5EF4-FFF2-40B4-BE49-F238E27FC236}">
                <a16:creationId xmlns:a16="http://schemas.microsoft.com/office/drawing/2014/main" id="{4AB54D8E-7622-EB4E-5ABE-55DC0D7123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63808" y="1912076"/>
            <a:ext cx="561630" cy="519540"/>
            <a:chOff x="3438" y="454"/>
            <a:chExt cx="427" cy="395"/>
          </a:xfrm>
          <a:solidFill>
            <a:schemeClr val="bg2"/>
          </a:solidFill>
        </p:grpSpPr>
        <p:sp>
          <p:nvSpPr>
            <p:cNvPr id="25629" name="Freeform 41">
              <a:extLst>
                <a:ext uri="{FF2B5EF4-FFF2-40B4-BE49-F238E27FC236}">
                  <a16:creationId xmlns:a16="http://schemas.microsoft.com/office/drawing/2014/main" id="{29B37A2E-CFB8-8AD8-1225-D53953648D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8" y="653"/>
              <a:ext cx="196" cy="19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5"/>
                    <a:pt x="36" y="120"/>
                    <a:pt x="66" y="120"/>
                  </a:cubicBezTo>
                  <a:cubicBezTo>
                    <a:pt x="96" y="120"/>
                    <a:pt x="120" y="95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0" name="Freeform 42">
              <a:extLst>
                <a:ext uri="{FF2B5EF4-FFF2-40B4-BE49-F238E27FC236}">
                  <a16:creationId xmlns:a16="http://schemas.microsoft.com/office/drawing/2014/main" id="{955811E9-A32D-FDD1-B367-B24220FAD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" y="457"/>
              <a:ext cx="179" cy="250"/>
            </a:xfrm>
            <a:custGeom>
              <a:avLst/>
              <a:gdLst>
                <a:gd name="T0" fmla="*/ 7 w 121"/>
                <a:gd name="T1" fmla="*/ 169 h 169"/>
                <a:gd name="T2" fmla="*/ 4 w 121"/>
                <a:gd name="T3" fmla="*/ 168 h 169"/>
                <a:gd name="T4" fmla="*/ 1 w 121"/>
                <a:gd name="T5" fmla="*/ 160 h 169"/>
                <a:gd name="T6" fmla="*/ 37 w 121"/>
                <a:gd name="T7" fmla="*/ 76 h 169"/>
                <a:gd name="T8" fmla="*/ 39 w 121"/>
                <a:gd name="T9" fmla="*/ 74 h 169"/>
                <a:gd name="T10" fmla="*/ 56 w 121"/>
                <a:gd name="T11" fmla="*/ 57 h 169"/>
                <a:gd name="T12" fmla="*/ 73 w 121"/>
                <a:gd name="T13" fmla="*/ 11 h 169"/>
                <a:gd name="T14" fmla="*/ 75 w 121"/>
                <a:gd name="T15" fmla="*/ 8 h 169"/>
                <a:gd name="T16" fmla="*/ 97 w 121"/>
                <a:gd name="T17" fmla="*/ 0 h 169"/>
                <a:gd name="T18" fmla="*/ 119 w 121"/>
                <a:gd name="T19" fmla="*/ 8 h 169"/>
                <a:gd name="T20" fmla="*/ 121 w 121"/>
                <a:gd name="T21" fmla="*/ 13 h 169"/>
                <a:gd name="T22" fmla="*/ 121 w 121"/>
                <a:gd name="T23" fmla="*/ 61 h 169"/>
                <a:gd name="T24" fmla="*/ 115 w 121"/>
                <a:gd name="T25" fmla="*/ 67 h 169"/>
                <a:gd name="T26" fmla="*/ 109 w 121"/>
                <a:gd name="T27" fmla="*/ 61 h 169"/>
                <a:gd name="T28" fmla="*/ 109 w 121"/>
                <a:gd name="T29" fmla="*/ 15 h 169"/>
                <a:gd name="T30" fmla="*/ 84 w 121"/>
                <a:gd name="T31" fmla="*/ 16 h 169"/>
                <a:gd name="T32" fmla="*/ 66 w 121"/>
                <a:gd name="T33" fmla="*/ 63 h 169"/>
                <a:gd name="T34" fmla="*/ 65 w 121"/>
                <a:gd name="T35" fmla="*/ 65 h 169"/>
                <a:gd name="T36" fmla="*/ 48 w 121"/>
                <a:gd name="T37" fmla="*/ 82 h 169"/>
                <a:gd name="T38" fmla="*/ 12 w 121"/>
                <a:gd name="T39" fmla="*/ 165 h 169"/>
                <a:gd name="T40" fmla="*/ 7 w 121"/>
                <a:gd name="T41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" h="169">
                  <a:moveTo>
                    <a:pt x="7" y="169"/>
                  </a:moveTo>
                  <a:cubicBezTo>
                    <a:pt x="6" y="169"/>
                    <a:pt x="5" y="168"/>
                    <a:pt x="4" y="168"/>
                  </a:cubicBezTo>
                  <a:cubicBezTo>
                    <a:pt x="1" y="167"/>
                    <a:pt x="0" y="163"/>
                    <a:pt x="1" y="160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5"/>
                    <a:pt x="39" y="74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4" y="10"/>
                    <a:pt x="74" y="9"/>
                    <a:pt x="75" y="8"/>
                  </a:cubicBezTo>
                  <a:cubicBezTo>
                    <a:pt x="80" y="3"/>
                    <a:pt x="88" y="0"/>
                    <a:pt x="97" y="0"/>
                  </a:cubicBezTo>
                  <a:cubicBezTo>
                    <a:pt x="106" y="0"/>
                    <a:pt x="114" y="3"/>
                    <a:pt x="119" y="8"/>
                  </a:cubicBezTo>
                  <a:cubicBezTo>
                    <a:pt x="120" y="10"/>
                    <a:pt x="121" y="11"/>
                    <a:pt x="121" y="13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1" y="64"/>
                    <a:pt x="118" y="67"/>
                    <a:pt x="115" y="67"/>
                  </a:cubicBezTo>
                  <a:cubicBezTo>
                    <a:pt x="112" y="67"/>
                    <a:pt x="109" y="64"/>
                    <a:pt x="109" y="61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02" y="10"/>
                    <a:pt x="90" y="11"/>
                    <a:pt x="84" y="16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4"/>
                    <a:pt x="66" y="64"/>
                    <a:pt x="65" y="65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12" y="165"/>
                    <a:pt x="12" y="165"/>
                    <a:pt x="12" y="165"/>
                  </a:cubicBezTo>
                  <a:cubicBezTo>
                    <a:pt x="11" y="167"/>
                    <a:pt x="9" y="169"/>
                    <a:pt x="7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1" name="Freeform 43">
              <a:extLst>
                <a:ext uri="{FF2B5EF4-FFF2-40B4-BE49-F238E27FC236}">
                  <a16:creationId xmlns:a16="http://schemas.microsoft.com/office/drawing/2014/main" id="{AEDE7B81-3027-A05C-A38D-73971DF0FF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9" y="653"/>
              <a:ext cx="196" cy="19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5"/>
                    <a:pt x="36" y="120"/>
                    <a:pt x="66" y="120"/>
                  </a:cubicBezTo>
                  <a:cubicBezTo>
                    <a:pt x="96" y="120"/>
                    <a:pt x="120" y="95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2" name="Freeform 44">
              <a:extLst>
                <a:ext uri="{FF2B5EF4-FFF2-40B4-BE49-F238E27FC236}">
                  <a16:creationId xmlns:a16="http://schemas.microsoft.com/office/drawing/2014/main" id="{05FDFDC2-F6C0-7305-CA20-FCF2965A3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454"/>
              <a:ext cx="179" cy="253"/>
            </a:xfrm>
            <a:custGeom>
              <a:avLst/>
              <a:gdLst>
                <a:gd name="T0" fmla="*/ 114 w 121"/>
                <a:gd name="T1" fmla="*/ 171 h 171"/>
                <a:gd name="T2" fmla="*/ 108 w 121"/>
                <a:gd name="T3" fmla="*/ 167 h 171"/>
                <a:gd name="T4" fmla="*/ 73 w 121"/>
                <a:gd name="T5" fmla="*/ 84 h 171"/>
                <a:gd name="T6" fmla="*/ 56 w 121"/>
                <a:gd name="T7" fmla="*/ 67 h 171"/>
                <a:gd name="T8" fmla="*/ 54 w 121"/>
                <a:gd name="T9" fmla="*/ 65 h 171"/>
                <a:gd name="T10" fmla="*/ 37 w 121"/>
                <a:gd name="T11" fmla="*/ 19 h 171"/>
                <a:gd name="T12" fmla="*/ 12 w 121"/>
                <a:gd name="T13" fmla="*/ 18 h 171"/>
                <a:gd name="T14" fmla="*/ 12 w 121"/>
                <a:gd name="T15" fmla="*/ 63 h 171"/>
                <a:gd name="T16" fmla="*/ 6 w 121"/>
                <a:gd name="T17" fmla="*/ 69 h 171"/>
                <a:gd name="T18" fmla="*/ 0 w 121"/>
                <a:gd name="T19" fmla="*/ 63 h 171"/>
                <a:gd name="T20" fmla="*/ 0 w 121"/>
                <a:gd name="T21" fmla="*/ 15 h 171"/>
                <a:gd name="T22" fmla="*/ 2 w 121"/>
                <a:gd name="T23" fmla="*/ 11 h 171"/>
                <a:gd name="T24" fmla="*/ 46 w 121"/>
                <a:gd name="T25" fmla="*/ 11 h 171"/>
                <a:gd name="T26" fmla="*/ 47 w 121"/>
                <a:gd name="T27" fmla="*/ 13 h 171"/>
                <a:gd name="T28" fmla="*/ 65 w 121"/>
                <a:gd name="T29" fmla="*/ 59 h 171"/>
                <a:gd name="T30" fmla="*/ 82 w 121"/>
                <a:gd name="T31" fmla="*/ 76 h 171"/>
                <a:gd name="T32" fmla="*/ 83 w 121"/>
                <a:gd name="T33" fmla="*/ 78 h 171"/>
                <a:gd name="T34" fmla="*/ 119 w 121"/>
                <a:gd name="T35" fmla="*/ 162 h 171"/>
                <a:gd name="T36" fmla="*/ 116 w 121"/>
                <a:gd name="T37" fmla="*/ 170 h 171"/>
                <a:gd name="T38" fmla="*/ 114 w 121"/>
                <a:gd name="T3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171">
                  <a:moveTo>
                    <a:pt x="114" y="171"/>
                  </a:moveTo>
                  <a:cubicBezTo>
                    <a:pt x="112" y="171"/>
                    <a:pt x="109" y="169"/>
                    <a:pt x="108" y="167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5" y="66"/>
                    <a:pt x="55" y="66"/>
                    <a:pt x="54" y="6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0" y="13"/>
                    <a:pt x="19" y="13"/>
                    <a:pt x="12" y="18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6"/>
                    <a:pt x="9" y="69"/>
                    <a:pt x="6" y="69"/>
                  </a:cubicBezTo>
                  <a:cubicBezTo>
                    <a:pt x="3" y="69"/>
                    <a:pt x="0" y="66"/>
                    <a:pt x="0" y="6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13" y="0"/>
                    <a:pt x="35" y="0"/>
                    <a:pt x="46" y="11"/>
                  </a:cubicBezTo>
                  <a:cubicBezTo>
                    <a:pt x="47" y="12"/>
                    <a:pt x="47" y="12"/>
                    <a:pt x="47" y="13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7"/>
                    <a:pt x="83" y="78"/>
                    <a:pt x="83" y="78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21" y="165"/>
                    <a:pt x="119" y="169"/>
                    <a:pt x="116" y="170"/>
                  </a:cubicBezTo>
                  <a:cubicBezTo>
                    <a:pt x="115" y="170"/>
                    <a:pt x="115" y="171"/>
                    <a:pt x="114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3" name="Freeform 45">
              <a:extLst>
                <a:ext uri="{FF2B5EF4-FFF2-40B4-BE49-F238E27FC236}">
                  <a16:creationId xmlns:a16="http://schemas.microsoft.com/office/drawing/2014/main" id="{5B2E3C78-2F7D-3A56-C986-90C200282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574"/>
              <a:ext cx="159" cy="53"/>
            </a:xfrm>
            <a:custGeom>
              <a:avLst/>
              <a:gdLst>
                <a:gd name="T0" fmla="*/ 102 w 108"/>
                <a:gd name="T1" fmla="*/ 36 h 36"/>
                <a:gd name="T2" fmla="*/ 96 w 108"/>
                <a:gd name="T3" fmla="*/ 30 h 36"/>
                <a:gd name="T4" fmla="*/ 54 w 108"/>
                <a:gd name="T5" fmla="*/ 12 h 36"/>
                <a:gd name="T6" fmla="*/ 12 w 108"/>
                <a:gd name="T7" fmla="*/ 30 h 36"/>
                <a:gd name="T8" fmla="*/ 6 w 108"/>
                <a:gd name="T9" fmla="*/ 36 h 36"/>
                <a:gd name="T10" fmla="*/ 0 w 108"/>
                <a:gd name="T11" fmla="*/ 30 h 36"/>
                <a:gd name="T12" fmla="*/ 54 w 108"/>
                <a:gd name="T13" fmla="*/ 0 h 36"/>
                <a:gd name="T14" fmla="*/ 108 w 108"/>
                <a:gd name="T15" fmla="*/ 30 h 36"/>
                <a:gd name="T16" fmla="*/ 102 w 108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36">
                  <a:moveTo>
                    <a:pt x="102" y="36"/>
                  </a:moveTo>
                  <a:cubicBezTo>
                    <a:pt x="99" y="36"/>
                    <a:pt x="96" y="33"/>
                    <a:pt x="96" y="30"/>
                  </a:cubicBezTo>
                  <a:cubicBezTo>
                    <a:pt x="96" y="21"/>
                    <a:pt x="78" y="12"/>
                    <a:pt x="54" y="12"/>
                  </a:cubicBezTo>
                  <a:cubicBezTo>
                    <a:pt x="30" y="12"/>
                    <a:pt x="12" y="21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13"/>
                    <a:pt x="23" y="0"/>
                    <a:pt x="54" y="0"/>
                  </a:cubicBezTo>
                  <a:cubicBezTo>
                    <a:pt x="85" y="0"/>
                    <a:pt x="108" y="13"/>
                    <a:pt x="108" y="30"/>
                  </a:cubicBezTo>
                  <a:cubicBezTo>
                    <a:pt x="108" y="33"/>
                    <a:pt x="105" y="36"/>
                    <a:pt x="10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4" name="Freeform 46">
              <a:extLst>
                <a:ext uri="{FF2B5EF4-FFF2-40B4-BE49-F238E27FC236}">
                  <a16:creationId xmlns:a16="http://schemas.microsoft.com/office/drawing/2014/main" id="{6F655F39-111C-7484-FFC2-641C4068A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575"/>
              <a:ext cx="18" cy="185"/>
            </a:xfrm>
            <a:custGeom>
              <a:avLst/>
              <a:gdLst>
                <a:gd name="T0" fmla="*/ 6 w 12"/>
                <a:gd name="T1" fmla="*/ 125 h 125"/>
                <a:gd name="T2" fmla="*/ 0 w 12"/>
                <a:gd name="T3" fmla="*/ 119 h 125"/>
                <a:gd name="T4" fmla="*/ 0 w 12"/>
                <a:gd name="T5" fmla="*/ 6 h 125"/>
                <a:gd name="T6" fmla="*/ 6 w 12"/>
                <a:gd name="T7" fmla="*/ 0 h 125"/>
                <a:gd name="T8" fmla="*/ 12 w 12"/>
                <a:gd name="T9" fmla="*/ 6 h 125"/>
                <a:gd name="T10" fmla="*/ 12 w 12"/>
                <a:gd name="T11" fmla="*/ 119 h 125"/>
                <a:gd name="T12" fmla="*/ 6 w 1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5">
                  <a:moveTo>
                    <a:pt x="6" y="125"/>
                  </a:moveTo>
                  <a:cubicBezTo>
                    <a:pt x="3" y="125"/>
                    <a:pt x="0" y="122"/>
                    <a:pt x="0" y="1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2"/>
                    <a:pt x="9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5" name="Freeform 47">
              <a:extLst>
                <a:ext uri="{FF2B5EF4-FFF2-40B4-BE49-F238E27FC236}">
                  <a16:creationId xmlns:a16="http://schemas.microsoft.com/office/drawing/2014/main" id="{0B4323AC-FEC7-9C6A-9B4E-AABFC2319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575"/>
              <a:ext cx="18" cy="185"/>
            </a:xfrm>
            <a:custGeom>
              <a:avLst/>
              <a:gdLst>
                <a:gd name="T0" fmla="*/ 6 w 12"/>
                <a:gd name="T1" fmla="*/ 125 h 125"/>
                <a:gd name="T2" fmla="*/ 0 w 12"/>
                <a:gd name="T3" fmla="*/ 119 h 125"/>
                <a:gd name="T4" fmla="*/ 0 w 12"/>
                <a:gd name="T5" fmla="*/ 6 h 125"/>
                <a:gd name="T6" fmla="*/ 6 w 12"/>
                <a:gd name="T7" fmla="*/ 0 h 125"/>
                <a:gd name="T8" fmla="*/ 12 w 12"/>
                <a:gd name="T9" fmla="*/ 6 h 125"/>
                <a:gd name="T10" fmla="*/ 12 w 12"/>
                <a:gd name="T11" fmla="*/ 119 h 125"/>
                <a:gd name="T12" fmla="*/ 6 w 1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5">
                  <a:moveTo>
                    <a:pt x="6" y="125"/>
                  </a:moveTo>
                  <a:cubicBezTo>
                    <a:pt x="3" y="125"/>
                    <a:pt x="0" y="122"/>
                    <a:pt x="0" y="1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2"/>
                    <a:pt x="9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6" name="Freeform 48">
              <a:extLst>
                <a:ext uri="{FF2B5EF4-FFF2-40B4-BE49-F238E27FC236}">
                  <a16:creationId xmlns:a16="http://schemas.microsoft.com/office/drawing/2014/main" id="{ACD3715E-99CF-A3C7-C766-6EC4F7F17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4" y="689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42 w 48"/>
                <a:gd name="T5" fmla="*/ 0 h 48"/>
                <a:gd name="T6" fmla="*/ 48 w 48"/>
                <a:gd name="T7" fmla="*/ 6 h 48"/>
                <a:gd name="T8" fmla="*/ 42 w 48"/>
                <a:gd name="T9" fmla="*/ 12 h 48"/>
                <a:gd name="T10" fmla="*/ 12 w 48"/>
                <a:gd name="T11" fmla="*/ 42 h 48"/>
                <a:gd name="T12" fmla="*/ 6 w 4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25" y="12"/>
                    <a:pt x="12" y="25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7" name="Freeform 49">
              <a:extLst>
                <a:ext uri="{FF2B5EF4-FFF2-40B4-BE49-F238E27FC236}">
                  <a16:creationId xmlns:a16="http://schemas.microsoft.com/office/drawing/2014/main" id="{837E6A25-5E60-AA76-0794-8766728E1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5" y="689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42 w 48"/>
                <a:gd name="T5" fmla="*/ 0 h 48"/>
                <a:gd name="T6" fmla="*/ 48 w 48"/>
                <a:gd name="T7" fmla="*/ 6 h 48"/>
                <a:gd name="T8" fmla="*/ 42 w 48"/>
                <a:gd name="T9" fmla="*/ 12 h 48"/>
                <a:gd name="T10" fmla="*/ 12 w 48"/>
                <a:gd name="T11" fmla="*/ 42 h 48"/>
                <a:gd name="T12" fmla="*/ 6 w 4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25" y="12"/>
                    <a:pt x="12" y="25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4594541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2630843-C0AC-B126-43D5-030CD5B0D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2630843-C0AC-B126-43D5-030CD5B0D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3B2C5A4-D26F-EE7D-1392-B897B47DCD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3291F64-6FF5-7FB8-01C2-09609B980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Network analysi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043D28C-FDAE-F573-4F7D-D1FD3C662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86D94B09-1D96-30CE-B07E-79F8149CF3D3}"/>
              </a:ext>
            </a:extLst>
          </p:cNvPr>
          <p:cNvSpPr txBox="1"/>
          <p:nvPr/>
        </p:nvSpPr>
        <p:spPr>
          <a:xfrm>
            <a:off x="371475" y="1520826"/>
            <a:ext cx="565308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65BE795-F281-51F6-0152-B274258B7A35}"/>
              </a:ext>
            </a:extLst>
          </p:cNvPr>
          <p:cNvSpPr txBox="1"/>
          <p:nvPr/>
        </p:nvSpPr>
        <p:spPr>
          <a:xfrm>
            <a:off x="6167437" y="1520825"/>
            <a:ext cx="565308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B8F18DCF-BB1D-3B45-AAFE-86528FF44B04}"/>
              </a:ext>
            </a:extLst>
          </p:cNvPr>
          <p:cNvCxnSpPr>
            <a:cxnSpLocks/>
          </p:cNvCxnSpPr>
          <p:nvPr/>
        </p:nvCxnSpPr>
        <p:spPr>
          <a:xfrm flipV="1">
            <a:off x="6096000" y="1520825"/>
            <a:ext cx="0" cy="437515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ipse 10">
            <a:extLst>
              <a:ext uri="{FF2B5EF4-FFF2-40B4-BE49-F238E27FC236}">
                <a16:creationId xmlns:a16="http://schemas.microsoft.com/office/drawing/2014/main" id="{37928778-4840-08DC-FD6A-C3516C07B749}"/>
              </a:ext>
            </a:extLst>
          </p:cNvPr>
          <p:cNvSpPr/>
          <p:nvPr/>
        </p:nvSpPr>
        <p:spPr>
          <a:xfrm>
            <a:off x="4880588" y="2403579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A01E0B18-5E16-A246-A522-F2A132F316F9}"/>
              </a:ext>
            </a:extLst>
          </p:cNvPr>
          <p:cNvSpPr/>
          <p:nvPr/>
        </p:nvSpPr>
        <p:spPr>
          <a:xfrm>
            <a:off x="4348012" y="2032612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216917D2-A935-149B-3FC5-E53858E3A332}"/>
              </a:ext>
            </a:extLst>
          </p:cNvPr>
          <p:cNvSpPr/>
          <p:nvPr/>
        </p:nvSpPr>
        <p:spPr>
          <a:xfrm>
            <a:off x="3767687" y="2099024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05E61C60-5EA9-CCEF-DAD2-663759B11B15}"/>
              </a:ext>
            </a:extLst>
          </p:cNvPr>
          <p:cNvSpPr/>
          <p:nvPr/>
        </p:nvSpPr>
        <p:spPr>
          <a:xfrm>
            <a:off x="3276589" y="2326298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96A02955-6C8C-BEDD-90C0-FD5464D0E3FC}"/>
              </a:ext>
            </a:extLst>
          </p:cNvPr>
          <p:cNvSpPr/>
          <p:nvPr/>
        </p:nvSpPr>
        <p:spPr>
          <a:xfrm>
            <a:off x="3767687" y="2851530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A7FBFFBA-8E5B-8EB6-4133-6057A382EFD2}"/>
              </a:ext>
            </a:extLst>
          </p:cNvPr>
          <p:cNvSpPr/>
          <p:nvPr/>
        </p:nvSpPr>
        <p:spPr>
          <a:xfrm>
            <a:off x="4068869" y="2612789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0A586875-C11E-D104-ED6B-8DFDB73E38FE}"/>
              </a:ext>
            </a:extLst>
          </p:cNvPr>
          <p:cNvSpPr/>
          <p:nvPr/>
        </p:nvSpPr>
        <p:spPr>
          <a:xfrm>
            <a:off x="4352677" y="3006092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2156B18D-DEC7-BFFE-87E1-AC18AC77E508}"/>
              </a:ext>
            </a:extLst>
          </p:cNvPr>
          <p:cNvSpPr/>
          <p:nvPr/>
        </p:nvSpPr>
        <p:spPr>
          <a:xfrm>
            <a:off x="4720961" y="2928811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0826463-7994-1AA4-E809-3E8EA13871CC}"/>
              </a:ext>
            </a:extLst>
          </p:cNvPr>
          <p:cNvSpPr/>
          <p:nvPr/>
        </p:nvSpPr>
        <p:spPr>
          <a:xfrm>
            <a:off x="5220482" y="2611265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C973459-746F-129A-4A49-907AA7620DCA}"/>
              </a:ext>
            </a:extLst>
          </p:cNvPr>
          <p:cNvSpPr/>
          <p:nvPr/>
        </p:nvSpPr>
        <p:spPr>
          <a:xfrm>
            <a:off x="5174483" y="3127685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A4EF8480-B27F-C3DE-90A3-6716E8EF9851}"/>
              </a:ext>
            </a:extLst>
          </p:cNvPr>
          <p:cNvSpPr/>
          <p:nvPr/>
        </p:nvSpPr>
        <p:spPr>
          <a:xfrm>
            <a:off x="3788557" y="3269707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56AE76A2-55F5-8569-CFE8-1997AA701072}"/>
              </a:ext>
            </a:extLst>
          </p:cNvPr>
          <p:cNvSpPr/>
          <p:nvPr/>
        </p:nvSpPr>
        <p:spPr>
          <a:xfrm>
            <a:off x="4185236" y="3681076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C1DA99EB-250F-8060-52A9-A96062F6FFDA}"/>
              </a:ext>
            </a:extLst>
          </p:cNvPr>
          <p:cNvSpPr/>
          <p:nvPr/>
        </p:nvSpPr>
        <p:spPr>
          <a:xfrm>
            <a:off x="3302737" y="3648759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2FCD3C43-EB7A-3371-4D6D-6DE5F796F9B5}"/>
              </a:ext>
            </a:extLst>
          </p:cNvPr>
          <p:cNvSpPr/>
          <p:nvPr/>
        </p:nvSpPr>
        <p:spPr>
          <a:xfrm>
            <a:off x="2509381" y="341345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FDEEE3A8-A948-C1A8-A630-8D0AF18F040F}"/>
              </a:ext>
            </a:extLst>
          </p:cNvPr>
          <p:cNvSpPr/>
          <p:nvPr/>
        </p:nvSpPr>
        <p:spPr>
          <a:xfrm>
            <a:off x="2891368" y="3876241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5A106969-C9E8-C9C9-4111-D7F9075D140F}"/>
              </a:ext>
            </a:extLst>
          </p:cNvPr>
          <p:cNvSpPr/>
          <p:nvPr/>
        </p:nvSpPr>
        <p:spPr>
          <a:xfrm>
            <a:off x="2931770" y="4095675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14384364-7F53-E725-4580-164E03AF153E}"/>
              </a:ext>
            </a:extLst>
          </p:cNvPr>
          <p:cNvSpPr/>
          <p:nvPr/>
        </p:nvSpPr>
        <p:spPr>
          <a:xfrm>
            <a:off x="2300345" y="372604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0E15B6DE-C8E3-3F5D-9476-87BF0731BCCB}"/>
              </a:ext>
            </a:extLst>
          </p:cNvPr>
          <p:cNvSpPr/>
          <p:nvPr/>
        </p:nvSpPr>
        <p:spPr>
          <a:xfrm>
            <a:off x="2231550" y="407026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0A33E9FF-5DB4-3405-8E51-A6845326512C}"/>
              </a:ext>
            </a:extLst>
          </p:cNvPr>
          <p:cNvSpPr/>
          <p:nvPr/>
        </p:nvSpPr>
        <p:spPr>
          <a:xfrm>
            <a:off x="1640203" y="3890245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A26A1AC8-C4B9-40ED-7BAB-EA3876E8628A}"/>
              </a:ext>
            </a:extLst>
          </p:cNvPr>
          <p:cNvSpPr/>
          <p:nvPr/>
        </p:nvSpPr>
        <p:spPr>
          <a:xfrm>
            <a:off x="1368639" y="3648759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6FAA1385-2738-C84A-A089-01E8439DDA8E}"/>
              </a:ext>
            </a:extLst>
          </p:cNvPr>
          <p:cNvSpPr/>
          <p:nvPr/>
        </p:nvSpPr>
        <p:spPr>
          <a:xfrm>
            <a:off x="1368639" y="4298871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96" name="Elipse 29695">
            <a:extLst>
              <a:ext uri="{FF2B5EF4-FFF2-40B4-BE49-F238E27FC236}">
                <a16:creationId xmlns:a16="http://schemas.microsoft.com/office/drawing/2014/main" id="{661FDDFB-2B14-0267-8869-C488B2ED9F6D}"/>
              </a:ext>
            </a:extLst>
          </p:cNvPr>
          <p:cNvSpPr/>
          <p:nvPr/>
        </p:nvSpPr>
        <p:spPr>
          <a:xfrm>
            <a:off x="968288" y="458271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97" name="Elipse 29696">
            <a:extLst>
              <a:ext uri="{FF2B5EF4-FFF2-40B4-BE49-F238E27FC236}">
                <a16:creationId xmlns:a16="http://schemas.microsoft.com/office/drawing/2014/main" id="{68AE0548-B623-369D-321B-B5B4C053F38B}"/>
              </a:ext>
            </a:extLst>
          </p:cNvPr>
          <p:cNvSpPr/>
          <p:nvPr/>
        </p:nvSpPr>
        <p:spPr>
          <a:xfrm>
            <a:off x="1641809" y="4756861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99" name="Elipse 29698">
            <a:extLst>
              <a:ext uri="{FF2B5EF4-FFF2-40B4-BE49-F238E27FC236}">
                <a16:creationId xmlns:a16="http://schemas.microsoft.com/office/drawing/2014/main" id="{CB4854AF-B4CC-FC83-35E8-2129EAD64DF7}"/>
              </a:ext>
            </a:extLst>
          </p:cNvPr>
          <p:cNvSpPr/>
          <p:nvPr/>
        </p:nvSpPr>
        <p:spPr>
          <a:xfrm>
            <a:off x="2349753" y="4933738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00" name="Elipse 29699">
            <a:extLst>
              <a:ext uri="{FF2B5EF4-FFF2-40B4-BE49-F238E27FC236}">
                <a16:creationId xmlns:a16="http://schemas.microsoft.com/office/drawing/2014/main" id="{B66C1724-6A01-6041-EFCE-018055B190B8}"/>
              </a:ext>
            </a:extLst>
          </p:cNvPr>
          <p:cNvSpPr/>
          <p:nvPr/>
        </p:nvSpPr>
        <p:spPr>
          <a:xfrm>
            <a:off x="3190247" y="4365132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01" name="Elipse 29700">
            <a:extLst>
              <a:ext uri="{FF2B5EF4-FFF2-40B4-BE49-F238E27FC236}">
                <a16:creationId xmlns:a16="http://schemas.microsoft.com/office/drawing/2014/main" id="{8B9B3928-B422-7C59-8C3D-D83EAA419AF0}"/>
              </a:ext>
            </a:extLst>
          </p:cNvPr>
          <p:cNvSpPr/>
          <p:nvPr/>
        </p:nvSpPr>
        <p:spPr>
          <a:xfrm>
            <a:off x="3114312" y="4633256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02" name="Elipse 29701">
            <a:extLst>
              <a:ext uri="{FF2B5EF4-FFF2-40B4-BE49-F238E27FC236}">
                <a16:creationId xmlns:a16="http://schemas.microsoft.com/office/drawing/2014/main" id="{D9591673-ADDF-0D21-7816-5096D6052978}"/>
              </a:ext>
            </a:extLst>
          </p:cNvPr>
          <p:cNvSpPr/>
          <p:nvPr/>
        </p:nvSpPr>
        <p:spPr>
          <a:xfrm>
            <a:off x="1805546" y="5183497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9704" name="Conector recto 29703">
            <a:extLst>
              <a:ext uri="{FF2B5EF4-FFF2-40B4-BE49-F238E27FC236}">
                <a16:creationId xmlns:a16="http://schemas.microsoft.com/office/drawing/2014/main" id="{ACFAB789-87F0-DF94-2A01-8DBC43F51A9C}"/>
              </a:ext>
            </a:extLst>
          </p:cNvPr>
          <p:cNvCxnSpPr>
            <a:cxnSpLocks/>
            <a:stCxn id="14" idx="5"/>
            <a:endCxn id="15" idx="1"/>
          </p:cNvCxnSpPr>
          <p:nvPr/>
        </p:nvCxnSpPr>
        <p:spPr>
          <a:xfrm>
            <a:off x="3453505" y="2497600"/>
            <a:ext cx="344535" cy="38332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07" name="Conector recto 29706">
            <a:extLst>
              <a:ext uri="{FF2B5EF4-FFF2-40B4-BE49-F238E27FC236}">
                <a16:creationId xmlns:a16="http://schemas.microsoft.com/office/drawing/2014/main" id="{A6982A68-2C48-4E3B-BE16-708DF4C7D998}"/>
              </a:ext>
            </a:extLst>
          </p:cNvPr>
          <p:cNvCxnSpPr>
            <a:cxnSpLocks/>
            <a:stCxn id="13" idx="7"/>
            <a:endCxn id="12" idx="2"/>
          </p:cNvCxnSpPr>
          <p:nvPr/>
        </p:nvCxnSpPr>
        <p:spPr>
          <a:xfrm>
            <a:off x="3944603" y="2128415"/>
            <a:ext cx="403409" cy="454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12" name="Conector recto 29711">
            <a:extLst>
              <a:ext uri="{FF2B5EF4-FFF2-40B4-BE49-F238E27FC236}">
                <a16:creationId xmlns:a16="http://schemas.microsoft.com/office/drawing/2014/main" id="{771735C7-6B61-9D62-6670-E80775148FF1}"/>
              </a:ext>
            </a:extLst>
          </p:cNvPr>
          <p:cNvCxnSpPr>
            <a:cxnSpLocks/>
            <a:stCxn id="14" idx="7"/>
            <a:endCxn id="13" idx="2"/>
          </p:cNvCxnSpPr>
          <p:nvPr/>
        </p:nvCxnSpPr>
        <p:spPr>
          <a:xfrm flipV="1">
            <a:off x="3453505" y="2199370"/>
            <a:ext cx="314181" cy="1563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15" name="Conector recto 29714">
            <a:extLst>
              <a:ext uri="{FF2B5EF4-FFF2-40B4-BE49-F238E27FC236}">
                <a16:creationId xmlns:a16="http://schemas.microsoft.com/office/drawing/2014/main" id="{22138C3F-76C7-F618-692C-480539B95E8E}"/>
              </a:ext>
            </a:extLst>
          </p:cNvPr>
          <p:cNvCxnSpPr>
            <a:cxnSpLocks/>
            <a:stCxn id="12" idx="6"/>
            <a:endCxn id="11" idx="1"/>
          </p:cNvCxnSpPr>
          <p:nvPr/>
        </p:nvCxnSpPr>
        <p:spPr>
          <a:xfrm>
            <a:off x="4555281" y="2132958"/>
            <a:ext cx="355660" cy="30001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18" name="Conector recto 29717">
            <a:extLst>
              <a:ext uri="{FF2B5EF4-FFF2-40B4-BE49-F238E27FC236}">
                <a16:creationId xmlns:a16="http://schemas.microsoft.com/office/drawing/2014/main" id="{479BBCE4-8312-46A4-3F68-C0BBDC2D965C}"/>
              </a:ext>
            </a:extLst>
          </p:cNvPr>
          <p:cNvCxnSpPr>
            <a:cxnSpLocks/>
            <a:stCxn id="11" idx="6"/>
            <a:endCxn id="19" idx="1"/>
          </p:cNvCxnSpPr>
          <p:nvPr/>
        </p:nvCxnSpPr>
        <p:spPr>
          <a:xfrm>
            <a:off x="5087858" y="2503926"/>
            <a:ext cx="162978" cy="1367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21" name="Conector recto 29720">
            <a:extLst>
              <a:ext uri="{FF2B5EF4-FFF2-40B4-BE49-F238E27FC236}">
                <a16:creationId xmlns:a16="http://schemas.microsoft.com/office/drawing/2014/main" id="{D3498C07-462D-CD9E-35E5-96C50865408A}"/>
              </a:ext>
            </a:extLst>
          </p:cNvPr>
          <p:cNvCxnSpPr>
            <a:cxnSpLocks/>
            <a:stCxn id="20" idx="0"/>
            <a:endCxn id="19" idx="4"/>
          </p:cNvCxnSpPr>
          <p:nvPr/>
        </p:nvCxnSpPr>
        <p:spPr>
          <a:xfrm flipV="1">
            <a:off x="5278118" y="2811958"/>
            <a:ext cx="45999" cy="31572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26" name="Conector recto 29725">
            <a:extLst>
              <a:ext uri="{FF2B5EF4-FFF2-40B4-BE49-F238E27FC236}">
                <a16:creationId xmlns:a16="http://schemas.microsoft.com/office/drawing/2014/main" id="{88D69B59-B031-E873-456A-1147144AAFCA}"/>
              </a:ext>
            </a:extLst>
          </p:cNvPr>
          <p:cNvCxnSpPr>
            <a:cxnSpLocks/>
            <a:stCxn id="22" idx="6"/>
            <a:endCxn id="20" idx="3"/>
          </p:cNvCxnSpPr>
          <p:nvPr/>
        </p:nvCxnSpPr>
        <p:spPr>
          <a:xfrm flipV="1">
            <a:off x="4392505" y="3298987"/>
            <a:ext cx="812332" cy="48243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0" name="Conector recto 29729">
            <a:extLst>
              <a:ext uri="{FF2B5EF4-FFF2-40B4-BE49-F238E27FC236}">
                <a16:creationId xmlns:a16="http://schemas.microsoft.com/office/drawing/2014/main" id="{344FA763-4F1A-01E7-48E5-CBA5F440B0B5}"/>
              </a:ext>
            </a:extLst>
          </p:cNvPr>
          <p:cNvCxnSpPr>
            <a:cxnSpLocks/>
            <a:stCxn id="21" idx="5"/>
            <a:endCxn id="22" idx="1"/>
          </p:cNvCxnSpPr>
          <p:nvPr/>
        </p:nvCxnSpPr>
        <p:spPr>
          <a:xfrm>
            <a:off x="3965473" y="3441009"/>
            <a:ext cx="250116" cy="26945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3" name="Conector recto 29732">
            <a:extLst>
              <a:ext uri="{FF2B5EF4-FFF2-40B4-BE49-F238E27FC236}">
                <a16:creationId xmlns:a16="http://schemas.microsoft.com/office/drawing/2014/main" id="{BC8B1CA4-ACD2-3FCD-8D18-058211AB2F34}"/>
              </a:ext>
            </a:extLst>
          </p:cNvPr>
          <p:cNvCxnSpPr>
            <a:cxnSpLocks/>
            <a:stCxn id="11" idx="4"/>
            <a:endCxn id="18" idx="7"/>
          </p:cNvCxnSpPr>
          <p:nvPr/>
        </p:nvCxnSpPr>
        <p:spPr>
          <a:xfrm flipH="1">
            <a:off x="4897877" y="2604272"/>
            <a:ext cx="86346" cy="3539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6" name="Conector recto 29735">
            <a:extLst>
              <a:ext uri="{FF2B5EF4-FFF2-40B4-BE49-F238E27FC236}">
                <a16:creationId xmlns:a16="http://schemas.microsoft.com/office/drawing/2014/main" id="{21D8B36C-6F69-76CC-AFB8-D18B96D6A962}"/>
              </a:ext>
            </a:extLst>
          </p:cNvPr>
          <p:cNvCxnSpPr>
            <a:cxnSpLocks/>
            <a:stCxn id="11" idx="2"/>
            <a:endCxn id="16" idx="7"/>
          </p:cNvCxnSpPr>
          <p:nvPr/>
        </p:nvCxnSpPr>
        <p:spPr>
          <a:xfrm flipH="1">
            <a:off x="4245785" y="2503926"/>
            <a:ext cx="634803" cy="1382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9" name="Conector recto 29738">
            <a:extLst>
              <a:ext uri="{FF2B5EF4-FFF2-40B4-BE49-F238E27FC236}">
                <a16:creationId xmlns:a16="http://schemas.microsoft.com/office/drawing/2014/main" id="{45D733CE-3F0A-3CF2-999C-AEAB3586CB1C}"/>
              </a:ext>
            </a:extLst>
          </p:cNvPr>
          <p:cNvCxnSpPr>
            <a:cxnSpLocks/>
            <a:stCxn id="16" idx="3"/>
            <a:endCxn id="15" idx="7"/>
          </p:cNvCxnSpPr>
          <p:nvPr/>
        </p:nvCxnSpPr>
        <p:spPr>
          <a:xfrm flipH="1">
            <a:off x="3944603" y="2784091"/>
            <a:ext cx="154620" cy="968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42" name="Conector recto 29741">
            <a:extLst>
              <a:ext uri="{FF2B5EF4-FFF2-40B4-BE49-F238E27FC236}">
                <a16:creationId xmlns:a16="http://schemas.microsoft.com/office/drawing/2014/main" id="{0382644A-9C89-DC11-A78F-113C5E645D0E}"/>
              </a:ext>
            </a:extLst>
          </p:cNvPr>
          <p:cNvCxnSpPr>
            <a:cxnSpLocks/>
            <a:stCxn id="17" idx="2"/>
            <a:endCxn id="15" idx="6"/>
          </p:cNvCxnSpPr>
          <p:nvPr/>
        </p:nvCxnSpPr>
        <p:spPr>
          <a:xfrm flipH="1" flipV="1">
            <a:off x="3974957" y="2951876"/>
            <a:ext cx="377721" cy="15456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45" name="Conector recto 29744">
            <a:extLst>
              <a:ext uri="{FF2B5EF4-FFF2-40B4-BE49-F238E27FC236}">
                <a16:creationId xmlns:a16="http://schemas.microsoft.com/office/drawing/2014/main" id="{0142A864-9FC4-5B55-E82F-92B165546900}"/>
              </a:ext>
            </a:extLst>
          </p:cNvPr>
          <p:cNvCxnSpPr>
            <a:cxnSpLocks/>
            <a:stCxn id="18" idx="2"/>
            <a:endCxn id="17" idx="7"/>
          </p:cNvCxnSpPr>
          <p:nvPr/>
        </p:nvCxnSpPr>
        <p:spPr>
          <a:xfrm flipH="1">
            <a:off x="4529593" y="3029158"/>
            <a:ext cx="191367" cy="632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49" name="Conector recto 29748">
            <a:extLst>
              <a:ext uri="{FF2B5EF4-FFF2-40B4-BE49-F238E27FC236}">
                <a16:creationId xmlns:a16="http://schemas.microsoft.com/office/drawing/2014/main" id="{B3A9F92D-3083-38C7-3EF9-D4CDFCA4FB9A}"/>
              </a:ext>
            </a:extLst>
          </p:cNvPr>
          <p:cNvCxnSpPr>
            <a:cxnSpLocks/>
            <a:stCxn id="21" idx="0"/>
            <a:endCxn id="15" idx="4"/>
          </p:cNvCxnSpPr>
          <p:nvPr/>
        </p:nvCxnSpPr>
        <p:spPr>
          <a:xfrm flipH="1" flipV="1">
            <a:off x="3871322" y="3052223"/>
            <a:ext cx="20870" cy="21748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52" name="Conector recto 29751">
            <a:extLst>
              <a:ext uri="{FF2B5EF4-FFF2-40B4-BE49-F238E27FC236}">
                <a16:creationId xmlns:a16="http://schemas.microsoft.com/office/drawing/2014/main" id="{BA4C5C08-DD8A-CBFE-36B1-FCBA3297652A}"/>
              </a:ext>
            </a:extLst>
          </p:cNvPr>
          <p:cNvCxnSpPr>
            <a:cxnSpLocks/>
            <a:stCxn id="24" idx="7"/>
            <a:endCxn id="15" idx="3"/>
          </p:cNvCxnSpPr>
          <p:nvPr/>
        </p:nvCxnSpPr>
        <p:spPr>
          <a:xfrm flipV="1">
            <a:off x="2686297" y="3022832"/>
            <a:ext cx="1111744" cy="42000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55" name="Conector recto 29754">
            <a:extLst>
              <a:ext uri="{FF2B5EF4-FFF2-40B4-BE49-F238E27FC236}">
                <a16:creationId xmlns:a16="http://schemas.microsoft.com/office/drawing/2014/main" id="{794608AD-A862-212F-E8E5-AAC426BEE250}"/>
              </a:ext>
            </a:extLst>
          </p:cNvPr>
          <p:cNvCxnSpPr>
            <a:cxnSpLocks/>
            <a:stCxn id="24" idx="5"/>
            <a:endCxn id="23" idx="1"/>
          </p:cNvCxnSpPr>
          <p:nvPr/>
        </p:nvCxnSpPr>
        <p:spPr>
          <a:xfrm>
            <a:off x="2686297" y="3584752"/>
            <a:ext cx="646794" cy="9339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58" name="Conector recto 29757">
            <a:extLst>
              <a:ext uri="{FF2B5EF4-FFF2-40B4-BE49-F238E27FC236}">
                <a16:creationId xmlns:a16="http://schemas.microsoft.com/office/drawing/2014/main" id="{C09E7968-79DC-2530-28F8-55F680DECCD9}"/>
              </a:ext>
            </a:extLst>
          </p:cNvPr>
          <p:cNvCxnSpPr>
            <a:cxnSpLocks/>
            <a:stCxn id="24" idx="3"/>
            <a:endCxn id="27" idx="7"/>
          </p:cNvCxnSpPr>
          <p:nvPr/>
        </p:nvCxnSpPr>
        <p:spPr>
          <a:xfrm flipH="1">
            <a:off x="2477261" y="3584752"/>
            <a:ext cx="62473" cy="17067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61" name="Conector recto 29760">
            <a:extLst>
              <a:ext uri="{FF2B5EF4-FFF2-40B4-BE49-F238E27FC236}">
                <a16:creationId xmlns:a16="http://schemas.microsoft.com/office/drawing/2014/main" id="{C1350324-84B6-0446-8912-DFF5DBE66130}"/>
              </a:ext>
            </a:extLst>
          </p:cNvPr>
          <p:cNvCxnSpPr>
            <a:cxnSpLocks/>
            <a:stCxn id="24" idx="4"/>
            <a:endCxn id="25" idx="1"/>
          </p:cNvCxnSpPr>
          <p:nvPr/>
        </p:nvCxnSpPr>
        <p:spPr>
          <a:xfrm>
            <a:off x="2613016" y="3614143"/>
            <a:ext cx="308706" cy="2914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64" name="Conector recto 29763">
            <a:extLst>
              <a:ext uri="{FF2B5EF4-FFF2-40B4-BE49-F238E27FC236}">
                <a16:creationId xmlns:a16="http://schemas.microsoft.com/office/drawing/2014/main" id="{AAB8BE48-824A-05E2-C891-1B92FE1EA1A1}"/>
              </a:ext>
            </a:extLst>
          </p:cNvPr>
          <p:cNvCxnSpPr>
            <a:cxnSpLocks/>
            <a:stCxn id="30" idx="6"/>
            <a:endCxn id="27" idx="2"/>
          </p:cNvCxnSpPr>
          <p:nvPr/>
        </p:nvCxnSpPr>
        <p:spPr>
          <a:xfrm>
            <a:off x="1575909" y="3749105"/>
            <a:ext cx="724436" cy="7728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67" name="Conector recto 29766">
            <a:extLst>
              <a:ext uri="{FF2B5EF4-FFF2-40B4-BE49-F238E27FC236}">
                <a16:creationId xmlns:a16="http://schemas.microsoft.com/office/drawing/2014/main" id="{4001E6A8-55ED-0472-469F-4C6EC10E7893}"/>
              </a:ext>
            </a:extLst>
          </p:cNvPr>
          <p:cNvCxnSpPr>
            <a:cxnSpLocks/>
            <a:stCxn id="29" idx="6"/>
            <a:endCxn id="28" idx="2"/>
          </p:cNvCxnSpPr>
          <p:nvPr/>
        </p:nvCxnSpPr>
        <p:spPr>
          <a:xfrm>
            <a:off x="1847473" y="3990591"/>
            <a:ext cx="384077" cy="1800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0" name="Conector recto 29769">
            <a:extLst>
              <a:ext uri="{FF2B5EF4-FFF2-40B4-BE49-F238E27FC236}">
                <a16:creationId xmlns:a16="http://schemas.microsoft.com/office/drawing/2014/main" id="{B2795AF8-2A5C-D22D-BACD-593F5901A8E7}"/>
              </a:ext>
            </a:extLst>
          </p:cNvPr>
          <p:cNvCxnSpPr>
            <a:cxnSpLocks/>
            <a:stCxn id="29" idx="3"/>
            <a:endCxn id="31" idx="7"/>
          </p:cNvCxnSpPr>
          <p:nvPr/>
        </p:nvCxnSpPr>
        <p:spPr>
          <a:xfrm flipH="1">
            <a:off x="1545556" y="4061547"/>
            <a:ext cx="125001" cy="26671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3" name="Conector recto 29772">
            <a:extLst>
              <a:ext uri="{FF2B5EF4-FFF2-40B4-BE49-F238E27FC236}">
                <a16:creationId xmlns:a16="http://schemas.microsoft.com/office/drawing/2014/main" id="{B3AB17CE-9536-9FC2-3499-24DEF5AACB3F}"/>
              </a:ext>
            </a:extLst>
          </p:cNvPr>
          <p:cNvCxnSpPr>
            <a:cxnSpLocks/>
            <a:stCxn id="30" idx="4"/>
            <a:endCxn id="31" idx="0"/>
          </p:cNvCxnSpPr>
          <p:nvPr/>
        </p:nvCxnSpPr>
        <p:spPr>
          <a:xfrm>
            <a:off x="1472274" y="3849451"/>
            <a:ext cx="0" cy="4494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6" name="Conector recto 29775">
            <a:extLst>
              <a:ext uri="{FF2B5EF4-FFF2-40B4-BE49-F238E27FC236}">
                <a16:creationId xmlns:a16="http://schemas.microsoft.com/office/drawing/2014/main" id="{991150C5-C202-4D0B-3540-1F38157F19A6}"/>
              </a:ext>
            </a:extLst>
          </p:cNvPr>
          <p:cNvCxnSpPr>
            <a:cxnSpLocks/>
            <a:stCxn id="31" idx="3"/>
            <a:endCxn id="29696" idx="7"/>
          </p:cNvCxnSpPr>
          <p:nvPr/>
        </p:nvCxnSpPr>
        <p:spPr>
          <a:xfrm flipH="1">
            <a:off x="1145204" y="4470172"/>
            <a:ext cx="253789" cy="14192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9" name="Conector recto 29778">
            <a:extLst>
              <a:ext uri="{FF2B5EF4-FFF2-40B4-BE49-F238E27FC236}">
                <a16:creationId xmlns:a16="http://schemas.microsoft.com/office/drawing/2014/main" id="{84ED7EC5-9343-1C4F-9A82-4F6B4CA43793}"/>
              </a:ext>
            </a:extLst>
          </p:cNvPr>
          <p:cNvCxnSpPr>
            <a:cxnSpLocks/>
            <a:stCxn id="29697" idx="2"/>
            <a:endCxn id="29696" idx="5"/>
          </p:cNvCxnSpPr>
          <p:nvPr/>
        </p:nvCxnSpPr>
        <p:spPr>
          <a:xfrm flipH="1" flipV="1">
            <a:off x="1145204" y="4754012"/>
            <a:ext cx="496605" cy="10319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83" name="Conector recto 29782">
            <a:extLst>
              <a:ext uri="{FF2B5EF4-FFF2-40B4-BE49-F238E27FC236}">
                <a16:creationId xmlns:a16="http://schemas.microsoft.com/office/drawing/2014/main" id="{E5267E4A-138A-7C66-7352-FEAF1B1EE1B4}"/>
              </a:ext>
            </a:extLst>
          </p:cNvPr>
          <p:cNvCxnSpPr>
            <a:cxnSpLocks/>
            <a:stCxn id="29702" idx="0"/>
            <a:endCxn id="29697" idx="5"/>
          </p:cNvCxnSpPr>
          <p:nvPr/>
        </p:nvCxnSpPr>
        <p:spPr>
          <a:xfrm flipH="1" flipV="1">
            <a:off x="1818725" y="4928163"/>
            <a:ext cx="90455" cy="25533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86" name="Conector recto 29785">
            <a:extLst>
              <a:ext uri="{FF2B5EF4-FFF2-40B4-BE49-F238E27FC236}">
                <a16:creationId xmlns:a16="http://schemas.microsoft.com/office/drawing/2014/main" id="{828F3312-73BE-27E3-EC8D-5889259F9361}"/>
              </a:ext>
            </a:extLst>
          </p:cNvPr>
          <p:cNvCxnSpPr>
            <a:cxnSpLocks/>
            <a:stCxn id="29699" idx="3"/>
            <a:endCxn id="29702" idx="7"/>
          </p:cNvCxnSpPr>
          <p:nvPr/>
        </p:nvCxnSpPr>
        <p:spPr>
          <a:xfrm flipH="1">
            <a:off x="1982462" y="5105040"/>
            <a:ext cx="397645" cy="10784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89" name="Conector recto 29788">
            <a:extLst>
              <a:ext uri="{FF2B5EF4-FFF2-40B4-BE49-F238E27FC236}">
                <a16:creationId xmlns:a16="http://schemas.microsoft.com/office/drawing/2014/main" id="{E4173A3E-0065-BFD0-05F1-DE9BAE23E176}"/>
              </a:ext>
            </a:extLst>
          </p:cNvPr>
          <p:cNvCxnSpPr>
            <a:cxnSpLocks/>
            <a:stCxn id="29701" idx="3"/>
            <a:endCxn id="29699" idx="7"/>
          </p:cNvCxnSpPr>
          <p:nvPr/>
        </p:nvCxnSpPr>
        <p:spPr>
          <a:xfrm flipH="1">
            <a:off x="2526670" y="4804558"/>
            <a:ext cx="617996" cy="158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92" name="Conector recto 29791">
            <a:extLst>
              <a:ext uri="{FF2B5EF4-FFF2-40B4-BE49-F238E27FC236}">
                <a16:creationId xmlns:a16="http://schemas.microsoft.com/office/drawing/2014/main" id="{0B287683-CE31-0EC5-0F52-CBDC20605617}"/>
              </a:ext>
            </a:extLst>
          </p:cNvPr>
          <p:cNvCxnSpPr>
            <a:cxnSpLocks/>
            <a:stCxn id="29701" idx="0"/>
            <a:endCxn id="29700" idx="3"/>
          </p:cNvCxnSpPr>
          <p:nvPr/>
        </p:nvCxnSpPr>
        <p:spPr>
          <a:xfrm flipV="1">
            <a:off x="3217947" y="4536434"/>
            <a:ext cx="2653" cy="9682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95" name="Conector recto 29794">
            <a:extLst>
              <a:ext uri="{FF2B5EF4-FFF2-40B4-BE49-F238E27FC236}">
                <a16:creationId xmlns:a16="http://schemas.microsoft.com/office/drawing/2014/main" id="{EC1E3BEE-B0F5-AF5D-3B59-D135C11DF5C0}"/>
              </a:ext>
            </a:extLst>
          </p:cNvPr>
          <p:cNvCxnSpPr>
            <a:cxnSpLocks/>
            <a:stCxn id="26" idx="5"/>
            <a:endCxn id="29700" idx="1"/>
          </p:cNvCxnSpPr>
          <p:nvPr/>
        </p:nvCxnSpPr>
        <p:spPr>
          <a:xfrm>
            <a:off x="3108686" y="4266977"/>
            <a:ext cx="111914" cy="12754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98" name="Conector recto 29797">
            <a:extLst>
              <a:ext uri="{FF2B5EF4-FFF2-40B4-BE49-F238E27FC236}">
                <a16:creationId xmlns:a16="http://schemas.microsoft.com/office/drawing/2014/main" id="{CDA60060-4510-3B6E-A10B-223E6F265A25}"/>
              </a:ext>
            </a:extLst>
          </p:cNvPr>
          <p:cNvCxnSpPr>
            <a:cxnSpLocks/>
            <a:stCxn id="26" idx="0"/>
            <a:endCxn id="25" idx="4"/>
          </p:cNvCxnSpPr>
          <p:nvPr/>
        </p:nvCxnSpPr>
        <p:spPr>
          <a:xfrm flipH="1" flipV="1">
            <a:off x="2995003" y="4076933"/>
            <a:ext cx="40402" cy="1874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01" name="Conector recto 29800">
            <a:extLst>
              <a:ext uri="{FF2B5EF4-FFF2-40B4-BE49-F238E27FC236}">
                <a16:creationId xmlns:a16="http://schemas.microsoft.com/office/drawing/2014/main" id="{1DA37123-E745-BD03-640D-2E09AD480893}"/>
              </a:ext>
            </a:extLst>
          </p:cNvPr>
          <p:cNvCxnSpPr>
            <a:cxnSpLocks/>
            <a:stCxn id="23" idx="3"/>
            <a:endCxn id="25" idx="7"/>
          </p:cNvCxnSpPr>
          <p:nvPr/>
        </p:nvCxnSpPr>
        <p:spPr>
          <a:xfrm flipH="1">
            <a:off x="3068284" y="3820060"/>
            <a:ext cx="264807" cy="85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04" name="Conector recto 29803">
            <a:extLst>
              <a:ext uri="{FF2B5EF4-FFF2-40B4-BE49-F238E27FC236}">
                <a16:creationId xmlns:a16="http://schemas.microsoft.com/office/drawing/2014/main" id="{A4660A4F-A262-8DE9-8523-CFD561D3C40A}"/>
              </a:ext>
            </a:extLst>
          </p:cNvPr>
          <p:cNvCxnSpPr>
            <a:cxnSpLocks/>
            <a:stCxn id="25" idx="2"/>
            <a:endCxn id="27" idx="6"/>
          </p:cNvCxnSpPr>
          <p:nvPr/>
        </p:nvCxnSpPr>
        <p:spPr>
          <a:xfrm flipH="1" flipV="1">
            <a:off x="2507615" y="3826386"/>
            <a:ext cx="383753" cy="1502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07" name="Conector recto 29806">
            <a:extLst>
              <a:ext uri="{FF2B5EF4-FFF2-40B4-BE49-F238E27FC236}">
                <a16:creationId xmlns:a16="http://schemas.microsoft.com/office/drawing/2014/main" id="{01F258A0-600E-0DA3-31F4-89C51F01DD11}"/>
              </a:ext>
            </a:extLst>
          </p:cNvPr>
          <p:cNvCxnSpPr>
            <a:cxnSpLocks/>
            <a:stCxn id="26" idx="2"/>
            <a:endCxn id="28" idx="6"/>
          </p:cNvCxnSpPr>
          <p:nvPr/>
        </p:nvCxnSpPr>
        <p:spPr>
          <a:xfrm flipH="1" flipV="1">
            <a:off x="2438820" y="4170607"/>
            <a:ext cx="492950" cy="254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10" name="Conector recto 29809">
            <a:extLst>
              <a:ext uri="{FF2B5EF4-FFF2-40B4-BE49-F238E27FC236}">
                <a16:creationId xmlns:a16="http://schemas.microsoft.com/office/drawing/2014/main" id="{C12FE895-13AD-011A-E029-A0119CCD6049}"/>
              </a:ext>
            </a:extLst>
          </p:cNvPr>
          <p:cNvCxnSpPr>
            <a:cxnSpLocks/>
            <a:stCxn id="29699" idx="0"/>
            <a:endCxn id="28" idx="5"/>
          </p:cNvCxnSpPr>
          <p:nvPr/>
        </p:nvCxnSpPr>
        <p:spPr>
          <a:xfrm flipH="1" flipV="1">
            <a:off x="2408466" y="4241562"/>
            <a:ext cx="44922" cy="69217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78" name="Elipse 29877">
            <a:extLst>
              <a:ext uri="{FF2B5EF4-FFF2-40B4-BE49-F238E27FC236}">
                <a16:creationId xmlns:a16="http://schemas.microsoft.com/office/drawing/2014/main" id="{F88E806A-DCF5-53AF-E54F-69A8A0A6F815}"/>
              </a:ext>
            </a:extLst>
          </p:cNvPr>
          <p:cNvSpPr/>
          <p:nvPr/>
        </p:nvSpPr>
        <p:spPr>
          <a:xfrm>
            <a:off x="10676549" y="2403579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79" name="Elipse 29878">
            <a:extLst>
              <a:ext uri="{FF2B5EF4-FFF2-40B4-BE49-F238E27FC236}">
                <a16:creationId xmlns:a16="http://schemas.microsoft.com/office/drawing/2014/main" id="{EB7C7FE2-5ED6-F745-CA47-404ED0B7710E}"/>
              </a:ext>
            </a:extLst>
          </p:cNvPr>
          <p:cNvSpPr/>
          <p:nvPr/>
        </p:nvSpPr>
        <p:spPr>
          <a:xfrm>
            <a:off x="10143973" y="2032612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0" name="Elipse 29879">
            <a:extLst>
              <a:ext uri="{FF2B5EF4-FFF2-40B4-BE49-F238E27FC236}">
                <a16:creationId xmlns:a16="http://schemas.microsoft.com/office/drawing/2014/main" id="{2756121D-F172-62A6-106A-12B4A1F9FD7D}"/>
              </a:ext>
            </a:extLst>
          </p:cNvPr>
          <p:cNvSpPr/>
          <p:nvPr/>
        </p:nvSpPr>
        <p:spPr>
          <a:xfrm>
            <a:off x="9563648" y="2099024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1" name="Elipse 29880">
            <a:extLst>
              <a:ext uri="{FF2B5EF4-FFF2-40B4-BE49-F238E27FC236}">
                <a16:creationId xmlns:a16="http://schemas.microsoft.com/office/drawing/2014/main" id="{FC705F94-7C90-774B-E629-E6914DE35C7F}"/>
              </a:ext>
            </a:extLst>
          </p:cNvPr>
          <p:cNvSpPr/>
          <p:nvPr/>
        </p:nvSpPr>
        <p:spPr>
          <a:xfrm>
            <a:off x="9072550" y="2326298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2" name="Elipse 29881">
            <a:extLst>
              <a:ext uri="{FF2B5EF4-FFF2-40B4-BE49-F238E27FC236}">
                <a16:creationId xmlns:a16="http://schemas.microsoft.com/office/drawing/2014/main" id="{D81B12F9-C76E-ED73-4086-2C1D89CF62ED}"/>
              </a:ext>
            </a:extLst>
          </p:cNvPr>
          <p:cNvSpPr/>
          <p:nvPr/>
        </p:nvSpPr>
        <p:spPr>
          <a:xfrm>
            <a:off x="9563648" y="2851530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3" name="Elipse 29882">
            <a:extLst>
              <a:ext uri="{FF2B5EF4-FFF2-40B4-BE49-F238E27FC236}">
                <a16:creationId xmlns:a16="http://schemas.microsoft.com/office/drawing/2014/main" id="{A90C6C9C-27C2-7E40-96FD-224DE7CC02B7}"/>
              </a:ext>
            </a:extLst>
          </p:cNvPr>
          <p:cNvSpPr/>
          <p:nvPr/>
        </p:nvSpPr>
        <p:spPr>
          <a:xfrm>
            <a:off x="9864830" y="2612789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4" name="Elipse 29883">
            <a:extLst>
              <a:ext uri="{FF2B5EF4-FFF2-40B4-BE49-F238E27FC236}">
                <a16:creationId xmlns:a16="http://schemas.microsoft.com/office/drawing/2014/main" id="{3C1C6F49-E596-CF86-48F5-98DE161C5480}"/>
              </a:ext>
            </a:extLst>
          </p:cNvPr>
          <p:cNvSpPr/>
          <p:nvPr/>
        </p:nvSpPr>
        <p:spPr>
          <a:xfrm>
            <a:off x="10148638" y="3006092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5" name="Elipse 29884">
            <a:extLst>
              <a:ext uri="{FF2B5EF4-FFF2-40B4-BE49-F238E27FC236}">
                <a16:creationId xmlns:a16="http://schemas.microsoft.com/office/drawing/2014/main" id="{39484777-3F78-78FE-A43E-A83DA8B976E0}"/>
              </a:ext>
            </a:extLst>
          </p:cNvPr>
          <p:cNvSpPr/>
          <p:nvPr/>
        </p:nvSpPr>
        <p:spPr>
          <a:xfrm>
            <a:off x="10516922" y="2928811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6" name="Elipse 29885">
            <a:extLst>
              <a:ext uri="{FF2B5EF4-FFF2-40B4-BE49-F238E27FC236}">
                <a16:creationId xmlns:a16="http://schemas.microsoft.com/office/drawing/2014/main" id="{7F016110-865A-64DE-F172-0207D0BC5D3D}"/>
              </a:ext>
            </a:extLst>
          </p:cNvPr>
          <p:cNvSpPr/>
          <p:nvPr/>
        </p:nvSpPr>
        <p:spPr>
          <a:xfrm>
            <a:off x="11016443" y="2611265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7" name="Elipse 29886">
            <a:extLst>
              <a:ext uri="{FF2B5EF4-FFF2-40B4-BE49-F238E27FC236}">
                <a16:creationId xmlns:a16="http://schemas.microsoft.com/office/drawing/2014/main" id="{49AF8424-6882-FC87-7EE7-CAE67C9FBBF6}"/>
              </a:ext>
            </a:extLst>
          </p:cNvPr>
          <p:cNvSpPr/>
          <p:nvPr/>
        </p:nvSpPr>
        <p:spPr>
          <a:xfrm>
            <a:off x="10970444" y="3127685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8" name="Elipse 29887">
            <a:extLst>
              <a:ext uri="{FF2B5EF4-FFF2-40B4-BE49-F238E27FC236}">
                <a16:creationId xmlns:a16="http://schemas.microsoft.com/office/drawing/2014/main" id="{8DCB1A52-ADFD-54B4-0A0E-78D40090AD73}"/>
              </a:ext>
            </a:extLst>
          </p:cNvPr>
          <p:cNvSpPr/>
          <p:nvPr/>
        </p:nvSpPr>
        <p:spPr>
          <a:xfrm>
            <a:off x="9584518" y="3269707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9" name="Elipse 29888">
            <a:extLst>
              <a:ext uri="{FF2B5EF4-FFF2-40B4-BE49-F238E27FC236}">
                <a16:creationId xmlns:a16="http://schemas.microsoft.com/office/drawing/2014/main" id="{5474410E-893F-5D98-87E3-D086A0B0EA09}"/>
              </a:ext>
            </a:extLst>
          </p:cNvPr>
          <p:cNvSpPr/>
          <p:nvPr/>
        </p:nvSpPr>
        <p:spPr>
          <a:xfrm>
            <a:off x="9981197" y="3681076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0" name="Elipse 29889">
            <a:extLst>
              <a:ext uri="{FF2B5EF4-FFF2-40B4-BE49-F238E27FC236}">
                <a16:creationId xmlns:a16="http://schemas.microsoft.com/office/drawing/2014/main" id="{0E2CE319-B6C6-2851-76A0-14596C0BFFED}"/>
              </a:ext>
            </a:extLst>
          </p:cNvPr>
          <p:cNvSpPr/>
          <p:nvPr/>
        </p:nvSpPr>
        <p:spPr>
          <a:xfrm>
            <a:off x="9098698" y="3648759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1" name="Elipse 29890">
            <a:extLst>
              <a:ext uri="{FF2B5EF4-FFF2-40B4-BE49-F238E27FC236}">
                <a16:creationId xmlns:a16="http://schemas.microsoft.com/office/drawing/2014/main" id="{FC34574F-86A5-C1D2-9F21-9AFBCADDAF0F}"/>
              </a:ext>
            </a:extLst>
          </p:cNvPr>
          <p:cNvSpPr/>
          <p:nvPr/>
        </p:nvSpPr>
        <p:spPr>
          <a:xfrm>
            <a:off x="8305342" y="341345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2" name="Elipse 29891">
            <a:extLst>
              <a:ext uri="{FF2B5EF4-FFF2-40B4-BE49-F238E27FC236}">
                <a16:creationId xmlns:a16="http://schemas.microsoft.com/office/drawing/2014/main" id="{F1B84F9E-24EE-4130-0B82-8CEC63C6C0B7}"/>
              </a:ext>
            </a:extLst>
          </p:cNvPr>
          <p:cNvSpPr/>
          <p:nvPr/>
        </p:nvSpPr>
        <p:spPr>
          <a:xfrm>
            <a:off x="8687329" y="3876241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3" name="Elipse 29892">
            <a:extLst>
              <a:ext uri="{FF2B5EF4-FFF2-40B4-BE49-F238E27FC236}">
                <a16:creationId xmlns:a16="http://schemas.microsoft.com/office/drawing/2014/main" id="{A441F023-26F6-F2DC-AD80-AFA43FBA7017}"/>
              </a:ext>
            </a:extLst>
          </p:cNvPr>
          <p:cNvSpPr/>
          <p:nvPr/>
        </p:nvSpPr>
        <p:spPr>
          <a:xfrm>
            <a:off x="8727731" y="4095675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4" name="Elipse 29893">
            <a:extLst>
              <a:ext uri="{FF2B5EF4-FFF2-40B4-BE49-F238E27FC236}">
                <a16:creationId xmlns:a16="http://schemas.microsoft.com/office/drawing/2014/main" id="{9C94F76A-3B25-67FF-54F2-81A5BD3DA1A3}"/>
              </a:ext>
            </a:extLst>
          </p:cNvPr>
          <p:cNvSpPr/>
          <p:nvPr/>
        </p:nvSpPr>
        <p:spPr>
          <a:xfrm>
            <a:off x="8096306" y="372604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5" name="Elipse 29894">
            <a:extLst>
              <a:ext uri="{FF2B5EF4-FFF2-40B4-BE49-F238E27FC236}">
                <a16:creationId xmlns:a16="http://schemas.microsoft.com/office/drawing/2014/main" id="{5387DA00-998D-46C6-3AC1-3A12141A1E76}"/>
              </a:ext>
            </a:extLst>
          </p:cNvPr>
          <p:cNvSpPr/>
          <p:nvPr/>
        </p:nvSpPr>
        <p:spPr>
          <a:xfrm>
            <a:off x="8027511" y="407026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6" name="Elipse 29895">
            <a:extLst>
              <a:ext uri="{FF2B5EF4-FFF2-40B4-BE49-F238E27FC236}">
                <a16:creationId xmlns:a16="http://schemas.microsoft.com/office/drawing/2014/main" id="{55BAAED3-A784-B5E7-6240-90136F636CC8}"/>
              </a:ext>
            </a:extLst>
          </p:cNvPr>
          <p:cNvSpPr/>
          <p:nvPr/>
        </p:nvSpPr>
        <p:spPr>
          <a:xfrm>
            <a:off x="7436164" y="3890245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7" name="Elipse 29896">
            <a:extLst>
              <a:ext uri="{FF2B5EF4-FFF2-40B4-BE49-F238E27FC236}">
                <a16:creationId xmlns:a16="http://schemas.microsoft.com/office/drawing/2014/main" id="{59372C7E-0D7A-72FD-0F89-14FB316A9FD5}"/>
              </a:ext>
            </a:extLst>
          </p:cNvPr>
          <p:cNvSpPr/>
          <p:nvPr/>
        </p:nvSpPr>
        <p:spPr>
          <a:xfrm>
            <a:off x="7164600" y="3648759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8" name="Elipse 29897">
            <a:extLst>
              <a:ext uri="{FF2B5EF4-FFF2-40B4-BE49-F238E27FC236}">
                <a16:creationId xmlns:a16="http://schemas.microsoft.com/office/drawing/2014/main" id="{B9F47822-93E6-85FE-32AC-F9BDE654BD83}"/>
              </a:ext>
            </a:extLst>
          </p:cNvPr>
          <p:cNvSpPr/>
          <p:nvPr/>
        </p:nvSpPr>
        <p:spPr>
          <a:xfrm>
            <a:off x="7164600" y="4298871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9" name="Elipse 29898">
            <a:extLst>
              <a:ext uri="{FF2B5EF4-FFF2-40B4-BE49-F238E27FC236}">
                <a16:creationId xmlns:a16="http://schemas.microsoft.com/office/drawing/2014/main" id="{F4DBEEE3-D8F4-4ADC-EF31-F7DF1B1F0482}"/>
              </a:ext>
            </a:extLst>
          </p:cNvPr>
          <p:cNvSpPr/>
          <p:nvPr/>
        </p:nvSpPr>
        <p:spPr>
          <a:xfrm>
            <a:off x="6764249" y="458271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0" name="Elipse 29899">
            <a:extLst>
              <a:ext uri="{FF2B5EF4-FFF2-40B4-BE49-F238E27FC236}">
                <a16:creationId xmlns:a16="http://schemas.microsoft.com/office/drawing/2014/main" id="{DE291B5E-CAF3-0389-0D92-DC9764C5EFD1}"/>
              </a:ext>
            </a:extLst>
          </p:cNvPr>
          <p:cNvSpPr/>
          <p:nvPr/>
        </p:nvSpPr>
        <p:spPr>
          <a:xfrm>
            <a:off x="7437770" y="4756861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1" name="Elipse 29900">
            <a:extLst>
              <a:ext uri="{FF2B5EF4-FFF2-40B4-BE49-F238E27FC236}">
                <a16:creationId xmlns:a16="http://schemas.microsoft.com/office/drawing/2014/main" id="{21C67309-BAAD-1714-46B7-82E0D099146C}"/>
              </a:ext>
            </a:extLst>
          </p:cNvPr>
          <p:cNvSpPr/>
          <p:nvPr/>
        </p:nvSpPr>
        <p:spPr>
          <a:xfrm>
            <a:off x="8145714" y="4933738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2" name="Elipse 29901">
            <a:extLst>
              <a:ext uri="{FF2B5EF4-FFF2-40B4-BE49-F238E27FC236}">
                <a16:creationId xmlns:a16="http://schemas.microsoft.com/office/drawing/2014/main" id="{1C61A00A-5D0B-BA44-6F3A-AD8C95CBDB0E}"/>
              </a:ext>
            </a:extLst>
          </p:cNvPr>
          <p:cNvSpPr/>
          <p:nvPr/>
        </p:nvSpPr>
        <p:spPr>
          <a:xfrm>
            <a:off x="8986208" y="4365132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3" name="Elipse 29902">
            <a:extLst>
              <a:ext uri="{FF2B5EF4-FFF2-40B4-BE49-F238E27FC236}">
                <a16:creationId xmlns:a16="http://schemas.microsoft.com/office/drawing/2014/main" id="{3B4D968F-1060-B1F8-6D8E-EC2B9E5F2448}"/>
              </a:ext>
            </a:extLst>
          </p:cNvPr>
          <p:cNvSpPr/>
          <p:nvPr/>
        </p:nvSpPr>
        <p:spPr>
          <a:xfrm>
            <a:off x="8910273" y="4633256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4" name="Elipse 29903">
            <a:extLst>
              <a:ext uri="{FF2B5EF4-FFF2-40B4-BE49-F238E27FC236}">
                <a16:creationId xmlns:a16="http://schemas.microsoft.com/office/drawing/2014/main" id="{148BAA72-2A2C-B629-AB8E-7A589A5BDCCC}"/>
              </a:ext>
            </a:extLst>
          </p:cNvPr>
          <p:cNvSpPr/>
          <p:nvPr/>
        </p:nvSpPr>
        <p:spPr>
          <a:xfrm>
            <a:off x="7601507" y="5183497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9905" name="Conector recto 29904">
            <a:extLst>
              <a:ext uri="{FF2B5EF4-FFF2-40B4-BE49-F238E27FC236}">
                <a16:creationId xmlns:a16="http://schemas.microsoft.com/office/drawing/2014/main" id="{C2D50B18-487F-CFC4-25A9-4E65B3A357D2}"/>
              </a:ext>
            </a:extLst>
          </p:cNvPr>
          <p:cNvCxnSpPr>
            <a:cxnSpLocks/>
            <a:stCxn id="29881" idx="5"/>
            <a:endCxn id="29882" idx="1"/>
          </p:cNvCxnSpPr>
          <p:nvPr/>
        </p:nvCxnSpPr>
        <p:spPr>
          <a:xfrm>
            <a:off x="9249466" y="2497600"/>
            <a:ext cx="344535" cy="38332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6" name="Conector recto 29905">
            <a:extLst>
              <a:ext uri="{FF2B5EF4-FFF2-40B4-BE49-F238E27FC236}">
                <a16:creationId xmlns:a16="http://schemas.microsoft.com/office/drawing/2014/main" id="{6F731E5A-7EA6-28E7-7382-A2D38D03CDDC}"/>
              </a:ext>
            </a:extLst>
          </p:cNvPr>
          <p:cNvCxnSpPr>
            <a:cxnSpLocks/>
            <a:stCxn id="29880" idx="7"/>
            <a:endCxn id="29879" idx="2"/>
          </p:cNvCxnSpPr>
          <p:nvPr/>
        </p:nvCxnSpPr>
        <p:spPr>
          <a:xfrm>
            <a:off x="9740564" y="2128415"/>
            <a:ext cx="403409" cy="454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7" name="Conector recto 29906">
            <a:extLst>
              <a:ext uri="{FF2B5EF4-FFF2-40B4-BE49-F238E27FC236}">
                <a16:creationId xmlns:a16="http://schemas.microsoft.com/office/drawing/2014/main" id="{8D8D2C5F-2057-4442-763F-5C434E308A75}"/>
              </a:ext>
            </a:extLst>
          </p:cNvPr>
          <p:cNvCxnSpPr>
            <a:cxnSpLocks/>
            <a:stCxn id="29881" idx="7"/>
            <a:endCxn id="29880" idx="2"/>
          </p:cNvCxnSpPr>
          <p:nvPr/>
        </p:nvCxnSpPr>
        <p:spPr>
          <a:xfrm flipV="1">
            <a:off x="9249466" y="2199370"/>
            <a:ext cx="314181" cy="1563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8" name="Conector recto 29907">
            <a:extLst>
              <a:ext uri="{FF2B5EF4-FFF2-40B4-BE49-F238E27FC236}">
                <a16:creationId xmlns:a16="http://schemas.microsoft.com/office/drawing/2014/main" id="{AB31568A-13ED-0E30-D0A6-EBD5C1C3BAD7}"/>
              </a:ext>
            </a:extLst>
          </p:cNvPr>
          <p:cNvCxnSpPr>
            <a:cxnSpLocks/>
            <a:stCxn id="29879" idx="6"/>
            <a:endCxn id="29878" idx="1"/>
          </p:cNvCxnSpPr>
          <p:nvPr/>
        </p:nvCxnSpPr>
        <p:spPr>
          <a:xfrm>
            <a:off x="10351242" y="2132958"/>
            <a:ext cx="355660" cy="30001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9" name="Conector recto 29908">
            <a:extLst>
              <a:ext uri="{FF2B5EF4-FFF2-40B4-BE49-F238E27FC236}">
                <a16:creationId xmlns:a16="http://schemas.microsoft.com/office/drawing/2014/main" id="{BC80C174-F9BD-906F-33FB-3F17597AF145}"/>
              </a:ext>
            </a:extLst>
          </p:cNvPr>
          <p:cNvCxnSpPr>
            <a:cxnSpLocks/>
            <a:stCxn id="29878" idx="6"/>
            <a:endCxn id="29886" idx="1"/>
          </p:cNvCxnSpPr>
          <p:nvPr/>
        </p:nvCxnSpPr>
        <p:spPr>
          <a:xfrm>
            <a:off x="10883819" y="2503926"/>
            <a:ext cx="162978" cy="1367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0" name="Conector recto 29909">
            <a:extLst>
              <a:ext uri="{FF2B5EF4-FFF2-40B4-BE49-F238E27FC236}">
                <a16:creationId xmlns:a16="http://schemas.microsoft.com/office/drawing/2014/main" id="{F6FBA68A-BD58-135B-B9CF-4B7226C4CCAF}"/>
              </a:ext>
            </a:extLst>
          </p:cNvPr>
          <p:cNvCxnSpPr>
            <a:cxnSpLocks/>
            <a:stCxn id="29887" idx="0"/>
            <a:endCxn id="29886" idx="4"/>
          </p:cNvCxnSpPr>
          <p:nvPr/>
        </p:nvCxnSpPr>
        <p:spPr>
          <a:xfrm flipV="1">
            <a:off x="11074079" y="2811958"/>
            <a:ext cx="45999" cy="31572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1" name="Conector recto 29910">
            <a:extLst>
              <a:ext uri="{FF2B5EF4-FFF2-40B4-BE49-F238E27FC236}">
                <a16:creationId xmlns:a16="http://schemas.microsoft.com/office/drawing/2014/main" id="{2CDEFDA7-7A6E-841E-756F-522378BED546}"/>
              </a:ext>
            </a:extLst>
          </p:cNvPr>
          <p:cNvCxnSpPr>
            <a:cxnSpLocks/>
            <a:stCxn id="29889" idx="6"/>
            <a:endCxn id="29887" idx="3"/>
          </p:cNvCxnSpPr>
          <p:nvPr/>
        </p:nvCxnSpPr>
        <p:spPr>
          <a:xfrm flipV="1">
            <a:off x="10188466" y="3298987"/>
            <a:ext cx="812332" cy="48243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2" name="Conector recto 29911">
            <a:extLst>
              <a:ext uri="{FF2B5EF4-FFF2-40B4-BE49-F238E27FC236}">
                <a16:creationId xmlns:a16="http://schemas.microsoft.com/office/drawing/2014/main" id="{03DBEE12-74C3-7CF8-6A3F-E6BCF9BD2FCE}"/>
              </a:ext>
            </a:extLst>
          </p:cNvPr>
          <p:cNvCxnSpPr>
            <a:cxnSpLocks/>
            <a:stCxn id="29888" idx="5"/>
            <a:endCxn id="29889" idx="1"/>
          </p:cNvCxnSpPr>
          <p:nvPr/>
        </p:nvCxnSpPr>
        <p:spPr>
          <a:xfrm>
            <a:off x="9761434" y="3441009"/>
            <a:ext cx="250116" cy="26945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3" name="Conector recto 29912">
            <a:extLst>
              <a:ext uri="{FF2B5EF4-FFF2-40B4-BE49-F238E27FC236}">
                <a16:creationId xmlns:a16="http://schemas.microsoft.com/office/drawing/2014/main" id="{A83E088B-9BBE-B36C-5311-AC07BE619EE0}"/>
              </a:ext>
            </a:extLst>
          </p:cNvPr>
          <p:cNvCxnSpPr>
            <a:cxnSpLocks/>
            <a:stCxn id="29878" idx="4"/>
            <a:endCxn id="29885" idx="7"/>
          </p:cNvCxnSpPr>
          <p:nvPr/>
        </p:nvCxnSpPr>
        <p:spPr>
          <a:xfrm flipH="1">
            <a:off x="10693838" y="2604272"/>
            <a:ext cx="86346" cy="3539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4" name="Conector recto 29913">
            <a:extLst>
              <a:ext uri="{FF2B5EF4-FFF2-40B4-BE49-F238E27FC236}">
                <a16:creationId xmlns:a16="http://schemas.microsoft.com/office/drawing/2014/main" id="{249A0D57-6CFD-786A-7796-93081BDABF33}"/>
              </a:ext>
            </a:extLst>
          </p:cNvPr>
          <p:cNvCxnSpPr>
            <a:cxnSpLocks/>
            <a:stCxn id="29878" idx="2"/>
            <a:endCxn id="29883" idx="7"/>
          </p:cNvCxnSpPr>
          <p:nvPr/>
        </p:nvCxnSpPr>
        <p:spPr>
          <a:xfrm flipH="1">
            <a:off x="10041746" y="2503926"/>
            <a:ext cx="634803" cy="1382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5" name="Conector recto 29914">
            <a:extLst>
              <a:ext uri="{FF2B5EF4-FFF2-40B4-BE49-F238E27FC236}">
                <a16:creationId xmlns:a16="http://schemas.microsoft.com/office/drawing/2014/main" id="{780FFECD-EC76-50E6-A196-C9D49D19550F}"/>
              </a:ext>
            </a:extLst>
          </p:cNvPr>
          <p:cNvCxnSpPr>
            <a:cxnSpLocks/>
            <a:stCxn id="29883" idx="3"/>
            <a:endCxn id="29882" idx="7"/>
          </p:cNvCxnSpPr>
          <p:nvPr/>
        </p:nvCxnSpPr>
        <p:spPr>
          <a:xfrm flipH="1">
            <a:off x="9740564" y="2784091"/>
            <a:ext cx="154620" cy="968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6" name="Conector recto 29915">
            <a:extLst>
              <a:ext uri="{FF2B5EF4-FFF2-40B4-BE49-F238E27FC236}">
                <a16:creationId xmlns:a16="http://schemas.microsoft.com/office/drawing/2014/main" id="{A486626C-6F07-D335-C35B-973A725C8AA5}"/>
              </a:ext>
            </a:extLst>
          </p:cNvPr>
          <p:cNvCxnSpPr>
            <a:cxnSpLocks/>
            <a:stCxn id="29884" idx="2"/>
            <a:endCxn id="29882" idx="6"/>
          </p:cNvCxnSpPr>
          <p:nvPr/>
        </p:nvCxnSpPr>
        <p:spPr>
          <a:xfrm flipH="1" flipV="1">
            <a:off x="9770918" y="2951876"/>
            <a:ext cx="377721" cy="15456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7" name="Conector recto 29916">
            <a:extLst>
              <a:ext uri="{FF2B5EF4-FFF2-40B4-BE49-F238E27FC236}">
                <a16:creationId xmlns:a16="http://schemas.microsoft.com/office/drawing/2014/main" id="{766720FA-BDF6-43DA-2441-849A2723DA53}"/>
              </a:ext>
            </a:extLst>
          </p:cNvPr>
          <p:cNvCxnSpPr>
            <a:cxnSpLocks/>
            <a:stCxn id="29885" idx="2"/>
            <a:endCxn id="29884" idx="7"/>
          </p:cNvCxnSpPr>
          <p:nvPr/>
        </p:nvCxnSpPr>
        <p:spPr>
          <a:xfrm flipH="1">
            <a:off x="10325554" y="3029158"/>
            <a:ext cx="191367" cy="632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8" name="Conector recto 29917">
            <a:extLst>
              <a:ext uri="{FF2B5EF4-FFF2-40B4-BE49-F238E27FC236}">
                <a16:creationId xmlns:a16="http://schemas.microsoft.com/office/drawing/2014/main" id="{92E11EBE-E84A-D82E-9F8A-B59D6896D1DF}"/>
              </a:ext>
            </a:extLst>
          </p:cNvPr>
          <p:cNvCxnSpPr>
            <a:cxnSpLocks/>
            <a:stCxn id="29888" idx="0"/>
            <a:endCxn id="29882" idx="4"/>
          </p:cNvCxnSpPr>
          <p:nvPr/>
        </p:nvCxnSpPr>
        <p:spPr>
          <a:xfrm flipH="1" flipV="1">
            <a:off x="9667283" y="3052223"/>
            <a:ext cx="20870" cy="21748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9" name="Conector recto 29918">
            <a:extLst>
              <a:ext uri="{FF2B5EF4-FFF2-40B4-BE49-F238E27FC236}">
                <a16:creationId xmlns:a16="http://schemas.microsoft.com/office/drawing/2014/main" id="{39FF09DF-DF0D-F0D8-4B8A-563580FAB9F2}"/>
              </a:ext>
            </a:extLst>
          </p:cNvPr>
          <p:cNvCxnSpPr>
            <a:cxnSpLocks/>
            <a:stCxn id="29891" idx="7"/>
            <a:endCxn id="29882" idx="3"/>
          </p:cNvCxnSpPr>
          <p:nvPr/>
        </p:nvCxnSpPr>
        <p:spPr>
          <a:xfrm flipV="1">
            <a:off x="8482258" y="3022832"/>
            <a:ext cx="1111744" cy="42000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0" name="Conector recto 29919">
            <a:extLst>
              <a:ext uri="{FF2B5EF4-FFF2-40B4-BE49-F238E27FC236}">
                <a16:creationId xmlns:a16="http://schemas.microsoft.com/office/drawing/2014/main" id="{C725C8F7-17CC-FB9E-1A92-77D7643D88A6}"/>
              </a:ext>
            </a:extLst>
          </p:cNvPr>
          <p:cNvCxnSpPr>
            <a:cxnSpLocks/>
            <a:stCxn id="29891" idx="5"/>
            <a:endCxn id="29890" idx="1"/>
          </p:cNvCxnSpPr>
          <p:nvPr/>
        </p:nvCxnSpPr>
        <p:spPr>
          <a:xfrm>
            <a:off x="8482258" y="3584752"/>
            <a:ext cx="646794" cy="9339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1" name="Conector recto 29920">
            <a:extLst>
              <a:ext uri="{FF2B5EF4-FFF2-40B4-BE49-F238E27FC236}">
                <a16:creationId xmlns:a16="http://schemas.microsoft.com/office/drawing/2014/main" id="{D6CB6694-6FEB-1743-7AC8-6670756BCC9E}"/>
              </a:ext>
            </a:extLst>
          </p:cNvPr>
          <p:cNvCxnSpPr>
            <a:cxnSpLocks/>
            <a:stCxn id="29891" idx="3"/>
            <a:endCxn id="29894" idx="7"/>
          </p:cNvCxnSpPr>
          <p:nvPr/>
        </p:nvCxnSpPr>
        <p:spPr>
          <a:xfrm flipH="1">
            <a:off x="8273222" y="3584752"/>
            <a:ext cx="62473" cy="17067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2" name="Conector recto 29921">
            <a:extLst>
              <a:ext uri="{FF2B5EF4-FFF2-40B4-BE49-F238E27FC236}">
                <a16:creationId xmlns:a16="http://schemas.microsoft.com/office/drawing/2014/main" id="{17E8A08A-7F88-BE38-7594-0814949C28D8}"/>
              </a:ext>
            </a:extLst>
          </p:cNvPr>
          <p:cNvCxnSpPr>
            <a:cxnSpLocks/>
            <a:stCxn id="29891" idx="4"/>
            <a:endCxn id="29892" idx="1"/>
          </p:cNvCxnSpPr>
          <p:nvPr/>
        </p:nvCxnSpPr>
        <p:spPr>
          <a:xfrm>
            <a:off x="8408977" y="3614143"/>
            <a:ext cx="308706" cy="2914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3" name="Conector recto 29922">
            <a:extLst>
              <a:ext uri="{FF2B5EF4-FFF2-40B4-BE49-F238E27FC236}">
                <a16:creationId xmlns:a16="http://schemas.microsoft.com/office/drawing/2014/main" id="{A34B4E4C-C980-9FA3-5401-E6F59C8D62A2}"/>
              </a:ext>
            </a:extLst>
          </p:cNvPr>
          <p:cNvCxnSpPr>
            <a:cxnSpLocks/>
            <a:stCxn id="29897" idx="6"/>
            <a:endCxn id="29894" idx="2"/>
          </p:cNvCxnSpPr>
          <p:nvPr/>
        </p:nvCxnSpPr>
        <p:spPr>
          <a:xfrm>
            <a:off x="7371870" y="3749105"/>
            <a:ext cx="724436" cy="7728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4" name="Conector recto 29923">
            <a:extLst>
              <a:ext uri="{FF2B5EF4-FFF2-40B4-BE49-F238E27FC236}">
                <a16:creationId xmlns:a16="http://schemas.microsoft.com/office/drawing/2014/main" id="{2FCBB628-F4ED-3C6F-5352-96FC45DA7772}"/>
              </a:ext>
            </a:extLst>
          </p:cNvPr>
          <p:cNvCxnSpPr>
            <a:cxnSpLocks/>
            <a:stCxn id="29896" idx="6"/>
            <a:endCxn id="29895" idx="2"/>
          </p:cNvCxnSpPr>
          <p:nvPr/>
        </p:nvCxnSpPr>
        <p:spPr>
          <a:xfrm>
            <a:off x="7643434" y="3990591"/>
            <a:ext cx="384077" cy="1800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5" name="Conector recto 29924">
            <a:extLst>
              <a:ext uri="{FF2B5EF4-FFF2-40B4-BE49-F238E27FC236}">
                <a16:creationId xmlns:a16="http://schemas.microsoft.com/office/drawing/2014/main" id="{8B4A3B1F-0561-E79E-3CAC-D4DFB9463671}"/>
              </a:ext>
            </a:extLst>
          </p:cNvPr>
          <p:cNvCxnSpPr>
            <a:cxnSpLocks/>
            <a:stCxn id="29896" idx="3"/>
            <a:endCxn id="29898" idx="7"/>
          </p:cNvCxnSpPr>
          <p:nvPr/>
        </p:nvCxnSpPr>
        <p:spPr>
          <a:xfrm flipH="1">
            <a:off x="7341517" y="4061547"/>
            <a:ext cx="125001" cy="26671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6" name="Conector recto 29925">
            <a:extLst>
              <a:ext uri="{FF2B5EF4-FFF2-40B4-BE49-F238E27FC236}">
                <a16:creationId xmlns:a16="http://schemas.microsoft.com/office/drawing/2014/main" id="{F1CC52D4-C462-D321-DBB1-CCF7071DB454}"/>
              </a:ext>
            </a:extLst>
          </p:cNvPr>
          <p:cNvCxnSpPr>
            <a:cxnSpLocks/>
            <a:stCxn id="29897" idx="4"/>
            <a:endCxn id="29898" idx="0"/>
          </p:cNvCxnSpPr>
          <p:nvPr/>
        </p:nvCxnSpPr>
        <p:spPr>
          <a:xfrm>
            <a:off x="7268235" y="3849451"/>
            <a:ext cx="0" cy="4494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7" name="Conector recto 29926">
            <a:extLst>
              <a:ext uri="{FF2B5EF4-FFF2-40B4-BE49-F238E27FC236}">
                <a16:creationId xmlns:a16="http://schemas.microsoft.com/office/drawing/2014/main" id="{C2121061-D513-1F8B-CB0C-F3B4304948E8}"/>
              </a:ext>
            </a:extLst>
          </p:cNvPr>
          <p:cNvCxnSpPr>
            <a:cxnSpLocks/>
            <a:stCxn id="29898" idx="3"/>
            <a:endCxn id="29899" idx="7"/>
          </p:cNvCxnSpPr>
          <p:nvPr/>
        </p:nvCxnSpPr>
        <p:spPr>
          <a:xfrm flipH="1">
            <a:off x="6941165" y="4470172"/>
            <a:ext cx="253789" cy="14192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8" name="Conector recto 29927">
            <a:extLst>
              <a:ext uri="{FF2B5EF4-FFF2-40B4-BE49-F238E27FC236}">
                <a16:creationId xmlns:a16="http://schemas.microsoft.com/office/drawing/2014/main" id="{43250B2F-D661-17D1-02C2-7E2EBB5EF98E}"/>
              </a:ext>
            </a:extLst>
          </p:cNvPr>
          <p:cNvCxnSpPr>
            <a:cxnSpLocks/>
            <a:stCxn id="29900" idx="2"/>
            <a:endCxn id="29899" idx="5"/>
          </p:cNvCxnSpPr>
          <p:nvPr/>
        </p:nvCxnSpPr>
        <p:spPr>
          <a:xfrm flipH="1" flipV="1">
            <a:off x="6941165" y="4754012"/>
            <a:ext cx="496605" cy="10319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9" name="Conector recto 29928">
            <a:extLst>
              <a:ext uri="{FF2B5EF4-FFF2-40B4-BE49-F238E27FC236}">
                <a16:creationId xmlns:a16="http://schemas.microsoft.com/office/drawing/2014/main" id="{2B15FADB-5372-0079-BB0F-9A8ACE826620}"/>
              </a:ext>
            </a:extLst>
          </p:cNvPr>
          <p:cNvCxnSpPr>
            <a:cxnSpLocks/>
            <a:stCxn id="29904" idx="0"/>
            <a:endCxn id="29900" idx="5"/>
          </p:cNvCxnSpPr>
          <p:nvPr/>
        </p:nvCxnSpPr>
        <p:spPr>
          <a:xfrm flipH="1" flipV="1">
            <a:off x="7614686" y="4928163"/>
            <a:ext cx="90455" cy="25533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0" name="Conector recto 29929">
            <a:extLst>
              <a:ext uri="{FF2B5EF4-FFF2-40B4-BE49-F238E27FC236}">
                <a16:creationId xmlns:a16="http://schemas.microsoft.com/office/drawing/2014/main" id="{03EF6B4F-34CD-3CDD-89C9-CD957FEA8B91}"/>
              </a:ext>
            </a:extLst>
          </p:cNvPr>
          <p:cNvCxnSpPr>
            <a:cxnSpLocks/>
            <a:stCxn id="29901" idx="3"/>
            <a:endCxn id="29904" idx="7"/>
          </p:cNvCxnSpPr>
          <p:nvPr/>
        </p:nvCxnSpPr>
        <p:spPr>
          <a:xfrm flipH="1">
            <a:off x="7778423" y="5105040"/>
            <a:ext cx="397645" cy="10784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1" name="Conector recto 29930">
            <a:extLst>
              <a:ext uri="{FF2B5EF4-FFF2-40B4-BE49-F238E27FC236}">
                <a16:creationId xmlns:a16="http://schemas.microsoft.com/office/drawing/2014/main" id="{DC515DED-515D-8DC0-8E55-79AE7AA8C4E8}"/>
              </a:ext>
            </a:extLst>
          </p:cNvPr>
          <p:cNvCxnSpPr>
            <a:cxnSpLocks/>
            <a:stCxn id="29903" idx="3"/>
            <a:endCxn id="29901" idx="7"/>
          </p:cNvCxnSpPr>
          <p:nvPr/>
        </p:nvCxnSpPr>
        <p:spPr>
          <a:xfrm flipH="1">
            <a:off x="8322631" y="4804558"/>
            <a:ext cx="617996" cy="158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2" name="Conector recto 29931">
            <a:extLst>
              <a:ext uri="{FF2B5EF4-FFF2-40B4-BE49-F238E27FC236}">
                <a16:creationId xmlns:a16="http://schemas.microsoft.com/office/drawing/2014/main" id="{C27F062A-2660-368B-7F4E-5818D1238DD4}"/>
              </a:ext>
            </a:extLst>
          </p:cNvPr>
          <p:cNvCxnSpPr>
            <a:cxnSpLocks/>
            <a:stCxn id="29903" idx="0"/>
            <a:endCxn id="29902" idx="3"/>
          </p:cNvCxnSpPr>
          <p:nvPr/>
        </p:nvCxnSpPr>
        <p:spPr>
          <a:xfrm flipV="1">
            <a:off x="9013908" y="4536434"/>
            <a:ext cx="2653" cy="9682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3" name="Conector recto 29932">
            <a:extLst>
              <a:ext uri="{FF2B5EF4-FFF2-40B4-BE49-F238E27FC236}">
                <a16:creationId xmlns:a16="http://schemas.microsoft.com/office/drawing/2014/main" id="{9CB62317-27D9-71D9-E7E5-FC615300174A}"/>
              </a:ext>
            </a:extLst>
          </p:cNvPr>
          <p:cNvCxnSpPr>
            <a:cxnSpLocks/>
            <a:stCxn id="29893" idx="5"/>
            <a:endCxn id="29902" idx="1"/>
          </p:cNvCxnSpPr>
          <p:nvPr/>
        </p:nvCxnSpPr>
        <p:spPr>
          <a:xfrm>
            <a:off x="8904647" y="4266977"/>
            <a:ext cx="111914" cy="12754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4" name="Conector recto 29933">
            <a:extLst>
              <a:ext uri="{FF2B5EF4-FFF2-40B4-BE49-F238E27FC236}">
                <a16:creationId xmlns:a16="http://schemas.microsoft.com/office/drawing/2014/main" id="{0FBD757A-0AAB-398A-222D-344473C7F73C}"/>
              </a:ext>
            </a:extLst>
          </p:cNvPr>
          <p:cNvCxnSpPr>
            <a:cxnSpLocks/>
            <a:stCxn id="29893" idx="0"/>
            <a:endCxn id="29892" idx="4"/>
          </p:cNvCxnSpPr>
          <p:nvPr/>
        </p:nvCxnSpPr>
        <p:spPr>
          <a:xfrm flipH="1" flipV="1">
            <a:off x="8790964" y="4076933"/>
            <a:ext cx="40402" cy="1874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5" name="Conector recto 29934">
            <a:extLst>
              <a:ext uri="{FF2B5EF4-FFF2-40B4-BE49-F238E27FC236}">
                <a16:creationId xmlns:a16="http://schemas.microsoft.com/office/drawing/2014/main" id="{2CD79B71-D984-36AE-169E-279950B5A6E8}"/>
              </a:ext>
            </a:extLst>
          </p:cNvPr>
          <p:cNvCxnSpPr>
            <a:cxnSpLocks/>
            <a:stCxn id="29890" idx="3"/>
            <a:endCxn id="29892" idx="7"/>
          </p:cNvCxnSpPr>
          <p:nvPr/>
        </p:nvCxnSpPr>
        <p:spPr>
          <a:xfrm flipH="1">
            <a:off x="8864245" y="3820060"/>
            <a:ext cx="264807" cy="85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6" name="Conector recto 29935">
            <a:extLst>
              <a:ext uri="{FF2B5EF4-FFF2-40B4-BE49-F238E27FC236}">
                <a16:creationId xmlns:a16="http://schemas.microsoft.com/office/drawing/2014/main" id="{D6DB9A0C-2670-9D42-1043-51BB8B5BB134}"/>
              </a:ext>
            </a:extLst>
          </p:cNvPr>
          <p:cNvCxnSpPr>
            <a:cxnSpLocks/>
            <a:stCxn id="29892" idx="2"/>
            <a:endCxn id="29894" idx="6"/>
          </p:cNvCxnSpPr>
          <p:nvPr/>
        </p:nvCxnSpPr>
        <p:spPr>
          <a:xfrm flipH="1" flipV="1">
            <a:off x="8303576" y="3826386"/>
            <a:ext cx="383753" cy="1502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7" name="Conector recto 29936">
            <a:extLst>
              <a:ext uri="{FF2B5EF4-FFF2-40B4-BE49-F238E27FC236}">
                <a16:creationId xmlns:a16="http://schemas.microsoft.com/office/drawing/2014/main" id="{E20BDD97-395F-8852-DAA9-7CFF6D12DE51}"/>
              </a:ext>
            </a:extLst>
          </p:cNvPr>
          <p:cNvCxnSpPr>
            <a:cxnSpLocks/>
            <a:stCxn id="29893" idx="2"/>
            <a:endCxn id="29895" idx="6"/>
          </p:cNvCxnSpPr>
          <p:nvPr/>
        </p:nvCxnSpPr>
        <p:spPr>
          <a:xfrm flipH="1" flipV="1">
            <a:off x="8234781" y="4170607"/>
            <a:ext cx="492950" cy="254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8" name="Conector recto 29937">
            <a:extLst>
              <a:ext uri="{FF2B5EF4-FFF2-40B4-BE49-F238E27FC236}">
                <a16:creationId xmlns:a16="http://schemas.microsoft.com/office/drawing/2014/main" id="{546D9CDA-10F6-8292-A511-911339BADFBC}"/>
              </a:ext>
            </a:extLst>
          </p:cNvPr>
          <p:cNvCxnSpPr>
            <a:cxnSpLocks/>
            <a:stCxn id="29901" idx="0"/>
            <a:endCxn id="29895" idx="5"/>
          </p:cNvCxnSpPr>
          <p:nvPr/>
        </p:nvCxnSpPr>
        <p:spPr>
          <a:xfrm flipH="1" flipV="1">
            <a:off x="8204427" y="4241562"/>
            <a:ext cx="44922" cy="69217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39" name="TextBox 24">
            <a:extLst>
              <a:ext uri="{FF2B5EF4-FFF2-40B4-BE49-F238E27FC236}">
                <a16:creationId xmlns:a16="http://schemas.microsoft.com/office/drawing/2014/main" id="{5DE3E9A0-9425-4F00-B384-CEBAF74DE2CF}"/>
              </a:ext>
            </a:extLst>
          </p:cNvPr>
          <p:cNvSpPr txBox="1"/>
          <p:nvPr/>
        </p:nvSpPr>
        <p:spPr>
          <a:xfrm>
            <a:off x="3931556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0" name="Elipse 29939">
            <a:extLst>
              <a:ext uri="{FF2B5EF4-FFF2-40B4-BE49-F238E27FC236}">
                <a16:creationId xmlns:a16="http://schemas.microsoft.com/office/drawing/2014/main" id="{84E9ECB9-C40E-8BB0-CB54-8EC652045E1F}"/>
              </a:ext>
            </a:extLst>
          </p:cNvPr>
          <p:cNvSpPr/>
          <p:nvPr/>
        </p:nvSpPr>
        <p:spPr>
          <a:xfrm>
            <a:off x="3680449" y="6131528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41" name="TextBox 24">
            <a:extLst>
              <a:ext uri="{FF2B5EF4-FFF2-40B4-BE49-F238E27FC236}">
                <a16:creationId xmlns:a16="http://schemas.microsoft.com/office/drawing/2014/main" id="{9AF7E765-C14B-4044-FA83-039568CC1B3F}"/>
              </a:ext>
            </a:extLst>
          </p:cNvPr>
          <p:cNvSpPr txBox="1"/>
          <p:nvPr/>
        </p:nvSpPr>
        <p:spPr>
          <a:xfrm>
            <a:off x="5167821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2" name="Elipse 29941">
            <a:extLst>
              <a:ext uri="{FF2B5EF4-FFF2-40B4-BE49-F238E27FC236}">
                <a16:creationId xmlns:a16="http://schemas.microsoft.com/office/drawing/2014/main" id="{92C3A7A8-4BDD-F67B-6F7E-A016A4590AA0}"/>
              </a:ext>
            </a:extLst>
          </p:cNvPr>
          <p:cNvSpPr/>
          <p:nvPr/>
        </p:nvSpPr>
        <p:spPr>
          <a:xfrm>
            <a:off x="4916714" y="6131528"/>
            <a:ext cx="184150" cy="18415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43" name="TextBox 24">
            <a:extLst>
              <a:ext uri="{FF2B5EF4-FFF2-40B4-BE49-F238E27FC236}">
                <a16:creationId xmlns:a16="http://schemas.microsoft.com/office/drawing/2014/main" id="{D8F49DC0-A533-337B-F3A9-C9F9F22C58C5}"/>
              </a:ext>
            </a:extLst>
          </p:cNvPr>
          <p:cNvSpPr txBox="1"/>
          <p:nvPr/>
        </p:nvSpPr>
        <p:spPr>
          <a:xfrm>
            <a:off x="6381552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4" name="Elipse 29943">
            <a:extLst>
              <a:ext uri="{FF2B5EF4-FFF2-40B4-BE49-F238E27FC236}">
                <a16:creationId xmlns:a16="http://schemas.microsoft.com/office/drawing/2014/main" id="{ACD315C2-9BF3-7928-3A90-414E15680911}"/>
              </a:ext>
            </a:extLst>
          </p:cNvPr>
          <p:cNvSpPr/>
          <p:nvPr/>
        </p:nvSpPr>
        <p:spPr>
          <a:xfrm>
            <a:off x="6130445" y="6131528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45" name="TextBox 24">
            <a:extLst>
              <a:ext uri="{FF2B5EF4-FFF2-40B4-BE49-F238E27FC236}">
                <a16:creationId xmlns:a16="http://schemas.microsoft.com/office/drawing/2014/main" id="{E0E4372A-B9F3-9C35-AEC9-487BCDD13CEA}"/>
              </a:ext>
            </a:extLst>
          </p:cNvPr>
          <p:cNvSpPr txBox="1"/>
          <p:nvPr/>
        </p:nvSpPr>
        <p:spPr>
          <a:xfrm>
            <a:off x="7617817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6" name="Elipse 29945">
            <a:extLst>
              <a:ext uri="{FF2B5EF4-FFF2-40B4-BE49-F238E27FC236}">
                <a16:creationId xmlns:a16="http://schemas.microsoft.com/office/drawing/2014/main" id="{8DC28A29-A12D-8CA2-1A68-183D1DAE543F}"/>
              </a:ext>
            </a:extLst>
          </p:cNvPr>
          <p:cNvSpPr/>
          <p:nvPr/>
        </p:nvSpPr>
        <p:spPr>
          <a:xfrm>
            <a:off x="7366710" y="6131528"/>
            <a:ext cx="184150" cy="18415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140495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2B3B10-3896-EFC2-9788-83EE654C1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2B3B10-3896-EFC2-9788-83EE654C1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2022D5-5E4D-2DF2-BA39-A3C0E4C567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54AF59-D631-2467-004E-EC2951BF7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2x2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217E46-9BA8-FCAA-1E2A-A7CE8BED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C560917-DADF-5A5C-B755-071949064D44}"/>
              </a:ext>
            </a:extLst>
          </p:cNvPr>
          <p:cNvGraphicFramePr>
            <a:graphicFrameLocks noGrp="1"/>
          </p:cNvGraphicFramePr>
          <p:nvPr/>
        </p:nvGraphicFramePr>
        <p:xfrm>
          <a:off x="3452446" y="1534746"/>
          <a:ext cx="5310554" cy="3927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5277">
                  <a:extLst>
                    <a:ext uri="{9D8B030D-6E8A-4147-A177-3AD203B41FA5}">
                      <a16:colId xmlns:a16="http://schemas.microsoft.com/office/drawing/2014/main" val="682665466"/>
                    </a:ext>
                  </a:extLst>
                </a:gridCol>
                <a:gridCol w="2655277">
                  <a:extLst>
                    <a:ext uri="{9D8B030D-6E8A-4147-A177-3AD203B41FA5}">
                      <a16:colId xmlns:a16="http://schemas.microsoft.com/office/drawing/2014/main" val="3359653621"/>
                    </a:ext>
                  </a:extLst>
                </a:gridCol>
              </a:tblGrid>
              <a:tr h="196361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13465"/>
                  </a:ext>
                </a:extLst>
              </a:tr>
              <a:tr h="1963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01844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B6BB84B-722C-FB62-0592-F8E1B57E3B45}"/>
              </a:ext>
            </a:extLst>
          </p:cNvPr>
          <p:cNvSpPr txBox="1"/>
          <p:nvPr/>
        </p:nvSpPr>
        <p:spPr>
          <a:xfrm rot="16200000">
            <a:off x="2217739" y="2337778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CBC57-20AB-E6D6-A923-69BFE21D28B3}"/>
              </a:ext>
            </a:extLst>
          </p:cNvPr>
          <p:cNvSpPr txBox="1"/>
          <p:nvPr/>
        </p:nvSpPr>
        <p:spPr>
          <a:xfrm rot="16200000">
            <a:off x="2217738" y="4272086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1E60F6-203F-FF70-798C-896F05400702}"/>
              </a:ext>
            </a:extLst>
          </p:cNvPr>
          <p:cNvSpPr txBox="1"/>
          <p:nvPr/>
        </p:nvSpPr>
        <p:spPr>
          <a:xfrm>
            <a:off x="3485784" y="5584947"/>
            <a:ext cx="2804745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33B9F0-E247-A45B-3BCF-9DC4F2D5BA7B}"/>
              </a:ext>
            </a:extLst>
          </p:cNvPr>
          <p:cNvSpPr txBox="1"/>
          <p:nvPr/>
        </p:nvSpPr>
        <p:spPr>
          <a:xfrm>
            <a:off x="6290529" y="5584947"/>
            <a:ext cx="2806700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0EABF5-1AFC-EEDF-1258-569E7B922B05}"/>
              </a:ext>
            </a:extLst>
          </p:cNvPr>
          <p:cNvSpPr txBox="1"/>
          <p:nvPr/>
        </p:nvSpPr>
        <p:spPr>
          <a:xfrm rot="16200000">
            <a:off x="736324" y="3342055"/>
            <a:ext cx="3927233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 Lab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60BB7-A8E1-E3E4-6BC1-2F912B790508}"/>
              </a:ext>
            </a:extLst>
          </p:cNvPr>
          <p:cNvSpPr txBox="1"/>
          <p:nvPr/>
        </p:nvSpPr>
        <p:spPr>
          <a:xfrm>
            <a:off x="3452446" y="5956791"/>
            <a:ext cx="531055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 Label</a:t>
            </a:r>
          </a:p>
        </p:txBody>
      </p:sp>
    </p:spTree>
    <p:extLst>
      <p:ext uri="{BB962C8B-B14F-4D97-AF65-F5344CB8AC3E}">
        <p14:creationId xmlns:p14="http://schemas.microsoft.com/office/powerpoint/2010/main" val="2332156085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2B3B10-3896-EFC2-9788-83EE654C1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2B3B10-3896-EFC2-9788-83EE654C1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2022D5-5E4D-2DF2-BA39-A3C0E4C567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54AF59-D631-2467-004E-EC2951BF7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3x2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217E46-9BA8-FCAA-1E2A-A7CE8BED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C560917-DADF-5A5C-B755-071949064D44}"/>
              </a:ext>
            </a:extLst>
          </p:cNvPr>
          <p:cNvGraphicFramePr>
            <a:graphicFrameLocks noGrp="1"/>
          </p:cNvGraphicFramePr>
          <p:nvPr/>
        </p:nvGraphicFramePr>
        <p:xfrm>
          <a:off x="1191846" y="1522046"/>
          <a:ext cx="9808308" cy="3927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9436">
                  <a:extLst>
                    <a:ext uri="{9D8B030D-6E8A-4147-A177-3AD203B41FA5}">
                      <a16:colId xmlns:a16="http://schemas.microsoft.com/office/drawing/2014/main" val="682665466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359653621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645804791"/>
                    </a:ext>
                  </a:extLst>
                </a:gridCol>
              </a:tblGrid>
              <a:tr h="1963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13465"/>
                  </a:ext>
                </a:extLst>
              </a:tr>
              <a:tr h="1963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01844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B6BB84B-722C-FB62-0592-F8E1B57E3B45}"/>
              </a:ext>
            </a:extLst>
          </p:cNvPr>
          <p:cNvSpPr txBox="1"/>
          <p:nvPr/>
        </p:nvSpPr>
        <p:spPr>
          <a:xfrm rot="16200000">
            <a:off x="-42861" y="2325078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CBC57-20AB-E6D6-A923-69BFE21D28B3}"/>
              </a:ext>
            </a:extLst>
          </p:cNvPr>
          <p:cNvSpPr txBox="1"/>
          <p:nvPr/>
        </p:nvSpPr>
        <p:spPr>
          <a:xfrm rot="16200000">
            <a:off x="-42862" y="4259386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1E60F6-203F-FF70-798C-896F05400702}"/>
              </a:ext>
            </a:extLst>
          </p:cNvPr>
          <p:cNvSpPr txBox="1"/>
          <p:nvPr/>
        </p:nvSpPr>
        <p:spPr>
          <a:xfrm>
            <a:off x="1212483" y="5579574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33B9F0-E247-A45B-3BCF-9DC4F2D5BA7B}"/>
              </a:ext>
            </a:extLst>
          </p:cNvPr>
          <p:cNvSpPr txBox="1"/>
          <p:nvPr/>
        </p:nvSpPr>
        <p:spPr>
          <a:xfrm>
            <a:off x="4483221" y="5589709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D835EB-108C-E6C9-CCA0-BE685D0F043D}"/>
              </a:ext>
            </a:extLst>
          </p:cNvPr>
          <p:cNvSpPr txBox="1"/>
          <p:nvPr/>
        </p:nvSpPr>
        <p:spPr>
          <a:xfrm>
            <a:off x="7765682" y="5589709"/>
            <a:ext cx="325901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86DCC4-5716-FE1A-7CE8-4B6851816B26}"/>
              </a:ext>
            </a:extLst>
          </p:cNvPr>
          <p:cNvSpPr txBox="1"/>
          <p:nvPr/>
        </p:nvSpPr>
        <p:spPr>
          <a:xfrm rot="16200000">
            <a:off x="-1404820" y="3322394"/>
            <a:ext cx="3966555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 Lab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455B0A-E444-F8B1-F938-930C2027138A}"/>
              </a:ext>
            </a:extLst>
          </p:cNvPr>
          <p:cNvSpPr txBox="1"/>
          <p:nvPr/>
        </p:nvSpPr>
        <p:spPr>
          <a:xfrm>
            <a:off x="3452446" y="5956791"/>
            <a:ext cx="531055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 Label</a:t>
            </a:r>
          </a:p>
        </p:txBody>
      </p:sp>
    </p:spTree>
    <p:extLst>
      <p:ext uri="{BB962C8B-B14F-4D97-AF65-F5344CB8AC3E}">
        <p14:creationId xmlns:p14="http://schemas.microsoft.com/office/powerpoint/2010/main" val="3950024925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2B3B10-3896-EFC2-9788-83EE654C1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2B3B10-3896-EFC2-9788-83EE654C1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2022D5-5E4D-2DF2-BA39-A3C0E4C567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54AF59-D631-2467-004E-EC2951BF7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3x3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217E46-9BA8-FCAA-1E2A-A7CE8BED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C560917-DADF-5A5C-B755-071949064D44}"/>
              </a:ext>
            </a:extLst>
          </p:cNvPr>
          <p:cNvGraphicFramePr>
            <a:graphicFrameLocks noGrp="1"/>
          </p:cNvGraphicFramePr>
          <p:nvPr/>
        </p:nvGraphicFramePr>
        <p:xfrm>
          <a:off x="1191846" y="1560146"/>
          <a:ext cx="9808308" cy="3938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9436">
                  <a:extLst>
                    <a:ext uri="{9D8B030D-6E8A-4147-A177-3AD203B41FA5}">
                      <a16:colId xmlns:a16="http://schemas.microsoft.com/office/drawing/2014/main" val="682665466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359653621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645804791"/>
                    </a:ext>
                  </a:extLst>
                </a:gridCol>
              </a:tblGrid>
              <a:tr h="13129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13465"/>
                  </a:ext>
                </a:extLst>
              </a:tr>
              <a:tr h="13129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018442"/>
                  </a:ext>
                </a:extLst>
              </a:tr>
              <a:tr h="13129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06396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B6BB84B-722C-FB62-0592-F8E1B57E3B45}"/>
              </a:ext>
            </a:extLst>
          </p:cNvPr>
          <p:cNvSpPr txBox="1"/>
          <p:nvPr/>
        </p:nvSpPr>
        <p:spPr>
          <a:xfrm rot="16200000">
            <a:off x="285385" y="2034932"/>
            <a:ext cx="131298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CBC57-20AB-E6D6-A923-69BFE21D28B3}"/>
              </a:ext>
            </a:extLst>
          </p:cNvPr>
          <p:cNvSpPr txBox="1"/>
          <p:nvPr/>
        </p:nvSpPr>
        <p:spPr>
          <a:xfrm rot="16200000">
            <a:off x="279522" y="3342054"/>
            <a:ext cx="1324707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964EA0-EF9F-B5B4-7220-1F2FECDAD18C}"/>
              </a:ext>
            </a:extLst>
          </p:cNvPr>
          <p:cNvSpPr txBox="1"/>
          <p:nvPr/>
        </p:nvSpPr>
        <p:spPr>
          <a:xfrm rot="16200000">
            <a:off x="279522" y="4701931"/>
            <a:ext cx="1324707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AEEE61-EB6D-DF8F-7414-405450F1E180}"/>
              </a:ext>
            </a:extLst>
          </p:cNvPr>
          <p:cNvSpPr txBox="1"/>
          <p:nvPr/>
        </p:nvSpPr>
        <p:spPr>
          <a:xfrm>
            <a:off x="1212483" y="5579574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6C34C-ADC7-8ADB-40FC-9C63B0798BC5}"/>
              </a:ext>
            </a:extLst>
          </p:cNvPr>
          <p:cNvSpPr txBox="1"/>
          <p:nvPr/>
        </p:nvSpPr>
        <p:spPr>
          <a:xfrm>
            <a:off x="4483221" y="5589709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2072CA-CE77-2220-8209-F72DB8427ECF}"/>
              </a:ext>
            </a:extLst>
          </p:cNvPr>
          <p:cNvSpPr txBox="1"/>
          <p:nvPr/>
        </p:nvSpPr>
        <p:spPr>
          <a:xfrm>
            <a:off x="7765682" y="5589709"/>
            <a:ext cx="325901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6B4A07-E48D-171B-5BF1-C86956F47C9A}"/>
              </a:ext>
            </a:extLst>
          </p:cNvPr>
          <p:cNvSpPr txBox="1"/>
          <p:nvPr/>
        </p:nvSpPr>
        <p:spPr>
          <a:xfrm rot="16200000">
            <a:off x="-1404820" y="3322394"/>
            <a:ext cx="3966555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 Lab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5FD685-8F9B-1503-DE66-252D8A87C869}"/>
              </a:ext>
            </a:extLst>
          </p:cNvPr>
          <p:cNvSpPr txBox="1"/>
          <p:nvPr/>
        </p:nvSpPr>
        <p:spPr>
          <a:xfrm>
            <a:off x="3452446" y="5956791"/>
            <a:ext cx="531055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 Label</a:t>
            </a:r>
          </a:p>
        </p:txBody>
      </p:sp>
    </p:spTree>
    <p:extLst>
      <p:ext uri="{BB962C8B-B14F-4D97-AF65-F5344CB8AC3E}">
        <p14:creationId xmlns:p14="http://schemas.microsoft.com/office/powerpoint/2010/main" val="3385829644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1973450922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5E7CD7-8163-6709-913F-373BC19389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502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5E7CD7-8163-6709-913F-373BC1938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F96A204-15B2-9483-191E-90094F5FDB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257768-B51F-AC50-58A1-24A5596BE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oneycomb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Hexágono 6">
            <a:extLst>
              <a:ext uri="{FF2B5EF4-FFF2-40B4-BE49-F238E27FC236}">
                <a16:creationId xmlns:a16="http://schemas.microsoft.com/office/drawing/2014/main" id="{F0B54DCA-FEB1-2F42-B21C-C04A0207D6D2}"/>
              </a:ext>
            </a:extLst>
          </p:cNvPr>
          <p:cNvSpPr/>
          <p:nvPr/>
        </p:nvSpPr>
        <p:spPr>
          <a:xfrm rot="5400000">
            <a:off x="5305033" y="3137358"/>
            <a:ext cx="1621775" cy="1415845"/>
          </a:xfrm>
          <a:prstGeom prst="hexagon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vert="vert" lIns="0" tIns="36000" rIns="0" bIns="36000" anchor="ctr"/>
          <a:lstStyle/>
          <a:p>
            <a:pPr algn="ctr" defTabSz="228554"/>
            <a:r>
              <a:rPr lang="en-US" sz="14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Hexágono 7">
            <a:extLst>
              <a:ext uri="{FF2B5EF4-FFF2-40B4-BE49-F238E27FC236}">
                <a16:creationId xmlns:a16="http://schemas.microsoft.com/office/drawing/2014/main" id="{76F76371-7F40-9093-14DB-D6F2A9B95F04}"/>
              </a:ext>
            </a:extLst>
          </p:cNvPr>
          <p:cNvSpPr/>
          <p:nvPr/>
        </p:nvSpPr>
        <p:spPr>
          <a:xfrm rot="5400000">
            <a:off x="4566124" y="178160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Hexágono 8">
            <a:extLst>
              <a:ext uri="{FF2B5EF4-FFF2-40B4-BE49-F238E27FC236}">
                <a16:creationId xmlns:a16="http://schemas.microsoft.com/office/drawing/2014/main" id="{18D95E91-2023-7C46-36BE-B5E9824E1CF5}"/>
              </a:ext>
            </a:extLst>
          </p:cNvPr>
          <p:cNvSpPr/>
          <p:nvPr/>
        </p:nvSpPr>
        <p:spPr>
          <a:xfrm rot="5400000">
            <a:off x="3813656" y="313735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Hexágono 9">
            <a:extLst>
              <a:ext uri="{FF2B5EF4-FFF2-40B4-BE49-F238E27FC236}">
                <a16:creationId xmlns:a16="http://schemas.microsoft.com/office/drawing/2014/main" id="{B5C20BE5-F3C0-289B-A531-2322A4782C6F}"/>
              </a:ext>
            </a:extLst>
          </p:cNvPr>
          <p:cNvSpPr/>
          <p:nvPr/>
        </p:nvSpPr>
        <p:spPr>
          <a:xfrm rot="5400000">
            <a:off x="6796410" y="313735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Hexágono 10">
            <a:extLst>
              <a:ext uri="{FF2B5EF4-FFF2-40B4-BE49-F238E27FC236}">
                <a16:creationId xmlns:a16="http://schemas.microsoft.com/office/drawing/2014/main" id="{5E391A80-66D3-434C-8DF8-9010ED3E7CFF}"/>
              </a:ext>
            </a:extLst>
          </p:cNvPr>
          <p:cNvSpPr/>
          <p:nvPr/>
        </p:nvSpPr>
        <p:spPr>
          <a:xfrm rot="5400000">
            <a:off x="6050722" y="4471435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Hexágono 11">
            <a:extLst>
              <a:ext uri="{FF2B5EF4-FFF2-40B4-BE49-F238E27FC236}">
                <a16:creationId xmlns:a16="http://schemas.microsoft.com/office/drawing/2014/main" id="{893DC335-1031-D611-9772-D65E285EC7BF}"/>
              </a:ext>
            </a:extLst>
          </p:cNvPr>
          <p:cNvSpPr/>
          <p:nvPr/>
        </p:nvSpPr>
        <p:spPr>
          <a:xfrm rot="5400000">
            <a:off x="6057501" y="1781607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Hexágono 12">
            <a:extLst>
              <a:ext uri="{FF2B5EF4-FFF2-40B4-BE49-F238E27FC236}">
                <a16:creationId xmlns:a16="http://schemas.microsoft.com/office/drawing/2014/main" id="{25B82539-1A4D-9DC9-D387-74C75CA2938A}"/>
              </a:ext>
            </a:extLst>
          </p:cNvPr>
          <p:cNvSpPr/>
          <p:nvPr/>
        </p:nvSpPr>
        <p:spPr>
          <a:xfrm rot="5400000">
            <a:off x="4562059" y="4467309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B3C232C9-4B70-2F0F-C5BC-162CEF24FD53}"/>
              </a:ext>
            </a:extLst>
          </p:cNvPr>
          <p:cNvCxnSpPr>
            <a:cxnSpLocks/>
          </p:cNvCxnSpPr>
          <p:nvPr/>
        </p:nvCxnSpPr>
        <p:spPr>
          <a:xfrm>
            <a:off x="7707320" y="2980909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8A3A9F3-B7E0-2228-CD36-1C116A24E16D}"/>
              </a:ext>
            </a:extLst>
          </p:cNvPr>
          <p:cNvCxnSpPr>
            <a:cxnSpLocks/>
          </p:cNvCxnSpPr>
          <p:nvPr/>
        </p:nvCxnSpPr>
        <p:spPr>
          <a:xfrm>
            <a:off x="7707320" y="4726237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21A0A1A1-65B1-638A-76DD-E7642BA3EC22}"/>
              </a:ext>
            </a:extLst>
          </p:cNvPr>
          <p:cNvCxnSpPr>
            <a:cxnSpLocks/>
          </p:cNvCxnSpPr>
          <p:nvPr/>
        </p:nvCxnSpPr>
        <p:spPr>
          <a:xfrm>
            <a:off x="384174" y="2980909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FB78114B-AB62-184E-1610-9F9A0640BAC3}"/>
              </a:ext>
            </a:extLst>
          </p:cNvPr>
          <p:cNvCxnSpPr>
            <a:cxnSpLocks/>
          </p:cNvCxnSpPr>
          <p:nvPr/>
        </p:nvCxnSpPr>
        <p:spPr>
          <a:xfrm>
            <a:off x="384174" y="4726237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25">
            <a:extLst>
              <a:ext uri="{FF2B5EF4-FFF2-40B4-BE49-F238E27FC236}">
                <a16:creationId xmlns:a16="http://schemas.microsoft.com/office/drawing/2014/main" id="{C8D944BD-E771-0156-9A93-541AD5D74B44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968008B9-EE22-2427-D7EE-2DE91CE7DC93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4FA9EBAC-2DF7-C7A7-DFD6-8A241C08E65B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E9E3ECD-51E5-E149-90F3-AB468DC57552}"/>
              </a:ext>
            </a:extLst>
          </p:cNvPr>
          <p:cNvSpPr txBox="1"/>
          <p:nvPr/>
        </p:nvSpPr>
        <p:spPr>
          <a:xfrm>
            <a:off x="9141241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11A2B632-C24A-CB5A-98DD-61D36A180533}"/>
              </a:ext>
            </a:extLst>
          </p:cNvPr>
          <p:cNvSpPr txBox="1"/>
          <p:nvPr/>
        </p:nvSpPr>
        <p:spPr>
          <a:xfrm>
            <a:off x="9127353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7" name="TextBox 25">
            <a:extLst>
              <a:ext uri="{FF2B5EF4-FFF2-40B4-BE49-F238E27FC236}">
                <a16:creationId xmlns:a16="http://schemas.microsoft.com/office/drawing/2014/main" id="{3128CD4A-FF3E-E768-D2D6-226BB9FD4A5E}"/>
              </a:ext>
            </a:extLst>
          </p:cNvPr>
          <p:cNvSpPr txBox="1"/>
          <p:nvPr/>
        </p:nvSpPr>
        <p:spPr>
          <a:xfrm>
            <a:off x="9141241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D1F1B5-A06B-87D0-6CEF-297ECAB009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25658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293ADFE-3ADA-AB06-FC03-958AF3AF20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293ADFE-3ADA-AB06-FC03-958AF3AF2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– Hexagon concep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Hexágono 9">
            <a:extLst>
              <a:ext uri="{FF2B5EF4-FFF2-40B4-BE49-F238E27FC236}">
                <a16:creationId xmlns:a16="http://schemas.microsoft.com/office/drawing/2014/main" id="{10516352-5FA3-34B5-F0FA-6AE9DB87C7AD}"/>
              </a:ext>
            </a:extLst>
          </p:cNvPr>
          <p:cNvSpPr/>
          <p:nvPr/>
        </p:nvSpPr>
        <p:spPr>
          <a:xfrm rot="16200000">
            <a:off x="4605004" y="1799013"/>
            <a:ext cx="1432592" cy="1234992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Hexágono 10">
            <a:extLst>
              <a:ext uri="{FF2B5EF4-FFF2-40B4-BE49-F238E27FC236}">
                <a16:creationId xmlns:a16="http://schemas.microsoft.com/office/drawing/2014/main" id="{198A871A-973E-FB8A-5497-67E7CB4FB3C2}"/>
              </a:ext>
            </a:extLst>
          </p:cNvPr>
          <p:cNvSpPr/>
          <p:nvPr/>
        </p:nvSpPr>
        <p:spPr>
          <a:xfrm rot="16200000">
            <a:off x="6192504" y="1799013"/>
            <a:ext cx="1432592" cy="1234992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Hexágono 11">
            <a:extLst>
              <a:ext uri="{FF2B5EF4-FFF2-40B4-BE49-F238E27FC236}">
                <a16:creationId xmlns:a16="http://schemas.microsoft.com/office/drawing/2014/main" id="{36A987FA-CD89-A305-9683-5D93AF936AFB}"/>
              </a:ext>
            </a:extLst>
          </p:cNvPr>
          <p:cNvSpPr/>
          <p:nvPr/>
        </p:nvSpPr>
        <p:spPr>
          <a:xfrm rot="16200000">
            <a:off x="6970081" y="3161881"/>
            <a:ext cx="1432592" cy="1234992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Hexágono 12">
            <a:extLst>
              <a:ext uri="{FF2B5EF4-FFF2-40B4-BE49-F238E27FC236}">
                <a16:creationId xmlns:a16="http://schemas.microsoft.com/office/drawing/2014/main" id="{E480A9BB-F624-44B0-17BB-63A81C2527F0}"/>
              </a:ext>
            </a:extLst>
          </p:cNvPr>
          <p:cNvSpPr/>
          <p:nvPr/>
        </p:nvSpPr>
        <p:spPr>
          <a:xfrm rot="16200000">
            <a:off x="3827428" y="3161881"/>
            <a:ext cx="1432592" cy="1234992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Hexágono 16">
            <a:extLst>
              <a:ext uri="{FF2B5EF4-FFF2-40B4-BE49-F238E27FC236}">
                <a16:creationId xmlns:a16="http://schemas.microsoft.com/office/drawing/2014/main" id="{D88AE268-DBAC-1F6B-0723-4B1BBD2CF67C}"/>
              </a:ext>
            </a:extLst>
          </p:cNvPr>
          <p:cNvSpPr/>
          <p:nvPr/>
        </p:nvSpPr>
        <p:spPr>
          <a:xfrm rot="16200000">
            <a:off x="4605004" y="4524750"/>
            <a:ext cx="1432592" cy="1234992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Hexágono 17">
            <a:extLst>
              <a:ext uri="{FF2B5EF4-FFF2-40B4-BE49-F238E27FC236}">
                <a16:creationId xmlns:a16="http://schemas.microsoft.com/office/drawing/2014/main" id="{20266CF5-B87D-C4EB-703B-690914031721}"/>
              </a:ext>
            </a:extLst>
          </p:cNvPr>
          <p:cNvSpPr/>
          <p:nvPr/>
        </p:nvSpPr>
        <p:spPr>
          <a:xfrm rot="16200000">
            <a:off x="6192504" y="4524750"/>
            <a:ext cx="1432592" cy="1234992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723EB84F-7DAB-2C87-00DE-5E12754B33DD}"/>
              </a:ext>
            </a:extLst>
          </p:cNvPr>
          <p:cNvSpPr/>
          <p:nvPr/>
        </p:nvSpPr>
        <p:spPr>
          <a:xfrm>
            <a:off x="7649633" y="2003078"/>
            <a:ext cx="417089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D1FCCDF3-AADB-E6A5-38B6-E26D692FD4D0}"/>
              </a:ext>
            </a:extLst>
          </p:cNvPr>
          <p:cNvSpPr/>
          <p:nvPr/>
        </p:nvSpPr>
        <p:spPr>
          <a:xfrm>
            <a:off x="8435448" y="3378637"/>
            <a:ext cx="338507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09FBCBD7-F8A6-537B-A4A6-86C4310145C7}"/>
              </a:ext>
            </a:extLst>
          </p:cNvPr>
          <p:cNvSpPr/>
          <p:nvPr/>
        </p:nvSpPr>
        <p:spPr>
          <a:xfrm>
            <a:off x="7649633" y="4730924"/>
            <a:ext cx="417089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E825AD2-5FB4-D1FD-7569-039B20325462}"/>
              </a:ext>
            </a:extLst>
          </p:cNvPr>
          <p:cNvSpPr/>
          <p:nvPr/>
        </p:nvSpPr>
        <p:spPr>
          <a:xfrm>
            <a:off x="384174" y="2003078"/>
            <a:ext cx="417089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490709B-596F-A06C-AD3B-269935A75E8B}"/>
              </a:ext>
            </a:extLst>
          </p:cNvPr>
          <p:cNvSpPr/>
          <p:nvPr/>
        </p:nvSpPr>
        <p:spPr>
          <a:xfrm>
            <a:off x="384174" y="4730924"/>
            <a:ext cx="417089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36C2F3A0-4A5C-59B7-B7EA-AF6ACFAB167D}"/>
              </a:ext>
            </a:extLst>
          </p:cNvPr>
          <p:cNvSpPr/>
          <p:nvPr/>
        </p:nvSpPr>
        <p:spPr>
          <a:xfrm>
            <a:off x="384174" y="3378637"/>
            <a:ext cx="338507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435E2380-C7E2-9CF3-AA86-2B60F5D7BAB2}"/>
              </a:ext>
            </a:extLst>
          </p:cNvPr>
          <p:cNvSpPr/>
          <p:nvPr/>
        </p:nvSpPr>
        <p:spPr>
          <a:xfrm>
            <a:off x="5226182" y="3640878"/>
            <a:ext cx="177773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E9CB8218-49EA-8D84-2F1B-8A97969B1DAC}"/>
              </a:ext>
            </a:extLst>
          </p:cNvPr>
          <p:cNvCxnSpPr>
            <a:cxnSpLocks/>
          </p:cNvCxnSpPr>
          <p:nvPr/>
        </p:nvCxnSpPr>
        <p:spPr>
          <a:xfrm>
            <a:off x="7686377" y="2948781"/>
            <a:ext cx="4134148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6" name="Conector recto 4095">
            <a:extLst>
              <a:ext uri="{FF2B5EF4-FFF2-40B4-BE49-F238E27FC236}">
                <a16:creationId xmlns:a16="http://schemas.microsoft.com/office/drawing/2014/main" id="{73558760-C82F-8D3B-6FD0-915FE2A300B3}"/>
              </a:ext>
            </a:extLst>
          </p:cNvPr>
          <p:cNvCxnSpPr>
            <a:cxnSpLocks/>
          </p:cNvCxnSpPr>
          <p:nvPr/>
        </p:nvCxnSpPr>
        <p:spPr>
          <a:xfrm>
            <a:off x="7686377" y="4617561"/>
            <a:ext cx="4134148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7" name="Conector recto 4096">
            <a:extLst>
              <a:ext uri="{FF2B5EF4-FFF2-40B4-BE49-F238E27FC236}">
                <a16:creationId xmlns:a16="http://schemas.microsoft.com/office/drawing/2014/main" id="{4B88FC0C-56D6-869F-022F-48B6A17E1217}"/>
              </a:ext>
            </a:extLst>
          </p:cNvPr>
          <p:cNvCxnSpPr>
            <a:cxnSpLocks/>
          </p:cNvCxnSpPr>
          <p:nvPr/>
        </p:nvCxnSpPr>
        <p:spPr>
          <a:xfrm>
            <a:off x="384174" y="2948781"/>
            <a:ext cx="4134148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9" name="Conector recto 4098">
            <a:extLst>
              <a:ext uri="{FF2B5EF4-FFF2-40B4-BE49-F238E27FC236}">
                <a16:creationId xmlns:a16="http://schemas.microsoft.com/office/drawing/2014/main" id="{204FA4D7-1A9E-7798-FF0E-C9D7FAFA6A81}"/>
              </a:ext>
            </a:extLst>
          </p:cNvPr>
          <p:cNvCxnSpPr>
            <a:cxnSpLocks/>
          </p:cNvCxnSpPr>
          <p:nvPr/>
        </p:nvCxnSpPr>
        <p:spPr>
          <a:xfrm>
            <a:off x="384174" y="4617561"/>
            <a:ext cx="4134148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2521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0987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3150DD7-833E-5492-C340-207A5F35DA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29D2FF-2485-59A3-F1AD-21DA341FE4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1" name="TextBox 47">
            <a:extLst>
              <a:ext uri="{FF2B5EF4-FFF2-40B4-BE49-F238E27FC236}">
                <a16:creationId xmlns:a16="http://schemas.microsoft.com/office/drawing/2014/main" id="{0FBB6F4D-55B7-3717-B972-FB57E2F0FD84}"/>
              </a:ext>
            </a:extLst>
          </p:cNvPr>
          <p:cNvSpPr txBox="1"/>
          <p:nvPr/>
        </p:nvSpPr>
        <p:spPr>
          <a:xfrm>
            <a:off x="384174" y="3388927"/>
            <a:ext cx="578326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hort description here in 1 or two lines</a:t>
            </a:r>
          </a:p>
        </p:txBody>
      </p:sp>
      <p:sp>
        <p:nvSpPr>
          <p:cNvPr id="42" name="TextBox 50">
            <a:extLst>
              <a:ext uri="{FF2B5EF4-FFF2-40B4-BE49-F238E27FC236}">
                <a16:creationId xmlns:a16="http://schemas.microsoft.com/office/drawing/2014/main" id="{4F073E1E-A369-0BAA-CC5E-4105BBFFB8EE}"/>
              </a:ext>
            </a:extLst>
          </p:cNvPr>
          <p:cNvSpPr txBox="1"/>
          <p:nvPr/>
        </p:nvSpPr>
        <p:spPr>
          <a:xfrm>
            <a:off x="371476" y="1399753"/>
            <a:ext cx="2870488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200" b="1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01</a:t>
            </a:r>
            <a:endParaRPr lang="en-ID" sz="7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extBox 47">
            <a:extLst>
              <a:ext uri="{FF2B5EF4-FFF2-40B4-BE49-F238E27FC236}">
                <a16:creationId xmlns:a16="http://schemas.microsoft.com/office/drawing/2014/main" id="{2586AC7D-2C94-3C6B-F76B-1670FDEE94C8}"/>
              </a:ext>
            </a:extLst>
          </p:cNvPr>
          <p:cNvSpPr txBox="1"/>
          <p:nvPr/>
        </p:nvSpPr>
        <p:spPr>
          <a:xfrm>
            <a:off x="371475" y="2402743"/>
            <a:ext cx="578326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tle in 1 line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1811224657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FBEF260-A78B-B7DC-2922-6BE82CC627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8FBEF260-A78B-B7DC-2922-6BE82CC62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– Pentagon concep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DDFD723E-3C89-93B0-C9B9-91E232D61BE7}"/>
              </a:ext>
            </a:extLst>
          </p:cNvPr>
          <p:cNvCxnSpPr>
            <a:cxnSpLocks/>
          </p:cNvCxnSpPr>
          <p:nvPr/>
        </p:nvCxnSpPr>
        <p:spPr>
          <a:xfrm flipH="1">
            <a:off x="7346464" y="3459302"/>
            <a:ext cx="773812" cy="2384862"/>
          </a:xfrm>
          <a:prstGeom prst="line">
            <a:avLst/>
          </a:prstGeom>
          <a:ln w="28575">
            <a:gradFill>
              <a:gsLst>
                <a:gs pos="0">
                  <a:schemeClr val="tx2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547C38AD-5687-EF69-DC88-5816B9CC3326}"/>
              </a:ext>
            </a:extLst>
          </p:cNvPr>
          <p:cNvCxnSpPr>
            <a:cxnSpLocks/>
          </p:cNvCxnSpPr>
          <p:nvPr/>
        </p:nvCxnSpPr>
        <p:spPr>
          <a:xfrm>
            <a:off x="6094411" y="1985376"/>
            <a:ext cx="2025865" cy="1473926"/>
          </a:xfrm>
          <a:prstGeom prst="line">
            <a:avLst/>
          </a:prstGeom>
          <a:ln w="28575"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2A6AC0A1-35B4-6331-31FD-3DE6EBFB6FCC}"/>
              </a:ext>
            </a:extLst>
          </p:cNvPr>
          <p:cNvCxnSpPr>
            <a:cxnSpLocks/>
          </p:cNvCxnSpPr>
          <p:nvPr/>
        </p:nvCxnSpPr>
        <p:spPr>
          <a:xfrm flipH="1">
            <a:off x="4068546" y="1985376"/>
            <a:ext cx="2025865" cy="1473926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5"/>
                </a:gs>
                <a:gs pos="100000">
                  <a:schemeClr val="bg2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F61443A-1661-6821-39EF-6CF097B26516}"/>
              </a:ext>
            </a:extLst>
          </p:cNvPr>
          <p:cNvCxnSpPr>
            <a:cxnSpLocks/>
          </p:cNvCxnSpPr>
          <p:nvPr/>
        </p:nvCxnSpPr>
        <p:spPr>
          <a:xfrm flipH="1" flipV="1">
            <a:off x="4068546" y="3459302"/>
            <a:ext cx="773812" cy="2384862"/>
          </a:xfrm>
          <a:prstGeom prst="line">
            <a:avLst/>
          </a:prstGeom>
          <a:ln w="28575">
            <a:gradFill>
              <a:gsLst>
                <a:gs pos="0">
                  <a:schemeClr val="accent4"/>
                </a:gs>
                <a:gs pos="100000">
                  <a:schemeClr val="accent5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627C7D12-D648-15F0-F1C1-51D98092925A}"/>
              </a:ext>
            </a:extLst>
          </p:cNvPr>
          <p:cNvCxnSpPr>
            <a:cxnSpLocks/>
          </p:cNvCxnSpPr>
          <p:nvPr/>
        </p:nvCxnSpPr>
        <p:spPr>
          <a:xfrm>
            <a:off x="4842358" y="5844164"/>
            <a:ext cx="2504106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ipse 11">
            <a:extLst>
              <a:ext uri="{FF2B5EF4-FFF2-40B4-BE49-F238E27FC236}">
                <a16:creationId xmlns:a16="http://schemas.microsoft.com/office/drawing/2014/main" id="{82B030DE-827D-0A4F-9971-F53B544D592C}"/>
              </a:ext>
            </a:extLst>
          </p:cNvPr>
          <p:cNvSpPr/>
          <p:nvPr/>
        </p:nvSpPr>
        <p:spPr>
          <a:xfrm>
            <a:off x="5745797" y="1672702"/>
            <a:ext cx="697230" cy="697228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7D962E49-B6F6-D24E-AF47-085628CD08F2}"/>
              </a:ext>
            </a:extLst>
          </p:cNvPr>
          <p:cNvSpPr/>
          <p:nvPr/>
        </p:nvSpPr>
        <p:spPr>
          <a:xfrm>
            <a:off x="7743090" y="3108961"/>
            <a:ext cx="697230" cy="697228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4084E6BB-81ED-F36F-9A28-660BF0840599}"/>
              </a:ext>
            </a:extLst>
          </p:cNvPr>
          <p:cNvSpPr/>
          <p:nvPr/>
        </p:nvSpPr>
        <p:spPr>
          <a:xfrm>
            <a:off x="3729452" y="3108961"/>
            <a:ext cx="697230" cy="697228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9398063F-ABC0-EB89-58DA-09D561A4974F}"/>
              </a:ext>
            </a:extLst>
          </p:cNvPr>
          <p:cNvSpPr/>
          <p:nvPr/>
        </p:nvSpPr>
        <p:spPr>
          <a:xfrm>
            <a:off x="4491452" y="5517198"/>
            <a:ext cx="697230" cy="697228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C65416AD-FEFD-32A5-3269-7D44D6FAF63D}"/>
              </a:ext>
            </a:extLst>
          </p:cNvPr>
          <p:cNvSpPr/>
          <p:nvPr/>
        </p:nvSpPr>
        <p:spPr>
          <a:xfrm>
            <a:off x="6996019" y="5517198"/>
            <a:ext cx="697230" cy="697228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41119BB9-B6C2-2656-5C4F-33029CB7F558}"/>
              </a:ext>
            </a:extLst>
          </p:cNvPr>
          <p:cNvSpPr/>
          <p:nvPr/>
        </p:nvSpPr>
        <p:spPr>
          <a:xfrm>
            <a:off x="6600505" y="1672702"/>
            <a:ext cx="417089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EF442148-B32A-1693-27A8-E6DCBA3EB8D8}"/>
              </a:ext>
            </a:extLst>
          </p:cNvPr>
          <p:cNvSpPr/>
          <p:nvPr/>
        </p:nvSpPr>
        <p:spPr>
          <a:xfrm>
            <a:off x="8602851" y="3108961"/>
            <a:ext cx="321767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820B56C0-561A-B6B8-CB21-244541F755D2}"/>
              </a:ext>
            </a:extLst>
          </p:cNvPr>
          <p:cNvSpPr/>
          <p:nvPr/>
        </p:nvSpPr>
        <p:spPr>
          <a:xfrm>
            <a:off x="7879885" y="5517198"/>
            <a:ext cx="417089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1DDEDF06-C851-D466-71E5-C11C4758A9FB}"/>
              </a:ext>
            </a:extLst>
          </p:cNvPr>
          <p:cNvSpPr/>
          <p:nvPr/>
        </p:nvSpPr>
        <p:spPr>
          <a:xfrm>
            <a:off x="371474" y="5517198"/>
            <a:ext cx="394475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5BB22145-731B-4D47-D7E3-0D3C1FDC6125}"/>
              </a:ext>
            </a:extLst>
          </p:cNvPr>
          <p:cNvSpPr/>
          <p:nvPr/>
        </p:nvSpPr>
        <p:spPr>
          <a:xfrm>
            <a:off x="371474" y="3108961"/>
            <a:ext cx="32144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2536863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0F34CD0-BD42-78D3-B828-71D7A7AED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0F34CD0-BD42-78D3-B828-71D7A7AED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Four categories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Hexágono 10">
            <a:extLst>
              <a:ext uri="{FF2B5EF4-FFF2-40B4-BE49-F238E27FC236}">
                <a16:creationId xmlns:a16="http://schemas.microsoft.com/office/drawing/2014/main" id="{59882FCB-B835-116C-250E-9D8BFCA1367D}"/>
              </a:ext>
            </a:extLst>
          </p:cNvPr>
          <p:cNvSpPr/>
          <p:nvPr/>
        </p:nvSpPr>
        <p:spPr>
          <a:xfrm rot="16200000">
            <a:off x="5162560" y="1649467"/>
            <a:ext cx="1865291" cy="160800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Hexágono 11">
            <a:extLst>
              <a:ext uri="{FF2B5EF4-FFF2-40B4-BE49-F238E27FC236}">
                <a16:creationId xmlns:a16="http://schemas.microsoft.com/office/drawing/2014/main" id="{9B6DF22B-B1D2-0C84-525C-8F10D2C9D2E1}"/>
              </a:ext>
            </a:extLst>
          </p:cNvPr>
          <p:cNvSpPr/>
          <p:nvPr/>
        </p:nvSpPr>
        <p:spPr>
          <a:xfrm rot="16200000">
            <a:off x="4358556" y="3110529"/>
            <a:ext cx="1865291" cy="1608009"/>
          </a:xfrm>
          <a:prstGeom prst="hexag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Hexágono 12">
            <a:extLst>
              <a:ext uri="{FF2B5EF4-FFF2-40B4-BE49-F238E27FC236}">
                <a16:creationId xmlns:a16="http://schemas.microsoft.com/office/drawing/2014/main" id="{7ACC98C4-0148-FE6D-BE69-4FB3F3490853}"/>
              </a:ext>
            </a:extLst>
          </p:cNvPr>
          <p:cNvSpPr/>
          <p:nvPr/>
        </p:nvSpPr>
        <p:spPr>
          <a:xfrm rot="16200000">
            <a:off x="5966565" y="3110529"/>
            <a:ext cx="1865291" cy="1608009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Hexágono 14">
            <a:extLst>
              <a:ext uri="{FF2B5EF4-FFF2-40B4-BE49-F238E27FC236}">
                <a16:creationId xmlns:a16="http://schemas.microsoft.com/office/drawing/2014/main" id="{C84B209B-BC69-C97C-A7AD-F22118066407}"/>
              </a:ext>
            </a:extLst>
          </p:cNvPr>
          <p:cNvSpPr/>
          <p:nvPr/>
        </p:nvSpPr>
        <p:spPr>
          <a:xfrm rot="16200000">
            <a:off x="5162560" y="4572076"/>
            <a:ext cx="1865291" cy="1608009"/>
          </a:xfrm>
          <a:prstGeom prst="hex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8B4D9C6-C73B-1E63-399C-C2F1E3AE4B90}"/>
              </a:ext>
            </a:extLst>
          </p:cNvPr>
          <p:cNvSpPr/>
          <p:nvPr/>
        </p:nvSpPr>
        <p:spPr>
          <a:xfrm>
            <a:off x="7155518" y="1977837"/>
            <a:ext cx="408398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313D04C-101F-E2B4-6591-A3655691325C}"/>
              </a:ext>
            </a:extLst>
          </p:cNvPr>
          <p:cNvSpPr/>
          <p:nvPr/>
        </p:nvSpPr>
        <p:spPr>
          <a:xfrm>
            <a:off x="8012768" y="3452795"/>
            <a:ext cx="38077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87250E42-7F16-28B1-840B-28F8326ECB31}"/>
              </a:ext>
            </a:extLst>
          </p:cNvPr>
          <p:cNvSpPr/>
          <p:nvPr/>
        </p:nvSpPr>
        <p:spPr>
          <a:xfrm>
            <a:off x="7155518" y="5590060"/>
            <a:ext cx="4083982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3E52A738-9F8C-D9CD-54C4-A28DA523A737}"/>
              </a:ext>
            </a:extLst>
          </p:cNvPr>
          <p:cNvSpPr/>
          <p:nvPr/>
        </p:nvSpPr>
        <p:spPr>
          <a:xfrm>
            <a:off x="369887" y="3386117"/>
            <a:ext cx="38077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FFA458CA-D5F2-68F0-01A5-FFD499EE5278}"/>
              </a:ext>
            </a:extLst>
          </p:cNvPr>
          <p:cNvCxnSpPr>
            <a:cxnSpLocks/>
          </p:cNvCxnSpPr>
          <p:nvPr/>
        </p:nvCxnSpPr>
        <p:spPr>
          <a:xfrm>
            <a:off x="8012768" y="3381146"/>
            <a:ext cx="380775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7B7DF787-B84D-7575-8A48-69BE3C7C76EA}"/>
              </a:ext>
            </a:extLst>
          </p:cNvPr>
          <p:cNvCxnSpPr>
            <a:cxnSpLocks/>
          </p:cNvCxnSpPr>
          <p:nvPr/>
        </p:nvCxnSpPr>
        <p:spPr>
          <a:xfrm>
            <a:off x="369887" y="3314468"/>
            <a:ext cx="380775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4694CAC4-83CA-3257-B3FF-2891882CFD9B}"/>
              </a:ext>
            </a:extLst>
          </p:cNvPr>
          <p:cNvCxnSpPr>
            <a:cxnSpLocks/>
          </p:cNvCxnSpPr>
          <p:nvPr/>
        </p:nvCxnSpPr>
        <p:spPr>
          <a:xfrm>
            <a:off x="7155518" y="5908443"/>
            <a:ext cx="380775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FD24176A-EC21-BE3C-A002-DBF3F9AA03F1}"/>
              </a:ext>
            </a:extLst>
          </p:cNvPr>
          <p:cNvCxnSpPr>
            <a:cxnSpLocks/>
          </p:cNvCxnSpPr>
          <p:nvPr/>
        </p:nvCxnSpPr>
        <p:spPr>
          <a:xfrm>
            <a:off x="7155518" y="1911162"/>
            <a:ext cx="380775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016206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EC0BAA6-06E8-CCBA-8386-6D439CD0C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EC0BAA6-06E8-CCBA-8386-6D439CD0C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Pyramid concep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2A3E866A-35BB-9B72-334C-0B1090C0CE70}"/>
              </a:ext>
            </a:extLst>
          </p:cNvPr>
          <p:cNvCxnSpPr>
            <a:cxnSpLocks/>
          </p:cNvCxnSpPr>
          <p:nvPr/>
        </p:nvCxnSpPr>
        <p:spPr>
          <a:xfrm>
            <a:off x="3964274" y="4712759"/>
            <a:ext cx="7840375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DC768698-2013-F2AA-EF2A-97AC6F1A1889}"/>
              </a:ext>
            </a:extLst>
          </p:cNvPr>
          <p:cNvCxnSpPr>
            <a:cxnSpLocks/>
          </p:cNvCxnSpPr>
          <p:nvPr/>
        </p:nvCxnSpPr>
        <p:spPr>
          <a:xfrm>
            <a:off x="3244254" y="3116792"/>
            <a:ext cx="8560395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96" name="Grupo 8195">
            <a:extLst>
              <a:ext uri="{FF2B5EF4-FFF2-40B4-BE49-F238E27FC236}">
                <a16:creationId xmlns:a16="http://schemas.microsoft.com/office/drawing/2014/main" id="{71899F2B-70D9-D69A-119D-5129ED2EF03E}"/>
              </a:ext>
            </a:extLst>
          </p:cNvPr>
          <p:cNvGrpSpPr/>
          <p:nvPr/>
        </p:nvGrpSpPr>
        <p:grpSpPr>
          <a:xfrm>
            <a:off x="384174" y="1520825"/>
            <a:ext cx="4266654" cy="4787900"/>
            <a:chOff x="384174" y="1520825"/>
            <a:chExt cx="5553964" cy="4787900"/>
          </a:xfrm>
        </p:grpSpPr>
        <p:sp>
          <p:nvSpPr>
            <p:cNvPr id="10" name="Triángulo isósceles 9">
              <a:extLst>
                <a:ext uri="{FF2B5EF4-FFF2-40B4-BE49-F238E27FC236}">
                  <a16:creationId xmlns:a16="http://schemas.microsoft.com/office/drawing/2014/main" id="{A016C25B-CFB8-C3AB-3F1E-37BD3E058A9D}"/>
                </a:ext>
              </a:extLst>
            </p:cNvPr>
            <p:cNvSpPr/>
            <p:nvPr/>
          </p:nvSpPr>
          <p:spPr>
            <a:xfrm>
              <a:off x="384174" y="1520825"/>
              <a:ext cx="5553964" cy="4787900"/>
            </a:xfrm>
            <a:prstGeom prst="triangle">
              <a:avLst/>
            </a:prstGeom>
            <a:gradFill flip="none" rotWithShape="1">
              <a:gsLst>
                <a:gs pos="50000">
                  <a:schemeClr val="accent3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15" name="Conector recto 14">
              <a:extLst>
                <a:ext uri="{FF2B5EF4-FFF2-40B4-BE49-F238E27FC236}">
                  <a16:creationId xmlns:a16="http://schemas.microsoft.com/office/drawing/2014/main" id="{BB2AF75A-B299-37F5-A84A-561A8EA0BD41}"/>
                </a:ext>
              </a:extLst>
            </p:cNvPr>
            <p:cNvCxnSpPr>
              <a:cxnSpLocks/>
            </p:cNvCxnSpPr>
            <p:nvPr/>
          </p:nvCxnSpPr>
          <p:spPr>
            <a:xfrm>
              <a:off x="1295708" y="4712759"/>
              <a:ext cx="3748732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cto 15">
              <a:extLst>
                <a:ext uri="{FF2B5EF4-FFF2-40B4-BE49-F238E27FC236}">
                  <a16:creationId xmlns:a16="http://schemas.microsoft.com/office/drawing/2014/main" id="{A8DDFAAD-9FED-D1D2-25BA-1C7EFC2DB629}"/>
                </a:ext>
              </a:extLst>
            </p:cNvPr>
            <p:cNvCxnSpPr>
              <a:cxnSpLocks/>
            </p:cNvCxnSpPr>
            <p:nvPr/>
          </p:nvCxnSpPr>
          <p:spPr>
            <a:xfrm>
              <a:off x="2202180" y="3116792"/>
              <a:ext cx="1905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22CE53FE-D827-258A-D26E-B57E87CDB6D4}"/>
                </a:ext>
              </a:extLst>
            </p:cNvPr>
            <p:cNvSpPr/>
            <p:nvPr/>
          </p:nvSpPr>
          <p:spPr>
            <a:xfrm>
              <a:off x="2257911" y="2794742"/>
              <a:ext cx="1831489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xt</a:t>
              </a:r>
              <a:endPara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D84EA2ED-D485-B152-11FC-96A72ACB53C5}"/>
                </a:ext>
              </a:extLst>
            </p:cNvPr>
            <p:cNvSpPr/>
            <p:nvPr/>
          </p:nvSpPr>
          <p:spPr>
            <a:xfrm>
              <a:off x="1921361" y="3791665"/>
              <a:ext cx="2504590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xt</a:t>
              </a:r>
              <a:endPara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ECA47561-5D68-66BB-D5F4-8FB06C0A6EBA}"/>
                </a:ext>
              </a:extLst>
            </p:cNvPr>
            <p:cNvSpPr/>
            <p:nvPr/>
          </p:nvSpPr>
          <p:spPr>
            <a:xfrm>
              <a:off x="1921361" y="5387632"/>
              <a:ext cx="2504590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xt</a:t>
              </a:r>
              <a:endPara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1" name="Rectángulo 30">
            <a:extLst>
              <a:ext uri="{FF2B5EF4-FFF2-40B4-BE49-F238E27FC236}">
                <a16:creationId xmlns:a16="http://schemas.microsoft.com/office/drawing/2014/main" id="{8B6DC0C1-A731-763D-9CF9-042847A18E15}"/>
              </a:ext>
            </a:extLst>
          </p:cNvPr>
          <p:cNvSpPr/>
          <p:nvPr/>
        </p:nvSpPr>
        <p:spPr>
          <a:xfrm>
            <a:off x="3790950" y="3791665"/>
            <a:ext cx="513397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92" name="Rectángulo 8191">
            <a:extLst>
              <a:ext uri="{FF2B5EF4-FFF2-40B4-BE49-F238E27FC236}">
                <a16:creationId xmlns:a16="http://schemas.microsoft.com/office/drawing/2014/main" id="{0358514F-C46D-A99B-852C-4CB2EE3EDE09}"/>
              </a:ext>
            </a:extLst>
          </p:cNvPr>
          <p:cNvSpPr/>
          <p:nvPr/>
        </p:nvSpPr>
        <p:spPr>
          <a:xfrm>
            <a:off x="4486275" y="5387632"/>
            <a:ext cx="443865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93" name="Rectángulo 8192">
            <a:extLst>
              <a:ext uri="{FF2B5EF4-FFF2-40B4-BE49-F238E27FC236}">
                <a16:creationId xmlns:a16="http://schemas.microsoft.com/office/drawing/2014/main" id="{D7D2638B-6C24-C469-1E29-D96B0BB0C257}"/>
              </a:ext>
            </a:extLst>
          </p:cNvPr>
          <p:cNvSpPr/>
          <p:nvPr/>
        </p:nvSpPr>
        <p:spPr>
          <a:xfrm>
            <a:off x="3057526" y="2195698"/>
            <a:ext cx="586739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99" name="Rectángulo 8198">
            <a:extLst>
              <a:ext uri="{FF2B5EF4-FFF2-40B4-BE49-F238E27FC236}">
                <a16:creationId xmlns:a16="http://schemas.microsoft.com/office/drawing/2014/main" id="{4FA0CF01-318E-21FA-A6D0-A2030843E78C}"/>
              </a:ext>
            </a:extLst>
          </p:cNvPr>
          <p:cNvSpPr/>
          <p:nvPr/>
        </p:nvSpPr>
        <p:spPr>
          <a:xfrm>
            <a:off x="9042401" y="1520825"/>
            <a:ext cx="2778124" cy="4787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5474742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2F96867D-54B3-D804-2DAD-824F83B716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2F96867D-54B3-D804-2DAD-824F83B71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A - Triangle concep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riángulo isósceles 10">
            <a:extLst>
              <a:ext uri="{FF2B5EF4-FFF2-40B4-BE49-F238E27FC236}">
                <a16:creationId xmlns:a16="http://schemas.microsoft.com/office/drawing/2014/main" id="{929395DF-B8BB-761D-A224-CF8C20550CFF}"/>
              </a:ext>
            </a:extLst>
          </p:cNvPr>
          <p:cNvSpPr/>
          <p:nvPr/>
        </p:nvSpPr>
        <p:spPr>
          <a:xfrm flipV="1">
            <a:off x="3317430" y="1520825"/>
            <a:ext cx="5553963" cy="47879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riángulo isósceles 17">
            <a:extLst>
              <a:ext uri="{FF2B5EF4-FFF2-40B4-BE49-F238E27FC236}">
                <a16:creationId xmlns:a16="http://schemas.microsoft.com/office/drawing/2014/main" id="{38171C59-9987-0D68-192E-44C035F26676}"/>
              </a:ext>
            </a:extLst>
          </p:cNvPr>
          <p:cNvSpPr/>
          <p:nvPr/>
        </p:nvSpPr>
        <p:spPr>
          <a:xfrm rot="10800000">
            <a:off x="3317428" y="1520823"/>
            <a:ext cx="2776981" cy="239394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riángulo isósceles 18">
            <a:extLst>
              <a:ext uri="{FF2B5EF4-FFF2-40B4-BE49-F238E27FC236}">
                <a16:creationId xmlns:a16="http://schemas.microsoft.com/office/drawing/2014/main" id="{C21FE2AD-564A-EE14-6433-644727F3B1B1}"/>
              </a:ext>
            </a:extLst>
          </p:cNvPr>
          <p:cNvSpPr/>
          <p:nvPr/>
        </p:nvSpPr>
        <p:spPr>
          <a:xfrm rot="10800000">
            <a:off x="6094412" y="1520823"/>
            <a:ext cx="2776981" cy="2393949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riángulo isósceles 19">
            <a:extLst>
              <a:ext uri="{FF2B5EF4-FFF2-40B4-BE49-F238E27FC236}">
                <a16:creationId xmlns:a16="http://schemas.microsoft.com/office/drawing/2014/main" id="{3BEE0B36-7749-6D14-9738-74EFCA339C3E}"/>
              </a:ext>
            </a:extLst>
          </p:cNvPr>
          <p:cNvSpPr/>
          <p:nvPr/>
        </p:nvSpPr>
        <p:spPr>
          <a:xfrm rot="10800000">
            <a:off x="4705921" y="3914775"/>
            <a:ext cx="2776981" cy="2393949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FAE25EAC-5050-93C3-6B17-338F01F1FEA9}"/>
              </a:ext>
            </a:extLst>
          </p:cNvPr>
          <p:cNvSpPr/>
          <p:nvPr/>
        </p:nvSpPr>
        <p:spPr>
          <a:xfrm>
            <a:off x="3512686" y="2371513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ED065AF9-36C1-7012-7632-A7906F387889}"/>
              </a:ext>
            </a:extLst>
          </p:cNvPr>
          <p:cNvSpPr/>
          <p:nvPr/>
        </p:nvSpPr>
        <p:spPr>
          <a:xfrm>
            <a:off x="6289670" y="2371513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B85A95A-3ACA-67A4-4BA9-D08A4F8AFDC0}"/>
              </a:ext>
            </a:extLst>
          </p:cNvPr>
          <p:cNvSpPr/>
          <p:nvPr/>
        </p:nvSpPr>
        <p:spPr>
          <a:xfrm>
            <a:off x="4901179" y="4748104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28FB0588-C53A-3FC3-9813-78F8384BDDD8}"/>
              </a:ext>
            </a:extLst>
          </p:cNvPr>
          <p:cNvSpPr/>
          <p:nvPr/>
        </p:nvSpPr>
        <p:spPr>
          <a:xfrm>
            <a:off x="4901179" y="2823262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293376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2F96867D-54B3-D804-2DAD-824F83B716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2F96867D-54B3-D804-2DAD-824F83B71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B - Triangle concept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7" name="Group 185697">
            <a:extLst>
              <a:ext uri="{FF2B5EF4-FFF2-40B4-BE49-F238E27FC236}">
                <a16:creationId xmlns:a16="http://schemas.microsoft.com/office/drawing/2014/main" id="{C20DF8B4-1B1A-6A19-0997-7CB8CCC78521}"/>
              </a:ext>
            </a:extLst>
          </p:cNvPr>
          <p:cNvGrpSpPr/>
          <p:nvPr/>
        </p:nvGrpSpPr>
        <p:grpSpPr>
          <a:xfrm>
            <a:off x="371474" y="1834495"/>
            <a:ext cx="4542795" cy="3942646"/>
            <a:chOff x="5781676" y="4494214"/>
            <a:chExt cx="865188" cy="750888"/>
          </a:xfrm>
        </p:grpSpPr>
        <p:sp>
          <p:nvSpPr>
            <p:cNvPr id="9" name="Freeform 1055">
              <a:extLst>
                <a:ext uri="{FF2B5EF4-FFF2-40B4-BE49-F238E27FC236}">
                  <a16:creationId xmlns:a16="http://schemas.microsoft.com/office/drawing/2014/main" id="{896286E3-1C80-93DD-C195-E8BF95118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1676" y="4494214"/>
              <a:ext cx="668338" cy="750888"/>
            </a:xfrm>
            <a:custGeom>
              <a:avLst/>
              <a:gdLst>
                <a:gd name="T0" fmla="*/ 41 w 421"/>
                <a:gd name="T1" fmla="*/ 473 h 473"/>
                <a:gd name="T2" fmla="*/ 41 w 421"/>
                <a:gd name="T3" fmla="*/ 473 h 473"/>
                <a:gd name="T4" fmla="*/ 230 w 421"/>
                <a:gd name="T5" fmla="*/ 0 h 473"/>
                <a:gd name="T6" fmla="*/ 0 w 421"/>
                <a:gd name="T7" fmla="*/ 401 h 473"/>
                <a:gd name="T8" fmla="*/ 41 w 421"/>
                <a:gd name="T9" fmla="*/ 473 h 473"/>
                <a:gd name="T10" fmla="*/ 230 w 421"/>
                <a:gd name="T11" fmla="*/ 144 h 473"/>
                <a:gd name="T12" fmla="*/ 230 w 421"/>
                <a:gd name="T13" fmla="*/ 144 h 473"/>
                <a:gd name="T14" fmla="*/ 230 w 421"/>
                <a:gd name="T15" fmla="*/ 144 h 473"/>
                <a:gd name="T16" fmla="*/ 337 w 421"/>
                <a:gd name="T17" fmla="*/ 329 h 473"/>
                <a:gd name="T18" fmla="*/ 421 w 421"/>
                <a:gd name="T19" fmla="*/ 329 h 473"/>
                <a:gd name="T20" fmla="*/ 230 w 421"/>
                <a:gd name="T21" fmla="*/ 0 h 473"/>
                <a:gd name="T22" fmla="*/ 230 w 421"/>
                <a:gd name="T23" fmla="*/ 0 h 473"/>
                <a:gd name="T24" fmla="*/ 230 w 421"/>
                <a:gd name="T25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1" h="473">
                  <a:moveTo>
                    <a:pt x="41" y="473"/>
                  </a:moveTo>
                  <a:lnTo>
                    <a:pt x="41" y="473"/>
                  </a:lnTo>
                  <a:close/>
                  <a:moveTo>
                    <a:pt x="230" y="0"/>
                  </a:moveTo>
                  <a:lnTo>
                    <a:pt x="0" y="401"/>
                  </a:lnTo>
                  <a:lnTo>
                    <a:pt x="41" y="473"/>
                  </a:lnTo>
                  <a:lnTo>
                    <a:pt x="230" y="144"/>
                  </a:lnTo>
                  <a:lnTo>
                    <a:pt x="230" y="144"/>
                  </a:lnTo>
                  <a:lnTo>
                    <a:pt x="230" y="144"/>
                  </a:lnTo>
                  <a:lnTo>
                    <a:pt x="337" y="329"/>
                  </a:lnTo>
                  <a:lnTo>
                    <a:pt x="421" y="329"/>
                  </a:lnTo>
                  <a:lnTo>
                    <a:pt x="230" y="0"/>
                  </a:lnTo>
                  <a:close/>
                  <a:moveTo>
                    <a:pt x="230" y="0"/>
                  </a:moveTo>
                  <a:lnTo>
                    <a:pt x="23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056">
              <a:extLst>
                <a:ext uri="{FF2B5EF4-FFF2-40B4-BE49-F238E27FC236}">
                  <a16:creationId xmlns:a16="http://schemas.microsoft.com/office/drawing/2014/main" id="{544E1A49-B296-A897-B9E4-EB124FBE28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1676" y="4494214"/>
              <a:ext cx="668338" cy="750888"/>
            </a:xfrm>
            <a:custGeom>
              <a:avLst/>
              <a:gdLst>
                <a:gd name="T0" fmla="*/ 41 w 421"/>
                <a:gd name="T1" fmla="*/ 473 h 473"/>
                <a:gd name="T2" fmla="*/ 41 w 421"/>
                <a:gd name="T3" fmla="*/ 473 h 473"/>
                <a:gd name="T4" fmla="*/ 230 w 421"/>
                <a:gd name="T5" fmla="*/ 0 h 473"/>
                <a:gd name="T6" fmla="*/ 0 w 421"/>
                <a:gd name="T7" fmla="*/ 401 h 473"/>
                <a:gd name="T8" fmla="*/ 41 w 421"/>
                <a:gd name="T9" fmla="*/ 473 h 473"/>
                <a:gd name="T10" fmla="*/ 230 w 421"/>
                <a:gd name="T11" fmla="*/ 144 h 473"/>
                <a:gd name="T12" fmla="*/ 230 w 421"/>
                <a:gd name="T13" fmla="*/ 144 h 473"/>
                <a:gd name="T14" fmla="*/ 230 w 421"/>
                <a:gd name="T15" fmla="*/ 144 h 473"/>
                <a:gd name="T16" fmla="*/ 337 w 421"/>
                <a:gd name="T17" fmla="*/ 329 h 473"/>
                <a:gd name="T18" fmla="*/ 421 w 421"/>
                <a:gd name="T19" fmla="*/ 329 h 473"/>
                <a:gd name="T20" fmla="*/ 230 w 421"/>
                <a:gd name="T21" fmla="*/ 0 h 473"/>
                <a:gd name="T22" fmla="*/ 230 w 421"/>
                <a:gd name="T23" fmla="*/ 0 h 473"/>
                <a:gd name="T24" fmla="*/ 230 w 421"/>
                <a:gd name="T25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1" h="473">
                  <a:moveTo>
                    <a:pt x="41" y="473"/>
                  </a:moveTo>
                  <a:lnTo>
                    <a:pt x="41" y="473"/>
                  </a:lnTo>
                  <a:moveTo>
                    <a:pt x="230" y="0"/>
                  </a:moveTo>
                  <a:lnTo>
                    <a:pt x="0" y="401"/>
                  </a:lnTo>
                  <a:lnTo>
                    <a:pt x="41" y="473"/>
                  </a:lnTo>
                  <a:lnTo>
                    <a:pt x="230" y="144"/>
                  </a:lnTo>
                  <a:lnTo>
                    <a:pt x="230" y="144"/>
                  </a:lnTo>
                  <a:lnTo>
                    <a:pt x="230" y="144"/>
                  </a:lnTo>
                  <a:lnTo>
                    <a:pt x="337" y="329"/>
                  </a:lnTo>
                  <a:lnTo>
                    <a:pt x="421" y="329"/>
                  </a:lnTo>
                  <a:lnTo>
                    <a:pt x="230" y="0"/>
                  </a:lnTo>
                  <a:moveTo>
                    <a:pt x="230" y="0"/>
                  </a:moveTo>
                  <a:lnTo>
                    <a:pt x="23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057">
              <a:extLst>
                <a:ext uri="{FF2B5EF4-FFF2-40B4-BE49-F238E27FC236}">
                  <a16:creationId xmlns:a16="http://schemas.microsoft.com/office/drawing/2014/main" id="{FF2C372D-CD2A-C2FB-B75A-6B76C3B8CD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6764" y="4722814"/>
              <a:ext cx="800100" cy="522288"/>
            </a:xfrm>
            <a:custGeom>
              <a:avLst/>
              <a:gdLst>
                <a:gd name="T0" fmla="*/ 0 w 504"/>
                <a:gd name="T1" fmla="*/ 329 h 329"/>
                <a:gd name="T2" fmla="*/ 0 w 504"/>
                <a:gd name="T3" fmla="*/ 329 h 329"/>
                <a:gd name="T4" fmla="*/ 0 w 504"/>
                <a:gd name="T5" fmla="*/ 329 h 329"/>
                <a:gd name="T6" fmla="*/ 0 w 504"/>
                <a:gd name="T7" fmla="*/ 329 h 329"/>
                <a:gd name="T8" fmla="*/ 189 w 504"/>
                <a:gd name="T9" fmla="*/ 0 h 329"/>
                <a:gd name="T10" fmla="*/ 0 w 504"/>
                <a:gd name="T11" fmla="*/ 329 h 329"/>
                <a:gd name="T12" fmla="*/ 462 w 504"/>
                <a:gd name="T13" fmla="*/ 329 h 329"/>
                <a:gd name="T14" fmla="*/ 504 w 504"/>
                <a:gd name="T15" fmla="*/ 257 h 329"/>
                <a:gd name="T16" fmla="*/ 124 w 504"/>
                <a:gd name="T17" fmla="*/ 257 h 329"/>
                <a:gd name="T18" fmla="*/ 124 w 504"/>
                <a:gd name="T19" fmla="*/ 257 h 329"/>
                <a:gd name="T20" fmla="*/ 124 w 504"/>
                <a:gd name="T21" fmla="*/ 257 h 329"/>
                <a:gd name="T22" fmla="*/ 232 w 504"/>
                <a:gd name="T23" fmla="*/ 72 h 329"/>
                <a:gd name="T24" fmla="*/ 189 w 504"/>
                <a:gd name="T25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4" h="329">
                  <a:moveTo>
                    <a:pt x="0" y="329"/>
                  </a:moveTo>
                  <a:lnTo>
                    <a:pt x="0" y="329"/>
                  </a:lnTo>
                  <a:lnTo>
                    <a:pt x="0" y="329"/>
                  </a:lnTo>
                  <a:lnTo>
                    <a:pt x="0" y="329"/>
                  </a:lnTo>
                  <a:close/>
                  <a:moveTo>
                    <a:pt x="189" y="0"/>
                  </a:moveTo>
                  <a:lnTo>
                    <a:pt x="0" y="329"/>
                  </a:lnTo>
                  <a:lnTo>
                    <a:pt x="462" y="329"/>
                  </a:lnTo>
                  <a:lnTo>
                    <a:pt x="50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232" y="7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058">
              <a:extLst>
                <a:ext uri="{FF2B5EF4-FFF2-40B4-BE49-F238E27FC236}">
                  <a16:creationId xmlns:a16="http://schemas.microsoft.com/office/drawing/2014/main" id="{F6168660-89B8-786B-8CA4-9570490291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6764" y="4722814"/>
              <a:ext cx="800100" cy="522288"/>
            </a:xfrm>
            <a:custGeom>
              <a:avLst/>
              <a:gdLst>
                <a:gd name="T0" fmla="*/ 0 w 504"/>
                <a:gd name="T1" fmla="*/ 329 h 329"/>
                <a:gd name="T2" fmla="*/ 0 w 504"/>
                <a:gd name="T3" fmla="*/ 329 h 329"/>
                <a:gd name="T4" fmla="*/ 0 w 504"/>
                <a:gd name="T5" fmla="*/ 329 h 329"/>
                <a:gd name="T6" fmla="*/ 0 w 504"/>
                <a:gd name="T7" fmla="*/ 329 h 329"/>
                <a:gd name="T8" fmla="*/ 189 w 504"/>
                <a:gd name="T9" fmla="*/ 0 h 329"/>
                <a:gd name="T10" fmla="*/ 0 w 504"/>
                <a:gd name="T11" fmla="*/ 329 h 329"/>
                <a:gd name="T12" fmla="*/ 462 w 504"/>
                <a:gd name="T13" fmla="*/ 329 h 329"/>
                <a:gd name="T14" fmla="*/ 504 w 504"/>
                <a:gd name="T15" fmla="*/ 257 h 329"/>
                <a:gd name="T16" fmla="*/ 124 w 504"/>
                <a:gd name="T17" fmla="*/ 257 h 329"/>
                <a:gd name="T18" fmla="*/ 124 w 504"/>
                <a:gd name="T19" fmla="*/ 257 h 329"/>
                <a:gd name="T20" fmla="*/ 124 w 504"/>
                <a:gd name="T21" fmla="*/ 257 h 329"/>
                <a:gd name="T22" fmla="*/ 232 w 504"/>
                <a:gd name="T23" fmla="*/ 72 h 329"/>
                <a:gd name="T24" fmla="*/ 189 w 504"/>
                <a:gd name="T25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4" h="329">
                  <a:moveTo>
                    <a:pt x="0" y="329"/>
                  </a:moveTo>
                  <a:lnTo>
                    <a:pt x="0" y="329"/>
                  </a:lnTo>
                  <a:lnTo>
                    <a:pt x="0" y="329"/>
                  </a:lnTo>
                  <a:lnTo>
                    <a:pt x="0" y="329"/>
                  </a:lnTo>
                  <a:moveTo>
                    <a:pt x="189" y="0"/>
                  </a:moveTo>
                  <a:lnTo>
                    <a:pt x="0" y="329"/>
                  </a:lnTo>
                  <a:lnTo>
                    <a:pt x="462" y="329"/>
                  </a:lnTo>
                  <a:lnTo>
                    <a:pt x="50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232" y="72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059">
              <a:extLst>
                <a:ext uri="{FF2B5EF4-FFF2-40B4-BE49-F238E27FC236}">
                  <a16:creationId xmlns:a16="http://schemas.microsoft.com/office/drawing/2014/main" id="{0BE27D31-BB78-F070-81AB-D0B1D47BE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4" y="4722814"/>
              <a:ext cx="300038" cy="522288"/>
            </a:xfrm>
            <a:custGeom>
              <a:avLst/>
              <a:gdLst>
                <a:gd name="T0" fmla="*/ 189 w 189"/>
                <a:gd name="T1" fmla="*/ 0 h 329"/>
                <a:gd name="T2" fmla="*/ 0 w 189"/>
                <a:gd name="T3" fmla="*/ 329 h 329"/>
                <a:gd name="T4" fmla="*/ 0 w 189"/>
                <a:gd name="T5" fmla="*/ 329 h 329"/>
                <a:gd name="T6" fmla="*/ 189 w 189"/>
                <a:gd name="T7" fmla="*/ 0 h 329"/>
                <a:gd name="T8" fmla="*/ 189 w 189"/>
                <a:gd name="T9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329">
                  <a:moveTo>
                    <a:pt x="189" y="0"/>
                  </a:moveTo>
                  <a:lnTo>
                    <a:pt x="0" y="329"/>
                  </a:lnTo>
                  <a:lnTo>
                    <a:pt x="0" y="329"/>
                  </a:lnTo>
                  <a:lnTo>
                    <a:pt x="189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CDB4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060">
              <a:extLst>
                <a:ext uri="{FF2B5EF4-FFF2-40B4-BE49-F238E27FC236}">
                  <a16:creationId xmlns:a16="http://schemas.microsoft.com/office/drawing/2014/main" id="{64D2538B-FBA5-5D22-82CF-A022C20FE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4" y="4722814"/>
              <a:ext cx="300038" cy="522288"/>
            </a:xfrm>
            <a:custGeom>
              <a:avLst/>
              <a:gdLst>
                <a:gd name="T0" fmla="*/ 189 w 189"/>
                <a:gd name="T1" fmla="*/ 0 h 329"/>
                <a:gd name="T2" fmla="*/ 0 w 189"/>
                <a:gd name="T3" fmla="*/ 329 h 329"/>
                <a:gd name="T4" fmla="*/ 0 w 189"/>
                <a:gd name="T5" fmla="*/ 329 h 329"/>
                <a:gd name="T6" fmla="*/ 189 w 189"/>
                <a:gd name="T7" fmla="*/ 0 h 329"/>
                <a:gd name="T8" fmla="*/ 189 w 189"/>
                <a:gd name="T9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329">
                  <a:moveTo>
                    <a:pt x="189" y="0"/>
                  </a:moveTo>
                  <a:lnTo>
                    <a:pt x="0" y="329"/>
                  </a:lnTo>
                  <a:lnTo>
                    <a:pt x="0" y="329"/>
                  </a:lnTo>
                  <a:lnTo>
                    <a:pt x="189" y="0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061">
              <a:extLst>
                <a:ext uri="{FF2B5EF4-FFF2-40B4-BE49-F238E27FC236}">
                  <a16:creationId xmlns:a16="http://schemas.microsoft.com/office/drawing/2014/main" id="{02758C2A-C06F-8E0D-AE4C-EF117C675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3614" y="4494214"/>
              <a:ext cx="603250" cy="636588"/>
            </a:xfrm>
            <a:custGeom>
              <a:avLst/>
              <a:gdLst>
                <a:gd name="T0" fmla="*/ 65 w 380"/>
                <a:gd name="T1" fmla="*/ 0 h 401"/>
                <a:gd name="T2" fmla="*/ 256 w 380"/>
                <a:gd name="T3" fmla="*/ 329 h 401"/>
                <a:gd name="T4" fmla="*/ 256 w 380"/>
                <a:gd name="T5" fmla="*/ 329 h 401"/>
                <a:gd name="T6" fmla="*/ 256 w 380"/>
                <a:gd name="T7" fmla="*/ 329 h 401"/>
                <a:gd name="T8" fmla="*/ 42 w 380"/>
                <a:gd name="T9" fmla="*/ 329 h 401"/>
                <a:gd name="T10" fmla="*/ 0 w 380"/>
                <a:gd name="T11" fmla="*/ 401 h 401"/>
                <a:gd name="T12" fmla="*/ 380 w 380"/>
                <a:gd name="T13" fmla="*/ 401 h 401"/>
                <a:gd name="T14" fmla="*/ 149 w 380"/>
                <a:gd name="T15" fmla="*/ 0 h 401"/>
                <a:gd name="T16" fmla="*/ 65 w 380"/>
                <a:gd name="T17" fmla="*/ 0 h 401"/>
                <a:gd name="T18" fmla="*/ 65 w 380"/>
                <a:gd name="T19" fmla="*/ 0 h 401"/>
                <a:gd name="T20" fmla="*/ 65 w 380"/>
                <a:gd name="T21" fmla="*/ 0 h 401"/>
                <a:gd name="T22" fmla="*/ 65 w 380"/>
                <a:gd name="T23" fmla="*/ 0 h 401"/>
                <a:gd name="T24" fmla="*/ 65 w 380"/>
                <a:gd name="T2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0" h="401">
                  <a:moveTo>
                    <a:pt x="65" y="0"/>
                  </a:moveTo>
                  <a:lnTo>
                    <a:pt x="256" y="329"/>
                  </a:lnTo>
                  <a:lnTo>
                    <a:pt x="256" y="329"/>
                  </a:lnTo>
                  <a:lnTo>
                    <a:pt x="256" y="329"/>
                  </a:lnTo>
                  <a:lnTo>
                    <a:pt x="42" y="329"/>
                  </a:lnTo>
                  <a:lnTo>
                    <a:pt x="0" y="401"/>
                  </a:lnTo>
                  <a:lnTo>
                    <a:pt x="380" y="401"/>
                  </a:lnTo>
                  <a:lnTo>
                    <a:pt x="149" y="0"/>
                  </a:lnTo>
                  <a:lnTo>
                    <a:pt x="65" y="0"/>
                  </a:lnTo>
                  <a:close/>
                  <a:moveTo>
                    <a:pt x="65" y="0"/>
                  </a:move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062">
              <a:extLst>
                <a:ext uri="{FF2B5EF4-FFF2-40B4-BE49-F238E27FC236}">
                  <a16:creationId xmlns:a16="http://schemas.microsoft.com/office/drawing/2014/main" id="{C568EAAF-0660-F4B7-E06B-EB959ACE7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3614" y="4494214"/>
              <a:ext cx="603250" cy="636588"/>
            </a:xfrm>
            <a:custGeom>
              <a:avLst/>
              <a:gdLst>
                <a:gd name="T0" fmla="*/ 65 w 380"/>
                <a:gd name="T1" fmla="*/ 0 h 401"/>
                <a:gd name="T2" fmla="*/ 256 w 380"/>
                <a:gd name="T3" fmla="*/ 329 h 401"/>
                <a:gd name="T4" fmla="*/ 256 w 380"/>
                <a:gd name="T5" fmla="*/ 329 h 401"/>
                <a:gd name="T6" fmla="*/ 256 w 380"/>
                <a:gd name="T7" fmla="*/ 329 h 401"/>
                <a:gd name="T8" fmla="*/ 42 w 380"/>
                <a:gd name="T9" fmla="*/ 329 h 401"/>
                <a:gd name="T10" fmla="*/ 0 w 380"/>
                <a:gd name="T11" fmla="*/ 401 h 401"/>
                <a:gd name="T12" fmla="*/ 380 w 380"/>
                <a:gd name="T13" fmla="*/ 401 h 401"/>
                <a:gd name="T14" fmla="*/ 149 w 380"/>
                <a:gd name="T15" fmla="*/ 0 h 401"/>
                <a:gd name="T16" fmla="*/ 65 w 380"/>
                <a:gd name="T17" fmla="*/ 0 h 401"/>
                <a:gd name="T18" fmla="*/ 65 w 380"/>
                <a:gd name="T19" fmla="*/ 0 h 401"/>
                <a:gd name="T20" fmla="*/ 65 w 380"/>
                <a:gd name="T21" fmla="*/ 0 h 401"/>
                <a:gd name="T22" fmla="*/ 65 w 380"/>
                <a:gd name="T23" fmla="*/ 0 h 401"/>
                <a:gd name="T24" fmla="*/ 65 w 380"/>
                <a:gd name="T2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0" h="401">
                  <a:moveTo>
                    <a:pt x="65" y="0"/>
                  </a:moveTo>
                  <a:lnTo>
                    <a:pt x="256" y="329"/>
                  </a:lnTo>
                  <a:lnTo>
                    <a:pt x="256" y="329"/>
                  </a:lnTo>
                  <a:lnTo>
                    <a:pt x="256" y="329"/>
                  </a:lnTo>
                  <a:lnTo>
                    <a:pt x="42" y="329"/>
                  </a:lnTo>
                  <a:lnTo>
                    <a:pt x="0" y="401"/>
                  </a:lnTo>
                  <a:lnTo>
                    <a:pt x="380" y="401"/>
                  </a:lnTo>
                  <a:lnTo>
                    <a:pt x="149" y="0"/>
                  </a:lnTo>
                  <a:lnTo>
                    <a:pt x="65" y="0"/>
                  </a:lnTo>
                  <a:moveTo>
                    <a:pt x="65" y="0"/>
                  </a:move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063">
              <a:extLst>
                <a:ext uri="{FF2B5EF4-FFF2-40B4-BE49-F238E27FC236}">
                  <a16:creationId xmlns:a16="http://schemas.microsoft.com/office/drawing/2014/main" id="{DC2535A0-BCC3-ECFB-8E64-D12308732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1" y="4494214"/>
              <a:ext cx="303213" cy="522288"/>
            </a:xfrm>
            <a:custGeom>
              <a:avLst/>
              <a:gdLst>
                <a:gd name="T0" fmla="*/ 0 w 191"/>
                <a:gd name="T1" fmla="*/ 0 h 329"/>
                <a:gd name="T2" fmla="*/ 0 w 191"/>
                <a:gd name="T3" fmla="*/ 0 h 329"/>
                <a:gd name="T4" fmla="*/ 191 w 191"/>
                <a:gd name="T5" fmla="*/ 329 h 329"/>
                <a:gd name="T6" fmla="*/ 191 w 191"/>
                <a:gd name="T7" fmla="*/ 329 h 329"/>
                <a:gd name="T8" fmla="*/ 0 w 191"/>
                <a:gd name="T9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329">
                  <a:moveTo>
                    <a:pt x="0" y="0"/>
                  </a:moveTo>
                  <a:lnTo>
                    <a:pt x="0" y="0"/>
                  </a:lnTo>
                  <a:lnTo>
                    <a:pt x="191" y="329"/>
                  </a:lnTo>
                  <a:lnTo>
                    <a:pt x="191" y="3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AF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064">
              <a:extLst>
                <a:ext uri="{FF2B5EF4-FFF2-40B4-BE49-F238E27FC236}">
                  <a16:creationId xmlns:a16="http://schemas.microsoft.com/office/drawing/2014/main" id="{3BF44EFD-85A6-0E64-765C-0B5DFCEE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1" y="4494214"/>
              <a:ext cx="303213" cy="522288"/>
            </a:xfrm>
            <a:custGeom>
              <a:avLst/>
              <a:gdLst>
                <a:gd name="T0" fmla="*/ 0 w 191"/>
                <a:gd name="T1" fmla="*/ 0 h 329"/>
                <a:gd name="T2" fmla="*/ 0 w 191"/>
                <a:gd name="T3" fmla="*/ 0 h 329"/>
                <a:gd name="T4" fmla="*/ 191 w 191"/>
                <a:gd name="T5" fmla="*/ 329 h 329"/>
                <a:gd name="T6" fmla="*/ 191 w 191"/>
                <a:gd name="T7" fmla="*/ 329 h 329"/>
                <a:gd name="T8" fmla="*/ 0 w 191"/>
                <a:gd name="T9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329">
                  <a:moveTo>
                    <a:pt x="0" y="0"/>
                  </a:moveTo>
                  <a:lnTo>
                    <a:pt x="0" y="0"/>
                  </a:lnTo>
                  <a:lnTo>
                    <a:pt x="191" y="329"/>
                  </a:lnTo>
                  <a:lnTo>
                    <a:pt x="191" y="32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Rectangle 1065">
              <a:extLst>
                <a:ext uri="{FF2B5EF4-FFF2-40B4-BE49-F238E27FC236}">
                  <a16:creationId xmlns:a16="http://schemas.microsoft.com/office/drawing/2014/main" id="{E9DC9758-1164-1A1F-B2E9-21A139295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3614" y="5130801"/>
              <a:ext cx="603250" cy="1588"/>
            </a:xfrm>
            <a:prstGeom prst="rect">
              <a:avLst/>
            </a:prstGeom>
            <a:solidFill>
              <a:srgbClr val="D7C3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066">
              <a:extLst>
                <a:ext uri="{FF2B5EF4-FFF2-40B4-BE49-F238E27FC236}">
                  <a16:creationId xmlns:a16="http://schemas.microsoft.com/office/drawing/2014/main" id="{49FC1E2D-4363-65CB-2425-4AB44C6A2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614" y="5130801"/>
              <a:ext cx="603250" cy="0"/>
            </a:xfrm>
            <a:custGeom>
              <a:avLst/>
              <a:gdLst>
                <a:gd name="T0" fmla="*/ 380 w 380"/>
                <a:gd name="T1" fmla="*/ 0 w 380"/>
                <a:gd name="T2" fmla="*/ 0 w 380"/>
                <a:gd name="T3" fmla="*/ 380 w 38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80">
                  <a:moveTo>
                    <a:pt x="38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8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" name="Rectángulo 20">
            <a:extLst>
              <a:ext uri="{FF2B5EF4-FFF2-40B4-BE49-F238E27FC236}">
                <a16:creationId xmlns:a16="http://schemas.microsoft.com/office/drawing/2014/main" id="{7C23CFEE-ECFF-EBC4-E473-786EB2CDE8B5}"/>
              </a:ext>
            </a:extLst>
          </p:cNvPr>
          <p:cNvSpPr/>
          <p:nvPr/>
        </p:nvSpPr>
        <p:spPr>
          <a:xfrm rot="18000000">
            <a:off x="250542" y="3748349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1CAE1174-3624-C7C5-030C-CC058DCED94C}"/>
              </a:ext>
            </a:extLst>
          </p:cNvPr>
          <p:cNvSpPr/>
          <p:nvPr/>
        </p:nvSpPr>
        <p:spPr>
          <a:xfrm rot="3600000" flipH="1">
            <a:off x="2394241" y="3358809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6EB542D0-B482-6E36-133B-952CA2BB7430}"/>
              </a:ext>
            </a:extLst>
          </p:cNvPr>
          <p:cNvSpPr/>
          <p:nvPr/>
        </p:nvSpPr>
        <p:spPr>
          <a:xfrm flipH="1">
            <a:off x="1529644" y="5358128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9216" name="Conector recto 9215">
            <a:extLst>
              <a:ext uri="{FF2B5EF4-FFF2-40B4-BE49-F238E27FC236}">
                <a16:creationId xmlns:a16="http://schemas.microsoft.com/office/drawing/2014/main" id="{6C11D370-85CA-8D9C-A70E-BB6C28FC4DBF}"/>
              </a:ext>
            </a:extLst>
          </p:cNvPr>
          <p:cNvCxnSpPr>
            <a:cxnSpLocks/>
          </p:cNvCxnSpPr>
          <p:nvPr/>
        </p:nvCxnSpPr>
        <p:spPr>
          <a:xfrm flipV="1">
            <a:off x="5267778" y="1834495"/>
            <a:ext cx="0" cy="1229725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ángulo 23">
            <a:extLst>
              <a:ext uri="{FF2B5EF4-FFF2-40B4-BE49-F238E27FC236}">
                <a16:creationId xmlns:a16="http://schemas.microsoft.com/office/drawing/2014/main" id="{BC647A4A-7700-1616-2859-C68C5DB64DD6}"/>
              </a:ext>
            </a:extLst>
          </p:cNvPr>
          <p:cNvSpPr/>
          <p:nvPr/>
        </p:nvSpPr>
        <p:spPr>
          <a:xfrm>
            <a:off x="5351598" y="1834494"/>
            <a:ext cx="6468927" cy="1229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24" name="Rectángulo 9223">
            <a:extLst>
              <a:ext uri="{FF2B5EF4-FFF2-40B4-BE49-F238E27FC236}">
                <a16:creationId xmlns:a16="http://schemas.microsoft.com/office/drawing/2014/main" id="{40CD44D5-E750-0B8F-B6E7-012F1D0A2FB7}"/>
              </a:ext>
            </a:extLst>
          </p:cNvPr>
          <p:cNvSpPr/>
          <p:nvPr/>
        </p:nvSpPr>
        <p:spPr>
          <a:xfrm>
            <a:off x="5351598" y="3190953"/>
            <a:ext cx="6468927" cy="1229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25" name="Rectángulo 9224">
            <a:extLst>
              <a:ext uri="{FF2B5EF4-FFF2-40B4-BE49-F238E27FC236}">
                <a16:creationId xmlns:a16="http://schemas.microsoft.com/office/drawing/2014/main" id="{77A0C9A4-79ED-AF5B-15C1-028A0D64FC59}"/>
              </a:ext>
            </a:extLst>
          </p:cNvPr>
          <p:cNvSpPr/>
          <p:nvPr/>
        </p:nvSpPr>
        <p:spPr>
          <a:xfrm>
            <a:off x="5351598" y="4547411"/>
            <a:ext cx="6468927" cy="1229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9229" name="Conector recto 9228">
            <a:extLst>
              <a:ext uri="{FF2B5EF4-FFF2-40B4-BE49-F238E27FC236}">
                <a16:creationId xmlns:a16="http://schemas.microsoft.com/office/drawing/2014/main" id="{233202DA-7017-E814-C677-FE5DDD763074}"/>
              </a:ext>
            </a:extLst>
          </p:cNvPr>
          <p:cNvCxnSpPr>
            <a:cxnSpLocks/>
          </p:cNvCxnSpPr>
          <p:nvPr/>
        </p:nvCxnSpPr>
        <p:spPr>
          <a:xfrm flipV="1">
            <a:off x="5267778" y="3190954"/>
            <a:ext cx="0" cy="1229725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0" name="Conector recto 9229">
            <a:extLst>
              <a:ext uri="{FF2B5EF4-FFF2-40B4-BE49-F238E27FC236}">
                <a16:creationId xmlns:a16="http://schemas.microsoft.com/office/drawing/2014/main" id="{66AAC04F-105E-5D30-B897-DD54F45661F9}"/>
              </a:ext>
            </a:extLst>
          </p:cNvPr>
          <p:cNvCxnSpPr>
            <a:cxnSpLocks/>
          </p:cNvCxnSpPr>
          <p:nvPr/>
        </p:nvCxnSpPr>
        <p:spPr>
          <a:xfrm flipV="1">
            <a:off x="5267778" y="4547412"/>
            <a:ext cx="0" cy="1229725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0442806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EB6C2B4C-0B2A-E214-A3CE-604F36F32D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324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EB6C2B4C-0B2A-E214-A3CE-604F36F32D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TextBox 127">
            <a:extLst>
              <a:ext uri="{FF2B5EF4-FFF2-40B4-BE49-F238E27FC236}">
                <a16:creationId xmlns:a16="http://schemas.microsoft.com/office/drawing/2014/main" id="{917C8AC7-6724-75C6-9674-BABFF2F291AC}"/>
              </a:ext>
            </a:extLst>
          </p:cNvPr>
          <p:cNvSpPr txBox="1"/>
          <p:nvPr/>
        </p:nvSpPr>
        <p:spPr>
          <a:xfrm>
            <a:off x="801136" y="2212474"/>
            <a:ext cx="10735190" cy="3374187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8" name="Freeform 528">
            <a:extLst>
              <a:ext uri="{FF2B5EF4-FFF2-40B4-BE49-F238E27FC236}">
                <a16:creationId xmlns:a16="http://schemas.microsoft.com/office/drawing/2014/main" id="{2F5FDFB4-19D0-6EAE-CA83-DCD6098B3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6" y="2563188"/>
            <a:ext cx="560170" cy="2677710"/>
          </a:xfrm>
          <a:custGeom>
            <a:avLst/>
            <a:gdLst>
              <a:gd name="T0" fmla="*/ 822 w 823"/>
              <a:gd name="T1" fmla="*/ 6968 h 6969"/>
              <a:gd name="T2" fmla="*/ 0 w 823"/>
              <a:gd name="T3" fmla="*/ 6968 h 6969"/>
              <a:gd name="T4" fmla="*/ 0 w 823"/>
              <a:gd name="T5" fmla="*/ 0 h 6969"/>
              <a:gd name="T6" fmla="*/ 822 w 823"/>
              <a:gd name="T7" fmla="*/ 0 h 6969"/>
              <a:gd name="T8" fmla="*/ 822 w 823"/>
              <a:gd name="T9" fmla="*/ 6968 h 6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3" h="6969">
                <a:moveTo>
                  <a:pt x="822" y="6968"/>
                </a:moveTo>
                <a:lnTo>
                  <a:pt x="0" y="6968"/>
                </a:lnTo>
                <a:lnTo>
                  <a:pt x="0" y="0"/>
                </a:lnTo>
                <a:lnTo>
                  <a:pt x="822" y="0"/>
                </a:lnTo>
                <a:lnTo>
                  <a:pt x="822" y="696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LLENGES</a:t>
            </a:r>
          </a:p>
        </p:txBody>
      </p:sp>
      <p:sp>
        <p:nvSpPr>
          <p:cNvPr id="29" name="Freeform 539">
            <a:extLst>
              <a:ext uri="{FF2B5EF4-FFF2-40B4-BE49-F238E27FC236}">
                <a16:creationId xmlns:a16="http://schemas.microsoft.com/office/drawing/2014/main" id="{24601CF7-688A-D767-33AF-9128E7A2F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60355" y="2551811"/>
            <a:ext cx="560171" cy="2679405"/>
          </a:xfrm>
          <a:custGeom>
            <a:avLst/>
            <a:gdLst>
              <a:gd name="T0" fmla="*/ 0 w 823"/>
              <a:gd name="T1" fmla="*/ 0 h 6970"/>
              <a:gd name="T2" fmla="*/ 822 w 823"/>
              <a:gd name="T3" fmla="*/ 0 h 6970"/>
              <a:gd name="T4" fmla="*/ 822 w 823"/>
              <a:gd name="T5" fmla="*/ 6969 h 6970"/>
              <a:gd name="T6" fmla="*/ 0 w 823"/>
              <a:gd name="T7" fmla="*/ 6969 h 6970"/>
              <a:gd name="T8" fmla="*/ 0 w 823"/>
              <a:gd name="T9" fmla="*/ 0 h 6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3" h="6970">
                <a:moveTo>
                  <a:pt x="0" y="0"/>
                </a:moveTo>
                <a:lnTo>
                  <a:pt x="822" y="0"/>
                </a:lnTo>
                <a:lnTo>
                  <a:pt x="822" y="6969"/>
                </a:lnTo>
                <a:lnTo>
                  <a:pt x="0" y="696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" lIns="108000" tIns="72000" rIns="72000" bIns="72000" anchor="ctr"/>
          <a:lstStyle/>
          <a:p>
            <a:pPr algn="ctr"/>
            <a:r>
              <a:rPr lang="en-US"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S</a:t>
            </a:r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A62DFD3-8D70-1280-DFAA-9132E9A6A5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409C59D-4AA1-06FA-C1E6-30142D61D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153290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" name="Freeform 67">
            <a:extLst>
              <a:ext uri="{FF2B5EF4-FFF2-40B4-BE49-F238E27FC236}">
                <a16:creationId xmlns:a16="http://schemas.microsoft.com/office/drawing/2014/main" id="{6BFB8785-7292-A326-7003-D876B3D4F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1532909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" name="Freeform 68">
            <a:extLst>
              <a:ext uri="{FF2B5EF4-FFF2-40B4-BE49-F238E27FC236}">
                <a16:creationId xmlns:a16="http://schemas.microsoft.com/office/drawing/2014/main" id="{0E9C5093-6BA8-803B-D874-FD345E870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1620512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7" name="Freeform 69">
            <a:extLst>
              <a:ext uri="{FF2B5EF4-FFF2-40B4-BE49-F238E27FC236}">
                <a16:creationId xmlns:a16="http://schemas.microsoft.com/office/drawing/2014/main" id="{AA02E0C5-2D90-43AB-F575-4586A3372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153290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8" name="Freeform 70">
            <a:extLst>
              <a:ext uri="{FF2B5EF4-FFF2-40B4-BE49-F238E27FC236}">
                <a16:creationId xmlns:a16="http://schemas.microsoft.com/office/drawing/2014/main" id="{1621B898-AE90-56B3-A6EB-C5FB384CE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321244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9" name="Freeform 71">
            <a:extLst>
              <a:ext uri="{FF2B5EF4-FFF2-40B4-BE49-F238E27FC236}">
                <a16:creationId xmlns:a16="http://schemas.microsoft.com/office/drawing/2014/main" id="{3B50CD6A-C3C7-00E9-5B48-B05A2220B1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3212449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0" name="Freeform 72">
            <a:extLst>
              <a:ext uri="{FF2B5EF4-FFF2-40B4-BE49-F238E27FC236}">
                <a16:creationId xmlns:a16="http://schemas.microsoft.com/office/drawing/2014/main" id="{9DCBD78C-9B13-7453-60C8-FE156071F1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3300053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1" name="Freeform 73">
            <a:extLst>
              <a:ext uri="{FF2B5EF4-FFF2-40B4-BE49-F238E27FC236}">
                <a16:creationId xmlns:a16="http://schemas.microsoft.com/office/drawing/2014/main" id="{E3329A74-D228-590D-8983-6910D955F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321244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75000"/>
              <a:alpha val="3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74">
            <a:extLst>
              <a:ext uri="{FF2B5EF4-FFF2-40B4-BE49-F238E27FC236}">
                <a16:creationId xmlns:a16="http://schemas.microsoft.com/office/drawing/2014/main" id="{11A6FA7E-4562-2090-7054-A28E06E8EF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4895012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3" name="Freeform 75">
            <a:extLst>
              <a:ext uri="{FF2B5EF4-FFF2-40B4-BE49-F238E27FC236}">
                <a16:creationId xmlns:a16="http://schemas.microsoft.com/office/drawing/2014/main" id="{233DD456-F5A5-329A-A590-F06335B12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4895012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4" name="Freeform 76">
            <a:extLst>
              <a:ext uri="{FF2B5EF4-FFF2-40B4-BE49-F238E27FC236}">
                <a16:creationId xmlns:a16="http://schemas.microsoft.com/office/drawing/2014/main" id="{A6172D1A-9233-E8D7-A62A-692BF3338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4982614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6" name="Freeform 297">
            <a:extLst>
              <a:ext uri="{FF2B5EF4-FFF2-40B4-BE49-F238E27FC236}">
                <a16:creationId xmlns:a16="http://schemas.microsoft.com/office/drawing/2014/main" id="{20453230-3599-C1C3-84B2-CEDE2ED06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153290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7" name="Freeform 298">
            <a:extLst>
              <a:ext uri="{FF2B5EF4-FFF2-40B4-BE49-F238E27FC236}">
                <a16:creationId xmlns:a16="http://schemas.microsoft.com/office/drawing/2014/main" id="{2CE4F22D-2059-13A6-9F90-C362F3336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3" y="1532909"/>
            <a:ext cx="3585690" cy="1413714"/>
          </a:xfrm>
          <a:custGeom>
            <a:avLst/>
            <a:gdLst>
              <a:gd name="T0" fmla="*/ 666 w 5277"/>
              <a:gd name="T1" fmla="*/ 0 h 2062"/>
              <a:gd name="T2" fmla="*/ 5276 w 5277"/>
              <a:gd name="T3" fmla="*/ 0 h 2062"/>
              <a:gd name="T4" fmla="*/ 5276 w 5277"/>
              <a:gd name="T5" fmla="*/ 2061 h 2062"/>
              <a:gd name="T6" fmla="*/ 666 w 5277"/>
              <a:gd name="T7" fmla="*/ 2061 h 2062"/>
              <a:gd name="T8" fmla="*/ 0 w 5277"/>
              <a:gd name="T9" fmla="*/ 2061 h 2062"/>
              <a:gd name="T10" fmla="*/ 0 w 5277"/>
              <a:gd name="T11" fmla="*/ 0 h 2062"/>
              <a:gd name="T12" fmla="*/ 666 w 5277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7" h="2062">
                <a:moveTo>
                  <a:pt x="666" y="0"/>
                </a:moveTo>
                <a:lnTo>
                  <a:pt x="5276" y="0"/>
                </a:lnTo>
                <a:lnTo>
                  <a:pt x="5276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299">
            <a:extLst>
              <a:ext uri="{FF2B5EF4-FFF2-40B4-BE49-F238E27FC236}">
                <a16:creationId xmlns:a16="http://schemas.microsoft.com/office/drawing/2014/main" id="{DDCC536E-9528-49C2-DFAB-60EB46109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1620512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9" name="Freeform 300">
            <a:extLst>
              <a:ext uri="{FF2B5EF4-FFF2-40B4-BE49-F238E27FC236}">
                <a16:creationId xmlns:a16="http://schemas.microsoft.com/office/drawing/2014/main" id="{069BACF1-4121-5B51-9E80-07A05BAC8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153290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0" name="Freeform 301">
            <a:extLst>
              <a:ext uri="{FF2B5EF4-FFF2-40B4-BE49-F238E27FC236}">
                <a16:creationId xmlns:a16="http://schemas.microsoft.com/office/drawing/2014/main" id="{34BCF1CA-9D59-3ADD-7F1F-08E886076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321244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302">
            <a:extLst>
              <a:ext uri="{FF2B5EF4-FFF2-40B4-BE49-F238E27FC236}">
                <a16:creationId xmlns:a16="http://schemas.microsoft.com/office/drawing/2014/main" id="{F48037D2-D2DE-C062-D1B1-F9330A3D8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3" y="3212449"/>
            <a:ext cx="3585690" cy="1413714"/>
          </a:xfrm>
          <a:custGeom>
            <a:avLst/>
            <a:gdLst>
              <a:gd name="T0" fmla="*/ 666 w 5277"/>
              <a:gd name="T1" fmla="*/ 0 h 2062"/>
              <a:gd name="T2" fmla="*/ 5276 w 5277"/>
              <a:gd name="T3" fmla="*/ 0 h 2062"/>
              <a:gd name="T4" fmla="*/ 5276 w 5277"/>
              <a:gd name="T5" fmla="*/ 2061 h 2062"/>
              <a:gd name="T6" fmla="*/ 666 w 5277"/>
              <a:gd name="T7" fmla="*/ 2061 h 2062"/>
              <a:gd name="T8" fmla="*/ 0 w 5277"/>
              <a:gd name="T9" fmla="*/ 2061 h 2062"/>
              <a:gd name="T10" fmla="*/ 0 w 5277"/>
              <a:gd name="T11" fmla="*/ 0 h 2062"/>
              <a:gd name="T12" fmla="*/ 666 w 5277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7" h="2062">
                <a:moveTo>
                  <a:pt x="666" y="0"/>
                </a:moveTo>
                <a:lnTo>
                  <a:pt x="5276" y="0"/>
                </a:lnTo>
                <a:lnTo>
                  <a:pt x="5276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2" name="Freeform 303">
            <a:extLst>
              <a:ext uri="{FF2B5EF4-FFF2-40B4-BE49-F238E27FC236}">
                <a16:creationId xmlns:a16="http://schemas.microsoft.com/office/drawing/2014/main" id="{0B917AF6-35BD-50EB-B7C9-900292008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3300053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3" name="Freeform 304">
            <a:extLst>
              <a:ext uri="{FF2B5EF4-FFF2-40B4-BE49-F238E27FC236}">
                <a16:creationId xmlns:a16="http://schemas.microsoft.com/office/drawing/2014/main" id="{8DD55E8A-6641-BFD7-00EE-116BFA26D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321244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tx2">
              <a:lumMod val="75000"/>
              <a:alpha val="3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4" name="Freeform 305">
            <a:extLst>
              <a:ext uri="{FF2B5EF4-FFF2-40B4-BE49-F238E27FC236}">
                <a16:creationId xmlns:a16="http://schemas.microsoft.com/office/drawing/2014/main" id="{1626A9FC-1306-EA29-E401-0DA9AD7AD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4895012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5" name="Freeform 306">
            <a:extLst>
              <a:ext uri="{FF2B5EF4-FFF2-40B4-BE49-F238E27FC236}">
                <a16:creationId xmlns:a16="http://schemas.microsoft.com/office/drawing/2014/main" id="{29ED6221-BF41-2E6D-C73E-A7C8EEC194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1" y="4895012"/>
            <a:ext cx="3582696" cy="1413714"/>
          </a:xfrm>
          <a:custGeom>
            <a:avLst/>
            <a:gdLst>
              <a:gd name="T0" fmla="*/ 666 w 5276"/>
              <a:gd name="T1" fmla="*/ 0 h 2062"/>
              <a:gd name="T2" fmla="*/ 5275 w 5276"/>
              <a:gd name="T3" fmla="*/ 0 h 2062"/>
              <a:gd name="T4" fmla="*/ 5275 w 5276"/>
              <a:gd name="T5" fmla="*/ 2061 h 2062"/>
              <a:gd name="T6" fmla="*/ 666 w 5276"/>
              <a:gd name="T7" fmla="*/ 2061 h 2062"/>
              <a:gd name="T8" fmla="*/ 0 w 5276"/>
              <a:gd name="T9" fmla="*/ 2061 h 2062"/>
              <a:gd name="T10" fmla="*/ 0 w 5276"/>
              <a:gd name="T11" fmla="*/ 0 h 2062"/>
              <a:gd name="T12" fmla="*/ 666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666" y="0"/>
                </a:moveTo>
                <a:lnTo>
                  <a:pt x="5275" y="0"/>
                </a:lnTo>
                <a:lnTo>
                  <a:pt x="5275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6" name="Freeform 307">
            <a:extLst>
              <a:ext uri="{FF2B5EF4-FFF2-40B4-BE49-F238E27FC236}">
                <a16:creationId xmlns:a16="http://schemas.microsoft.com/office/drawing/2014/main" id="{EA88FBFB-D331-865C-0A22-ECBDFCA40D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4982614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0" name="TextBox 5">
            <a:extLst>
              <a:ext uri="{FF2B5EF4-FFF2-40B4-BE49-F238E27FC236}">
                <a16:creationId xmlns:a16="http://schemas.microsoft.com/office/drawing/2014/main" id="{4961B523-84FF-ED1A-6D73-183B221ECD20}"/>
              </a:ext>
            </a:extLst>
          </p:cNvPr>
          <p:cNvSpPr txBox="1"/>
          <p:nvPr/>
        </p:nvSpPr>
        <p:spPr>
          <a:xfrm>
            <a:off x="1376878" y="1793211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3AACCFF3-5EEC-35FC-BCC6-B493795CE502}"/>
              </a:ext>
            </a:extLst>
          </p:cNvPr>
          <p:cNvSpPr txBox="1"/>
          <p:nvPr/>
        </p:nvSpPr>
        <p:spPr>
          <a:xfrm>
            <a:off x="1376878" y="20836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TextBox 7">
            <a:extLst>
              <a:ext uri="{FF2B5EF4-FFF2-40B4-BE49-F238E27FC236}">
                <a16:creationId xmlns:a16="http://schemas.microsoft.com/office/drawing/2014/main" id="{C354AB54-AF72-2DB9-C64C-4FE0BBA5A08E}"/>
              </a:ext>
            </a:extLst>
          </p:cNvPr>
          <p:cNvSpPr txBox="1"/>
          <p:nvPr/>
        </p:nvSpPr>
        <p:spPr>
          <a:xfrm>
            <a:off x="1376878" y="3515605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03712BED-4EFA-A408-FA3F-5B50AC603E17}"/>
              </a:ext>
            </a:extLst>
          </p:cNvPr>
          <p:cNvSpPr txBox="1"/>
          <p:nvPr/>
        </p:nvSpPr>
        <p:spPr>
          <a:xfrm>
            <a:off x="1376878" y="3806072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4" name="TextBox 9">
            <a:extLst>
              <a:ext uri="{FF2B5EF4-FFF2-40B4-BE49-F238E27FC236}">
                <a16:creationId xmlns:a16="http://schemas.microsoft.com/office/drawing/2014/main" id="{9142EA40-2F23-4655-62BF-B6483BD11E38}"/>
              </a:ext>
            </a:extLst>
          </p:cNvPr>
          <p:cNvSpPr txBox="1"/>
          <p:nvPr/>
        </p:nvSpPr>
        <p:spPr>
          <a:xfrm>
            <a:off x="1376878" y="5179510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FFE75E74-E9A4-7D4B-B03C-901BA4E538F7}"/>
              </a:ext>
            </a:extLst>
          </p:cNvPr>
          <p:cNvSpPr txBox="1"/>
          <p:nvPr/>
        </p:nvSpPr>
        <p:spPr>
          <a:xfrm>
            <a:off x="1376878" y="54699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6" name="TextBox 11">
            <a:extLst>
              <a:ext uri="{FF2B5EF4-FFF2-40B4-BE49-F238E27FC236}">
                <a16:creationId xmlns:a16="http://schemas.microsoft.com/office/drawing/2014/main" id="{0EFEF15E-F2C5-A205-B166-352FACF73304}"/>
              </a:ext>
            </a:extLst>
          </p:cNvPr>
          <p:cNvSpPr txBox="1"/>
          <p:nvPr/>
        </p:nvSpPr>
        <p:spPr>
          <a:xfrm>
            <a:off x="7668945" y="1793211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37" name="TextBox 12">
            <a:extLst>
              <a:ext uri="{FF2B5EF4-FFF2-40B4-BE49-F238E27FC236}">
                <a16:creationId xmlns:a16="http://schemas.microsoft.com/office/drawing/2014/main" id="{D037B5EC-EE92-E560-E690-F551B5E3F0F8}"/>
              </a:ext>
            </a:extLst>
          </p:cNvPr>
          <p:cNvSpPr txBox="1"/>
          <p:nvPr/>
        </p:nvSpPr>
        <p:spPr>
          <a:xfrm>
            <a:off x="7668945" y="20836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r"/>
            <a:endParaRPr lang="en-US" dirty="0"/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14F35A8B-8201-3C46-6FE7-FE101B5AAB35}"/>
              </a:ext>
            </a:extLst>
          </p:cNvPr>
          <p:cNvSpPr txBox="1"/>
          <p:nvPr/>
        </p:nvSpPr>
        <p:spPr>
          <a:xfrm>
            <a:off x="7668945" y="3517598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39" name="TextBox 14">
            <a:extLst>
              <a:ext uri="{FF2B5EF4-FFF2-40B4-BE49-F238E27FC236}">
                <a16:creationId xmlns:a16="http://schemas.microsoft.com/office/drawing/2014/main" id="{057C3E31-2FE8-752F-94DB-2FE0D0057073}"/>
              </a:ext>
            </a:extLst>
          </p:cNvPr>
          <p:cNvSpPr txBox="1"/>
          <p:nvPr/>
        </p:nvSpPr>
        <p:spPr>
          <a:xfrm>
            <a:off x="7668945" y="3808065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0" name="TextBox 15">
            <a:extLst>
              <a:ext uri="{FF2B5EF4-FFF2-40B4-BE49-F238E27FC236}">
                <a16:creationId xmlns:a16="http://schemas.microsoft.com/office/drawing/2014/main" id="{763DA963-881D-5046-735F-E5F7BC80143F}"/>
              </a:ext>
            </a:extLst>
          </p:cNvPr>
          <p:cNvSpPr txBox="1"/>
          <p:nvPr/>
        </p:nvSpPr>
        <p:spPr>
          <a:xfrm>
            <a:off x="7668945" y="5179706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41" name="TextBox 16">
            <a:extLst>
              <a:ext uri="{FF2B5EF4-FFF2-40B4-BE49-F238E27FC236}">
                <a16:creationId xmlns:a16="http://schemas.microsoft.com/office/drawing/2014/main" id="{507D6C6F-01EE-8E99-3310-55074A0B2E17}"/>
              </a:ext>
            </a:extLst>
          </p:cNvPr>
          <p:cNvSpPr txBox="1"/>
          <p:nvPr/>
        </p:nvSpPr>
        <p:spPr>
          <a:xfrm>
            <a:off x="7668945" y="5470173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id="{C8999EB4-9FF0-D89A-559B-F3DB95FAFB1C}"/>
              </a:ext>
            </a:extLst>
          </p:cNvPr>
          <p:cNvSpPr txBox="1"/>
          <p:nvPr/>
        </p:nvSpPr>
        <p:spPr>
          <a:xfrm>
            <a:off x="5775476" y="1918069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45" name="TextBox 20">
            <a:extLst>
              <a:ext uri="{FF2B5EF4-FFF2-40B4-BE49-F238E27FC236}">
                <a16:creationId xmlns:a16="http://schemas.microsoft.com/office/drawing/2014/main" id="{ACACCB38-8647-D362-82BF-3AC80459AA0A}"/>
              </a:ext>
            </a:extLst>
          </p:cNvPr>
          <p:cNvSpPr txBox="1"/>
          <p:nvPr/>
        </p:nvSpPr>
        <p:spPr>
          <a:xfrm>
            <a:off x="5775476" y="3601870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46" name="TextBox 21">
            <a:extLst>
              <a:ext uri="{FF2B5EF4-FFF2-40B4-BE49-F238E27FC236}">
                <a16:creationId xmlns:a16="http://schemas.microsoft.com/office/drawing/2014/main" id="{227FA2B3-8750-DAE0-DAEC-FB39B4B375D2}"/>
              </a:ext>
            </a:extLst>
          </p:cNvPr>
          <p:cNvSpPr txBox="1"/>
          <p:nvPr/>
        </p:nvSpPr>
        <p:spPr>
          <a:xfrm>
            <a:off x="5775476" y="5292622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A1CC964-14C8-894C-38D8-1A2EF07056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42" name="Título 41">
            <a:extLst>
              <a:ext uri="{FF2B5EF4-FFF2-40B4-BE49-F238E27FC236}">
                <a16:creationId xmlns:a16="http://schemas.microsoft.com/office/drawing/2014/main" id="{BFEAEA2A-AD1F-08D8-F50C-F706FA50D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allenges Slide</a:t>
            </a:r>
          </a:p>
        </p:txBody>
      </p:sp>
    </p:spTree>
    <p:extLst>
      <p:ext uri="{BB962C8B-B14F-4D97-AF65-F5344CB8AC3E}">
        <p14:creationId xmlns:p14="http://schemas.microsoft.com/office/powerpoint/2010/main" val="3322548929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" name="Objeto 92" hidden="1">
            <a:extLst>
              <a:ext uri="{FF2B5EF4-FFF2-40B4-BE49-F238E27FC236}">
                <a16:creationId xmlns:a16="http://schemas.microsoft.com/office/drawing/2014/main" id="{34DB562D-22F0-499B-A841-35A722605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956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3" name="Objeto 92" hidden="1">
                        <a:extLst>
                          <a:ext uri="{FF2B5EF4-FFF2-40B4-BE49-F238E27FC236}">
                            <a16:creationId xmlns:a16="http://schemas.microsoft.com/office/drawing/2014/main" id="{34DB562D-22F0-499B-A841-35A722605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5">
            <a:extLst>
              <a:ext uri="{FF2B5EF4-FFF2-40B4-BE49-F238E27FC236}">
                <a16:creationId xmlns:a16="http://schemas.microsoft.com/office/drawing/2014/main" id="{02970B62-DC48-1EF9-8CF8-812D4F3838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439" y="1531409"/>
            <a:ext cx="5650106" cy="575584"/>
          </a:xfrm>
          <a:custGeom>
            <a:avLst/>
            <a:gdLst>
              <a:gd name="T0" fmla="*/ 7881 w 7882"/>
              <a:gd name="T1" fmla="*/ 850 h 851"/>
              <a:gd name="T2" fmla="*/ 0 w 7882"/>
              <a:gd name="T3" fmla="*/ 850 h 851"/>
              <a:gd name="T4" fmla="*/ 0 w 7882"/>
              <a:gd name="T5" fmla="*/ 0 h 851"/>
              <a:gd name="T6" fmla="*/ 7881 w 7882"/>
              <a:gd name="T7" fmla="*/ 0 h 851"/>
              <a:gd name="T8" fmla="*/ 7881 w 7882"/>
              <a:gd name="T9" fmla="*/ 85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82" h="851">
                <a:moveTo>
                  <a:pt x="7881" y="850"/>
                </a:moveTo>
                <a:lnTo>
                  <a:pt x="0" y="850"/>
                </a:lnTo>
                <a:lnTo>
                  <a:pt x="0" y="0"/>
                </a:lnTo>
                <a:lnTo>
                  <a:pt x="7881" y="0"/>
                </a:lnTo>
                <a:lnTo>
                  <a:pt x="7881" y="850"/>
                </a:lnTo>
              </a:path>
            </a:pathLst>
          </a:custGeom>
          <a:noFill/>
          <a:effectLst/>
        </p:spPr>
        <p:txBody>
          <a:bodyPr vert="horz" lIns="180000" tIns="72000" rIns="72000" bIns="72000" anchor="ctr"/>
          <a:lstStyle/>
          <a:p>
            <a:r>
              <a:rPr lang="en-US" sz="1400" b="1" spc="-30" dirty="0">
                <a:cs typeface="Poppins" pitchFamily="2" charset="77"/>
              </a:rPr>
              <a:t>SOLUTIONS</a:t>
            </a:r>
          </a:p>
        </p:txBody>
      </p:sp>
      <p:sp>
        <p:nvSpPr>
          <p:cNvPr id="38" name="Freeform 341">
            <a:extLst>
              <a:ext uri="{FF2B5EF4-FFF2-40B4-BE49-F238E27FC236}">
                <a16:creationId xmlns:a16="http://schemas.microsoft.com/office/drawing/2014/main" id="{AC1F01CE-FE27-9220-8B13-9F8487502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1531409"/>
            <a:ext cx="5653088" cy="575584"/>
          </a:xfrm>
          <a:custGeom>
            <a:avLst/>
            <a:gdLst>
              <a:gd name="T0" fmla="*/ 7881 w 7882"/>
              <a:gd name="T1" fmla="*/ 850 h 851"/>
              <a:gd name="T2" fmla="*/ 0 w 7882"/>
              <a:gd name="T3" fmla="*/ 850 h 851"/>
              <a:gd name="T4" fmla="*/ 0 w 7882"/>
              <a:gd name="T5" fmla="*/ 0 h 851"/>
              <a:gd name="T6" fmla="*/ 7881 w 7882"/>
              <a:gd name="T7" fmla="*/ 0 h 851"/>
              <a:gd name="T8" fmla="*/ 7881 w 7882"/>
              <a:gd name="T9" fmla="*/ 85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82" h="851">
                <a:moveTo>
                  <a:pt x="7881" y="850"/>
                </a:moveTo>
                <a:lnTo>
                  <a:pt x="0" y="850"/>
                </a:lnTo>
                <a:lnTo>
                  <a:pt x="0" y="0"/>
                </a:lnTo>
                <a:lnTo>
                  <a:pt x="7881" y="0"/>
                </a:lnTo>
                <a:lnTo>
                  <a:pt x="7881" y="850"/>
                </a:lnTo>
              </a:path>
            </a:pathLst>
          </a:custGeom>
          <a:noFill/>
          <a:effectLst/>
        </p:spPr>
        <p:txBody>
          <a:bodyPr vert="horz" lIns="108000" tIns="72000" rIns="180000" bIns="72000" anchor="ctr"/>
          <a:lstStyle/>
          <a:p>
            <a:pPr algn="r"/>
            <a:r>
              <a:rPr lang="en-US" sz="1400" b="1" spc="-30" dirty="0">
                <a:cs typeface="Poppins" pitchFamily="2" charset="77"/>
              </a:rPr>
              <a:t>CHALLENGES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CC3B568-5889-94C0-5249-5F6823141E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CE57C0-3075-FE91-6705-FD1F7E3CB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allenges and solutions</a:t>
            </a:r>
          </a:p>
        </p:txBody>
      </p:sp>
      <p:sp>
        <p:nvSpPr>
          <p:cNvPr id="5" name="Freeform 66">
            <a:extLst>
              <a:ext uri="{FF2B5EF4-FFF2-40B4-BE49-F238E27FC236}">
                <a16:creationId xmlns:a16="http://schemas.microsoft.com/office/drawing/2014/main" id="{7CF68024-26EE-EB41-F314-7EC0612519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2120821"/>
            <a:ext cx="1252566" cy="1082574"/>
          </a:xfrm>
          <a:custGeom>
            <a:avLst/>
            <a:gdLst>
              <a:gd name="T0" fmla="*/ 1850 w 1851"/>
              <a:gd name="T1" fmla="*/ 1601 h 1602"/>
              <a:gd name="T2" fmla="*/ 0 w 1851"/>
              <a:gd name="T3" fmla="*/ 1601 h 1602"/>
              <a:gd name="T4" fmla="*/ 0 w 1851"/>
              <a:gd name="T5" fmla="*/ 0 h 1602"/>
              <a:gd name="T6" fmla="*/ 1850 w 1851"/>
              <a:gd name="T7" fmla="*/ 0 h 1602"/>
              <a:gd name="T8" fmla="*/ 1850 w 1851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2">
                <a:moveTo>
                  <a:pt x="1850" y="1601"/>
                </a:moveTo>
                <a:lnTo>
                  <a:pt x="0" y="1601"/>
                </a:lnTo>
                <a:lnTo>
                  <a:pt x="0" y="0"/>
                </a:lnTo>
                <a:lnTo>
                  <a:pt x="1850" y="0"/>
                </a:lnTo>
                <a:lnTo>
                  <a:pt x="1850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Freeform 68">
            <a:extLst>
              <a:ext uri="{FF2B5EF4-FFF2-40B4-BE49-F238E27FC236}">
                <a16:creationId xmlns:a16="http://schemas.microsoft.com/office/drawing/2014/main" id="{9778C52A-C23F-9BA3-5670-271A1292E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2120821"/>
            <a:ext cx="4042645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8" name="Freeform 69">
            <a:extLst>
              <a:ext uri="{FF2B5EF4-FFF2-40B4-BE49-F238E27FC236}">
                <a16:creationId xmlns:a16="http://schemas.microsoft.com/office/drawing/2014/main" id="{559638E0-D25D-C803-DD1C-C9B2D5B46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1864343"/>
            <a:ext cx="217709" cy="259459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9" name="Freeform 70">
            <a:extLst>
              <a:ext uri="{FF2B5EF4-FFF2-40B4-BE49-F238E27FC236}">
                <a16:creationId xmlns:a16="http://schemas.microsoft.com/office/drawing/2014/main" id="{47274CD2-8FF0-FB51-7247-D1A7C349F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1864343"/>
            <a:ext cx="217709" cy="259459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0" name="Freeform 71">
            <a:extLst>
              <a:ext uri="{FF2B5EF4-FFF2-40B4-BE49-F238E27FC236}">
                <a16:creationId xmlns:a16="http://schemas.microsoft.com/office/drawing/2014/main" id="{CE1F51D8-AF51-7E40-6F74-F1950F6F2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1864343"/>
            <a:ext cx="217709" cy="259459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1" name="Freeform 72">
            <a:extLst>
              <a:ext uri="{FF2B5EF4-FFF2-40B4-BE49-F238E27FC236}">
                <a16:creationId xmlns:a16="http://schemas.microsoft.com/office/drawing/2014/main" id="{0D7655C0-C1E2-6394-E263-54DA5AF36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1864343"/>
            <a:ext cx="217709" cy="259459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73">
            <a:extLst>
              <a:ext uri="{FF2B5EF4-FFF2-40B4-BE49-F238E27FC236}">
                <a16:creationId xmlns:a16="http://schemas.microsoft.com/office/drawing/2014/main" id="{65FF866F-44CD-D3B7-91D7-0BFF389EF2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2815696"/>
            <a:ext cx="325070" cy="390683"/>
          </a:xfrm>
          <a:custGeom>
            <a:avLst/>
            <a:gdLst>
              <a:gd name="T0" fmla="*/ 0 w 482"/>
              <a:gd name="T1" fmla="*/ 0 h 576"/>
              <a:gd name="T2" fmla="*/ 481 w 482"/>
              <a:gd name="T3" fmla="*/ 575 h 576"/>
              <a:gd name="T4" fmla="*/ 481 w 482"/>
              <a:gd name="T5" fmla="*/ 0 h 576"/>
              <a:gd name="T6" fmla="*/ 0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0" y="0"/>
                </a:moveTo>
                <a:lnTo>
                  <a:pt x="481" y="575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3" name="Freeform 74">
            <a:extLst>
              <a:ext uri="{FF2B5EF4-FFF2-40B4-BE49-F238E27FC236}">
                <a16:creationId xmlns:a16="http://schemas.microsoft.com/office/drawing/2014/main" id="{95C8F4B7-AD4C-8946-8B9F-12EA4BB06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2815696"/>
            <a:ext cx="325070" cy="390683"/>
          </a:xfrm>
          <a:custGeom>
            <a:avLst/>
            <a:gdLst>
              <a:gd name="T0" fmla="*/ 481 w 482"/>
              <a:gd name="T1" fmla="*/ 0 h 576"/>
              <a:gd name="T2" fmla="*/ 0 w 482"/>
              <a:gd name="T3" fmla="*/ 575 h 576"/>
              <a:gd name="T4" fmla="*/ 0 w 482"/>
              <a:gd name="T5" fmla="*/ 0 h 576"/>
              <a:gd name="T6" fmla="*/ 481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481" y="0"/>
                </a:moveTo>
                <a:lnTo>
                  <a:pt x="0" y="575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6" name="Freeform 157">
            <a:extLst>
              <a:ext uri="{FF2B5EF4-FFF2-40B4-BE49-F238E27FC236}">
                <a16:creationId xmlns:a16="http://schemas.microsoft.com/office/drawing/2014/main" id="{4591BFE7-5347-3DFE-88B6-222AE80CD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3671617"/>
            <a:ext cx="1252566" cy="1085557"/>
          </a:xfrm>
          <a:custGeom>
            <a:avLst/>
            <a:gdLst>
              <a:gd name="T0" fmla="*/ 1850 w 1851"/>
              <a:gd name="T1" fmla="*/ 1603 h 1604"/>
              <a:gd name="T2" fmla="*/ 0 w 1851"/>
              <a:gd name="T3" fmla="*/ 1603 h 1604"/>
              <a:gd name="T4" fmla="*/ 0 w 1851"/>
              <a:gd name="T5" fmla="*/ 0 h 1604"/>
              <a:gd name="T6" fmla="*/ 1850 w 1851"/>
              <a:gd name="T7" fmla="*/ 0 h 1604"/>
              <a:gd name="T8" fmla="*/ 1850 w 1851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4">
                <a:moveTo>
                  <a:pt x="1850" y="1603"/>
                </a:moveTo>
                <a:lnTo>
                  <a:pt x="0" y="1603"/>
                </a:lnTo>
                <a:lnTo>
                  <a:pt x="0" y="0"/>
                </a:lnTo>
                <a:lnTo>
                  <a:pt x="1850" y="0"/>
                </a:lnTo>
                <a:lnTo>
                  <a:pt x="1850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7" name="Freeform 158">
            <a:extLst>
              <a:ext uri="{FF2B5EF4-FFF2-40B4-BE49-F238E27FC236}">
                <a16:creationId xmlns:a16="http://schemas.microsoft.com/office/drawing/2014/main" id="{30085A0A-0297-E34B-84C5-FDBB1DD7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3412157"/>
            <a:ext cx="1005034" cy="951354"/>
          </a:xfrm>
          <a:custGeom>
            <a:avLst/>
            <a:gdLst>
              <a:gd name="T0" fmla="*/ 1486 w 1487"/>
              <a:gd name="T1" fmla="*/ 1407 h 1408"/>
              <a:gd name="T2" fmla="*/ 0 w 1487"/>
              <a:gd name="T3" fmla="*/ 1407 h 1408"/>
              <a:gd name="T4" fmla="*/ 0 w 1487"/>
              <a:gd name="T5" fmla="*/ 0 h 1408"/>
              <a:gd name="T6" fmla="*/ 1486 w 1487"/>
              <a:gd name="T7" fmla="*/ 0 h 1408"/>
              <a:gd name="T8" fmla="*/ 1486 w 1487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8">
                <a:moveTo>
                  <a:pt x="1486" y="1407"/>
                </a:moveTo>
                <a:lnTo>
                  <a:pt x="0" y="1407"/>
                </a:lnTo>
                <a:lnTo>
                  <a:pt x="0" y="0"/>
                </a:lnTo>
                <a:lnTo>
                  <a:pt x="1486" y="0"/>
                </a:lnTo>
                <a:lnTo>
                  <a:pt x="1486" y="1407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159">
            <a:extLst>
              <a:ext uri="{FF2B5EF4-FFF2-40B4-BE49-F238E27FC236}">
                <a16:creationId xmlns:a16="http://schemas.microsoft.com/office/drawing/2014/main" id="{86633B23-4115-05AB-00D9-FF2A79A2E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3671617"/>
            <a:ext cx="4048609" cy="1085557"/>
          </a:xfrm>
          <a:custGeom>
            <a:avLst/>
            <a:gdLst>
              <a:gd name="T0" fmla="*/ 5506 w 5507"/>
              <a:gd name="T1" fmla="*/ 1603 h 1604"/>
              <a:gd name="T2" fmla="*/ 0 w 5507"/>
              <a:gd name="T3" fmla="*/ 1603 h 1604"/>
              <a:gd name="T4" fmla="*/ 0 w 5507"/>
              <a:gd name="T5" fmla="*/ 0 h 1604"/>
              <a:gd name="T6" fmla="*/ 5506 w 5507"/>
              <a:gd name="T7" fmla="*/ 0 h 1604"/>
              <a:gd name="T8" fmla="*/ 5506 w 5507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4">
                <a:moveTo>
                  <a:pt x="5506" y="1603"/>
                </a:moveTo>
                <a:lnTo>
                  <a:pt x="0" y="1603"/>
                </a:lnTo>
                <a:lnTo>
                  <a:pt x="0" y="0"/>
                </a:lnTo>
                <a:lnTo>
                  <a:pt x="5506" y="0"/>
                </a:lnTo>
                <a:lnTo>
                  <a:pt x="5506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9" name="Freeform 160">
            <a:extLst>
              <a:ext uri="{FF2B5EF4-FFF2-40B4-BE49-F238E27FC236}">
                <a16:creationId xmlns:a16="http://schemas.microsoft.com/office/drawing/2014/main" id="{6EE8F36D-1D62-72A5-A9E0-040A47283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3412157"/>
            <a:ext cx="217709" cy="259461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162">
            <a:extLst>
              <a:ext uri="{FF2B5EF4-FFF2-40B4-BE49-F238E27FC236}">
                <a16:creationId xmlns:a16="http://schemas.microsoft.com/office/drawing/2014/main" id="{AE0BE616-CBA4-E8FD-79E7-B3BB2B07C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3412157"/>
            <a:ext cx="217709" cy="259461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3" name="Freeform 164">
            <a:extLst>
              <a:ext uri="{FF2B5EF4-FFF2-40B4-BE49-F238E27FC236}">
                <a16:creationId xmlns:a16="http://schemas.microsoft.com/office/drawing/2014/main" id="{4AEA606F-9B34-1035-DEC9-F641DD687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366492"/>
            <a:ext cx="325070" cy="390683"/>
          </a:xfrm>
          <a:custGeom>
            <a:avLst/>
            <a:gdLst>
              <a:gd name="T0" fmla="*/ 0 w 482"/>
              <a:gd name="T1" fmla="*/ 0 h 579"/>
              <a:gd name="T2" fmla="*/ 481 w 482"/>
              <a:gd name="T3" fmla="*/ 578 h 579"/>
              <a:gd name="T4" fmla="*/ 481 w 482"/>
              <a:gd name="T5" fmla="*/ 0 h 579"/>
              <a:gd name="T6" fmla="*/ 0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0" y="0"/>
                </a:moveTo>
                <a:lnTo>
                  <a:pt x="481" y="578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4" name="Freeform 165">
            <a:extLst>
              <a:ext uri="{FF2B5EF4-FFF2-40B4-BE49-F238E27FC236}">
                <a16:creationId xmlns:a16="http://schemas.microsoft.com/office/drawing/2014/main" id="{E949697F-B9BE-9372-E720-131F01973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4366492"/>
            <a:ext cx="325070" cy="390683"/>
          </a:xfrm>
          <a:custGeom>
            <a:avLst/>
            <a:gdLst>
              <a:gd name="T0" fmla="*/ 481 w 482"/>
              <a:gd name="T1" fmla="*/ 0 h 579"/>
              <a:gd name="T2" fmla="*/ 0 w 482"/>
              <a:gd name="T3" fmla="*/ 578 h 579"/>
              <a:gd name="T4" fmla="*/ 0 w 482"/>
              <a:gd name="T5" fmla="*/ 0 h 579"/>
              <a:gd name="T6" fmla="*/ 481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481" y="0"/>
                </a:moveTo>
                <a:lnTo>
                  <a:pt x="0" y="578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5" name="Freeform 166">
            <a:extLst>
              <a:ext uri="{FF2B5EF4-FFF2-40B4-BE49-F238E27FC236}">
                <a16:creationId xmlns:a16="http://schemas.microsoft.com/office/drawing/2014/main" id="{23EA52B3-98D3-CB9C-1CB8-7F254E7B0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3412157"/>
            <a:ext cx="1005034" cy="951354"/>
          </a:xfrm>
          <a:custGeom>
            <a:avLst/>
            <a:gdLst>
              <a:gd name="T0" fmla="*/ 1486 w 1487"/>
              <a:gd name="T1" fmla="*/ 1407 h 1408"/>
              <a:gd name="T2" fmla="*/ 0 w 1487"/>
              <a:gd name="T3" fmla="*/ 1407 h 1408"/>
              <a:gd name="T4" fmla="*/ 0 w 1487"/>
              <a:gd name="T5" fmla="*/ 0 h 1408"/>
              <a:gd name="T6" fmla="*/ 1486 w 1487"/>
              <a:gd name="T7" fmla="*/ 0 h 1408"/>
              <a:gd name="T8" fmla="*/ 1486 w 1487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8">
                <a:moveTo>
                  <a:pt x="1486" y="1407"/>
                </a:moveTo>
                <a:lnTo>
                  <a:pt x="0" y="1407"/>
                </a:lnTo>
                <a:lnTo>
                  <a:pt x="0" y="0"/>
                </a:lnTo>
                <a:lnTo>
                  <a:pt x="1486" y="0"/>
                </a:lnTo>
                <a:lnTo>
                  <a:pt x="1486" y="1407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Freeform 47">
            <a:extLst>
              <a:ext uri="{FF2B5EF4-FFF2-40B4-BE49-F238E27FC236}">
                <a16:creationId xmlns:a16="http://schemas.microsoft.com/office/drawing/2014/main" id="{FCE35CB5-F108-13A6-867A-5089281300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998" y="3570219"/>
            <a:ext cx="673324" cy="637541"/>
          </a:xfrm>
          <a:custGeom>
            <a:avLst/>
            <a:gdLst>
              <a:gd name="connsiteX0" fmla="*/ 790996 w 1240183"/>
              <a:gd name="connsiteY0" fmla="*/ 983255 h 1174275"/>
              <a:gd name="connsiteX1" fmla="*/ 806208 w 1240183"/>
              <a:gd name="connsiteY1" fmla="*/ 998236 h 1174275"/>
              <a:gd name="connsiteX2" fmla="*/ 806208 w 1240183"/>
              <a:gd name="connsiteY2" fmla="*/ 1159283 h 1174275"/>
              <a:gd name="connsiteX3" fmla="*/ 790996 w 1240183"/>
              <a:gd name="connsiteY3" fmla="*/ 1174264 h 1174275"/>
              <a:gd name="connsiteX4" fmla="*/ 774516 w 1240183"/>
              <a:gd name="connsiteY4" fmla="*/ 1159283 h 1174275"/>
              <a:gd name="connsiteX5" fmla="*/ 774516 w 1240183"/>
              <a:gd name="connsiteY5" fmla="*/ 998236 h 1174275"/>
              <a:gd name="connsiteX6" fmla="*/ 790996 w 1240183"/>
              <a:gd name="connsiteY6" fmla="*/ 983255 h 1174275"/>
              <a:gd name="connsiteX7" fmla="*/ 449161 w 1240183"/>
              <a:gd name="connsiteY7" fmla="*/ 983255 h 1174275"/>
              <a:gd name="connsiteX8" fmla="*/ 465640 w 1240183"/>
              <a:gd name="connsiteY8" fmla="*/ 998236 h 1174275"/>
              <a:gd name="connsiteX9" fmla="*/ 465640 w 1240183"/>
              <a:gd name="connsiteY9" fmla="*/ 1159283 h 1174275"/>
              <a:gd name="connsiteX10" fmla="*/ 449161 w 1240183"/>
              <a:gd name="connsiteY10" fmla="*/ 1174264 h 1174275"/>
              <a:gd name="connsiteX11" fmla="*/ 433949 w 1240183"/>
              <a:gd name="connsiteY11" fmla="*/ 1159283 h 1174275"/>
              <a:gd name="connsiteX12" fmla="*/ 433949 w 1240183"/>
              <a:gd name="connsiteY12" fmla="*/ 998236 h 1174275"/>
              <a:gd name="connsiteX13" fmla="*/ 449161 w 1240183"/>
              <a:gd name="connsiteY13" fmla="*/ 983255 h 1174275"/>
              <a:gd name="connsiteX14" fmla="*/ 450041 w 1240183"/>
              <a:gd name="connsiteY14" fmla="*/ 812971 h 1174275"/>
              <a:gd name="connsiteX15" fmla="*/ 783404 w 1240183"/>
              <a:gd name="connsiteY15" fmla="*/ 812971 h 1174275"/>
              <a:gd name="connsiteX16" fmla="*/ 912769 w 1240183"/>
              <a:gd name="connsiteY16" fmla="*/ 950316 h 1174275"/>
              <a:gd name="connsiteX17" fmla="*/ 957550 w 1240183"/>
              <a:gd name="connsiteY17" fmla="*/ 1155715 h 1174275"/>
              <a:gd name="connsiteX18" fmla="*/ 946355 w 1240183"/>
              <a:gd name="connsiteY18" fmla="*/ 1174275 h 1174275"/>
              <a:gd name="connsiteX19" fmla="*/ 942623 w 1240183"/>
              <a:gd name="connsiteY19" fmla="*/ 1174275 h 1174275"/>
              <a:gd name="connsiteX20" fmla="*/ 927696 w 1240183"/>
              <a:gd name="connsiteY20" fmla="*/ 1161901 h 1174275"/>
              <a:gd name="connsiteX21" fmla="*/ 882916 w 1240183"/>
              <a:gd name="connsiteY21" fmla="*/ 957740 h 1174275"/>
              <a:gd name="connsiteX22" fmla="*/ 783404 w 1240183"/>
              <a:gd name="connsiteY22" fmla="*/ 842667 h 1174275"/>
              <a:gd name="connsiteX23" fmla="*/ 450041 w 1240183"/>
              <a:gd name="connsiteY23" fmla="*/ 842667 h 1174275"/>
              <a:gd name="connsiteX24" fmla="*/ 351773 w 1240183"/>
              <a:gd name="connsiteY24" fmla="*/ 958977 h 1174275"/>
              <a:gd name="connsiteX25" fmla="*/ 306993 w 1240183"/>
              <a:gd name="connsiteY25" fmla="*/ 1158189 h 1174275"/>
              <a:gd name="connsiteX26" fmla="*/ 289579 w 1240183"/>
              <a:gd name="connsiteY26" fmla="*/ 1169325 h 1174275"/>
              <a:gd name="connsiteX27" fmla="*/ 277140 w 1240183"/>
              <a:gd name="connsiteY27" fmla="*/ 1150765 h 1174275"/>
              <a:gd name="connsiteX28" fmla="*/ 321920 w 1240183"/>
              <a:gd name="connsiteY28" fmla="*/ 951553 h 1174275"/>
              <a:gd name="connsiteX29" fmla="*/ 450041 w 1240183"/>
              <a:gd name="connsiteY29" fmla="*/ 812971 h 1174275"/>
              <a:gd name="connsiteX30" fmla="*/ 620091 w 1240183"/>
              <a:gd name="connsiteY30" fmla="*/ 474051 h 1174275"/>
              <a:gd name="connsiteX31" fmla="*/ 501801 w 1240183"/>
              <a:gd name="connsiteY31" fmla="*/ 591008 h 1174275"/>
              <a:gd name="connsiteX32" fmla="*/ 620091 w 1240183"/>
              <a:gd name="connsiteY32" fmla="*/ 710454 h 1174275"/>
              <a:gd name="connsiteX33" fmla="*/ 738382 w 1240183"/>
              <a:gd name="connsiteY33" fmla="*/ 591008 h 1174275"/>
              <a:gd name="connsiteX34" fmla="*/ 620091 w 1240183"/>
              <a:gd name="connsiteY34" fmla="*/ 474051 h 1174275"/>
              <a:gd name="connsiteX35" fmla="*/ 818460 w 1240183"/>
              <a:gd name="connsiteY35" fmla="*/ 225212 h 1174275"/>
              <a:gd name="connsiteX36" fmla="*/ 850151 w 1240183"/>
              <a:gd name="connsiteY36" fmla="*/ 256903 h 1174275"/>
              <a:gd name="connsiteX37" fmla="*/ 818460 w 1240183"/>
              <a:gd name="connsiteY37" fmla="*/ 289862 h 1174275"/>
              <a:gd name="connsiteX38" fmla="*/ 785501 w 1240183"/>
              <a:gd name="connsiteY38" fmla="*/ 256903 h 1174275"/>
              <a:gd name="connsiteX39" fmla="*/ 818460 w 1240183"/>
              <a:gd name="connsiteY39" fmla="*/ 225212 h 1174275"/>
              <a:gd name="connsiteX40" fmla="*/ 620709 w 1240183"/>
              <a:gd name="connsiteY40" fmla="*/ 225212 h 1174275"/>
              <a:gd name="connsiteX41" fmla="*/ 652400 w 1240183"/>
              <a:gd name="connsiteY41" fmla="*/ 256903 h 1174275"/>
              <a:gd name="connsiteX42" fmla="*/ 620709 w 1240183"/>
              <a:gd name="connsiteY42" fmla="*/ 289862 h 1174275"/>
              <a:gd name="connsiteX43" fmla="*/ 587751 w 1240183"/>
              <a:gd name="connsiteY43" fmla="*/ 256903 h 1174275"/>
              <a:gd name="connsiteX44" fmla="*/ 620709 w 1240183"/>
              <a:gd name="connsiteY44" fmla="*/ 225212 h 1174275"/>
              <a:gd name="connsiteX45" fmla="*/ 421692 w 1240183"/>
              <a:gd name="connsiteY45" fmla="*/ 225212 h 1174275"/>
              <a:gd name="connsiteX46" fmla="*/ 454650 w 1240183"/>
              <a:gd name="connsiteY46" fmla="*/ 256903 h 1174275"/>
              <a:gd name="connsiteX47" fmla="*/ 421692 w 1240183"/>
              <a:gd name="connsiteY47" fmla="*/ 289862 h 1174275"/>
              <a:gd name="connsiteX48" fmla="*/ 390001 w 1240183"/>
              <a:gd name="connsiteY48" fmla="*/ 256903 h 1174275"/>
              <a:gd name="connsiteX49" fmla="*/ 421692 w 1240183"/>
              <a:gd name="connsiteY49" fmla="*/ 225212 h 1174275"/>
              <a:gd name="connsiteX50" fmla="*/ 141949 w 1240183"/>
              <a:gd name="connsiteY50" fmla="*/ 31105 h 1174275"/>
              <a:gd name="connsiteX51" fmla="*/ 29884 w 1240183"/>
              <a:gd name="connsiteY51" fmla="*/ 143086 h 1174275"/>
              <a:gd name="connsiteX52" fmla="*/ 29884 w 1240183"/>
              <a:gd name="connsiteY52" fmla="*/ 373269 h 1174275"/>
              <a:gd name="connsiteX53" fmla="*/ 141949 w 1240183"/>
              <a:gd name="connsiteY53" fmla="*/ 485249 h 1174275"/>
              <a:gd name="connsiteX54" fmla="*/ 516743 w 1240183"/>
              <a:gd name="connsiteY54" fmla="*/ 485249 h 1174275"/>
              <a:gd name="connsiteX55" fmla="*/ 620091 w 1240183"/>
              <a:gd name="connsiteY55" fmla="*/ 442945 h 1174275"/>
              <a:gd name="connsiteX56" fmla="*/ 724685 w 1240183"/>
              <a:gd name="connsiteY56" fmla="*/ 485249 h 1174275"/>
              <a:gd name="connsiteX57" fmla="*/ 823053 w 1240183"/>
              <a:gd name="connsiteY57" fmla="*/ 485249 h 1174275"/>
              <a:gd name="connsiteX58" fmla="*/ 847957 w 1240183"/>
              <a:gd name="connsiteY58" fmla="*/ 515110 h 1174275"/>
              <a:gd name="connsiteX59" fmla="*/ 847957 w 1240183"/>
              <a:gd name="connsiteY59" fmla="*/ 516355 h 1174275"/>
              <a:gd name="connsiteX60" fmla="*/ 850447 w 1240183"/>
              <a:gd name="connsiteY60" fmla="*/ 582299 h 1174275"/>
              <a:gd name="connsiteX61" fmla="*/ 989905 w 1240183"/>
              <a:gd name="connsiteY61" fmla="*/ 492715 h 1174275"/>
              <a:gd name="connsiteX62" fmla="*/ 1021034 w 1240183"/>
              <a:gd name="connsiteY62" fmla="*/ 485249 h 1174275"/>
              <a:gd name="connsiteX63" fmla="*/ 1096989 w 1240183"/>
              <a:gd name="connsiteY63" fmla="*/ 485249 h 1174275"/>
              <a:gd name="connsiteX64" fmla="*/ 1210299 w 1240183"/>
              <a:gd name="connsiteY64" fmla="*/ 373269 h 1174275"/>
              <a:gd name="connsiteX65" fmla="*/ 1210299 w 1240183"/>
              <a:gd name="connsiteY65" fmla="*/ 143086 h 1174275"/>
              <a:gd name="connsiteX66" fmla="*/ 1096989 w 1240183"/>
              <a:gd name="connsiteY66" fmla="*/ 31105 h 1174275"/>
              <a:gd name="connsiteX67" fmla="*/ 141949 w 1240183"/>
              <a:gd name="connsiteY67" fmla="*/ 0 h 1174275"/>
              <a:gd name="connsiteX68" fmla="*/ 1096989 w 1240183"/>
              <a:gd name="connsiteY68" fmla="*/ 0 h 1174275"/>
              <a:gd name="connsiteX69" fmla="*/ 1240183 w 1240183"/>
              <a:gd name="connsiteY69" fmla="*/ 143086 h 1174275"/>
              <a:gd name="connsiteX70" fmla="*/ 1240183 w 1240183"/>
              <a:gd name="connsiteY70" fmla="*/ 373269 h 1174275"/>
              <a:gd name="connsiteX71" fmla="*/ 1096989 w 1240183"/>
              <a:gd name="connsiteY71" fmla="*/ 516355 h 1174275"/>
              <a:gd name="connsiteX72" fmla="*/ 1021034 w 1240183"/>
              <a:gd name="connsiteY72" fmla="*/ 516355 h 1174275"/>
              <a:gd name="connsiteX73" fmla="*/ 1006092 w 1240183"/>
              <a:gd name="connsiteY73" fmla="*/ 520087 h 1174275"/>
              <a:gd name="connsiteX74" fmla="*/ 851692 w 1240183"/>
              <a:gd name="connsiteY74" fmla="*/ 617137 h 1174275"/>
              <a:gd name="connsiteX75" fmla="*/ 841731 w 1240183"/>
              <a:gd name="connsiteY75" fmla="*/ 619626 h 1174275"/>
              <a:gd name="connsiteX76" fmla="*/ 835505 w 1240183"/>
              <a:gd name="connsiteY76" fmla="*/ 618381 h 1174275"/>
              <a:gd name="connsiteX77" fmla="*/ 820563 w 1240183"/>
              <a:gd name="connsiteY77" fmla="*/ 599718 h 1174275"/>
              <a:gd name="connsiteX78" fmla="*/ 819318 w 1240183"/>
              <a:gd name="connsiteY78" fmla="*/ 597229 h 1174275"/>
              <a:gd name="connsiteX79" fmla="*/ 818073 w 1240183"/>
              <a:gd name="connsiteY79" fmla="*/ 518843 h 1174275"/>
              <a:gd name="connsiteX80" fmla="*/ 816827 w 1240183"/>
              <a:gd name="connsiteY80" fmla="*/ 516355 h 1174275"/>
              <a:gd name="connsiteX81" fmla="*/ 747098 w 1240183"/>
              <a:gd name="connsiteY81" fmla="*/ 516355 h 1174275"/>
              <a:gd name="connsiteX82" fmla="*/ 768266 w 1240183"/>
              <a:gd name="connsiteY82" fmla="*/ 591008 h 1174275"/>
              <a:gd name="connsiteX83" fmla="*/ 620091 w 1240183"/>
              <a:gd name="connsiteY83" fmla="*/ 740316 h 1174275"/>
              <a:gd name="connsiteX84" fmla="*/ 471917 w 1240183"/>
              <a:gd name="connsiteY84" fmla="*/ 591008 h 1174275"/>
              <a:gd name="connsiteX85" fmla="*/ 491839 w 1240183"/>
              <a:gd name="connsiteY85" fmla="*/ 516355 h 1174275"/>
              <a:gd name="connsiteX86" fmla="*/ 141949 w 1240183"/>
              <a:gd name="connsiteY86" fmla="*/ 516355 h 1174275"/>
              <a:gd name="connsiteX87" fmla="*/ 0 w 1240183"/>
              <a:gd name="connsiteY87" fmla="*/ 373269 h 1174275"/>
              <a:gd name="connsiteX88" fmla="*/ 0 w 1240183"/>
              <a:gd name="connsiteY88" fmla="*/ 143086 h 1174275"/>
              <a:gd name="connsiteX89" fmla="*/ 141949 w 1240183"/>
              <a:gd name="connsiteY89" fmla="*/ 0 h 117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240183" h="1174275">
                <a:moveTo>
                  <a:pt x="790996" y="983255"/>
                </a:moveTo>
                <a:cubicBezTo>
                  <a:pt x="798602" y="983255"/>
                  <a:pt x="806208" y="989497"/>
                  <a:pt x="806208" y="998236"/>
                </a:cubicBezTo>
                <a:lnTo>
                  <a:pt x="806208" y="1159283"/>
                </a:lnTo>
                <a:cubicBezTo>
                  <a:pt x="806208" y="1166773"/>
                  <a:pt x="798602" y="1174264"/>
                  <a:pt x="790996" y="1174264"/>
                </a:cubicBezTo>
                <a:cubicBezTo>
                  <a:pt x="782122" y="1174264"/>
                  <a:pt x="774516" y="1166773"/>
                  <a:pt x="774516" y="1159283"/>
                </a:cubicBezTo>
                <a:lnTo>
                  <a:pt x="774516" y="998236"/>
                </a:lnTo>
                <a:cubicBezTo>
                  <a:pt x="774516" y="989497"/>
                  <a:pt x="782122" y="983255"/>
                  <a:pt x="790996" y="983255"/>
                </a:cubicBezTo>
                <a:close/>
                <a:moveTo>
                  <a:pt x="449161" y="983255"/>
                </a:moveTo>
                <a:cubicBezTo>
                  <a:pt x="458034" y="983255"/>
                  <a:pt x="465640" y="989497"/>
                  <a:pt x="465640" y="998236"/>
                </a:cubicBezTo>
                <a:lnTo>
                  <a:pt x="465640" y="1159283"/>
                </a:lnTo>
                <a:cubicBezTo>
                  <a:pt x="465640" y="1166773"/>
                  <a:pt x="458034" y="1174264"/>
                  <a:pt x="449161" y="1174264"/>
                </a:cubicBezTo>
                <a:cubicBezTo>
                  <a:pt x="441555" y="1174264"/>
                  <a:pt x="433949" y="1166773"/>
                  <a:pt x="433949" y="1159283"/>
                </a:cubicBezTo>
                <a:lnTo>
                  <a:pt x="433949" y="998236"/>
                </a:lnTo>
                <a:cubicBezTo>
                  <a:pt x="433949" y="989497"/>
                  <a:pt x="441555" y="983255"/>
                  <a:pt x="449161" y="983255"/>
                </a:cubicBezTo>
                <a:close/>
                <a:moveTo>
                  <a:pt x="450041" y="812971"/>
                </a:moveTo>
                <a:lnTo>
                  <a:pt x="783404" y="812971"/>
                </a:lnTo>
                <a:cubicBezTo>
                  <a:pt x="858038" y="812971"/>
                  <a:pt x="880428" y="836480"/>
                  <a:pt x="912769" y="950316"/>
                </a:cubicBezTo>
                <a:lnTo>
                  <a:pt x="957550" y="1155715"/>
                </a:lnTo>
                <a:cubicBezTo>
                  <a:pt x="960037" y="1164376"/>
                  <a:pt x="955062" y="1171800"/>
                  <a:pt x="946355" y="1174275"/>
                </a:cubicBezTo>
                <a:cubicBezTo>
                  <a:pt x="945111" y="1174275"/>
                  <a:pt x="943867" y="1174275"/>
                  <a:pt x="942623" y="1174275"/>
                </a:cubicBezTo>
                <a:cubicBezTo>
                  <a:pt x="936403" y="1174275"/>
                  <a:pt x="928940" y="1169325"/>
                  <a:pt x="927696" y="1161901"/>
                </a:cubicBezTo>
                <a:lnTo>
                  <a:pt x="882916" y="957740"/>
                </a:lnTo>
                <a:cubicBezTo>
                  <a:pt x="851819" y="847617"/>
                  <a:pt x="836892" y="842667"/>
                  <a:pt x="783404" y="842667"/>
                </a:cubicBezTo>
                <a:lnTo>
                  <a:pt x="450041" y="842667"/>
                </a:lnTo>
                <a:cubicBezTo>
                  <a:pt x="397797" y="842667"/>
                  <a:pt x="382871" y="847617"/>
                  <a:pt x="351773" y="958977"/>
                </a:cubicBezTo>
                <a:lnTo>
                  <a:pt x="306993" y="1158189"/>
                </a:lnTo>
                <a:cubicBezTo>
                  <a:pt x="304505" y="1165613"/>
                  <a:pt x="297042" y="1170563"/>
                  <a:pt x="289579" y="1169325"/>
                </a:cubicBezTo>
                <a:cubicBezTo>
                  <a:pt x="280871" y="1166851"/>
                  <a:pt x="274652" y="1159427"/>
                  <a:pt x="277140" y="1150765"/>
                </a:cubicBezTo>
                <a:lnTo>
                  <a:pt x="321920" y="951553"/>
                </a:lnTo>
                <a:cubicBezTo>
                  <a:pt x="354261" y="836480"/>
                  <a:pt x="376651" y="812971"/>
                  <a:pt x="450041" y="812971"/>
                </a:cubicBezTo>
                <a:close/>
                <a:moveTo>
                  <a:pt x="620091" y="474051"/>
                </a:moveTo>
                <a:cubicBezTo>
                  <a:pt x="555343" y="474051"/>
                  <a:pt x="501801" y="526309"/>
                  <a:pt x="501801" y="591008"/>
                </a:cubicBezTo>
                <a:cubicBezTo>
                  <a:pt x="501801" y="656953"/>
                  <a:pt x="555343" y="710454"/>
                  <a:pt x="620091" y="710454"/>
                </a:cubicBezTo>
                <a:cubicBezTo>
                  <a:pt x="684840" y="710454"/>
                  <a:pt x="738382" y="656953"/>
                  <a:pt x="738382" y="591008"/>
                </a:cubicBezTo>
                <a:cubicBezTo>
                  <a:pt x="738382" y="526309"/>
                  <a:pt x="684840" y="474051"/>
                  <a:pt x="620091" y="474051"/>
                </a:cubicBezTo>
                <a:close/>
                <a:moveTo>
                  <a:pt x="818460" y="225212"/>
                </a:moveTo>
                <a:cubicBezTo>
                  <a:pt x="834939" y="225212"/>
                  <a:pt x="850151" y="240424"/>
                  <a:pt x="850151" y="256903"/>
                </a:cubicBezTo>
                <a:cubicBezTo>
                  <a:pt x="850151" y="274650"/>
                  <a:pt x="834939" y="289862"/>
                  <a:pt x="818460" y="289862"/>
                </a:cubicBezTo>
                <a:cubicBezTo>
                  <a:pt x="800713" y="289862"/>
                  <a:pt x="785501" y="274650"/>
                  <a:pt x="785501" y="256903"/>
                </a:cubicBezTo>
                <a:cubicBezTo>
                  <a:pt x="785501" y="240424"/>
                  <a:pt x="800713" y="225212"/>
                  <a:pt x="818460" y="225212"/>
                </a:cubicBezTo>
                <a:close/>
                <a:moveTo>
                  <a:pt x="620709" y="225212"/>
                </a:moveTo>
                <a:cubicBezTo>
                  <a:pt x="638456" y="225212"/>
                  <a:pt x="652400" y="240424"/>
                  <a:pt x="652400" y="256903"/>
                </a:cubicBezTo>
                <a:cubicBezTo>
                  <a:pt x="652400" y="274650"/>
                  <a:pt x="638456" y="289862"/>
                  <a:pt x="620709" y="289862"/>
                </a:cubicBezTo>
                <a:cubicBezTo>
                  <a:pt x="601695" y="289862"/>
                  <a:pt x="587751" y="274650"/>
                  <a:pt x="587751" y="256903"/>
                </a:cubicBezTo>
                <a:cubicBezTo>
                  <a:pt x="587751" y="240424"/>
                  <a:pt x="601695" y="225212"/>
                  <a:pt x="620709" y="225212"/>
                </a:cubicBezTo>
                <a:close/>
                <a:moveTo>
                  <a:pt x="421692" y="225212"/>
                </a:moveTo>
                <a:cubicBezTo>
                  <a:pt x="440706" y="225212"/>
                  <a:pt x="454650" y="240424"/>
                  <a:pt x="454650" y="256903"/>
                </a:cubicBezTo>
                <a:cubicBezTo>
                  <a:pt x="454650" y="274650"/>
                  <a:pt x="440706" y="289862"/>
                  <a:pt x="421692" y="289862"/>
                </a:cubicBezTo>
                <a:cubicBezTo>
                  <a:pt x="403945" y="289862"/>
                  <a:pt x="390001" y="274650"/>
                  <a:pt x="390001" y="256903"/>
                </a:cubicBezTo>
                <a:cubicBezTo>
                  <a:pt x="390001" y="240424"/>
                  <a:pt x="403945" y="225212"/>
                  <a:pt x="421692" y="225212"/>
                </a:cubicBezTo>
                <a:close/>
                <a:moveTo>
                  <a:pt x="141949" y="31105"/>
                </a:moveTo>
                <a:cubicBezTo>
                  <a:pt x="80935" y="31105"/>
                  <a:pt x="29884" y="80875"/>
                  <a:pt x="29884" y="143086"/>
                </a:cubicBezTo>
                <a:lnTo>
                  <a:pt x="29884" y="373269"/>
                </a:lnTo>
                <a:cubicBezTo>
                  <a:pt x="29884" y="434236"/>
                  <a:pt x="80935" y="485249"/>
                  <a:pt x="141949" y="485249"/>
                </a:cubicBezTo>
                <a:lnTo>
                  <a:pt x="516743" y="485249"/>
                </a:lnTo>
                <a:cubicBezTo>
                  <a:pt x="542891" y="459120"/>
                  <a:pt x="579001" y="442945"/>
                  <a:pt x="620091" y="442945"/>
                </a:cubicBezTo>
                <a:cubicBezTo>
                  <a:pt x="659936" y="442945"/>
                  <a:pt x="697291" y="459120"/>
                  <a:pt x="724685" y="485249"/>
                </a:cubicBezTo>
                <a:lnTo>
                  <a:pt x="823053" y="485249"/>
                </a:lnTo>
                <a:cubicBezTo>
                  <a:pt x="835505" y="485249"/>
                  <a:pt x="845466" y="497692"/>
                  <a:pt x="847957" y="515110"/>
                </a:cubicBezTo>
                <a:lnTo>
                  <a:pt x="847957" y="516355"/>
                </a:lnTo>
                <a:lnTo>
                  <a:pt x="850447" y="582299"/>
                </a:lnTo>
                <a:lnTo>
                  <a:pt x="989905" y="492715"/>
                </a:lnTo>
                <a:cubicBezTo>
                  <a:pt x="1001112" y="487738"/>
                  <a:pt x="1009828" y="485249"/>
                  <a:pt x="1021034" y="485249"/>
                </a:cubicBezTo>
                <a:lnTo>
                  <a:pt x="1096989" y="485249"/>
                </a:lnTo>
                <a:cubicBezTo>
                  <a:pt x="1159247" y="485249"/>
                  <a:pt x="1210299" y="434236"/>
                  <a:pt x="1210299" y="373269"/>
                </a:cubicBezTo>
                <a:lnTo>
                  <a:pt x="1210299" y="143086"/>
                </a:lnTo>
                <a:cubicBezTo>
                  <a:pt x="1210299" y="80875"/>
                  <a:pt x="1159247" y="31105"/>
                  <a:pt x="1096989" y="31105"/>
                </a:cubicBezTo>
                <a:close/>
                <a:moveTo>
                  <a:pt x="141949" y="0"/>
                </a:moveTo>
                <a:lnTo>
                  <a:pt x="1096989" y="0"/>
                </a:lnTo>
                <a:cubicBezTo>
                  <a:pt x="1176680" y="0"/>
                  <a:pt x="1240183" y="63455"/>
                  <a:pt x="1240183" y="143086"/>
                </a:cubicBezTo>
                <a:lnTo>
                  <a:pt x="1240183" y="373269"/>
                </a:lnTo>
                <a:cubicBezTo>
                  <a:pt x="1240183" y="452899"/>
                  <a:pt x="1176680" y="516355"/>
                  <a:pt x="1096989" y="516355"/>
                </a:cubicBezTo>
                <a:lnTo>
                  <a:pt x="1021034" y="516355"/>
                </a:lnTo>
                <a:cubicBezTo>
                  <a:pt x="1016054" y="516355"/>
                  <a:pt x="1011073" y="517599"/>
                  <a:pt x="1006092" y="520087"/>
                </a:cubicBezTo>
                <a:lnTo>
                  <a:pt x="851692" y="617137"/>
                </a:lnTo>
                <a:cubicBezTo>
                  <a:pt x="849202" y="618381"/>
                  <a:pt x="845466" y="619626"/>
                  <a:pt x="841731" y="619626"/>
                </a:cubicBezTo>
                <a:cubicBezTo>
                  <a:pt x="839240" y="619626"/>
                  <a:pt x="837995" y="619626"/>
                  <a:pt x="835505" y="618381"/>
                </a:cubicBezTo>
                <a:cubicBezTo>
                  <a:pt x="825544" y="614649"/>
                  <a:pt x="821808" y="603451"/>
                  <a:pt x="820563" y="599718"/>
                </a:cubicBezTo>
                <a:lnTo>
                  <a:pt x="819318" y="597229"/>
                </a:lnTo>
                <a:lnTo>
                  <a:pt x="818073" y="518843"/>
                </a:lnTo>
                <a:cubicBezTo>
                  <a:pt x="816827" y="517599"/>
                  <a:pt x="816827" y="517599"/>
                  <a:pt x="816827" y="516355"/>
                </a:cubicBezTo>
                <a:lnTo>
                  <a:pt x="747098" y="516355"/>
                </a:lnTo>
                <a:cubicBezTo>
                  <a:pt x="760795" y="538751"/>
                  <a:pt x="768266" y="563635"/>
                  <a:pt x="768266" y="591008"/>
                </a:cubicBezTo>
                <a:cubicBezTo>
                  <a:pt x="768266" y="673127"/>
                  <a:pt x="702272" y="740316"/>
                  <a:pt x="620091" y="740316"/>
                </a:cubicBezTo>
                <a:cubicBezTo>
                  <a:pt x="537910" y="740316"/>
                  <a:pt x="471917" y="673127"/>
                  <a:pt x="471917" y="591008"/>
                </a:cubicBezTo>
                <a:cubicBezTo>
                  <a:pt x="471917" y="563635"/>
                  <a:pt x="479388" y="538751"/>
                  <a:pt x="491839" y="516355"/>
                </a:cubicBezTo>
                <a:lnTo>
                  <a:pt x="141949" y="516355"/>
                </a:lnTo>
                <a:cubicBezTo>
                  <a:pt x="63503" y="516355"/>
                  <a:pt x="0" y="452899"/>
                  <a:pt x="0" y="373269"/>
                </a:cubicBezTo>
                <a:lnTo>
                  <a:pt x="0" y="143086"/>
                </a:lnTo>
                <a:cubicBezTo>
                  <a:pt x="0" y="63455"/>
                  <a:pt x="63503" y="0"/>
                  <a:pt x="14194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27" name="Freeform 251">
            <a:extLst>
              <a:ext uri="{FF2B5EF4-FFF2-40B4-BE49-F238E27FC236}">
                <a16:creationId xmlns:a16="http://schemas.microsoft.com/office/drawing/2014/main" id="{D99A7D56-2697-2A5B-5E3A-83B583C72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5222413"/>
            <a:ext cx="1252566" cy="1082574"/>
          </a:xfrm>
          <a:custGeom>
            <a:avLst/>
            <a:gdLst>
              <a:gd name="T0" fmla="*/ 1850 w 1851"/>
              <a:gd name="T1" fmla="*/ 1601 h 1602"/>
              <a:gd name="T2" fmla="*/ 0 w 1851"/>
              <a:gd name="T3" fmla="*/ 1601 h 1602"/>
              <a:gd name="T4" fmla="*/ 0 w 1851"/>
              <a:gd name="T5" fmla="*/ 0 h 1602"/>
              <a:gd name="T6" fmla="*/ 1850 w 1851"/>
              <a:gd name="T7" fmla="*/ 0 h 1602"/>
              <a:gd name="T8" fmla="*/ 1850 w 1851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2">
                <a:moveTo>
                  <a:pt x="1850" y="1601"/>
                </a:moveTo>
                <a:lnTo>
                  <a:pt x="0" y="1601"/>
                </a:lnTo>
                <a:lnTo>
                  <a:pt x="0" y="0"/>
                </a:lnTo>
                <a:lnTo>
                  <a:pt x="1850" y="0"/>
                </a:lnTo>
                <a:lnTo>
                  <a:pt x="1850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8" name="Freeform 252">
            <a:extLst>
              <a:ext uri="{FF2B5EF4-FFF2-40B4-BE49-F238E27FC236}">
                <a16:creationId xmlns:a16="http://schemas.microsoft.com/office/drawing/2014/main" id="{77FFB5C4-2F10-3511-5B52-2EE5327EE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962952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9" name="Freeform 253">
            <a:extLst>
              <a:ext uri="{FF2B5EF4-FFF2-40B4-BE49-F238E27FC236}">
                <a16:creationId xmlns:a16="http://schemas.microsoft.com/office/drawing/2014/main" id="{95A0259A-DB3D-F79E-BA73-67ABFBD43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5222413"/>
            <a:ext cx="4048609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0" name="Freeform 254">
            <a:extLst>
              <a:ext uri="{FF2B5EF4-FFF2-40B4-BE49-F238E27FC236}">
                <a16:creationId xmlns:a16="http://schemas.microsoft.com/office/drawing/2014/main" id="{674804F4-4678-C30A-D1F4-C82E80279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4962953"/>
            <a:ext cx="217709" cy="259461"/>
          </a:xfrm>
          <a:custGeom>
            <a:avLst/>
            <a:gdLst>
              <a:gd name="T0" fmla="*/ 321 w 322"/>
              <a:gd name="T1" fmla="*/ 0 h 384"/>
              <a:gd name="T2" fmla="*/ 0 w 322"/>
              <a:gd name="T3" fmla="*/ 383 h 384"/>
              <a:gd name="T4" fmla="*/ 321 w 322"/>
              <a:gd name="T5" fmla="*/ 383 h 384"/>
              <a:gd name="T6" fmla="*/ 321 w 322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4">
                <a:moveTo>
                  <a:pt x="321" y="0"/>
                </a:moveTo>
                <a:lnTo>
                  <a:pt x="0" y="383"/>
                </a:lnTo>
                <a:lnTo>
                  <a:pt x="321" y="383"/>
                </a:lnTo>
                <a:lnTo>
                  <a:pt x="321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2" name="Freeform 256">
            <a:extLst>
              <a:ext uri="{FF2B5EF4-FFF2-40B4-BE49-F238E27FC236}">
                <a16:creationId xmlns:a16="http://schemas.microsoft.com/office/drawing/2014/main" id="{BB1EA926-29C5-8D83-B873-85408F07B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4962953"/>
            <a:ext cx="217709" cy="259461"/>
          </a:xfrm>
          <a:custGeom>
            <a:avLst/>
            <a:gdLst>
              <a:gd name="T0" fmla="*/ 0 w 322"/>
              <a:gd name="T1" fmla="*/ 0 h 384"/>
              <a:gd name="T2" fmla="*/ 321 w 322"/>
              <a:gd name="T3" fmla="*/ 383 h 384"/>
              <a:gd name="T4" fmla="*/ 0 w 322"/>
              <a:gd name="T5" fmla="*/ 383 h 384"/>
              <a:gd name="T6" fmla="*/ 0 w 322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4">
                <a:moveTo>
                  <a:pt x="0" y="0"/>
                </a:moveTo>
                <a:lnTo>
                  <a:pt x="321" y="383"/>
                </a:lnTo>
                <a:lnTo>
                  <a:pt x="0" y="383"/>
                </a:lnTo>
                <a:lnTo>
                  <a:pt x="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4" name="Freeform 258">
            <a:extLst>
              <a:ext uri="{FF2B5EF4-FFF2-40B4-BE49-F238E27FC236}">
                <a16:creationId xmlns:a16="http://schemas.microsoft.com/office/drawing/2014/main" id="{7F7EB354-C501-329A-DA97-947946070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5917288"/>
            <a:ext cx="325070" cy="390683"/>
          </a:xfrm>
          <a:custGeom>
            <a:avLst/>
            <a:gdLst>
              <a:gd name="T0" fmla="*/ 0 w 482"/>
              <a:gd name="T1" fmla="*/ 0 h 577"/>
              <a:gd name="T2" fmla="*/ 481 w 482"/>
              <a:gd name="T3" fmla="*/ 576 h 577"/>
              <a:gd name="T4" fmla="*/ 481 w 482"/>
              <a:gd name="T5" fmla="*/ 0 h 577"/>
              <a:gd name="T6" fmla="*/ 0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0" y="0"/>
                </a:moveTo>
                <a:lnTo>
                  <a:pt x="481" y="576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5" name="Freeform 259">
            <a:extLst>
              <a:ext uri="{FF2B5EF4-FFF2-40B4-BE49-F238E27FC236}">
                <a16:creationId xmlns:a16="http://schemas.microsoft.com/office/drawing/2014/main" id="{61ED91A0-461A-4A69-BE3D-90971B3AB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5917288"/>
            <a:ext cx="325070" cy="390683"/>
          </a:xfrm>
          <a:custGeom>
            <a:avLst/>
            <a:gdLst>
              <a:gd name="T0" fmla="*/ 481 w 482"/>
              <a:gd name="T1" fmla="*/ 0 h 577"/>
              <a:gd name="T2" fmla="*/ 0 w 482"/>
              <a:gd name="T3" fmla="*/ 576 h 577"/>
              <a:gd name="T4" fmla="*/ 0 w 482"/>
              <a:gd name="T5" fmla="*/ 0 h 577"/>
              <a:gd name="T6" fmla="*/ 481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481" y="0"/>
                </a:moveTo>
                <a:lnTo>
                  <a:pt x="0" y="576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6" name="Freeform 260">
            <a:extLst>
              <a:ext uri="{FF2B5EF4-FFF2-40B4-BE49-F238E27FC236}">
                <a16:creationId xmlns:a16="http://schemas.microsoft.com/office/drawing/2014/main" id="{DEA6EB82-BA27-69A6-7A79-307C5E7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962952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Freeform 58">
            <a:extLst>
              <a:ext uri="{FF2B5EF4-FFF2-40B4-BE49-F238E27FC236}">
                <a16:creationId xmlns:a16="http://schemas.microsoft.com/office/drawing/2014/main" id="{C7A85037-13C0-46EB-5321-B38BF30FC5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0836" y="5168732"/>
            <a:ext cx="653556" cy="545083"/>
          </a:xfrm>
          <a:custGeom>
            <a:avLst/>
            <a:gdLst>
              <a:gd name="connsiteX0" fmla="*/ 800534 w 1203773"/>
              <a:gd name="connsiteY0" fmla="*/ 714993 h 1003979"/>
              <a:gd name="connsiteX1" fmla="*/ 786844 w 1203773"/>
              <a:gd name="connsiteY1" fmla="*/ 727449 h 1003979"/>
              <a:gd name="connsiteX2" fmla="*/ 800534 w 1203773"/>
              <a:gd name="connsiteY2" fmla="*/ 741151 h 1003979"/>
              <a:gd name="connsiteX3" fmla="*/ 814224 w 1203773"/>
              <a:gd name="connsiteY3" fmla="*/ 727449 h 1003979"/>
              <a:gd name="connsiteX4" fmla="*/ 800534 w 1203773"/>
              <a:gd name="connsiteY4" fmla="*/ 714993 h 1003979"/>
              <a:gd name="connsiteX5" fmla="*/ 248567 w 1203773"/>
              <a:gd name="connsiteY5" fmla="*/ 697616 h 1003979"/>
              <a:gd name="connsiteX6" fmla="*/ 264388 w 1203773"/>
              <a:gd name="connsiteY6" fmla="*/ 712597 h 1003979"/>
              <a:gd name="connsiteX7" fmla="*/ 264388 w 1203773"/>
              <a:gd name="connsiteY7" fmla="*/ 983506 h 1003979"/>
              <a:gd name="connsiteX8" fmla="*/ 248567 w 1203773"/>
              <a:gd name="connsiteY8" fmla="*/ 998488 h 1003979"/>
              <a:gd name="connsiteX9" fmla="*/ 232747 w 1203773"/>
              <a:gd name="connsiteY9" fmla="*/ 983506 h 1003979"/>
              <a:gd name="connsiteX10" fmla="*/ 232747 w 1203773"/>
              <a:gd name="connsiteY10" fmla="*/ 712597 h 1003979"/>
              <a:gd name="connsiteX11" fmla="*/ 248567 w 1203773"/>
              <a:gd name="connsiteY11" fmla="*/ 697616 h 1003979"/>
              <a:gd name="connsiteX12" fmla="*/ 468236 w 1203773"/>
              <a:gd name="connsiteY12" fmla="*/ 118335 h 1003979"/>
              <a:gd name="connsiteX13" fmla="*/ 455790 w 1203773"/>
              <a:gd name="connsiteY13" fmla="*/ 129546 h 1003979"/>
              <a:gd name="connsiteX14" fmla="*/ 455790 w 1203773"/>
              <a:gd name="connsiteY14" fmla="*/ 421024 h 1003979"/>
              <a:gd name="connsiteX15" fmla="*/ 455790 w 1203773"/>
              <a:gd name="connsiteY15" fmla="*/ 424760 h 1003979"/>
              <a:gd name="connsiteX16" fmla="*/ 464502 w 1203773"/>
              <a:gd name="connsiteY16" fmla="*/ 443445 h 1003979"/>
              <a:gd name="connsiteX17" fmla="*/ 499350 w 1203773"/>
              <a:gd name="connsiteY17" fmla="*/ 521920 h 1003979"/>
              <a:gd name="connsiteX18" fmla="*/ 530464 w 1203773"/>
              <a:gd name="connsiteY18" fmla="*/ 500744 h 1003979"/>
              <a:gd name="connsiteX19" fmla="*/ 519263 w 1203773"/>
              <a:gd name="connsiteY19" fmla="*/ 500744 h 1003979"/>
              <a:gd name="connsiteX20" fmla="*/ 504328 w 1203773"/>
              <a:gd name="connsiteY20" fmla="*/ 485796 h 1003979"/>
              <a:gd name="connsiteX21" fmla="*/ 519263 w 1203773"/>
              <a:gd name="connsiteY21" fmla="*/ 470849 h 1003979"/>
              <a:gd name="connsiteX22" fmla="*/ 575268 w 1203773"/>
              <a:gd name="connsiteY22" fmla="*/ 470849 h 1003979"/>
              <a:gd name="connsiteX23" fmla="*/ 577757 w 1203773"/>
              <a:gd name="connsiteY23" fmla="*/ 470849 h 1003979"/>
              <a:gd name="connsiteX24" fmla="*/ 606382 w 1203773"/>
              <a:gd name="connsiteY24" fmla="*/ 452164 h 1003979"/>
              <a:gd name="connsiteX25" fmla="*/ 693502 w 1203773"/>
              <a:gd name="connsiteY25" fmla="*/ 465866 h 1003979"/>
              <a:gd name="connsiteX26" fmla="*/ 695991 w 1203773"/>
              <a:gd name="connsiteY26" fmla="*/ 470849 h 1003979"/>
              <a:gd name="connsiteX27" fmla="*/ 733328 w 1203773"/>
              <a:gd name="connsiteY27" fmla="*/ 470849 h 1003979"/>
              <a:gd name="connsiteX28" fmla="*/ 739551 w 1203773"/>
              <a:gd name="connsiteY28" fmla="*/ 467112 h 1003979"/>
              <a:gd name="connsiteX29" fmla="*/ 776887 w 1203773"/>
              <a:gd name="connsiteY29" fmla="*/ 378672 h 1003979"/>
              <a:gd name="connsiteX30" fmla="*/ 811735 w 1203773"/>
              <a:gd name="connsiteY30" fmla="*/ 356251 h 1003979"/>
              <a:gd name="connsiteX31" fmla="*/ 946148 w 1203773"/>
              <a:gd name="connsiteY31" fmla="*/ 356251 h 1003979"/>
              <a:gd name="connsiteX32" fmla="*/ 952371 w 1203773"/>
              <a:gd name="connsiteY32" fmla="*/ 353759 h 1003979"/>
              <a:gd name="connsiteX33" fmla="*/ 1007132 w 1203773"/>
              <a:gd name="connsiteY33" fmla="*/ 242898 h 1003979"/>
              <a:gd name="connsiteX34" fmla="*/ 992197 w 1203773"/>
              <a:gd name="connsiteY34" fmla="*/ 234179 h 1003979"/>
              <a:gd name="connsiteX35" fmla="*/ 992197 w 1203773"/>
              <a:gd name="connsiteY35" fmla="*/ 216740 h 1003979"/>
              <a:gd name="connsiteX36" fmla="*/ 1046958 w 1203773"/>
              <a:gd name="connsiteY36" fmla="*/ 184354 h 1003979"/>
              <a:gd name="connsiteX37" fmla="*/ 1061892 w 1203773"/>
              <a:gd name="connsiteY37" fmla="*/ 194319 h 1003979"/>
              <a:gd name="connsiteX38" fmla="*/ 1061892 w 1203773"/>
              <a:gd name="connsiteY38" fmla="*/ 255355 h 1003979"/>
              <a:gd name="connsiteX39" fmla="*/ 1046958 w 1203773"/>
              <a:gd name="connsiteY39" fmla="*/ 265320 h 1003979"/>
              <a:gd name="connsiteX40" fmla="*/ 1033267 w 1203773"/>
              <a:gd name="connsiteY40" fmla="*/ 257846 h 1003979"/>
              <a:gd name="connsiteX41" fmla="*/ 979751 w 1203773"/>
              <a:gd name="connsiteY41" fmla="*/ 367461 h 1003979"/>
              <a:gd name="connsiteX42" fmla="*/ 946148 w 1203773"/>
              <a:gd name="connsiteY42" fmla="*/ 386146 h 1003979"/>
              <a:gd name="connsiteX43" fmla="*/ 811735 w 1203773"/>
              <a:gd name="connsiteY43" fmla="*/ 386146 h 1003979"/>
              <a:gd name="connsiteX44" fmla="*/ 805512 w 1203773"/>
              <a:gd name="connsiteY44" fmla="*/ 391128 h 1003979"/>
              <a:gd name="connsiteX45" fmla="*/ 768175 w 1203773"/>
              <a:gd name="connsiteY45" fmla="*/ 478323 h 1003979"/>
              <a:gd name="connsiteX46" fmla="*/ 733328 w 1203773"/>
              <a:gd name="connsiteY46" fmla="*/ 500744 h 1003979"/>
              <a:gd name="connsiteX47" fmla="*/ 705947 w 1203773"/>
              <a:gd name="connsiteY47" fmla="*/ 500744 h 1003979"/>
              <a:gd name="connsiteX48" fmla="*/ 704703 w 1203773"/>
              <a:gd name="connsiteY48" fmla="*/ 513200 h 1003979"/>
              <a:gd name="connsiteX49" fmla="*/ 678567 w 1203773"/>
              <a:gd name="connsiteY49" fmla="*/ 554306 h 1003979"/>
              <a:gd name="connsiteX50" fmla="*/ 615094 w 1203773"/>
              <a:gd name="connsiteY50" fmla="*/ 599149 h 1003979"/>
              <a:gd name="connsiteX51" fmla="*/ 1127854 w 1203773"/>
              <a:gd name="connsiteY51" fmla="*/ 599149 h 1003979"/>
              <a:gd name="connsiteX52" fmla="*/ 1140300 w 1203773"/>
              <a:gd name="connsiteY52" fmla="*/ 587938 h 1003979"/>
              <a:gd name="connsiteX53" fmla="*/ 1140300 w 1203773"/>
              <a:gd name="connsiteY53" fmla="*/ 129546 h 1003979"/>
              <a:gd name="connsiteX54" fmla="*/ 1127854 w 1203773"/>
              <a:gd name="connsiteY54" fmla="*/ 118335 h 1003979"/>
              <a:gd name="connsiteX55" fmla="*/ 247974 w 1203773"/>
              <a:gd name="connsiteY55" fmla="*/ 91769 h 1003979"/>
              <a:gd name="connsiteX56" fmla="*/ 163965 w 1203773"/>
              <a:gd name="connsiteY56" fmla="*/ 175778 h 1003979"/>
              <a:gd name="connsiteX57" fmla="*/ 247974 w 1203773"/>
              <a:gd name="connsiteY57" fmla="*/ 259786 h 1003979"/>
              <a:gd name="connsiteX58" fmla="*/ 331982 w 1203773"/>
              <a:gd name="connsiteY58" fmla="*/ 175778 h 1003979"/>
              <a:gd name="connsiteX59" fmla="*/ 247974 w 1203773"/>
              <a:gd name="connsiteY59" fmla="*/ 91769 h 1003979"/>
              <a:gd name="connsiteX60" fmla="*/ 247974 w 1203773"/>
              <a:gd name="connsiteY60" fmla="*/ 60423 h 1003979"/>
              <a:gd name="connsiteX61" fmla="*/ 363328 w 1203773"/>
              <a:gd name="connsiteY61" fmla="*/ 175778 h 1003979"/>
              <a:gd name="connsiteX62" fmla="*/ 247974 w 1203773"/>
              <a:gd name="connsiteY62" fmla="*/ 289878 h 1003979"/>
              <a:gd name="connsiteX63" fmla="*/ 133873 w 1203773"/>
              <a:gd name="connsiteY63" fmla="*/ 175778 h 1003979"/>
              <a:gd name="connsiteX64" fmla="*/ 247974 w 1203773"/>
              <a:gd name="connsiteY64" fmla="*/ 60423 h 1003979"/>
              <a:gd name="connsiteX65" fmla="*/ 437122 w 1203773"/>
              <a:gd name="connsiteY65" fmla="*/ 31141 h 1003979"/>
              <a:gd name="connsiteX66" fmla="*/ 425920 w 1203773"/>
              <a:gd name="connsiteY66" fmla="*/ 43597 h 1003979"/>
              <a:gd name="connsiteX67" fmla="*/ 425920 w 1203773"/>
              <a:gd name="connsiteY67" fmla="*/ 74738 h 1003979"/>
              <a:gd name="connsiteX68" fmla="*/ 437122 w 1203773"/>
              <a:gd name="connsiteY68" fmla="*/ 88440 h 1003979"/>
              <a:gd name="connsiteX69" fmla="*/ 468236 w 1203773"/>
              <a:gd name="connsiteY69" fmla="*/ 88440 h 1003979"/>
              <a:gd name="connsiteX70" fmla="*/ 1127854 w 1203773"/>
              <a:gd name="connsiteY70" fmla="*/ 88440 h 1003979"/>
              <a:gd name="connsiteX71" fmla="*/ 1160213 w 1203773"/>
              <a:gd name="connsiteY71" fmla="*/ 88440 h 1003979"/>
              <a:gd name="connsiteX72" fmla="*/ 1172659 w 1203773"/>
              <a:gd name="connsiteY72" fmla="*/ 74738 h 1003979"/>
              <a:gd name="connsiteX73" fmla="*/ 1172659 w 1203773"/>
              <a:gd name="connsiteY73" fmla="*/ 43597 h 1003979"/>
              <a:gd name="connsiteX74" fmla="*/ 1160213 w 1203773"/>
              <a:gd name="connsiteY74" fmla="*/ 31141 h 1003979"/>
              <a:gd name="connsiteX75" fmla="*/ 437122 w 1203773"/>
              <a:gd name="connsiteY75" fmla="*/ 0 h 1003979"/>
              <a:gd name="connsiteX76" fmla="*/ 1160213 w 1203773"/>
              <a:gd name="connsiteY76" fmla="*/ 0 h 1003979"/>
              <a:gd name="connsiteX77" fmla="*/ 1203773 w 1203773"/>
              <a:gd name="connsiteY77" fmla="*/ 43597 h 1003979"/>
              <a:gd name="connsiteX78" fmla="*/ 1203773 w 1203773"/>
              <a:gd name="connsiteY78" fmla="*/ 74738 h 1003979"/>
              <a:gd name="connsiteX79" fmla="*/ 1167680 w 1203773"/>
              <a:gd name="connsiteY79" fmla="*/ 118335 h 1003979"/>
              <a:gd name="connsiteX80" fmla="*/ 1170169 w 1203773"/>
              <a:gd name="connsiteY80" fmla="*/ 129546 h 1003979"/>
              <a:gd name="connsiteX81" fmla="*/ 1170169 w 1203773"/>
              <a:gd name="connsiteY81" fmla="*/ 587938 h 1003979"/>
              <a:gd name="connsiteX82" fmla="*/ 1127854 w 1203773"/>
              <a:gd name="connsiteY82" fmla="*/ 629044 h 1003979"/>
              <a:gd name="connsiteX83" fmla="*/ 815469 w 1203773"/>
              <a:gd name="connsiteY83" fmla="*/ 629044 h 1003979"/>
              <a:gd name="connsiteX84" fmla="*/ 815469 w 1203773"/>
              <a:gd name="connsiteY84" fmla="*/ 686343 h 1003979"/>
              <a:gd name="connsiteX85" fmla="*/ 844094 w 1203773"/>
              <a:gd name="connsiteY85" fmla="*/ 727449 h 1003979"/>
              <a:gd name="connsiteX86" fmla="*/ 800534 w 1203773"/>
              <a:gd name="connsiteY86" fmla="*/ 772292 h 1003979"/>
              <a:gd name="connsiteX87" fmla="*/ 755730 w 1203773"/>
              <a:gd name="connsiteY87" fmla="*/ 727449 h 1003979"/>
              <a:gd name="connsiteX88" fmla="*/ 785599 w 1203773"/>
              <a:gd name="connsiteY88" fmla="*/ 686343 h 1003979"/>
              <a:gd name="connsiteX89" fmla="*/ 785599 w 1203773"/>
              <a:gd name="connsiteY89" fmla="*/ 629044 h 1003979"/>
              <a:gd name="connsiteX90" fmla="*/ 577757 w 1203773"/>
              <a:gd name="connsiteY90" fmla="*/ 629044 h 1003979"/>
              <a:gd name="connsiteX91" fmla="*/ 572779 w 1203773"/>
              <a:gd name="connsiteY91" fmla="*/ 627798 h 1003979"/>
              <a:gd name="connsiteX92" fmla="*/ 491882 w 1203773"/>
              <a:gd name="connsiteY92" fmla="*/ 683852 h 1003979"/>
              <a:gd name="connsiteX93" fmla="*/ 462013 w 1203773"/>
              <a:gd name="connsiteY93" fmla="*/ 693817 h 1003979"/>
              <a:gd name="connsiteX94" fmla="*/ 447078 w 1203773"/>
              <a:gd name="connsiteY94" fmla="*/ 691326 h 1003979"/>
              <a:gd name="connsiteX95" fmla="*/ 413475 w 1203773"/>
              <a:gd name="connsiteY95" fmla="*/ 662676 h 1003979"/>
              <a:gd name="connsiteX96" fmla="*/ 379872 w 1203773"/>
              <a:gd name="connsiteY96" fmla="*/ 582956 h 1003979"/>
              <a:gd name="connsiteX97" fmla="*/ 379872 w 1203773"/>
              <a:gd name="connsiteY97" fmla="*/ 989032 h 1003979"/>
              <a:gd name="connsiteX98" fmla="*/ 363692 w 1203773"/>
              <a:gd name="connsiteY98" fmla="*/ 1003979 h 1003979"/>
              <a:gd name="connsiteX99" fmla="*/ 348758 w 1203773"/>
              <a:gd name="connsiteY99" fmla="*/ 989032 h 1003979"/>
              <a:gd name="connsiteX100" fmla="*/ 348758 w 1203773"/>
              <a:gd name="connsiteY100" fmla="*/ 434726 h 1003979"/>
              <a:gd name="connsiteX101" fmla="*/ 363692 w 1203773"/>
              <a:gd name="connsiteY101" fmla="*/ 419778 h 1003979"/>
              <a:gd name="connsiteX102" fmla="*/ 379872 w 1203773"/>
              <a:gd name="connsiteY102" fmla="*/ 434726 h 1003979"/>
              <a:gd name="connsiteX103" fmla="*/ 379872 w 1203773"/>
              <a:gd name="connsiteY103" fmla="*/ 504481 h 1003979"/>
              <a:gd name="connsiteX104" fmla="*/ 442100 w 1203773"/>
              <a:gd name="connsiteY104" fmla="*/ 650220 h 1003979"/>
              <a:gd name="connsiteX105" fmla="*/ 455790 w 1203773"/>
              <a:gd name="connsiteY105" fmla="*/ 662676 h 1003979"/>
              <a:gd name="connsiteX106" fmla="*/ 474458 w 1203773"/>
              <a:gd name="connsiteY106" fmla="*/ 658939 h 1003979"/>
              <a:gd name="connsiteX107" fmla="*/ 661143 w 1203773"/>
              <a:gd name="connsiteY107" fmla="*/ 529394 h 1003979"/>
              <a:gd name="connsiteX108" fmla="*/ 674833 w 1203773"/>
              <a:gd name="connsiteY108" fmla="*/ 508218 h 1003979"/>
              <a:gd name="connsiteX109" fmla="*/ 668610 w 1203773"/>
              <a:gd name="connsiteY109" fmla="*/ 484551 h 1003979"/>
              <a:gd name="connsiteX110" fmla="*/ 623806 w 1203773"/>
              <a:gd name="connsiteY110" fmla="*/ 477077 h 1003979"/>
              <a:gd name="connsiteX111" fmla="*/ 500594 w 1203773"/>
              <a:gd name="connsiteY111" fmla="*/ 556798 h 1003979"/>
              <a:gd name="connsiteX112" fmla="*/ 488149 w 1203773"/>
              <a:gd name="connsiteY112" fmla="*/ 558043 h 1003979"/>
              <a:gd name="connsiteX113" fmla="*/ 478192 w 1203773"/>
              <a:gd name="connsiteY113" fmla="*/ 549324 h 1003979"/>
              <a:gd name="connsiteX114" fmla="*/ 435877 w 1203773"/>
              <a:gd name="connsiteY114" fmla="*/ 455901 h 1003979"/>
              <a:gd name="connsiteX115" fmla="*/ 427165 w 1203773"/>
              <a:gd name="connsiteY115" fmla="*/ 435971 h 1003979"/>
              <a:gd name="connsiteX116" fmla="*/ 368671 w 1203773"/>
              <a:gd name="connsiteY116" fmla="*/ 373690 h 1003979"/>
              <a:gd name="connsiteX117" fmla="*/ 332578 w 1203773"/>
              <a:gd name="connsiteY117" fmla="*/ 373690 h 1003979"/>
              <a:gd name="connsiteX118" fmla="*/ 123491 w 1203773"/>
              <a:gd name="connsiteY118" fmla="*/ 373690 h 1003979"/>
              <a:gd name="connsiteX119" fmla="*/ 53796 w 1203773"/>
              <a:gd name="connsiteY119" fmla="*/ 454656 h 1003979"/>
              <a:gd name="connsiteX120" fmla="*/ 31394 w 1203773"/>
              <a:gd name="connsiteY120" fmla="*/ 556798 h 1003979"/>
              <a:gd name="connsiteX121" fmla="*/ 41350 w 1203773"/>
              <a:gd name="connsiteY121" fmla="*/ 587938 h 1003979"/>
              <a:gd name="connsiteX122" fmla="*/ 107312 w 1203773"/>
              <a:gd name="connsiteY122" fmla="*/ 648974 h 1003979"/>
              <a:gd name="connsiteX123" fmla="*/ 107312 w 1203773"/>
              <a:gd name="connsiteY123" fmla="*/ 556798 h 1003979"/>
              <a:gd name="connsiteX124" fmla="*/ 74953 w 1203773"/>
              <a:gd name="connsiteY124" fmla="*/ 525657 h 1003979"/>
              <a:gd name="connsiteX125" fmla="*/ 74953 w 1203773"/>
              <a:gd name="connsiteY125" fmla="*/ 504481 h 1003979"/>
              <a:gd name="connsiteX126" fmla="*/ 97356 w 1203773"/>
              <a:gd name="connsiteY126" fmla="*/ 504481 h 1003979"/>
              <a:gd name="connsiteX127" fmla="*/ 107312 w 1203773"/>
              <a:gd name="connsiteY127" fmla="*/ 513200 h 1003979"/>
              <a:gd name="connsiteX128" fmla="*/ 107312 w 1203773"/>
              <a:gd name="connsiteY128" fmla="*/ 434726 h 1003979"/>
              <a:gd name="connsiteX129" fmla="*/ 122247 w 1203773"/>
              <a:gd name="connsiteY129" fmla="*/ 419778 h 1003979"/>
              <a:gd name="connsiteX130" fmla="*/ 137182 w 1203773"/>
              <a:gd name="connsiteY130" fmla="*/ 434726 h 1003979"/>
              <a:gd name="connsiteX131" fmla="*/ 137182 w 1203773"/>
              <a:gd name="connsiteY131" fmla="*/ 989032 h 1003979"/>
              <a:gd name="connsiteX132" fmla="*/ 122247 w 1203773"/>
              <a:gd name="connsiteY132" fmla="*/ 1003979 h 1003979"/>
              <a:gd name="connsiteX133" fmla="*/ 107312 w 1203773"/>
              <a:gd name="connsiteY133" fmla="*/ 989032 h 1003979"/>
              <a:gd name="connsiteX134" fmla="*/ 107312 w 1203773"/>
              <a:gd name="connsiteY134" fmla="*/ 691326 h 1003979"/>
              <a:gd name="connsiteX135" fmla="*/ 20193 w 1203773"/>
              <a:gd name="connsiteY135" fmla="*/ 610360 h 1003979"/>
              <a:gd name="connsiteX136" fmla="*/ 1524 w 1203773"/>
              <a:gd name="connsiteY136" fmla="*/ 550569 h 1003979"/>
              <a:gd name="connsiteX137" fmla="*/ 23926 w 1203773"/>
              <a:gd name="connsiteY137" fmla="*/ 447182 h 1003979"/>
              <a:gd name="connsiteX138" fmla="*/ 123491 w 1203773"/>
              <a:gd name="connsiteY138" fmla="*/ 343794 h 1003979"/>
              <a:gd name="connsiteX139" fmla="*/ 332578 w 1203773"/>
              <a:gd name="connsiteY139" fmla="*/ 343794 h 1003979"/>
              <a:gd name="connsiteX140" fmla="*/ 368671 w 1203773"/>
              <a:gd name="connsiteY140" fmla="*/ 343794 h 1003979"/>
              <a:gd name="connsiteX141" fmla="*/ 425920 w 1203773"/>
              <a:gd name="connsiteY141" fmla="*/ 364970 h 1003979"/>
              <a:gd name="connsiteX142" fmla="*/ 425920 w 1203773"/>
              <a:gd name="connsiteY142" fmla="*/ 129546 h 1003979"/>
              <a:gd name="connsiteX143" fmla="*/ 427165 w 1203773"/>
              <a:gd name="connsiteY143" fmla="*/ 117089 h 1003979"/>
              <a:gd name="connsiteX144" fmla="*/ 394806 w 1203773"/>
              <a:gd name="connsiteY144" fmla="*/ 74738 h 1003979"/>
              <a:gd name="connsiteX145" fmla="*/ 394806 w 1203773"/>
              <a:gd name="connsiteY145" fmla="*/ 43597 h 1003979"/>
              <a:gd name="connsiteX146" fmla="*/ 437122 w 1203773"/>
              <a:gd name="connsiteY146" fmla="*/ 0 h 100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1203773" h="1003979">
                <a:moveTo>
                  <a:pt x="800534" y="714993"/>
                </a:moveTo>
                <a:cubicBezTo>
                  <a:pt x="793067" y="714993"/>
                  <a:pt x="786844" y="721221"/>
                  <a:pt x="786844" y="727449"/>
                </a:cubicBezTo>
                <a:cubicBezTo>
                  <a:pt x="786844" y="734923"/>
                  <a:pt x="793067" y="741151"/>
                  <a:pt x="800534" y="741151"/>
                </a:cubicBezTo>
                <a:cubicBezTo>
                  <a:pt x="808002" y="741151"/>
                  <a:pt x="814224" y="734923"/>
                  <a:pt x="814224" y="727449"/>
                </a:cubicBezTo>
                <a:cubicBezTo>
                  <a:pt x="814224" y="721221"/>
                  <a:pt x="808002" y="714993"/>
                  <a:pt x="800534" y="714993"/>
                </a:cubicBezTo>
                <a:close/>
                <a:moveTo>
                  <a:pt x="248567" y="697616"/>
                </a:moveTo>
                <a:cubicBezTo>
                  <a:pt x="257796" y="697616"/>
                  <a:pt x="264388" y="703858"/>
                  <a:pt x="264388" y="712597"/>
                </a:cubicBezTo>
                <a:lnTo>
                  <a:pt x="264388" y="983506"/>
                </a:lnTo>
                <a:cubicBezTo>
                  <a:pt x="264388" y="992245"/>
                  <a:pt x="257796" y="998488"/>
                  <a:pt x="248567" y="998488"/>
                </a:cubicBezTo>
                <a:cubicBezTo>
                  <a:pt x="239339" y="998488"/>
                  <a:pt x="232747" y="992245"/>
                  <a:pt x="232747" y="983506"/>
                </a:cubicBezTo>
                <a:lnTo>
                  <a:pt x="232747" y="712597"/>
                </a:lnTo>
                <a:cubicBezTo>
                  <a:pt x="232747" y="703858"/>
                  <a:pt x="239339" y="697616"/>
                  <a:pt x="248567" y="697616"/>
                </a:cubicBezTo>
                <a:close/>
                <a:moveTo>
                  <a:pt x="468236" y="118335"/>
                </a:moveTo>
                <a:cubicBezTo>
                  <a:pt x="460768" y="118335"/>
                  <a:pt x="455790" y="123318"/>
                  <a:pt x="455790" y="129546"/>
                </a:cubicBezTo>
                <a:lnTo>
                  <a:pt x="455790" y="421024"/>
                </a:lnTo>
                <a:cubicBezTo>
                  <a:pt x="455790" y="422269"/>
                  <a:pt x="455790" y="423515"/>
                  <a:pt x="455790" y="424760"/>
                </a:cubicBezTo>
                <a:cubicBezTo>
                  <a:pt x="458279" y="430989"/>
                  <a:pt x="460768" y="437217"/>
                  <a:pt x="464502" y="443445"/>
                </a:cubicBezTo>
                <a:lnTo>
                  <a:pt x="499350" y="521920"/>
                </a:lnTo>
                <a:lnTo>
                  <a:pt x="530464" y="500744"/>
                </a:lnTo>
                <a:lnTo>
                  <a:pt x="519263" y="500744"/>
                </a:lnTo>
                <a:cubicBezTo>
                  <a:pt x="511795" y="500744"/>
                  <a:pt x="504328" y="494516"/>
                  <a:pt x="504328" y="485796"/>
                </a:cubicBezTo>
                <a:cubicBezTo>
                  <a:pt x="504328" y="477077"/>
                  <a:pt x="511795" y="470849"/>
                  <a:pt x="519263" y="470849"/>
                </a:cubicBezTo>
                <a:lnTo>
                  <a:pt x="575268" y="470849"/>
                </a:lnTo>
                <a:cubicBezTo>
                  <a:pt x="576513" y="470849"/>
                  <a:pt x="576513" y="470849"/>
                  <a:pt x="577757" y="470849"/>
                </a:cubicBezTo>
                <a:lnTo>
                  <a:pt x="606382" y="452164"/>
                </a:lnTo>
                <a:cubicBezTo>
                  <a:pt x="633763" y="432234"/>
                  <a:pt x="672344" y="438462"/>
                  <a:pt x="693502" y="465866"/>
                </a:cubicBezTo>
                <a:cubicBezTo>
                  <a:pt x="694746" y="467112"/>
                  <a:pt x="695991" y="468358"/>
                  <a:pt x="695991" y="470849"/>
                </a:cubicBezTo>
                <a:lnTo>
                  <a:pt x="733328" y="470849"/>
                </a:lnTo>
                <a:cubicBezTo>
                  <a:pt x="735817" y="470849"/>
                  <a:pt x="739551" y="468358"/>
                  <a:pt x="739551" y="467112"/>
                </a:cubicBezTo>
                <a:lnTo>
                  <a:pt x="776887" y="378672"/>
                </a:lnTo>
                <a:cubicBezTo>
                  <a:pt x="783110" y="364970"/>
                  <a:pt x="795556" y="356251"/>
                  <a:pt x="811735" y="356251"/>
                </a:cubicBezTo>
                <a:lnTo>
                  <a:pt x="946148" y="356251"/>
                </a:lnTo>
                <a:cubicBezTo>
                  <a:pt x="948637" y="356251"/>
                  <a:pt x="951126" y="355005"/>
                  <a:pt x="952371" y="353759"/>
                </a:cubicBezTo>
                <a:lnTo>
                  <a:pt x="1007132" y="242898"/>
                </a:lnTo>
                <a:lnTo>
                  <a:pt x="992197" y="234179"/>
                </a:lnTo>
                <a:cubicBezTo>
                  <a:pt x="984730" y="230442"/>
                  <a:pt x="984730" y="219231"/>
                  <a:pt x="992197" y="216740"/>
                </a:cubicBezTo>
                <a:lnTo>
                  <a:pt x="1046958" y="184354"/>
                </a:lnTo>
                <a:cubicBezTo>
                  <a:pt x="1053180" y="180617"/>
                  <a:pt x="1061892" y="185599"/>
                  <a:pt x="1061892" y="194319"/>
                </a:cubicBezTo>
                <a:lnTo>
                  <a:pt x="1061892" y="255355"/>
                </a:lnTo>
                <a:cubicBezTo>
                  <a:pt x="1061892" y="264074"/>
                  <a:pt x="1053180" y="269056"/>
                  <a:pt x="1046958" y="265320"/>
                </a:cubicBezTo>
                <a:lnTo>
                  <a:pt x="1033267" y="257846"/>
                </a:lnTo>
                <a:lnTo>
                  <a:pt x="979751" y="367461"/>
                </a:lnTo>
                <a:cubicBezTo>
                  <a:pt x="973528" y="378672"/>
                  <a:pt x="961083" y="386146"/>
                  <a:pt x="946148" y="386146"/>
                </a:cubicBezTo>
                <a:lnTo>
                  <a:pt x="811735" y="386146"/>
                </a:lnTo>
                <a:cubicBezTo>
                  <a:pt x="809246" y="386146"/>
                  <a:pt x="805512" y="388637"/>
                  <a:pt x="805512" y="391128"/>
                </a:cubicBezTo>
                <a:lnTo>
                  <a:pt x="768175" y="478323"/>
                </a:lnTo>
                <a:cubicBezTo>
                  <a:pt x="761953" y="492025"/>
                  <a:pt x="748262" y="500744"/>
                  <a:pt x="733328" y="500744"/>
                </a:cubicBezTo>
                <a:lnTo>
                  <a:pt x="705947" y="500744"/>
                </a:lnTo>
                <a:cubicBezTo>
                  <a:pt x="705947" y="505727"/>
                  <a:pt x="705947" y="509463"/>
                  <a:pt x="704703" y="513200"/>
                </a:cubicBezTo>
                <a:cubicBezTo>
                  <a:pt x="700969" y="530639"/>
                  <a:pt x="692257" y="545587"/>
                  <a:pt x="678567" y="554306"/>
                </a:cubicBezTo>
                <a:lnTo>
                  <a:pt x="615094" y="599149"/>
                </a:lnTo>
                <a:lnTo>
                  <a:pt x="1127854" y="599149"/>
                </a:lnTo>
                <a:cubicBezTo>
                  <a:pt x="1134077" y="599149"/>
                  <a:pt x="1140300" y="594166"/>
                  <a:pt x="1140300" y="587938"/>
                </a:cubicBezTo>
                <a:lnTo>
                  <a:pt x="1140300" y="129546"/>
                </a:lnTo>
                <a:cubicBezTo>
                  <a:pt x="1140300" y="123318"/>
                  <a:pt x="1134077" y="118335"/>
                  <a:pt x="1127854" y="118335"/>
                </a:cubicBezTo>
                <a:close/>
                <a:moveTo>
                  <a:pt x="247974" y="91769"/>
                </a:moveTo>
                <a:cubicBezTo>
                  <a:pt x="201581" y="91769"/>
                  <a:pt x="163965" y="129385"/>
                  <a:pt x="163965" y="175778"/>
                </a:cubicBezTo>
                <a:cubicBezTo>
                  <a:pt x="163965" y="222170"/>
                  <a:pt x="201581" y="259786"/>
                  <a:pt x="247974" y="259786"/>
                </a:cubicBezTo>
                <a:cubicBezTo>
                  <a:pt x="294366" y="259786"/>
                  <a:pt x="331982" y="222170"/>
                  <a:pt x="331982" y="175778"/>
                </a:cubicBezTo>
                <a:cubicBezTo>
                  <a:pt x="331982" y="129385"/>
                  <a:pt x="294366" y="91769"/>
                  <a:pt x="247974" y="91769"/>
                </a:cubicBezTo>
                <a:close/>
                <a:moveTo>
                  <a:pt x="247974" y="60423"/>
                </a:moveTo>
                <a:cubicBezTo>
                  <a:pt x="311920" y="60423"/>
                  <a:pt x="363328" y="111831"/>
                  <a:pt x="363328" y="175778"/>
                </a:cubicBezTo>
                <a:cubicBezTo>
                  <a:pt x="363328" y="238470"/>
                  <a:pt x="311920" y="289878"/>
                  <a:pt x="247974" y="289878"/>
                </a:cubicBezTo>
                <a:cubicBezTo>
                  <a:pt x="185281" y="289878"/>
                  <a:pt x="133873" y="238470"/>
                  <a:pt x="133873" y="175778"/>
                </a:cubicBezTo>
                <a:cubicBezTo>
                  <a:pt x="133873" y="111831"/>
                  <a:pt x="185281" y="60423"/>
                  <a:pt x="247974" y="60423"/>
                </a:cubicBezTo>
                <a:close/>
                <a:moveTo>
                  <a:pt x="437122" y="31141"/>
                </a:moveTo>
                <a:cubicBezTo>
                  <a:pt x="430899" y="31141"/>
                  <a:pt x="425920" y="36123"/>
                  <a:pt x="425920" y="43597"/>
                </a:cubicBezTo>
                <a:lnTo>
                  <a:pt x="425920" y="74738"/>
                </a:lnTo>
                <a:cubicBezTo>
                  <a:pt x="425920" y="82212"/>
                  <a:pt x="430899" y="88440"/>
                  <a:pt x="437122" y="88440"/>
                </a:cubicBezTo>
                <a:lnTo>
                  <a:pt x="468236" y="88440"/>
                </a:lnTo>
                <a:lnTo>
                  <a:pt x="1127854" y="88440"/>
                </a:lnTo>
                <a:lnTo>
                  <a:pt x="1160213" y="88440"/>
                </a:lnTo>
                <a:cubicBezTo>
                  <a:pt x="1166436" y="88440"/>
                  <a:pt x="1172659" y="82212"/>
                  <a:pt x="1172659" y="74738"/>
                </a:cubicBezTo>
                <a:lnTo>
                  <a:pt x="1172659" y="43597"/>
                </a:lnTo>
                <a:cubicBezTo>
                  <a:pt x="1172659" y="36123"/>
                  <a:pt x="1166436" y="31141"/>
                  <a:pt x="1160213" y="31141"/>
                </a:cubicBezTo>
                <a:close/>
                <a:moveTo>
                  <a:pt x="437122" y="0"/>
                </a:moveTo>
                <a:lnTo>
                  <a:pt x="1160213" y="0"/>
                </a:lnTo>
                <a:cubicBezTo>
                  <a:pt x="1183860" y="0"/>
                  <a:pt x="1203773" y="18684"/>
                  <a:pt x="1203773" y="43597"/>
                </a:cubicBezTo>
                <a:lnTo>
                  <a:pt x="1203773" y="74738"/>
                </a:lnTo>
                <a:cubicBezTo>
                  <a:pt x="1203773" y="95914"/>
                  <a:pt x="1187593" y="113353"/>
                  <a:pt x="1167680" y="118335"/>
                </a:cubicBezTo>
                <a:cubicBezTo>
                  <a:pt x="1170169" y="122072"/>
                  <a:pt x="1170169" y="125809"/>
                  <a:pt x="1170169" y="129546"/>
                </a:cubicBezTo>
                <a:lnTo>
                  <a:pt x="1170169" y="587938"/>
                </a:lnTo>
                <a:cubicBezTo>
                  <a:pt x="1170169" y="610360"/>
                  <a:pt x="1151501" y="629044"/>
                  <a:pt x="1127854" y="629044"/>
                </a:cubicBezTo>
                <a:lnTo>
                  <a:pt x="815469" y="629044"/>
                </a:lnTo>
                <a:lnTo>
                  <a:pt x="815469" y="686343"/>
                </a:lnTo>
                <a:cubicBezTo>
                  <a:pt x="832893" y="692571"/>
                  <a:pt x="844094" y="708765"/>
                  <a:pt x="844094" y="727449"/>
                </a:cubicBezTo>
                <a:cubicBezTo>
                  <a:pt x="844094" y="752362"/>
                  <a:pt x="825425" y="772292"/>
                  <a:pt x="800534" y="772292"/>
                </a:cubicBezTo>
                <a:cubicBezTo>
                  <a:pt x="775643" y="772292"/>
                  <a:pt x="755730" y="752362"/>
                  <a:pt x="755730" y="727449"/>
                </a:cubicBezTo>
                <a:cubicBezTo>
                  <a:pt x="755730" y="708765"/>
                  <a:pt x="768175" y="692571"/>
                  <a:pt x="785599" y="686343"/>
                </a:cubicBezTo>
                <a:lnTo>
                  <a:pt x="785599" y="629044"/>
                </a:lnTo>
                <a:lnTo>
                  <a:pt x="577757" y="629044"/>
                </a:lnTo>
                <a:cubicBezTo>
                  <a:pt x="576513" y="629044"/>
                  <a:pt x="574024" y="629044"/>
                  <a:pt x="572779" y="627798"/>
                </a:cubicBezTo>
                <a:lnTo>
                  <a:pt x="491882" y="683852"/>
                </a:lnTo>
                <a:cubicBezTo>
                  <a:pt x="483170" y="690080"/>
                  <a:pt x="471969" y="693817"/>
                  <a:pt x="462013" y="693817"/>
                </a:cubicBezTo>
                <a:cubicBezTo>
                  <a:pt x="457035" y="693817"/>
                  <a:pt x="453301" y="693817"/>
                  <a:pt x="447078" y="691326"/>
                </a:cubicBezTo>
                <a:cubicBezTo>
                  <a:pt x="432143" y="687589"/>
                  <a:pt x="419698" y="676378"/>
                  <a:pt x="413475" y="662676"/>
                </a:cubicBezTo>
                <a:lnTo>
                  <a:pt x="379872" y="582956"/>
                </a:lnTo>
                <a:lnTo>
                  <a:pt x="379872" y="989032"/>
                </a:lnTo>
                <a:cubicBezTo>
                  <a:pt x="379872" y="996506"/>
                  <a:pt x="372404" y="1003979"/>
                  <a:pt x="363692" y="1003979"/>
                </a:cubicBezTo>
                <a:cubicBezTo>
                  <a:pt x="356225" y="1003979"/>
                  <a:pt x="348758" y="996506"/>
                  <a:pt x="348758" y="989032"/>
                </a:cubicBezTo>
                <a:lnTo>
                  <a:pt x="348758" y="434726"/>
                </a:lnTo>
                <a:cubicBezTo>
                  <a:pt x="348758" y="427252"/>
                  <a:pt x="356225" y="419778"/>
                  <a:pt x="363692" y="419778"/>
                </a:cubicBezTo>
                <a:cubicBezTo>
                  <a:pt x="372404" y="419778"/>
                  <a:pt x="379872" y="427252"/>
                  <a:pt x="379872" y="434726"/>
                </a:cubicBezTo>
                <a:lnTo>
                  <a:pt x="379872" y="504481"/>
                </a:lnTo>
                <a:lnTo>
                  <a:pt x="442100" y="650220"/>
                </a:lnTo>
                <a:cubicBezTo>
                  <a:pt x="444589" y="656448"/>
                  <a:pt x="449567" y="661431"/>
                  <a:pt x="455790" y="662676"/>
                </a:cubicBezTo>
                <a:cubicBezTo>
                  <a:pt x="462013" y="665168"/>
                  <a:pt x="469480" y="662676"/>
                  <a:pt x="474458" y="658939"/>
                </a:cubicBezTo>
                <a:lnTo>
                  <a:pt x="661143" y="529394"/>
                </a:lnTo>
                <a:cubicBezTo>
                  <a:pt x="668610" y="524411"/>
                  <a:pt x="673589" y="518183"/>
                  <a:pt x="674833" y="508218"/>
                </a:cubicBezTo>
                <a:cubicBezTo>
                  <a:pt x="676078" y="499498"/>
                  <a:pt x="674833" y="490779"/>
                  <a:pt x="668610" y="484551"/>
                </a:cubicBezTo>
                <a:cubicBezTo>
                  <a:pt x="658654" y="469603"/>
                  <a:pt x="638741" y="467112"/>
                  <a:pt x="623806" y="477077"/>
                </a:cubicBezTo>
                <a:lnTo>
                  <a:pt x="500594" y="556798"/>
                </a:lnTo>
                <a:cubicBezTo>
                  <a:pt x="496861" y="559289"/>
                  <a:pt x="491882" y="559289"/>
                  <a:pt x="488149" y="558043"/>
                </a:cubicBezTo>
                <a:cubicBezTo>
                  <a:pt x="484415" y="556798"/>
                  <a:pt x="480681" y="554306"/>
                  <a:pt x="478192" y="549324"/>
                </a:cubicBezTo>
                <a:lnTo>
                  <a:pt x="435877" y="455901"/>
                </a:lnTo>
                <a:cubicBezTo>
                  <a:pt x="433388" y="448428"/>
                  <a:pt x="429654" y="442199"/>
                  <a:pt x="427165" y="435971"/>
                </a:cubicBezTo>
                <a:cubicBezTo>
                  <a:pt x="402274" y="374935"/>
                  <a:pt x="401029" y="373690"/>
                  <a:pt x="368671" y="373690"/>
                </a:cubicBezTo>
                <a:lnTo>
                  <a:pt x="332578" y="373690"/>
                </a:lnTo>
                <a:lnTo>
                  <a:pt x="123491" y="373690"/>
                </a:lnTo>
                <a:cubicBezTo>
                  <a:pt x="86154" y="373690"/>
                  <a:pt x="76198" y="373690"/>
                  <a:pt x="53796" y="454656"/>
                </a:cubicBezTo>
                <a:lnTo>
                  <a:pt x="31394" y="556798"/>
                </a:lnTo>
                <a:cubicBezTo>
                  <a:pt x="28905" y="569254"/>
                  <a:pt x="32638" y="580464"/>
                  <a:pt x="41350" y="587938"/>
                </a:cubicBezTo>
                <a:lnTo>
                  <a:pt x="107312" y="648974"/>
                </a:lnTo>
                <a:lnTo>
                  <a:pt x="107312" y="556798"/>
                </a:lnTo>
                <a:lnTo>
                  <a:pt x="74953" y="525657"/>
                </a:lnTo>
                <a:cubicBezTo>
                  <a:pt x="69975" y="519429"/>
                  <a:pt x="69975" y="510709"/>
                  <a:pt x="74953" y="504481"/>
                </a:cubicBezTo>
                <a:cubicBezTo>
                  <a:pt x="81176" y="498253"/>
                  <a:pt x="91133" y="498253"/>
                  <a:pt x="97356" y="504481"/>
                </a:cubicBezTo>
                <a:lnTo>
                  <a:pt x="107312" y="513200"/>
                </a:lnTo>
                <a:lnTo>
                  <a:pt x="107312" y="434726"/>
                </a:lnTo>
                <a:cubicBezTo>
                  <a:pt x="107312" y="427252"/>
                  <a:pt x="113535" y="419778"/>
                  <a:pt x="122247" y="419778"/>
                </a:cubicBezTo>
                <a:cubicBezTo>
                  <a:pt x="130959" y="419778"/>
                  <a:pt x="137182" y="427252"/>
                  <a:pt x="137182" y="434726"/>
                </a:cubicBezTo>
                <a:lnTo>
                  <a:pt x="137182" y="989032"/>
                </a:lnTo>
                <a:cubicBezTo>
                  <a:pt x="137182" y="996506"/>
                  <a:pt x="130959" y="1003979"/>
                  <a:pt x="122247" y="1003979"/>
                </a:cubicBezTo>
                <a:cubicBezTo>
                  <a:pt x="113535" y="1003979"/>
                  <a:pt x="107312" y="996506"/>
                  <a:pt x="107312" y="989032"/>
                </a:cubicBezTo>
                <a:lnTo>
                  <a:pt x="107312" y="691326"/>
                </a:lnTo>
                <a:lnTo>
                  <a:pt x="20193" y="610360"/>
                </a:lnTo>
                <a:cubicBezTo>
                  <a:pt x="4013" y="595412"/>
                  <a:pt x="-3454" y="572991"/>
                  <a:pt x="1524" y="550569"/>
                </a:cubicBezTo>
                <a:lnTo>
                  <a:pt x="23926" y="447182"/>
                </a:lnTo>
                <a:cubicBezTo>
                  <a:pt x="48818" y="361233"/>
                  <a:pt x="64997" y="343794"/>
                  <a:pt x="123491" y="343794"/>
                </a:cubicBezTo>
                <a:lnTo>
                  <a:pt x="332578" y="343794"/>
                </a:lnTo>
                <a:lnTo>
                  <a:pt x="368671" y="343794"/>
                </a:lnTo>
                <a:cubicBezTo>
                  <a:pt x="397296" y="343794"/>
                  <a:pt x="413475" y="348777"/>
                  <a:pt x="425920" y="364970"/>
                </a:cubicBezTo>
                <a:lnTo>
                  <a:pt x="425920" y="129546"/>
                </a:lnTo>
                <a:cubicBezTo>
                  <a:pt x="425920" y="125809"/>
                  <a:pt x="427165" y="122072"/>
                  <a:pt x="427165" y="117089"/>
                </a:cubicBezTo>
                <a:cubicBezTo>
                  <a:pt x="408497" y="113353"/>
                  <a:pt x="394806" y="95914"/>
                  <a:pt x="394806" y="74738"/>
                </a:cubicBezTo>
                <a:lnTo>
                  <a:pt x="394806" y="43597"/>
                </a:lnTo>
                <a:cubicBezTo>
                  <a:pt x="394806" y="18684"/>
                  <a:pt x="413475" y="0"/>
                  <a:pt x="43712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39" name="Freeform 361">
            <a:extLst>
              <a:ext uri="{FF2B5EF4-FFF2-40B4-BE49-F238E27FC236}">
                <a16:creationId xmlns:a16="http://schemas.microsoft.com/office/drawing/2014/main" id="{F6B82E46-FD06-B539-5989-AE7402C09F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5222413"/>
            <a:ext cx="1252566" cy="1082574"/>
          </a:xfrm>
          <a:custGeom>
            <a:avLst/>
            <a:gdLst>
              <a:gd name="T0" fmla="*/ 1849 w 1850"/>
              <a:gd name="T1" fmla="*/ 1601 h 1602"/>
              <a:gd name="T2" fmla="*/ 0 w 1850"/>
              <a:gd name="T3" fmla="*/ 1601 h 1602"/>
              <a:gd name="T4" fmla="*/ 0 w 1850"/>
              <a:gd name="T5" fmla="*/ 0 h 1602"/>
              <a:gd name="T6" fmla="*/ 1849 w 1850"/>
              <a:gd name="T7" fmla="*/ 0 h 1602"/>
              <a:gd name="T8" fmla="*/ 1849 w 1850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2">
                <a:moveTo>
                  <a:pt x="1849" y="1601"/>
                </a:moveTo>
                <a:lnTo>
                  <a:pt x="0" y="1601"/>
                </a:lnTo>
                <a:lnTo>
                  <a:pt x="0" y="0"/>
                </a:lnTo>
                <a:lnTo>
                  <a:pt x="1849" y="0"/>
                </a:lnTo>
                <a:lnTo>
                  <a:pt x="1849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40" name="Freeform 362">
            <a:extLst>
              <a:ext uri="{FF2B5EF4-FFF2-40B4-BE49-F238E27FC236}">
                <a16:creationId xmlns:a16="http://schemas.microsoft.com/office/drawing/2014/main" id="{76EEE248-7521-B492-4BA0-18F485312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962952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1" name="Freeform 363">
            <a:extLst>
              <a:ext uri="{FF2B5EF4-FFF2-40B4-BE49-F238E27FC236}">
                <a16:creationId xmlns:a16="http://schemas.microsoft.com/office/drawing/2014/main" id="{93A499BA-57B3-FBC7-FCDF-896BD8D6B8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475" y="5222413"/>
            <a:ext cx="4051591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2" name="Freeform 364">
            <a:extLst>
              <a:ext uri="{FF2B5EF4-FFF2-40B4-BE49-F238E27FC236}">
                <a16:creationId xmlns:a16="http://schemas.microsoft.com/office/drawing/2014/main" id="{515C72EA-76C0-90A1-54EE-5CDE5EDFED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4962953"/>
            <a:ext cx="217707" cy="259461"/>
          </a:xfrm>
          <a:custGeom>
            <a:avLst/>
            <a:gdLst>
              <a:gd name="T0" fmla="*/ 320 w 321"/>
              <a:gd name="T1" fmla="*/ 0 h 384"/>
              <a:gd name="T2" fmla="*/ 0 w 321"/>
              <a:gd name="T3" fmla="*/ 383 h 384"/>
              <a:gd name="T4" fmla="*/ 320 w 321"/>
              <a:gd name="T5" fmla="*/ 383 h 384"/>
              <a:gd name="T6" fmla="*/ 320 w 321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4">
                <a:moveTo>
                  <a:pt x="320" y="0"/>
                </a:moveTo>
                <a:lnTo>
                  <a:pt x="0" y="383"/>
                </a:lnTo>
                <a:lnTo>
                  <a:pt x="320" y="383"/>
                </a:lnTo>
                <a:lnTo>
                  <a:pt x="32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4" name="Freeform 366">
            <a:extLst>
              <a:ext uri="{FF2B5EF4-FFF2-40B4-BE49-F238E27FC236}">
                <a16:creationId xmlns:a16="http://schemas.microsoft.com/office/drawing/2014/main" id="{E9CB727C-CD4E-7C78-D5E1-A3BA9B1DF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4962953"/>
            <a:ext cx="217707" cy="259461"/>
          </a:xfrm>
          <a:custGeom>
            <a:avLst/>
            <a:gdLst>
              <a:gd name="T0" fmla="*/ 0 w 321"/>
              <a:gd name="T1" fmla="*/ 0 h 384"/>
              <a:gd name="T2" fmla="*/ 320 w 321"/>
              <a:gd name="T3" fmla="*/ 383 h 384"/>
              <a:gd name="T4" fmla="*/ 0 w 321"/>
              <a:gd name="T5" fmla="*/ 383 h 384"/>
              <a:gd name="T6" fmla="*/ 0 w 321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4">
                <a:moveTo>
                  <a:pt x="0" y="0"/>
                </a:moveTo>
                <a:lnTo>
                  <a:pt x="320" y="383"/>
                </a:lnTo>
                <a:lnTo>
                  <a:pt x="0" y="383"/>
                </a:lnTo>
                <a:lnTo>
                  <a:pt x="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6" name="Freeform 368">
            <a:extLst>
              <a:ext uri="{FF2B5EF4-FFF2-40B4-BE49-F238E27FC236}">
                <a16:creationId xmlns:a16="http://schemas.microsoft.com/office/drawing/2014/main" id="{767975E8-2638-5365-68FB-CEDD40275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5917288"/>
            <a:ext cx="325070" cy="390683"/>
          </a:xfrm>
          <a:custGeom>
            <a:avLst/>
            <a:gdLst>
              <a:gd name="T0" fmla="*/ 0 w 482"/>
              <a:gd name="T1" fmla="*/ 0 h 577"/>
              <a:gd name="T2" fmla="*/ 481 w 482"/>
              <a:gd name="T3" fmla="*/ 576 h 577"/>
              <a:gd name="T4" fmla="*/ 481 w 482"/>
              <a:gd name="T5" fmla="*/ 0 h 577"/>
              <a:gd name="T6" fmla="*/ 0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0" y="0"/>
                </a:moveTo>
                <a:lnTo>
                  <a:pt x="481" y="576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7" name="Freeform 369">
            <a:extLst>
              <a:ext uri="{FF2B5EF4-FFF2-40B4-BE49-F238E27FC236}">
                <a16:creationId xmlns:a16="http://schemas.microsoft.com/office/drawing/2014/main" id="{EE84DB29-CA98-F91B-A593-88E060FA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5917288"/>
            <a:ext cx="325072" cy="390683"/>
          </a:xfrm>
          <a:custGeom>
            <a:avLst/>
            <a:gdLst>
              <a:gd name="T0" fmla="*/ 481 w 482"/>
              <a:gd name="T1" fmla="*/ 0 h 577"/>
              <a:gd name="T2" fmla="*/ 0 w 482"/>
              <a:gd name="T3" fmla="*/ 576 h 577"/>
              <a:gd name="T4" fmla="*/ 0 w 482"/>
              <a:gd name="T5" fmla="*/ 0 h 577"/>
              <a:gd name="T6" fmla="*/ 481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481" y="0"/>
                </a:moveTo>
                <a:lnTo>
                  <a:pt x="0" y="576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8" name="Freeform 370">
            <a:extLst>
              <a:ext uri="{FF2B5EF4-FFF2-40B4-BE49-F238E27FC236}">
                <a16:creationId xmlns:a16="http://schemas.microsoft.com/office/drawing/2014/main" id="{A468E1D6-C05E-F47D-C086-6025BB8E30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962952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Freeform 70">
            <a:extLst>
              <a:ext uri="{FF2B5EF4-FFF2-40B4-BE49-F238E27FC236}">
                <a16:creationId xmlns:a16="http://schemas.microsoft.com/office/drawing/2014/main" id="{9DC56A1F-50EA-9363-09C3-836A895DED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9859" y="5159783"/>
            <a:ext cx="618076" cy="562009"/>
          </a:xfrm>
          <a:custGeom>
            <a:avLst/>
            <a:gdLst>
              <a:gd name="connsiteX0" fmla="*/ 770815 w 1138423"/>
              <a:gd name="connsiteY0" fmla="*/ 906355 h 1035154"/>
              <a:gd name="connsiteX1" fmla="*/ 1032725 w 1138423"/>
              <a:gd name="connsiteY1" fmla="*/ 906355 h 1035154"/>
              <a:gd name="connsiteX2" fmla="*/ 1138233 w 1138423"/>
              <a:gd name="connsiteY2" fmla="*/ 1016216 h 1035154"/>
              <a:gd name="connsiteX3" fmla="*/ 1127061 w 1138423"/>
              <a:gd name="connsiteY3" fmla="*/ 1034526 h 1035154"/>
              <a:gd name="connsiteX4" fmla="*/ 1123339 w 1138423"/>
              <a:gd name="connsiteY4" fmla="*/ 1034526 h 1035154"/>
              <a:gd name="connsiteX5" fmla="*/ 1108443 w 1138423"/>
              <a:gd name="connsiteY5" fmla="*/ 1023540 h 1035154"/>
              <a:gd name="connsiteX6" fmla="*/ 1032725 w 1138423"/>
              <a:gd name="connsiteY6" fmla="*/ 936872 h 1035154"/>
              <a:gd name="connsiteX7" fmla="*/ 770815 w 1138423"/>
              <a:gd name="connsiteY7" fmla="*/ 936872 h 1035154"/>
              <a:gd name="connsiteX8" fmla="*/ 695097 w 1138423"/>
              <a:gd name="connsiteY8" fmla="*/ 1023540 h 1035154"/>
              <a:gd name="connsiteX9" fmla="*/ 676477 w 1138423"/>
              <a:gd name="connsiteY9" fmla="*/ 1034526 h 1035154"/>
              <a:gd name="connsiteX10" fmla="*/ 665305 w 1138423"/>
              <a:gd name="connsiteY10" fmla="*/ 1016216 h 1035154"/>
              <a:gd name="connsiteX11" fmla="*/ 770815 w 1138423"/>
              <a:gd name="connsiteY11" fmla="*/ 906355 h 1035154"/>
              <a:gd name="connsiteX12" fmla="*/ 104913 w 1138423"/>
              <a:gd name="connsiteY12" fmla="*/ 906355 h 1035154"/>
              <a:gd name="connsiteX13" fmla="*/ 368067 w 1138423"/>
              <a:gd name="connsiteY13" fmla="*/ 906355 h 1035154"/>
              <a:gd name="connsiteX14" fmla="*/ 472335 w 1138423"/>
              <a:gd name="connsiteY14" fmla="*/ 1016216 h 1035154"/>
              <a:gd name="connsiteX15" fmla="*/ 461163 w 1138423"/>
              <a:gd name="connsiteY15" fmla="*/ 1034526 h 1035154"/>
              <a:gd name="connsiteX16" fmla="*/ 457439 w 1138423"/>
              <a:gd name="connsiteY16" fmla="*/ 1034526 h 1035154"/>
              <a:gd name="connsiteX17" fmla="*/ 443785 w 1138423"/>
              <a:gd name="connsiteY17" fmla="*/ 1023540 h 1035154"/>
              <a:gd name="connsiteX18" fmla="*/ 368067 w 1138423"/>
              <a:gd name="connsiteY18" fmla="*/ 936872 h 1035154"/>
              <a:gd name="connsiteX19" fmla="*/ 104913 w 1138423"/>
              <a:gd name="connsiteY19" fmla="*/ 936872 h 1035154"/>
              <a:gd name="connsiteX20" fmla="*/ 30437 w 1138423"/>
              <a:gd name="connsiteY20" fmla="*/ 1023540 h 1035154"/>
              <a:gd name="connsiteX21" fmla="*/ 10575 w 1138423"/>
              <a:gd name="connsiteY21" fmla="*/ 1034526 h 1035154"/>
              <a:gd name="connsiteX22" fmla="*/ 645 w 1138423"/>
              <a:gd name="connsiteY22" fmla="*/ 1016216 h 1035154"/>
              <a:gd name="connsiteX23" fmla="*/ 104913 w 1138423"/>
              <a:gd name="connsiteY23" fmla="*/ 906355 h 1035154"/>
              <a:gd name="connsiteX24" fmla="*/ 897789 w 1138423"/>
              <a:gd name="connsiteY24" fmla="*/ 677775 h 1035154"/>
              <a:gd name="connsiteX25" fmla="*/ 809005 w 1138423"/>
              <a:gd name="connsiteY25" fmla="*/ 767793 h 1035154"/>
              <a:gd name="connsiteX26" fmla="*/ 897789 w 1138423"/>
              <a:gd name="connsiteY26" fmla="*/ 857812 h 1035154"/>
              <a:gd name="connsiteX27" fmla="*/ 986575 w 1138423"/>
              <a:gd name="connsiteY27" fmla="*/ 767793 h 1035154"/>
              <a:gd name="connsiteX28" fmla="*/ 897789 w 1138423"/>
              <a:gd name="connsiteY28" fmla="*/ 677775 h 1035154"/>
              <a:gd name="connsiteX29" fmla="*/ 233745 w 1138423"/>
              <a:gd name="connsiteY29" fmla="*/ 677775 h 1035154"/>
              <a:gd name="connsiteX30" fmla="*/ 143265 w 1138423"/>
              <a:gd name="connsiteY30" fmla="*/ 767793 h 1035154"/>
              <a:gd name="connsiteX31" fmla="*/ 233745 w 1138423"/>
              <a:gd name="connsiteY31" fmla="*/ 857812 h 1035154"/>
              <a:gd name="connsiteX32" fmla="*/ 322987 w 1138423"/>
              <a:gd name="connsiteY32" fmla="*/ 767793 h 1035154"/>
              <a:gd name="connsiteX33" fmla="*/ 233745 w 1138423"/>
              <a:gd name="connsiteY33" fmla="*/ 677775 h 1035154"/>
              <a:gd name="connsiteX34" fmla="*/ 897789 w 1138423"/>
              <a:gd name="connsiteY34" fmla="*/ 648180 h 1035154"/>
              <a:gd name="connsiteX35" fmla="*/ 1018637 w 1138423"/>
              <a:gd name="connsiteY35" fmla="*/ 767793 h 1035154"/>
              <a:gd name="connsiteX36" fmla="*/ 897789 w 1138423"/>
              <a:gd name="connsiteY36" fmla="*/ 888640 h 1035154"/>
              <a:gd name="connsiteX37" fmla="*/ 778177 w 1138423"/>
              <a:gd name="connsiteY37" fmla="*/ 767793 h 1035154"/>
              <a:gd name="connsiteX38" fmla="*/ 897789 w 1138423"/>
              <a:gd name="connsiteY38" fmla="*/ 648180 h 1035154"/>
              <a:gd name="connsiteX39" fmla="*/ 233745 w 1138423"/>
              <a:gd name="connsiteY39" fmla="*/ 648180 h 1035154"/>
              <a:gd name="connsiteX40" fmla="*/ 353973 w 1138423"/>
              <a:gd name="connsiteY40" fmla="*/ 767793 h 1035154"/>
              <a:gd name="connsiteX41" fmla="*/ 233745 w 1138423"/>
              <a:gd name="connsiteY41" fmla="*/ 888640 h 1035154"/>
              <a:gd name="connsiteX42" fmla="*/ 113517 w 1138423"/>
              <a:gd name="connsiteY42" fmla="*/ 767793 h 1035154"/>
              <a:gd name="connsiteX43" fmla="*/ 233745 w 1138423"/>
              <a:gd name="connsiteY43" fmla="*/ 648180 h 1035154"/>
              <a:gd name="connsiteX44" fmla="*/ 536121 w 1138423"/>
              <a:gd name="connsiteY44" fmla="*/ 291135 h 1035154"/>
              <a:gd name="connsiteX45" fmla="*/ 859695 w 1138423"/>
              <a:gd name="connsiteY45" fmla="*/ 291135 h 1035154"/>
              <a:gd name="connsiteX46" fmla="*/ 875813 w 1138423"/>
              <a:gd name="connsiteY46" fmla="*/ 306955 h 1035154"/>
              <a:gd name="connsiteX47" fmla="*/ 859695 w 1138423"/>
              <a:gd name="connsiteY47" fmla="*/ 322776 h 1035154"/>
              <a:gd name="connsiteX48" fmla="*/ 536121 w 1138423"/>
              <a:gd name="connsiteY48" fmla="*/ 322776 h 1035154"/>
              <a:gd name="connsiteX49" fmla="*/ 520005 w 1138423"/>
              <a:gd name="connsiteY49" fmla="*/ 306955 h 1035154"/>
              <a:gd name="connsiteX50" fmla="*/ 536121 w 1138423"/>
              <a:gd name="connsiteY50" fmla="*/ 291135 h 1035154"/>
              <a:gd name="connsiteX51" fmla="*/ 536483 w 1138423"/>
              <a:gd name="connsiteY51" fmla="*/ 225218 h 1035154"/>
              <a:gd name="connsiteX52" fmla="*/ 635357 w 1138423"/>
              <a:gd name="connsiteY52" fmla="*/ 225218 h 1035154"/>
              <a:gd name="connsiteX53" fmla="*/ 650569 w 1138423"/>
              <a:gd name="connsiteY53" fmla="*/ 241697 h 1035154"/>
              <a:gd name="connsiteX54" fmla="*/ 635357 w 1138423"/>
              <a:gd name="connsiteY54" fmla="*/ 256909 h 1035154"/>
              <a:gd name="connsiteX55" fmla="*/ 536483 w 1138423"/>
              <a:gd name="connsiteY55" fmla="*/ 256909 h 1035154"/>
              <a:gd name="connsiteX56" fmla="*/ 520003 w 1138423"/>
              <a:gd name="connsiteY56" fmla="*/ 241697 h 1035154"/>
              <a:gd name="connsiteX57" fmla="*/ 536483 w 1138423"/>
              <a:gd name="connsiteY57" fmla="*/ 225218 h 1035154"/>
              <a:gd name="connsiteX58" fmla="*/ 445131 w 1138423"/>
              <a:gd name="connsiteY58" fmla="*/ 139202 h 1035154"/>
              <a:gd name="connsiteX59" fmla="*/ 405353 w 1138423"/>
              <a:gd name="connsiteY59" fmla="*/ 177731 h 1035154"/>
              <a:gd name="connsiteX60" fmla="*/ 405353 w 1138423"/>
              <a:gd name="connsiteY60" fmla="*/ 393990 h 1035154"/>
              <a:gd name="connsiteX61" fmla="*/ 445131 w 1138423"/>
              <a:gd name="connsiteY61" fmla="*/ 433762 h 1035154"/>
              <a:gd name="connsiteX62" fmla="*/ 688775 w 1138423"/>
              <a:gd name="connsiteY62" fmla="*/ 433762 h 1035154"/>
              <a:gd name="connsiteX63" fmla="*/ 711149 w 1138423"/>
              <a:gd name="connsiteY63" fmla="*/ 442462 h 1035154"/>
              <a:gd name="connsiteX64" fmla="*/ 847889 w 1138423"/>
              <a:gd name="connsiteY64" fmla="*/ 579178 h 1035154"/>
              <a:gd name="connsiteX65" fmla="*/ 847889 w 1138423"/>
              <a:gd name="connsiteY65" fmla="*/ 464834 h 1035154"/>
              <a:gd name="connsiteX66" fmla="*/ 877721 w 1138423"/>
              <a:gd name="connsiteY66" fmla="*/ 433762 h 1035154"/>
              <a:gd name="connsiteX67" fmla="*/ 905069 w 1138423"/>
              <a:gd name="connsiteY67" fmla="*/ 433762 h 1035154"/>
              <a:gd name="connsiteX68" fmla="*/ 944849 w 1138423"/>
              <a:gd name="connsiteY68" fmla="*/ 393990 h 1035154"/>
              <a:gd name="connsiteX69" fmla="*/ 944849 w 1138423"/>
              <a:gd name="connsiteY69" fmla="*/ 177731 h 1035154"/>
              <a:gd name="connsiteX70" fmla="*/ 905069 w 1138423"/>
              <a:gd name="connsiteY70" fmla="*/ 139202 h 1035154"/>
              <a:gd name="connsiteX71" fmla="*/ 236295 w 1138423"/>
              <a:gd name="connsiteY71" fmla="*/ 29829 h 1035154"/>
              <a:gd name="connsiteX72" fmla="*/ 194029 w 1138423"/>
              <a:gd name="connsiteY72" fmla="*/ 72087 h 1035154"/>
              <a:gd name="connsiteX73" fmla="*/ 194029 w 1138423"/>
              <a:gd name="connsiteY73" fmla="*/ 300775 h 1035154"/>
              <a:gd name="connsiteX74" fmla="*/ 236295 w 1138423"/>
              <a:gd name="connsiteY74" fmla="*/ 343032 h 1035154"/>
              <a:gd name="connsiteX75" fmla="*/ 266129 w 1138423"/>
              <a:gd name="connsiteY75" fmla="*/ 343032 h 1035154"/>
              <a:gd name="connsiteX76" fmla="*/ 297205 w 1138423"/>
              <a:gd name="connsiteY76" fmla="*/ 375347 h 1035154"/>
              <a:gd name="connsiteX77" fmla="*/ 297205 w 1138423"/>
              <a:gd name="connsiteY77" fmla="*/ 514548 h 1035154"/>
              <a:gd name="connsiteX78" fmla="*/ 379249 w 1138423"/>
              <a:gd name="connsiteY78" fmla="*/ 417605 h 1035154"/>
              <a:gd name="connsiteX79" fmla="*/ 375519 w 1138423"/>
              <a:gd name="connsiteY79" fmla="*/ 393990 h 1035154"/>
              <a:gd name="connsiteX80" fmla="*/ 375519 w 1138423"/>
              <a:gd name="connsiteY80" fmla="*/ 177731 h 1035154"/>
              <a:gd name="connsiteX81" fmla="*/ 445131 w 1138423"/>
              <a:gd name="connsiteY81" fmla="*/ 108130 h 1035154"/>
              <a:gd name="connsiteX82" fmla="*/ 765845 w 1138423"/>
              <a:gd name="connsiteY82" fmla="*/ 108130 h 1035154"/>
              <a:gd name="connsiteX83" fmla="*/ 765845 w 1138423"/>
              <a:gd name="connsiteY83" fmla="*/ 72087 h 1035154"/>
              <a:gd name="connsiteX84" fmla="*/ 722337 w 1138423"/>
              <a:gd name="connsiteY84" fmla="*/ 29829 h 1035154"/>
              <a:gd name="connsiteX85" fmla="*/ 236295 w 1138423"/>
              <a:gd name="connsiteY85" fmla="*/ 0 h 1035154"/>
              <a:gd name="connsiteX86" fmla="*/ 722337 w 1138423"/>
              <a:gd name="connsiteY86" fmla="*/ 0 h 1035154"/>
              <a:gd name="connsiteX87" fmla="*/ 795679 w 1138423"/>
              <a:gd name="connsiteY87" fmla="*/ 72087 h 1035154"/>
              <a:gd name="connsiteX88" fmla="*/ 795679 w 1138423"/>
              <a:gd name="connsiteY88" fmla="*/ 108130 h 1035154"/>
              <a:gd name="connsiteX89" fmla="*/ 905069 w 1138423"/>
              <a:gd name="connsiteY89" fmla="*/ 108130 h 1035154"/>
              <a:gd name="connsiteX90" fmla="*/ 974681 w 1138423"/>
              <a:gd name="connsiteY90" fmla="*/ 177731 h 1035154"/>
              <a:gd name="connsiteX91" fmla="*/ 974681 w 1138423"/>
              <a:gd name="connsiteY91" fmla="*/ 393990 h 1035154"/>
              <a:gd name="connsiteX92" fmla="*/ 905069 w 1138423"/>
              <a:gd name="connsiteY92" fmla="*/ 464834 h 1035154"/>
              <a:gd name="connsiteX93" fmla="*/ 877721 w 1138423"/>
              <a:gd name="connsiteY93" fmla="*/ 464834 h 1035154"/>
              <a:gd name="connsiteX94" fmla="*/ 877721 w 1138423"/>
              <a:gd name="connsiteY94" fmla="*/ 586635 h 1035154"/>
              <a:gd name="connsiteX95" fmla="*/ 860319 w 1138423"/>
              <a:gd name="connsiteY95" fmla="*/ 611492 h 1035154"/>
              <a:gd name="connsiteX96" fmla="*/ 850375 w 1138423"/>
              <a:gd name="connsiteY96" fmla="*/ 613978 h 1035154"/>
              <a:gd name="connsiteX97" fmla="*/ 830485 w 1138423"/>
              <a:gd name="connsiteY97" fmla="*/ 606521 h 1035154"/>
              <a:gd name="connsiteX98" fmla="*/ 688775 w 1138423"/>
              <a:gd name="connsiteY98" fmla="*/ 464834 h 1035154"/>
              <a:gd name="connsiteX99" fmla="*/ 445131 w 1138423"/>
              <a:gd name="connsiteY99" fmla="*/ 464834 h 1035154"/>
              <a:gd name="connsiteX100" fmla="*/ 396651 w 1138423"/>
              <a:gd name="connsiteY100" fmla="*/ 443705 h 1035154"/>
              <a:gd name="connsiteX101" fmla="*/ 315851 w 1138423"/>
              <a:gd name="connsiteY101" fmla="*/ 540649 h 1035154"/>
              <a:gd name="connsiteX102" fmla="*/ 294719 w 1138423"/>
              <a:gd name="connsiteY102" fmla="*/ 549349 h 1035154"/>
              <a:gd name="connsiteX103" fmla="*/ 283531 w 1138423"/>
              <a:gd name="connsiteY103" fmla="*/ 546863 h 1035154"/>
              <a:gd name="connsiteX104" fmla="*/ 266129 w 1138423"/>
              <a:gd name="connsiteY104" fmla="*/ 520763 h 1035154"/>
              <a:gd name="connsiteX105" fmla="*/ 266129 w 1138423"/>
              <a:gd name="connsiteY105" fmla="*/ 375347 h 1035154"/>
              <a:gd name="connsiteX106" fmla="*/ 266129 w 1138423"/>
              <a:gd name="connsiteY106" fmla="*/ 374104 h 1035154"/>
              <a:gd name="connsiteX107" fmla="*/ 236295 w 1138423"/>
              <a:gd name="connsiteY107" fmla="*/ 374104 h 1035154"/>
              <a:gd name="connsiteX108" fmla="*/ 162953 w 1138423"/>
              <a:gd name="connsiteY108" fmla="*/ 300775 h 1035154"/>
              <a:gd name="connsiteX109" fmla="*/ 162953 w 1138423"/>
              <a:gd name="connsiteY109" fmla="*/ 72087 h 1035154"/>
              <a:gd name="connsiteX110" fmla="*/ 236295 w 1138423"/>
              <a:gd name="connsiteY110" fmla="*/ 0 h 1035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138423" h="1035154">
                <a:moveTo>
                  <a:pt x="770815" y="906355"/>
                </a:moveTo>
                <a:lnTo>
                  <a:pt x="1032725" y="906355"/>
                </a:lnTo>
                <a:cubicBezTo>
                  <a:pt x="1097271" y="906355"/>
                  <a:pt x="1113407" y="930769"/>
                  <a:pt x="1138233" y="1016216"/>
                </a:cubicBezTo>
                <a:cubicBezTo>
                  <a:pt x="1139475" y="1023540"/>
                  <a:pt x="1134509" y="1032085"/>
                  <a:pt x="1127061" y="1034526"/>
                </a:cubicBezTo>
                <a:cubicBezTo>
                  <a:pt x="1125821" y="1034526"/>
                  <a:pt x="1124579" y="1034526"/>
                  <a:pt x="1123339" y="1034526"/>
                </a:cubicBezTo>
                <a:cubicBezTo>
                  <a:pt x="1115891" y="1034526"/>
                  <a:pt x="1109685" y="1030864"/>
                  <a:pt x="1108443" y="1023540"/>
                </a:cubicBezTo>
                <a:cubicBezTo>
                  <a:pt x="1083617" y="936872"/>
                  <a:pt x="1072445" y="936872"/>
                  <a:pt x="1032725" y="936872"/>
                </a:cubicBezTo>
                <a:lnTo>
                  <a:pt x="770815" y="936872"/>
                </a:lnTo>
                <a:cubicBezTo>
                  <a:pt x="732335" y="936872"/>
                  <a:pt x="719921" y="936872"/>
                  <a:pt x="695097" y="1023540"/>
                </a:cubicBezTo>
                <a:cubicBezTo>
                  <a:pt x="692613" y="1032085"/>
                  <a:pt x="683925" y="1036967"/>
                  <a:pt x="676477" y="1034526"/>
                </a:cubicBezTo>
                <a:cubicBezTo>
                  <a:pt x="667789" y="1032085"/>
                  <a:pt x="662823" y="1023540"/>
                  <a:pt x="665305" y="1016216"/>
                </a:cubicBezTo>
                <a:cubicBezTo>
                  <a:pt x="690131" y="930769"/>
                  <a:pt x="706267" y="906355"/>
                  <a:pt x="770815" y="906355"/>
                </a:cubicBezTo>
                <a:close/>
                <a:moveTo>
                  <a:pt x="104913" y="906355"/>
                </a:moveTo>
                <a:lnTo>
                  <a:pt x="368067" y="906355"/>
                </a:lnTo>
                <a:cubicBezTo>
                  <a:pt x="431373" y="906355"/>
                  <a:pt x="447509" y="930769"/>
                  <a:pt x="472335" y="1016216"/>
                </a:cubicBezTo>
                <a:cubicBezTo>
                  <a:pt x="474817" y="1023540"/>
                  <a:pt x="469853" y="1032085"/>
                  <a:pt x="461163" y="1034526"/>
                </a:cubicBezTo>
                <a:cubicBezTo>
                  <a:pt x="461163" y="1034526"/>
                  <a:pt x="458681" y="1034526"/>
                  <a:pt x="457439" y="1034526"/>
                </a:cubicBezTo>
                <a:cubicBezTo>
                  <a:pt x="451233" y="1034526"/>
                  <a:pt x="445027" y="1030864"/>
                  <a:pt x="443785" y="1023540"/>
                </a:cubicBezTo>
                <a:cubicBezTo>
                  <a:pt x="417719" y="936872"/>
                  <a:pt x="406547" y="936872"/>
                  <a:pt x="368067" y="936872"/>
                </a:cubicBezTo>
                <a:lnTo>
                  <a:pt x="104913" y="936872"/>
                </a:lnTo>
                <a:cubicBezTo>
                  <a:pt x="66433" y="936872"/>
                  <a:pt x="55263" y="936872"/>
                  <a:pt x="30437" y="1023540"/>
                </a:cubicBezTo>
                <a:cubicBezTo>
                  <a:pt x="27953" y="1032085"/>
                  <a:pt x="19265" y="1036967"/>
                  <a:pt x="10575" y="1034526"/>
                </a:cubicBezTo>
                <a:cubicBezTo>
                  <a:pt x="3129" y="1032085"/>
                  <a:pt x="-1837" y="1023540"/>
                  <a:pt x="645" y="1016216"/>
                </a:cubicBezTo>
                <a:cubicBezTo>
                  <a:pt x="24231" y="930769"/>
                  <a:pt x="41609" y="906355"/>
                  <a:pt x="104913" y="906355"/>
                </a:cubicBezTo>
                <a:close/>
                <a:moveTo>
                  <a:pt x="897789" y="677775"/>
                </a:moveTo>
                <a:cubicBezTo>
                  <a:pt x="848465" y="677775"/>
                  <a:pt x="809005" y="718468"/>
                  <a:pt x="809005" y="767793"/>
                </a:cubicBezTo>
                <a:cubicBezTo>
                  <a:pt x="809005" y="817118"/>
                  <a:pt x="848465" y="857812"/>
                  <a:pt x="897789" y="857812"/>
                </a:cubicBezTo>
                <a:cubicBezTo>
                  <a:pt x="947115" y="857812"/>
                  <a:pt x="986575" y="817118"/>
                  <a:pt x="986575" y="767793"/>
                </a:cubicBezTo>
                <a:cubicBezTo>
                  <a:pt x="986575" y="718468"/>
                  <a:pt x="947115" y="677775"/>
                  <a:pt x="897789" y="677775"/>
                </a:cubicBezTo>
                <a:close/>
                <a:moveTo>
                  <a:pt x="233745" y="677775"/>
                </a:moveTo>
                <a:cubicBezTo>
                  <a:pt x="184167" y="677775"/>
                  <a:pt x="143265" y="718468"/>
                  <a:pt x="143265" y="767793"/>
                </a:cubicBezTo>
                <a:cubicBezTo>
                  <a:pt x="143265" y="817118"/>
                  <a:pt x="184167" y="857812"/>
                  <a:pt x="233745" y="857812"/>
                </a:cubicBezTo>
                <a:cubicBezTo>
                  <a:pt x="283323" y="857812"/>
                  <a:pt x="322987" y="817118"/>
                  <a:pt x="322987" y="767793"/>
                </a:cubicBezTo>
                <a:cubicBezTo>
                  <a:pt x="322987" y="718468"/>
                  <a:pt x="283323" y="677775"/>
                  <a:pt x="233745" y="677775"/>
                </a:cubicBezTo>
                <a:close/>
                <a:moveTo>
                  <a:pt x="897789" y="648180"/>
                </a:moveTo>
                <a:cubicBezTo>
                  <a:pt x="964379" y="648180"/>
                  <a:pt x="1018637" y="701204"/>
                  <a:pt x="1018637" y="767793"/>
                </a:cubicBezTo>
                <a:cubicBezTo>
                  <a:pt x="1018637" y="833149"/>
                  <a:pt x="964379" y="888640"/>
                  <a:pt x="897789" y="888640"/>
                </a:cubicBezTo>
                <a:cubicBezTo>
                  <a:pt x="831201" y="888640"/>
                  <a:pt x="778177" y="833149"/>
                  <a:pt x="778177" y="767793"/>
                </a:cubicBezTo>
                <a:cubicBezTo>
                  <a:pt x="778177" y="701204"/>
                  <a:pt x="831201" y="648180"/>
                  <a:pt x="897789" y="648180"/>
                </a:cubicBezTo>
                <a:close/>
                <a:moveTo>
                  <a:pt x="233745" y="648180"/>
                </a:moveTo>
                <a:cubicBezTo>
                  <a:pt x="299437" y="648180"/>
                  <a:pt x="353973" y="701204"/>
                  <a:pt x="353973" y="767793"/>
                </a:cubicBezTo>
                <a:cubicBezTo>
                  <a:pt x="353973" y="833149"/>
                  <a:pt x="299437" y="888640"/>
                  <a:pt x="233745" y="888640"/>
                </a:cubicBezTo>
                <a:cubicBezTo>
                  <a:pt x="166815" y="888640"/>
                  <a:pt x="113517" y="833149"/>
                  <a:pt x="113517" y="767793"/>
                </a:cubicBezTo>
                <a:cubicBezTo>
                  <a:pt x="113517" y="701204"/>
                  <a:pt x="166815" y="648180"/>
                  <a:pt x="233745" y="648180"/>
                </a:cubicBezTo>
                <a:close/>
                <a:moveTo>
                  <a:pt x="536121" y="291135"/>
                </a:moveTo>
                <a:lnTo>
                  <a:pt x="859695" y="291135"/>
                </a:lnTo>
                <a:cubicBezTo>
                  <a:pt x="868373" y="291135"/>
                  <a:pt x="875813" y="297727"/>
                  <a:pt x="875813" y="306955"/>
                </a:cubicBezTo>
                <a:cubicBezTo>
                  <a:pt x="875813" y="316184"/>
                  <a:pt x="868373" y="322776"/>
                  <a:pt x="859695" y="322776"/>
                </a:cubicBezTo>
                <a:lnTo>
                  <a:pt x="536121" y="322776"/>
                </a:lnTo>
                <a:cubicBezTo>
                  <a:pt x="527443" y="322776"/>
                  <a:pt x="520005" y="316184"/>
                  <a:pt x="520005" y="306955"/>
                </a:cubicBezTo>
                <a:cubicBezTo>
                  <a:pt x="520005" y="297727"/>
                  <a:pt x="527443" y="291135"/>
                  <a:pt x="536121" y="291135"/>
                </a:cubicBezTo>
                <a:close/>
                <a:moveTo>
                  <a:pt x="536483" y="225218"/>
                </a:moveTo>
                <a:lnTo>
                  <a:pt x="635357" y="225218"/>
                </a:lnTo>
                <a:cubicBezTo>
                  <a:pt x="644231" y="225218"/>
                  <a:pt x="650569" y="232824"/>
                  <a:pt x="650569" y="241697"/>
                </a:cubicBezTo>
                <a:cubicBezTo>
                  <a:pt x="650569" y="250571"/>
                  <a:pt x="644231" y="256909"/>
                  <a:pt x="635357" y="256909"/>
                </a:cubicBezTo>
                <a:lnTo>
                  <a:pt x="536483" y="256909"/>
                </a:lnTo>
                <a:cubicBezTo>
                  <a:pt x="527609" y="256909"/>
                  <a:pt x="520003" y="250571"/>
                  <a:pt x="520003" y="241697"/>
                </a:cubicBezTo>
                <a:cubicBezTo>
                  <a:pt x="520003" y="232824"/>
                  <a:pt x="527609" y="225218"/>
                  <a:pt x="536483" y="225218"/>
                </a:cubicBezTo>
                <a:close/>
                <a:moveTo>
                  <a:pt x="445131" y="139202"/>
                </a:moveTo>
                <a:cubicBezTo>
                  <a:pt x="422755" y="139202"/>
                  <a:pt x="405353" y="156602"/>
                  <a:pt x="405353" y="177731"/>
                </a:cubicBezTo>
                <a:lnTo>
                  <a:pt x="405353" y="393990"/>
                </a:lnTo>
                <a:cubicBezTo>
                  <a:pt x="405353" y="416362"/>
                  <a:pt x="422755" y="433762"/>
                  <a:pt x="445131" y="433762"/>
                </a:cubicBezTo>
                <a:lnTo>
                  <a:pt x="688775" y="433762"/>
                </a:lnTo>
                <a:cubicBezTo>
                  <a:pt x="696233" y="433762"/>
                  <a:pt x="704935" y="437491"/>
                  <a:pt x="711149" y="442462"/>
                </a:cubicBezTo>
                <a:lnTo>
                  <a:pt x="847889" y="579178"/>
                </a:lnTo>
                <a:lnTo>
                  <a:pt x="847889" y="464834"/>
                </a:lnTo>
                <a:cubicBezTo>
                  <a:pt x="847889" y="447433"/>
                  <a:pt x="861561" y="433762"/>
                  <a:pt x="877721" y="433762"/>
                </a:cubicBezTo>
                <a:lnTo>
                  <a:pt x="905069" y="433762"/>
                </a:lnTo>
                <a:cubicBezTo>
                  <a:pt x="927445" y="433762"/>
                  <a:pt x="944849" y="416362"/>
                  <a:pt x="944849" y="393990"/>
                </a:cubicBezTo>
                <a:lnTo>
                  <a:pt x="944849" y="177731"/>
                </a:lnTo>
                <a:cubicBezTo>
                  <a:pt x="944849" y="156602"/>
                  <a:pt x="927445" y="139202"/>
                  <a:pt x="905069" y="139202"/>
                </a:cubicBezTo>
                <a:close/>
                <a:moveTo>
                  <a:pt x="236295" y="29829"/>
                </a:moveTo>
                <a:cubicBezTo>
                  <a:pt x="212677" y="29829"/>
                  <a:pt x="194029" y="48472"/>
                  <a:pt x="194029" y="72087"/>
                </a:cubicBezTo>
                <a:lnTo>
                  <a:pt x="194029" y="300775"/>
                </a:lnTo>
                <a:cubicBezTo>
                  <a:pt x="194029" y="324389"/>
                  <a:pt x="212677" y="343032"/>
                  <a:pt x="236295" y="343032"/>
                </a:cubicBezTo>
                <a:lnTo>
                  <a:pt x="266129" y="343032"/>
                </a:lnTo>
                <a:cubicBezTo>
                  <a:pt x="282289" y="343032"/>
                  <a:pt x="297205" y="357947"/>
                  <a:pt x="297205" y="375347"/>
                </a:cubicBezTo>
                <a:lnTo>
                  <a:pt x="297205" y="514548"/>
                </a:lnTo>
                <a:lnTo>
                  <a:pt x="379249" y="417605"/>
                </a:lnTo>
                <a:cubicBezTo>
                  <a:pt x="376763" y="410147"/>
                  <a:pt x="375519" y="402690"/>
                  <a:pt x="375519" y="393990"/>
                </a:cubicBezTo>
                <a:lnTo>
                  <a:pt x="375519" y="177731"/>
                </a:lnTo>
                <a:cubicBezTo>
                  <a:pt x="375519" y="140444"/>
                  <a:pt x="406595" y="108130"/>
                  <a:pt x="445131" y="108130"/>
                </a:cubicBezTo>
                <a:lnTo>
                  <a:pt x="765845" y="108130"/>
                </a:lnTo>
                <a:lnTo>
                  <a:pt x="765845" y="72087"/>
                </a:lnTo>
                <a:cubicBezTo>
                  <a:pt x="765845" y="48472"/>
                  <a:pt x="745955" y="29829"/>
                  <a:pt x="722337" y="29829"/>
                </a:cubicBezTo>
                <a:close/>
                <a:moveTo>
                  <a:pt x="236295" y="0"/>
                </a:moveTo>
                <a:lnTo>
                  <a:pt x="722337" y="0"/>
                </a:lnTo>
                <a:cubicBezTo>
                  <a:pt x="763359" y="0"/>
                  <a:pt x="795679" y="32315"/>
                  <a:pt x="795679" y="72087"/>
                </a:cubicBezTo>
                <a:lnTo>
                  <a:pt x="795679" y="108130"/>
                </a:lnTo>
                <a:lnTo>
                  <a:pt x="905069" y="108130"/>
                </a:lnTo>
                <a:cubicBezTo>
                  <a:pt x="943605" y="108130"/>
                  <a:pt x="974681" y="140444"/>
                  <a:pt x="974681" y="177731"/>
                </a:cubicBezTo>
                <a:lnTo>
                  <a:pt x="974681" y="393990"/>
                </a:lnTo>
                <a:cubicBezTo>
                  <a:pt x="974681" y="432519"/>
                  <a:pt x="943605" y="464834"/>
                  <a:pt x="905069" y="464834"/>
                </a:cubicBezTo>
                <a:lnTo>
                  <a:pt x="877721" y="464834"/>
                </a:lnTo>
                <a:lnTo>
                  <a:pt x="877721" y="586635"/>
                </a:lnTo>
                <a:cubicBezTo>
                  <a:pt x="877721" y="596578"/>
                  <a:pt x="871507" y="607764"/>
                  <a:pt x="860319" y="611492"/>
                </a:cubicBezTo>
                <a:cubicBezTo>
                  <a:pt x="857833" y="612735"/>
                  <a:pt x="852861" y="613978"/>
                  <a:pt x="850375" y="613978"/>
                </a:cubicBezTo>
                <a:cubicBezTo>
                  <a:pt x="842915" y="613978"/>
                  <a:pt x="835457" y="611492"/>
                  <a:pt x="830485" y="606521"/>
                </a:cubicBezTo>
                <a:lnTo>
                  <a:pt x="688775" y="464834"/>
                </a:lnTo>
                <a:lnTo>
                  <a:pt x="445131" y="464834"/>
                </a:lnTo>
                <a:cubicBezTo>
                  <a:pt x="426485" y="464834"/>
                  <a:pt x="409083" y="456134"/>
                  <a:pt x="396651" y="443705"/>
                </a:cubicBezTo>
                <a:lnTo>
                  <a:pt x="315851" y="540649"/>
                </a:lnTo>
                <a:cubicBezTo>
                  <a:pt x="309637" y="545620"/>
                  <a:pt x="302177" y="549349"/>
                  <a:pt x="294719" y="549349"/>
                </a:cubicBezTo>
                <a:cubicBezTo>
                  <a:pt x="292233" y="549349"/>
                  <a:pt x="288503" y="548106"/>
                  <a:pt x="283531" y="546863"/>
                </a:cubicBezTo>
                <a:cubicBezTo>
                  <a:pt x="273587" y="541892"/>
                  <a:pt x="266129" y="531949"/>
                  <a:pt x="266129" y="520763"/>
                </a:cubicBezTo>
                <a:lnTo>
                  <a:pt x="266129" y="375347"/>
                </a:lnTo>
                <a:cubicBezTo>
                  <a:pt x="266129" y="374104"/>
                  <a:pt x="266129" y="374104"/>
                  <a:pt x="266129" y="374104"/>
                </a:cubicBezTo>
                <a:lnTo>
                  <a:pt x="236295" y="374104"/>
                </a:lnTo>
                <a:cubicBezTo>
                  <a:pt x="196517" y="374104"/>
                  <a:pt x="162953" y="340547"/>
                  <a:pt x="162953" y="300775"/>
                </a:cubicBezTo>
                <a:lnTo>
                  <a:pt x="162953" y="72087"/>
                </a:lnTo>
                <a:cubicBezTo>
                  <a:pt x="162953" y="32315"/>
                  <a:pt x="196517" y="0"/>
                  <a:pt x="23629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50" name="Freeform 454">
            <a:extLst>
              <a:ext uri="{FF2B5EF4-FFF2-40B4-BE49-F238E27FC236}">
                <a16:creationId xmlns:a16="http://schemas.microsoft.com/office/drawing/2014/main" id="{83D2048F-DA2A-F457-97E2-9514EF11A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3671617"/>
            <a:ext cx="1252566" cy="1085557"/>
          </a:xfrm>
          <a:custGeom>
            <a:avLst/>
            <a:gdLst>
              <a:gd name="T0" fmla="*/ 1849 w 1850"/>
              <a:gd name="T1" fmla="*/ 1603 h 1604"/>
              <a:gd name="T2" fmla="*/ 0 w 1850"/>
              <a:gd name="T3" fmla="*/ 1603 h 1604"/>
              <a:gd name="T4" fmla="*/ 0 w 1850"/>
              <a:gd name="T5" fmla="*/ 0 h 1604"/>
              <a:gd name="T6" fmla="*/ 1849 w 1850"/>
              <a:gd name="T7" fmla="*/ 0 h 1604"/>
              <a:gd name="T8" fmla="*/ 1849 w 1850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4">
                <a:moveTo>
                  <a:pt x="1849" y="1603"/>
                </a:moveTo>
                <a:lnTo>
                  <a:pt x="0" y="1603"/>
                </a:lnTo>
                <a:lnTo>
                  <a:pt x="0" y="0"/>
                </a:lnTo>
                <a:lnTo>
                  <a:pt x="1849" y="0"/>
                </a:lnTo>
                <a:lnTo>
                  <a:pt x="1849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51" name="Freeform 455">
            <a:extLst>
              <a:ext uri="{FF2B5EF4-FFF2-40B4-BE49-F238E27FC236}">
                <a16:creationId xmlns:a16="http://schemas.microsoft.com/office/drawing/2014/main" id="{DDBF847E-7EC5-67AE-4A13-43AB84288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3412157"/>
            <a:ext cx="1005034" cy="951354"/>
          </a:xfrm>
          <a:custGeom>
            <a:avLst/>
            <a:gdLst>
              <a:gd name="T0" fmla="*/ 1487 w 1488"/>
              <a:gd name="T1" fmla="*/ 1407 h 1408"/>
              <a:gd name="T2" fmla="*/ 0 w 1488"/>
              <a:gd name="T3" fmla="*/ 1407 h 1408"/>
              <a:gd name="T4" fmla="*/ 0 w 1488"/>
              <a:gd name="T5" fmla="*/ 0 h 1408"/>
              <a:gd name="T6" fmla="*/ 1487 w 1488"/>
              <a:gd name="T7" fmla="*/ 0 h 1408"/>
              <a:gd name="T8" fmla="*/ 1487 w 1488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8">
                <a:moveTo>
                  <a:pt x="1487" y="1407"/>
                </a:moveTo>
                <a:lnTo>
                  <a:pt x="0" y="1407"/>
                </a:lnTo>
                <a:lnTo>
                  <a:pt x="0" y="0"/>
                </a:lnTo>
                <a:lnTo>
                  <a:pt x="1487" y="0"/>
                </a:lnTo>
                <a:lnTo>
                  <a:pt x="1487" y="1407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2" name="Freeform 456">
            <a:extLst>
              <a:ext uri="{FF2B5EF4-FFF2-40B4-BE49-F238E27FC236}">
                <a16:creationId xmlns:a16="http://schemas.microsoft.com/office/drawing/2014/main" id="{ABD8F65A-0DB9-4F28-45D9-4658FC205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475" y="3671617"/>
            <a:ext cx="4051591" cy="1085557"/>
          </a:xfrm>
          <a:custGeom>
            <a:avLst/>
            <a:gdLst>
              <a:gd name="T0" fmla="*/ 5506 w 5507"/>
              <a:gd name="T1" fmla="*/ 1603 h 1604"/>
              <a:gd name="T2" fmla="*/ 0 w 5507"/>
              <a:gd name="T3" fmla="*/ 1603 h 1604"/>
              <a:gd name="T4" fmla="*/ 0 w 5507"/>
              <a:gd name="T5" fmla="*/ 0 h 1604"/>
              <a:gd name="T6" fmla="*/ 5506 w 5507"/>
              <a:gd name="T7" fmla="*/ 0 h 1604"/>
              <a:gd name="T8" fmla="*/ 5506 w 5507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4">
                <a:moveTo>
                  <a:pt x="5506" y="1603"/>
                </a:moveTo>
                <a:lnTo>
                  <a:pt x="0" y="1603"/>
                </a:lnTo>
                <a:lnTo>
                  <a:pt x="0" y="0"/>
                </a:lnTo>
                <a:lnTo>
                  <a:pt x="5506" y="0"/>
                </a:lnTo>
                <a:lnTo>
                  <a:pt x="5506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3" name="Freeform 457">
            <a:extLst>
              <a:ext uri="{FF2B5EF4-FFF2-40B4-BE49-F238E27FC236}">
                <a16:creationId xmlns:a16="http://schemas.microsoft.com/office/drawing/2014/main" id="{D3EF2848-9ACD-F090-BBC3-57C84D3FD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3412157"/>
            <a:ext cx="217707" cy="259461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5" name="Freeform 459">
            <a:extLst>
              <a:ext uri="{FF2B5EF4-FFF2-40B4-BE49-F238E27FC236}">
                <a16:creationId xmlns:a16="http://schemas.microsoft.com/office/drawing/2014/main" id="{A2D39F02-06EA-A0DE-7407-ADCF5F2E1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3412157"/>
            <a:ext cx="217707" cy="259461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7" name="Freeform 461">
            <a:extLst>
              <a:ext uri="{FF2B5EF4-FFF2-40B4-BE49-F238E27FC236}">
                <a16:creationId xmlns:a16="http://schemas.microsoft.com/office/drawing/2014/main" id="{3B4C1EC0-0A62-AB68-3A8C-915AAC136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366492"/>
            <a:ext cx="325070" cy="390683"/>
          </a:xfrm>
          <a:custGeom>
            <a:avLst/>
            <a:gdLst>
              <a:gd name="T0" fmla="*/ 0 w 482"/>
              <a:gd name="T1" fmla="*/ 0 h 579"/>
              <a:gd name="T2" fmla="*/ 481 w 482"/>
              <a:gd name="T3" fmla="*/ 578 h 579"/>
              <a:gd name="T4" fmla="*/ 481 w 482"/>
              <a:gd name="T5" fmla="*/ 0 h 579"/>
              <a:gd name="T6" fmla="*/ 0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0" y="0"/>
                </a:moveTo>
                <a:lnTo>
                  <a:pt x="481" y="578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8" name="Freeform 462">
            <a:extLst>
              <a:ext uri="{FF2B5EF4-FFF2-40B4-BE49-F238E27FC236}">
                <a16:creationId xmlns:a16="http://schemas.microsoft.com/office/drawing/2014/main" id="{FF4B0AA7-80F2-323F-9167-2EA2DD8D6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4366492"/>
            <a:ext cx="325072" cy="390683"/>
          </a:xfrm>
          <a:custGeom>
            <a:avLst/>
            <a:gdLst>
              <a:gd name="T0" fmla="*/ 481 w 482"/>
              <a:gd name="T1" fmla="*/ 0 h 579"/>
              <a:gd name="T2" fmla="*/ 0 w 482"/>
              <a:gd name="T3" fmla="*/ 578 h 579"/>
              <a:gd name="T4" fmla="*/ 0 w 482"/>
              <a:gd name="T5" fmla="*/ 0 h 579"/>
              <a:gd name="T6" fmla="*/ 481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481" y="0"/>
                </a:moveTo>
                <a:lnTo>
                  <a:pt x="0" y="578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9" name="Freeform 463">
            <a:extLst>
              <a:ext uri="{FF2B5EF4-FFF2-40B4-BE49-F238E27FC236}">
                <a16:creationId xmlns:a16="http://schemas.microsoft.com/office/drawing/2014/main" id="{845E0CBC-EF28-689B-36D1-7F79FB522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3412157"/>
            <a:ext cx="1005034" cy="951354"/>
          </a:xfrm>
          <a:custGeom>
            <a:avLst/>
            <a:gdLst>
              <a:gd name="T0" fmla="*/ 1487 w 1488"/>
              <a:gd name="T1" fmla="*/ 1407 h 1408"/>
              <a:gd name="T2" fmla="*/ 0 w 1488"/>
              <a:gd name="T3" fmla="*/ 1407 h 1408"/>
              <a:gd name="T4" fmla="*/ 0 w 1488"/>
              <a:gd name="T5" fmla="*/ 0 h 1408"/>
              <a:gd name="T6" fmla="*/ 1487 w 1488"/>
              <a:gd name="T7" fmla="*/ 0 h 1408"/>
              <a:gd name="T8" fmla="*/ 1487 w 1488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8">
                <a:moveTo>
                  <a:pt x="1487" y="1407"/>
                </a:moveTo>
                <a:lnTo>
                  <a:pt x="0" y="1407"/>
                </a:lnTo>
                <a:lnTo>
                  <a:pt x="0" y="0"/>
                </a:lnTo>
                <a:lnTo>
                  <a:pt x="1487" y="0"/>
                </a:lnTo>
                <a:lnTo>
                  <a:pt x="1487" y="1407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Freeform 81">
            <a:extLst>
              <a:ext uri="{FF2B5EF4-FFF2-40B4-BE49-F238E27FC236}">
                <a16:creationId xmlns:a16="http://schemas.microsoft.com/office/drawing/2014/main" id="{D32E687F-D5ED-C132-1663-CF7BF36BD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5704" y="3606008"/>
            <a:ext cx="565960" cy="565959"/>
          </a:xfrm>
          <a:custGeom>
            <a:avLst/>
            <a:gdLst>
              <a:gd name="connsiteX0" fmla="*/ 327942 w 1042432"/>
              <a:gd name="connsiteY0" fmla="*/ 618476 h 1042431"/>
              <a:gd name="connsiteX1" fmla="*/ 210730 w 1042432"/>
              <a:gd name="connsiteY1" fmla="*/ 754391 h 1042431"/>
              <a:gd name="connsiteX2" fmla="*/ 183298 w 1042432"/>
              <a:gd name="connsiteY2" fmla="*/ 876590 h 1042431"/>
              <a:gd name="connsiteX3" fmla="*/ 311732 w 1042432"/>
              <a:gd name="connsiteY3" fmla="*/ 963875 h 1042431"/>
              <a:gd name="connsiteX4" fmla="*/ 311732 w 1042432"/>
              <a:gd name="connsiteY4" fmla="*/ 796786 h 1042431"/>
              <a:gd name="connsiteX5" fmla="*/ 326694 w 1042432"/>
              <a:gd name="connsiteY5" fmla="*/ 781823 h 1042431"/>
              <a:gd name="connsiteX6" fmla="*/ 341658 w 1042432"/>
              <a:gd name="connsiteY6" fmla="*/ 796786 h 1042431"/>
              <a:gd name="connsiteX7" fmla="*/ 341658 w 1042432"/>
              <a:gd name="connsiteY7" fmla="*/ 977591 h 1042431"/>
              <a:gd name="connsiteX8" fmla="*/ 397770 w 1042432"/>
              <a:gd name="connsiteY8" fmla="*/ 996295 h 1042431"/>
              <a:gd name="connsiteX9" fmla="*/ 399016 w 1042432"/>
              <a:gd name="connsiteY9" fmla="*/ 996295 h 1042431"/>
              <a:gd name="connsiteX10" fmla="*/ 418968 w 1042432"/>
              <a:gd name="connsiteY10" fmla="*/ 1001282 h 1042431"/>
              <a:gd name="connsiteX11" fmla="*/ 422708 w 1042432"/>
              <a:gd name="connsiteY11" fmla="*/ 1001282 h 1042431"/>
              <a:gd name="connsiteX12" fmla="*/ 442660 w 1042432"/>
              <a:gd name="connsiteY12" fmla="*/ 1005023 h 1042431"/>
              <a:gd name="connsiteX13" fmla="*/ 447646 w 1042432"/>
              <a:gd name="connsiteY13" fmla="*/ 1006270 h 1042431"/>
              <a:gd name="connsiteX14" fmla="*/ 465104 w 1042432"/>
              <a:gd name="connsiteY14" fmla="*/ 1008764 h 1042431"/>
              <a:gd name="connsiteX15" fmla="*/ 471338 w 1042432"/>
              <a:gd name="connsiteY15" fmla="*/ 1010011 h 1042431"/>
              <a:gd name="connsiteX16" fmla="*/ 490042 w 1042432"/>
              <a:gd name="connsiteY16" fmla="*/ 1011258 h 1042431"/>
              <a:gd name="connsiteX17" fmla="*/ 496278 w 1042432"/>
              <a:gd name="connsiteY17" fmla="*/ 1011258 h 1042431"/>
              <a:gd name="connsiteX18" fmla="*/ 521216 w 1042432"/>
              <a:gd name="connsiteY18" fmla="*/ 1011258 h 1042431"/>
              <a:gd name="connsiteX19" fmla="*/ 546154 w 1042432"/>
              <a:gd name="connsiteY19" fmla="*/ 1011258 h 1042431"/>
              <a:gd name="connsiteX20" fmla="*/ 551142 w 1042432"/>
              <a:gd name="connsiteY20" fmla="*/ 1011258 h 1042431"/>
              <a:gd name="connsiteX21" fmla="*/ 569846 w 1042432"/>
              <a:gd name="connsiteY21" fmla="*/ 1010011 h 1042431"/>
              <a:gd name="connsiteX22" fmla="*/ 576080 w 1042432"/>
              <a:gd name="connsiteY22" fmla="*/ 1008764 h 1042431"/>
              <a:gd name="connsiteX23" fmla="*/ 594784 w 1042432"/>
              <a:gd name="connsiteY23" fmla="*/ 1006270 h 1042431"/>
              <a:gd name="connsiteX24" fmla="*/ 599772 w 1042432"/>
              <a:gd name="connsiteY24" fmla="*/ 1005023 h 1042431"/>
              <a:gd name="connsiteX25" fmla="*/ 618476 w 1042432"/>
              <a:gd name="connsiteY25" fmla="*/ 1001282 h 1042431"/>
              <a:gd name="connsiteX26" fmla="*/ 622216 w 1042432"/>
              <a:gd name="connsiteY26" fmla="*/ 1001282 h 1042431"/>
              <a:gd name="connsiteX27" fmla="*/ 643414 w 1042432"/>
              <a:gd name="connsiteY27" fmla="*/ 996295 h 1042431"/>
              <a:gd name="connsiteX28" fmla="*/ 699526 w 1042432"/>
              <a:gd name="connsiteY28" fmla="*/ 977591 h 1042431"/>
              <a:gd name="connsiteX29" fmla="*/ 699526 w 1042432"/>
              <a:gd name="connsiteY29" fmla="*/ 796786 h 1042431"/>
              <a:gd name="connsiteX30" fmla="*/ 714490 w 1042432"/>
              <a:gd name="connsiteY30" fmla="*/ 781823 h 1042431"/>
              <a:gd name="connsiteX31" fmla="*/ 729452 w 1042432"/>
              <a:gd name="connsiteY31" fmla="*/ 796786 h 1042431"/>
              <a:gd name="connsiteX32" fmla="*/ 729452 w 1042432"/>
              <a:gd name="connsiteY32" fmla="*/ 963875 h 1042431"/>
              <a:gd name="connsiteX33" fmla="*/ 859132 w 1042432"/>
              <a:gd name="connsiteY33" fmla="*/ 876590 h 1042431"/>
              <a:gd name="connsiteX34" fmla="*/ 830454 w 1042432"/>
              <a:gd name="connsiteY34" fmla="*/ 753144 h 1042431"/>
              <a:gd name="connsiteX35" fmla="*/ 713242 w 1042432"/>
              <a:gd name="connsiteY35" fmla="*/ 618476 h 1042431"/>
              <a:gd name="connsiteX36" fmla="*/ 521214 w 1042432"/>
              <a:gd name="connsiteY36" fmla="*/ 211207 h 1042431"/>
              <a:gd name="connsiteX37" fmla="*/ 381494 w 1042432"/>
              <a:gd name="connsiteY37" fmla="*/ 349680 h 1042431"/>
              <a:gd name="connsiteX38" fmla="*/ 521214 w 1042432"/>
              <a:gd name="connsiteY38" fmla="*/ 489401 h 1042431"/>
              <a:gd name="connsiteX39" fmla="*/ 659688 w 1042432"/>
              <a:gd name="connsiteY39" fmla="*/ 349680 h 1042431"/>
              <a:gd name="connsiteX40" fmla="*/ 521214 w 1042432"/>
              <a:gd name="connsiteY40" fmla="*/ 211207 h 1042431"/>
              <a:gd name="connsiteX41" fmla="*/ 521214 w 1042432"/>
              <a:gd name="connsiteY41" fmla="*/ 181267 h 1042431"/>
              <a:gd name="connsiteX42" fmla="*/ 690876 w 1042432"/>
              <a:gd name="connsiteY42" fmla="*/ 349680 h 1042431"/>
              <a:gd name="connsiteX43" fmla="*/ 521214 w 1042432"/>
              <a:gd name="connsiteY43" fmla="*/ 520588 h 1042431"/>
              <a:gd name="connsiteX44" fmla="*/ 351554 w 1042432"/>
              <a:gd name="connsiteY44" fmla="*/ 349680 h 1042431"/>
              <a:gd name="connsiteX45" fmla="*/ 521214 w 1042432"/>
              <a:gd name="connsiteY45" fmla="*/ 181267 h 1042431"/>
              <a:gd name="connsiteX46" fmla="*/ 521216 w 1042432"/>
              <a:gd name="connsiteY46" fmla="*/ 31173 h 1042431"/>
              <a:gd name="connsiteX47" fmla="*/ 31174 w 1042432"/>
              <a:gd name="connsiteY47" fmla="*/ 521216 h 1042431"/>
              <a:gd name="connsiteX48" fmla="*/ 158360 w 1042432"/>
              <a:gd name="connsiteY48" fmla="*/ 850404 h 1042431"/>
              <a:gd name="connsiteX49" fmla="*/ 180804 w 1042432"/>
              <a:gd name="connsiteY49" fmla="*/ 746909 h 1042431"/>
              <a:gd name="connsiteX50" fmla="*/ 327942 w 1042432"/>
              <a:gd name="connsiteY50" fmla="*/ 587303 h 1042431"/>
              <a:gd name="connsiteX51" fmla="*/ 713242 w 1042432"/>
              <a:gd name="connsiteY51" fmla="*/ 587303 h 1042431"/>
              <a:gd name="connsiteX52" fmla="*/ 860380 w 1042432"/>
              <a:gd name="connsiteY52" fmla="*/ 745662 h 1042431"/>
              <a:gd name="connsiteX53" fmla="*/ 884072 w 1042432"/>
              <a:gd name="connsiteY53" fmla="*/ 850404 h 1042431"/>
              <a:gd name="connsiteX54" fmla="*/ 1011258 w 1042432"/>
              <a:gd name="connsiteY54" fmla="*/ 521216 h 1042431"/>
              <a:gd name="connsiteX55" fmla="*/ 521216 w 1042432"/>
              <a:gd name="connsiteY55" fmla="*/ 31173 h 1042431"/>
              <a:gd name="connsiteX56" fmla="*/ 521216 w 1042432"/>
              <a:gd name="connsiteY56" fmla="*/ 0 h 1042431"/>
              <a:gd name="connsiteX57" fmla="*/ 1042432 w 1042432"/>
              <a:gd name="connsiteY57" fmla="*/ 521216 h 1042431"/>
              <a:gd name="connsiteX58" fmla="*/ 892800 w 1042432"/>
              <a:gd name="connsiteY58" fmla="*/ 886565 h 1042431"/>
              <a:gd name="connsiteX59" fmla="*/ 886566 w 1042432"/>
              <a:gd name="connsiteY59" fmla="*/ 892800 h 1042431"/>
              <a:gd name="connsiteX60" fmla="*/ 625958 w 1042432"/>
              <a:gd name="connsiteY60" fmla="*/ 1031209 h 1042431"/>
              <a:gd name="connsiteX61" fmla="*/ 602266 w 1042432"/>
              <a:gd name="connsiteY61" fmla="*/ 1036196 h 1042431"/>
              <a:gd name="connsiteX62" fmla="*/ 599772 w 1042432"/>
              <a:gd name="connsiteY62" fmla="*/ 1036196 h 1042431"/>
              <a:gd name="connsiteX63" fmla="*/ 578574 w 1042432"/>
              <a:gd name="connsiteY63" fmla="*/ 1038690 h 1042431"/>
              <a:gd name="connsiteX64" fmla="*/ 573586 w 1042432"/>
              <a:gd name="connsiteY64" fmla="*/ 1039937 h 1042431"/>
              <a:gd name="connsiteX65" fmla="*/ 553636 w 1042432"/>
              <a:gd name="connsiteY65" fmla="*/ 1041184 h 1042431"/>
              <a:gd name="connsiteX66" fmla="*/ 547402 w 1042432"/>
              <a:gd name="connsiteY66" fmla="*/ 1041184 h 1042431"/>
              <a:gd name="connsiteX67" fmla="*/ 521216 w 1042432"/>
              <a:gd name="connsiteY67" fmla="*/ 1042431 h 1042431"/>
              <a:gd name="connsiteX68" fmla="*/ 495030 w 1042432"/>
              <a:gd name="connsiteY68" fmla="*/ 1041184 h 1042431"/>
              <a:gd name="connsiteX69" fmla="*/ 488796 w 1042432"/>
              <a:gd name="connsiteY69" fmla="*/ 1041184 h 1042431"/>
              <a:gd name="connsiteX70" fmla="*/ 468844 w 1042432"/>
              <a:gd name="connsiteY70" fmla="*/ 1039937 h 1042431"/>
              <a:gd name="connsiteX71" fmla="*/ 462610 w 1042432"/>
              <a:gd name="connsiteY71" fmla="*/ 1038690 h 1042431"/>
              <a:gd name="connsiteX72" fmla="*/ 441412 w 1042432"/>
              <a:gd name="connsiteY72" fmla="*/ 1036196 h 1042431"/>
              <a:gd name="connsiteX73" fmla="*/ 438918 w 1042432"/>
              <a:gd name="connsiteY73" fmla="*/ 1036196 h 1042431"/>
              <a:gd name="connsiteX74" fmla="*/ 416474 w 1042432"/>
              <a:gd name="connsiteY74" fmla="*/ 1031209 h 1042431"/>
              <a:gd name="connsiteX75" fmla="*/ 155866 w 1042432"/>
              <a:gd name="connsiteY75" fmla="*/ 892800 h 1042431"/>
              <a:gd name="connsiteX76" fmla="*/ 149632 w 1042432"/>
              <a:gd name="connsiteY76" fmla="*/ 886565 h 1042431"/>
              <a:gd name="connsiteX77" fmla="*/ 0 w 1042432"/>
              <a:gd name="connsiteY77" fmla="*/ 521216 h 1042431"/>
              <a:gd name="connsiteX78" fmla="*/ 521216 w 1042432"/>
              <a:gd name="connsiteY78" fmla="*/ 0 h 1042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1042432" h="1042431">
                <a:moveTo>
                  <a:pt x="327942" y="618476"/>
                </a:moveTo>
                <a:cubicBezTo>
                  <a:pt x="265596" y="618476"/>
                  <a:pt x="246892" y="624710"/>
                  <a:pt x="210730" y="754391"/>
                </a:cubicBezTo>
                <a:lnTo>
                  <a:pt x="183298" y="876590"/>
                </a:lnTo>
                <a:cubicBezTo>
                  <a:pt x="220706" y="912751"/>
                  <a:pt x="264348" y="941430"/>
                  <a:pt x="311732" y="963875"/>
                </a:cubicBezTo>
                <a:lnTo>
                  <a:pt x="311732" y="796786"/>
                </a:lnTo>
                <a:cubicBezTo>
                  <a:pt x="311732" y="788058"/>
                  <a:pt x="317966" y="781823"/>
                  <a:pt x="326694" y="781823"/>
                </a:cubicBezTo>
                <a:cubicBezTo>
                  <a:pt x="335424" y="781823"/>
                  <a:pt x="341658" y="788058"/>
                  <a:pt x="341658" y="796786"/>
                </a:cubicBezTo>
                <a:lnTo>
                  <a:pt x="341658" y="977591"/>
                </a:lnTo>
                <a:cubicBezTo>
                  <a:pt x="360362" y="985072"/>
                  <a:pt x="377818" y="991307"/>
                  <a:pt x="397770" y="996295"/>
                </a:cubicBezTo>
                <a:cubicBezTo>
                  <a:pt x="397770" y="996295"/>
                  <a:pt x="397770" y="996295"/>
                  <a:pt x="399016" y="996295"/>
                </a:cubicBezTo>
                <a:cubicBezTo>
                  <a:pt x="405252" y="997542"/>
                  <a:pt x="412732" y="998789"/>
                  <a:pt x="418968" y="1001282"/>
                </a:cubicBezTo>
                <a:cubicBezTo>
                  <a:pt x="421462" y="1001282"/>
                  <a:pt x="421462" y="1001282"/>
                  <a:pt x="422708" y="1001282"/>
                </a:cubicBezTo>
                <a:cubicBezTo>
                  <a:pt x="430190" y="1003776"/>
                  <a:pt x="435178" y="1003776"/>
                  <a:pt x="442660" y="1005023"/>
                </a:cubicBezTo>
                <a:cubicBezTo>
                  <a:pt x="443906" y="1005023"/>
                  <a:pt x="445152" y="1006270"/>
                  <a:pt x="447646" y="1006270"/>
                </a:cubicBezTo>
                <a:cubicBezTo>
                  <a:pt x="452634" y="1006270"/>
                  <a:pt x="458870" y="1007517"/>
                  <a:pt x="465104" y="1008764"/>
                </a:cubicBezTo>
                <a:cubicBezTo>
                  <a:pt x="467598" y="1008764"/>
                  <a:pt x="470092" y="1010011"/>
                  <a:pt x="471338" y="1010011"/>
                </a:cubicBezTo>
                <a:cubicBezTo>
                  <a:pt x="477574" y="1010011"/>
                  <a:pt x="483808" y="1010011"/>
                  <a:pt x="490042" y="1011258"/>
                </a:cubicBezTo>
                <a:cubicBezTo>
                  <a:pt x="491290" y="1011258"/>
                  <a:pt x="495030" y="1011258"/>
                  <a:pt x="496278" y="1011258"/>
                </a:cubicBezTo>
                <a:cubicBezTo>
                  <a:pt x="503758" y="1011258"/>
                  <a:pt x="512488" y="1011258"/>
                  <a:pt x="521216" y="1011258"/>
                </a:cubicBezTo>
                <a:cubicBezTo>
                  <a:pt x="529944" y="1011258"/>
                  <a:pt x="537426" y="1011258"/>
                  <a:pt x="546154" y="1011258"/>
                </a:cubicBezTo>
                <a:cubicBezTo>
                  <a:pt x="547402" y="1011258"/>
                  <a:pt x="549894" y="1011258"/>
                  <a:pt x="551142" y="1011258"/>
                </a:cubicBezTo>
                <a:cubicBezTo>
                  <a:pt x="557376" y="1010011"/>
                  <a:pt x="563612" y="1010011"/>
                  <a:pt x="569846" y="1010011"/>
                </a:cubicBezTo>
                <a:cubicBezTo>
                  <a:pt x="572340" y="1010011"/>
                  <a:pt x="574834" y="1008764"/>
                  <a:pt x="576080" y="1008764"/>
                </a:cubicBezTo>
                <a:cubicBezTo>
                  <a:pt x="582314" y="1007517"/>
                  <a:pt x="588550" y="1006270"/>
                  <a:pt x="594784" y="1006270"/>
                </a:cubicBezTo>
                <a:cubicBezTo>
                  <a:pt x="596032" y="1006270"/>
                  <a:pt x="597278" y="1005023"/>
                  <a:pt x="599772" y="1005023"/>
                </a:cubicBezTo>
                <a:cubicBezTo>
                  <a:pt x="606006" y="1003776"/>
                  <a:pt x="612242" y="1003776"/>
                  <a:pt x="618476" y="1001282"/>
                </a:cubicBezTo>
                <a:cubicBezTo>
                  <a:pt x="619722" y="1001282"/>
                  <a:pt x="620970" y="1001282"/>
                  <a:pt x="622216" y="1001282"/>
                </a:cubicBezTo>
                <a:cubicBezTo>
                  <a:pt x="628452" y="998789"/>
                  <a:pt x="635932" y="997542"/>
                  <a:pt x="643414" y="996295"/>
                </a:cubicBezTo>
                <a:cubicBezTo>
                  <a:pt x="663366" y="991307"/>
                  <a:pt x="682070" y="985072"/>
                  <a:pt x="699526" y="977591"/>
                </a:cubicBezTo>
                <a:lnTo>
                  <a:pt x="699526" y="796786"/>
                </a:lnTo>
                <a:cubicBezTo>
                  <a:pt x="699526" y="788058"/>
                  <a:pt x="705760" y="781823"/>
                  <a:pt x="714490" y="781823"/>
                </a:cubicBezTo>
                <a:cubicBezTo>
                  <a:pt x="723218" y="781823"/>
                  <a:pt x="729452" y="788058"/>
                  <a:pt x="729452" y="796786"/>
                </a:cubicBezTo>
                <a:lnTo>
                  <a:pt x="729452" y="963875"/>
                </a:lnTo>
                <a:cubicBezTo>
                  <a:pt x="778082" y="941430"/>
                  <a:pt x="820478" y="912751"/>
                  <a:pt x="859132" y="876590"/>
                </a:cubicBezTo>
                <a:lnTo>
                  <a:pt x="830454" y="753144"/>
                </a:lnTo>
                <a:cubicBezTo>
                  <a:pt x="794292" y="624710"/>
                  <a:pt x="776836" y="618476"/>
                  <a:pt x="713242" y="618476"/>
                </a:cubicBezTo>
                <a:close/>
                <a:moveTo>
                  <a:pt x="521214" y="211207"/>
                </a:moveTo>
                <a:cubicBezTo>
                  <a:pt x="443870" y="211207"/>
                  <a:pt x="381494" y="273583"/>
                  <a:pt x="381494" y="349680"/>
                </a:cubicBezTo>
                <a:cubicBezTo>
                  <a:pt x="381494" y="427026"/>
                  <a:pt x="443870" y="489401"/>
                  <a:pt x="521214" y="489401"/>
                </a:cubicBezTo>
                <a:cubicBezTo>
                  <a:pt x="597312" y="489401"/>
                  <a:pt x="659688" y="427026"/>
                  <a:pt x="659688" y="349680"/>
                </a:cubicBezTo>
                <a:cubicBezTo>
                  <a:pt x="659688" y="273583"/>
                  <a:pt x="597312" y="211207"/>
                  <a:pt x="521214" y="211207"/>
                </a:cubicBezTo>
                <a:close/>
                <a:moveTo>
                  <a:pt x="521214" y="181267"/>
                </a:moveTo>
                <a:cubicBezTo>
                  <a:pt x="614778" y="181267"/>
                  <a:pt x="690876" y="256118"/>
                  <a:pt x="690876" y="349680"/>
                </a:cubicBezTo>
                <a:cubicBezTo>
                  <a:pt x="690876" y="444491"/>
                  <a:pt x="614778" y="520588"/>
                  <a:pt x="521214" y="520588"/>
                </a:cubicBezTo>
                <a:cubicBezTo>
                  <a:pt x="427652" y="520588"/>
                  <a:pt x="351554" y="444491"/>
                  <a:pt x="351554" y="349680"/>
                </a:cubicBezTo>
                <a:cubicBezTo>
                  <a:pt x="351554" y="256118"/>
                  <a:pt x="427652" y="181267"/>
                  <a:pt x="521214" y="181267"/>
                </a:cubicBezTo>
                <a:close/>
                <a:moveTo>
                  <a:pt x="521216" y="31173"/>
                </a:moveTo>
                <a:cubicBezTo>
                  <a:pt x="250632" y="31173"/>
                  <a:pt x="31174" y="250633"/>
                  <a:pt x="31174" y="521216"/>
                </a:cubicBezTo>
                <a:cubicBezTo>
                  <a:pt x="31174" y="647155"/>
                  <a:pt x="78556" y="763119"/>
                  <a:pt x="158360" y="850404"/>
                </a:cubicBezTo>
                <a:lnTo>
                  <a:pt x="180804" y="746909"/>
                </a:lnTo>
                <a:cubicBezTo>
                  <a:pt x="218212" y="614735"/>
                  <a:pt x="243150" y="587303"/>
                  <a:pt x="327942" y="587303"/>
                </a:cubicBezTo>
                <a:lnTo>
                  <a:pt x="713242" y="587303"/>
                </a:lnTo>
                <a:cubicBezTo>
                  <a:pt x="798034" y="587303"/>
                  <a:pt x="822972" y="614735"/>
                  <a:pt x="860380" y="745662"/>
                </a:cubicBezTo>
                <a:lnTo>
                  <a:pt x="884072" y="850404"/>
                </a:lnTo>
                <a:cubicBezTo>
                  <a:pt x="962628" y="763119"/>
                  <a:pt x="1011258" y="647155"/>
                  <a:pt x="1011258" y="521216"/>
                </a:cubicBezTo>
                <a:cubicBezTo>
                  <a:pt x="1011258" y="250633"/>
                  <a:pt x="790552" y="31173"/>
                  <a:pt x="521216" y="31173"/>
                </a:cubicBezTo>
                <a:close/>
                <a:moveTo>
                  <a:pt x="521216" y="0"/>
                </a:moveTo>
                <a:cubicBezTo>
                  <a:pt x="808008" y="0"/>
                  <a:pt x="1042432" y="233176"/>
                  <a:pt x="1042432" y="521216"/>
                </a:cubicBezTo>
                <a:cubicBezTo>
                  <a:pt x="1042432" y="663365"/>
                  <a:pt x="985072" y="791799"/>
                  <a:pt x="892800" y="886565"/>
                </a:cubicBezTo>
                <a:lnTo>
                  <a:pt x="886566" y="892800"/>
                </a:lnTo>
                <a:cubicBezTo>
                  <a:pt x="814244" y="963875"/>
                  <a:pt x="724464" y="1011258"/>
                  <a:pt x="625958" y="1031209"/>
                </a:cubicBezTo>
                <a:cubicBezTo>
                  <a:pt x="618476" y="1032456"/>
                  <a:pt x="610994" y="1033703"/>
                  <a:pt x="602266" y="1036196"/>
                </a:cubicBezTo>
                <a:lnTo>
                  <a:pt x="599772" y="1036196"/>
                </a:lnTo>
                <a:cubicBezTo>
                  <a:pt x="592290" y="1037443"/>
                  <a:pt x="586056" y="1038690"/>
                  <a:pt x="578574" y="1038690"/>
                </a:cubicBezTo>
                <a:cubicBezTo>
                  <a:pt x="576080" y="1038690"/>
                  <a:pt x="574834" y="1039937"/>
                  <a:pt x="573586" y="1039937"/>
                </a:cubicBezTo>
                <a:cubicBezTo>
                  <a:pt x="567352" y="1039937"/>
                  <a:pt x="559870" y="1039937"/>
                  <a:pt x="553636" y="1041184"/>
                </a:cubicBezTo>
                <a:cubicBezTo>
                  <a:pt x="551142" y="1041184"/>
                  <a:pt x="548648" y="1041184"/>
                  <a:pt x="547402" y="1041184"/>
                </a:cubicBezTo>
                <a:cubicBezTo>
                  <a:pt x="538672" y="1042431"/>
                  <a:pt x="529944" y="1042431"/>
                  <a:pt x="521216" y="1042431"/>
                </a:cubicBezTo>
                <a:cubicBezTo>
                  <a:pt x="511240" y="1042431"/>
                  <a:pt x="503758" y="1042431"/>
                  <a:pt x="495030" y="1041184"/>
                </a:cubicBezTo>
                <a:cubicBezTo>
                  <a:pt x="492536" y="1041184"/>
                  <a:pt x="490042" y="1041184"/>
                  <a:pt x="488796" y="1041184"/>
                </a:cubicBezTo>
                <a:cubicBezTo>
                  <a:pt x="481314" y="1039937"/>
                  <a:pt x="475080" y="1039937"/>
                  <a:pt x="468844" y="1039937"/>
                </a:cubicBezTo>
                <a:cubicBezTo>
                  <a:pt x="466350" y="1039937"/>
                  <a:pt x="465104" y="1038690"/>
                  <a:pt x="462610" y="1038690"/>
                </a:cubicBezTo>
                <a:cubicBezTo>
                  <a:pt x="456376" y="1038690"/>
                  <a:pt x="448894" y="1037443"/>
                  <a:pt x="441412" y="1036196"/>
                </a:cubicBezTo>
                <a:cubicBezTo>
                  <a:pt x="441412" y="1036196"/>
                  <a:pt x="440166" y="1036196"/>
                  <a:pt x="438918" y="1036196"/>
                </a:cubicBezTo>
                <a:cubicBezTo>
                  <a:pt x="431436" y="1033703"/>
                  <a:pt x="423956" y="1032456"/>
                  <a:pt x="416474" y="1031209"/>
                </a:cubicBezTo>
                <a:cubicBezTo>
                  <a:pt x="317966" y="1011258"/>
                  <a:pt x="228188" y="963875"/>
                  <a:pt x="155866" y="892800"/>
                </a:cubicBezTo>
                <a:lnTo>
                  <a:pt x="149632" y="886565"/>
                </a:lnTo>
                <a:cubicBezTo>
                  <a:pt x="56112" y="791799"/>
                  <a:pt x="0" y="663365"/>
                  <a:pt x="0" y="521216"/>
                </a:cubicBezTo>
                <a:cubicBezTo>
                  <a:pt x="0" y="233176"/>
                  <a:pt x="233176" y="0"/>
                  <a:pt x="52121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61" name="Freeform 542">
            <a:extLst>
              <a:ext uri="{FF2B5EF4-FFF2-40B4-BE49-F238E27FC236}">
                <a16:creationId xmlns:a16="http://schemas.microsoft.com/office/drawing/2014/main" id="{981F6CC2-54C7-627A-D88B-BF4EF1A62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2120821"/>
            <a:ext cx="1252566" cy="1082574"/>
          </a:xfrm>
          <a:custGeom>
            <a:avLst/>
            <a:gdLst>
              <a:gd name="T0" fmla="*/ 1849 w 1850"/>
              <a:gd name="T1" fmla="*/ 1601 h 1602"/>
              <a:gd name="T2" fmla="*/ 0 w 1850"/>
              <a:gd name="T3" fmla="*/ 1601 h 1602"/>
              <a:gd name="T4" fmla="*/ 0 w 1850"/>
              <a:gd name="T5" fmla="*/ 0 h 1602"/>
              <a:gd name="T6" fmla="*/ 1849 w 1850"/>
              <a:gd name="T7" fmla="*/ 0 h 1602"/>
              <a:gd name="T8" fmla="*/ 1849 w 1850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2">
                <a:moveTo>
                  <a:pt x="1849" y="1601"/>
                </a:moveTo>
                <a:lnTo>
                  <a:pt x="0" y="1601"/>
                </a:lnTo>
                <a:lnTo>
                  <a:pt x="0" y="0"/>
                </a:lnTo>
                <a:lnTo>
                  <a:pt x="1849" y="0"/>
                </a:lnTo>
                <a:lnTo>
                  <a:pt x="1849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63" name="Freeform 544">
            <a:extLst>
              <a:ext uri="{FF2B5EF4-FFF2-40B4-BE49-F238E27FC236}">
                <a16:creationId xmlns:a16="http://schemas.microsoft.com/office/drawing/2014/main" id="{0A1CA692-3929-55B7-A930-311BB31B0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438" y="2120821"/>
            <a:ext cx="4045628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4" name="Freeform 545">
            <a:extLst>
              <a:ext uri="{FF2B5EF4-FFF2-40B4-BE49-F238E27FC236}">
                <a16:creationId xmlns:a16="http://schemas.microsoft.com/office/drawing/2014/main" id="{CBBF81F2-0433-7628-ACD1-6A17965BE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1864343"/>
            <a:ext cx="217707" cy="259459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5" name="Freeform 546">
            <a:extLst>
              <a:ext uri="{FF2B5EF4-FFF2-40B4-BE49-F238E27FC236}">
                <a16:creationId xmlns:a16="http://schemas.microsoft.com/office/drawing/2014/main" id="{E2CD0D20-4EC0-B2D4-1515-DE2BE7524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1864343"/>
            <a:ext cx="217707" cy="259459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6" name="Freeform 547">
            <a:extLst>
              <a:ext uri="{FF2B5EF4-FFF2-40B4-BE49-F238E27FC236}">
                <a16:creationId xmlns:a16="http://schemas.microsoft.com/office/drawing/2014/main" id="{2F4E6C99-02F7-3BC6-7C53-D2732763B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1864343"/>
            <a:ext cx="217707" cy="259459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7" name="Freeform 548">
            <a:extLst>
              <a:ext uri="{FF2B5EF4-FFF2-40B4-BE49-F238E27FC236}">
                <a16:creationId xmlns:a16="http://schemas.microsoft.com/office/drawing/2014/main" id="{2E2DB929-19CC-B527-A90C-66BDC1D523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1864343"/>
            <a:ext cx="217707" cy="259459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8" name="Freeform 549">
            <a:extLst>
              <a:ext uri="{FF2B5EF4-FFF2-40B4-BE49-F238E27FC236}">
                <a16:creationId xmlns:a16="http://schemas.microsoft.com/office/drawing/2014/main" id="{CEA10955-B660-4B12-F218-0F2E12F16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2815696"/>
            <a:ext cx="325070" cy="390683"/>
          </a:xfrm>
          <a:custGeom>
            <a:avLst/>
            <a:gdLst>
              <a:gd name="T0" fmla="*/ 0 w 482"/>
              <a:gd name="T1" fmla="*/ 0 h 576"/>
              <a:gd name="T2" fmla="*/ 481 w 482"/>
              <a:gd name="T3" fmla="*/ 575 h 576"/>
              <a:gd name="T4" fmla="*/ 481 w 482"/>
              <a:gd name="T5" fmla="*/ 0 h 576"/>
              <a:gd name="T6" fmla="*/ 0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0" y="0"/>
                </a:moveTo>
                <a:lnTo>
                  <a:pt x="481" y="575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9" name="Freeform 550">
            <a:extLst>
              <a:ext uri="{FF2B5EF4-FFF2-40B4-BE49-F238E27FC236}">
                <a16:creationId xmlns:a16="http://schemas.microsoft.com/office/drawing/2014/main" id="{48F25F92-4D4C-336F-986D-A091DF90E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2815696"/>
            <a:ext cx="325072" cy="390683"/>
          </a:xfrm>
          <a:custGeom>
            <a:avLst/>
            <a:gdLst>
              <a:gd name="T0" fmla="*/ 481 w 482"/>
              <a:gd name="T1" fmla="*/ 0 h 576"/>
              <a:gd name="T2" fmla="*/ 0 w 482"/>
              <a:gd name="T3" fmla="*/ 575 h 576"/>
              <a:gd name="T4" fmla="*/ 0 w 482"/>
              <a:gd name="T5" fmla="*/ 0 h 576"/>
              <a:gd name="T6" fmla="*/ 481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481" y="0"/>
                </a:moveTo>
                <a:lnTo>
                  <a:pt x="0" y="575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72" name="TextBox 5">
            <a:extLst>
              <a:ext uri="{FF2B5EF4-FFF2-40B4-BE49-F238E27FC236}">
                <a16:creationId xmlns:a16="http://schemas.microsoft.com/office/drawing/2014/main" id="{0B141452-A7FE-11AB-D269-55B6B5350AF0}"/>
              </a:ext>
            </a:extLst>
          </p:cNvPr>
          <p:cNvSpPr txBox="1"/>
          <p:nvPr/>
        </p:nvSpPr>
        <p:spPr>
          <a:xfrm>
            <a:off x="2444516" y="2270154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1</a:t>
            </a:r>
          </a:p>
        </p:txBody>
      </p:sp>
      <p:sp>
        <p:nvSpPr>
          <p:cNvPr id="73" name="TextBox 6">
            <a:extLst>
              <a:ext uri="{FF2B5EF4-FFF2-40B4-BE49-F238E27FC236}">
                <a16:creationId xmlns:a16="http://schemas.microsoft.com/office/drawing/2014/main" id="{D8A33B83-D36C-BDC7-1B09-CE24DD6413B7}"/>
              </a:ext>
            </a:extLst>
          </p:cNvPr>
          <p:cNvSpPr txBox="1"/>
          <p:nvPr/>
        </p:nvSpPr>
        <p:spPr>
          <a:xfrm>
            <a:off x="2444516" y="2561142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5" name="TextBox 8">
            <a:extLst>
              <a:ext uri="{FF2B5EF4-FFF2-40B4-BE49-F238E27FC236}">
                <a16:creationId xmlns:a16="http://schemas.microsoft.com/office/drawing/2014/main" id="{BFFCFC18-4C46-6196-A2C8-E83C0FB86A15}"/>
              </a:ext>
            </a:extLst>
          </p:cNvPr>
          <p:cNvSpPr txBox="1"/>
          <p:nvPr/>
        </p:nvSpPr>
        <p:spPr>
          <a:xfrm>
            <a:off x="2444516" y="4113730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4" name="TextBox 7">
            <a:extLst>
              <a:ext uri="{FF2B5EF4-FFF2-40B4-BE49-F238E27FC236}">
                <a16:creationId xmlns:a16="http://schemas.microsoft.com/office/drawing/2014/main" id="{137E3A43-E6CD-A5CC-A029-D1E5CD0C5A19}"/>
              </a:ext>
            </a:extLst>
          </p:cNvPr>
          <p:cNvSpPr txBox="1"/>
          <p:nvPr/>
        </p:nvSpPr>
        <p:spPr>
          <a:xfrm>
            <a:off x="2444516" y="3822742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2</a:t>
            </a:r>
          </a:p>
        </p:txBody>
      </p:sp>
      <p:sp>
        <p:nvSpPr>
          <p:cNvPr id="76" name="TextBox 9">
            <a:extLst>
              <a:ext uri="{FF2B5EF4-FFF2-40B4-BE49-F238E27FC236}">
                <a16:creationId xmlns:a16="http://schemas.microsoft.com/office/drawing/2014/main" id="{4DC11308-6B38-0930-9B39-9382AB9E3EBC}"/>
              </a:ext>
            </a:extLst>
          </p:cNvPr>
          <p:cNvSpPr txBox="1"/>
          <p:nvPr/>
        </p:nvSpPr>
        <p:spPr>
          <a:xfrm>
            <a:off x="2444516" y="5370399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3</a:t>
            </a:r>
          </a:p>
        </p:txBody>
      </p:sp>
      <p:sp>
        <p:nvSpPr>
          <p:cNvPr id="77" name="TextBox 10">
            <a:extLst>
              <a:ext uri="{FF2B5EF4-FFF2-40B4-BE49-F238E27FC236}">
                <a16:creationId xmlns:a16="http://schemas.microsoft.com/office/drawing/2014/main" id="{1F2C26AE-32F7-8F6E-E76E-E07CCD51548F}"/>
              </a:ext>
            </a:extLst>
          </p:cNvPr>
          <p:cNvSpPr txBox="1"/>
          <p:nvPr/>
        </p:nvSpPr>
        <p:spPr>
          <a:xfrm>
            <a:off x="2444516" y="5661386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8" name="TextBox 11">
            <a:extLst>
              <a:ext uri="{FF2B5EF4-FFF2-40B4-BE49-F238E27FC236}">
                <a16:creationId xmlns:a16="http://schemas.microsoft.com/office/drawing/2014/main" id="{1A4EE655-BECF-0F8A-ABDB-D171E5B613C9}"/>
              </a:ext>
            </a:extLst>
          </p:cNvPr>
          <p:cNvSpPr txBox="1"/>
          <p:nvPr/>
        </p:nvSpPr>
        <p:spPr>
          <a:xfrm>
            <a:off x="6615360" y="2270154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1</a:t>
            </a:r>
          </a:p>
        </p:txBody>
      </p:sp>
      <p:sp>
        <p:nvSpPr>
          <p:cNvPr id="79" name="TextBox 12">
            <a:extLst>
              <a:ext uri="{FF2B5EF4-FFF2-40B4-BE49-F238E27FC236}">
                <a16:creationId xmlns:a16="http://schemas.microsoft.com/office/drawing/2014/main" id="{E8082D67-2259-E792-015E-ACC2FA376782}"/>
              </a:ext>
            </a:extLst>
          </p:cNvPr>
          <p:cNvSpPr txBox="1"/>
          <p:nvPr/>
        </p:nvSpPr>
        <p:spPr>
          <a:xfrm>
            <a:off x="6615360" y="2561142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0" name="TextBox 13">
            <a:extLst>
              <a:ext uri="{FF2B5EF4-FFF2-40B4-BE49-F238E27FC236}">
                <a16:creationId xmlns:a16="http://schemas.microsoft.com/office/drawing/2014/main" id="{D90A0535-DDD7-F24E-78D5-C01DE84D16A9}"/>
              </a:ext>
            </a:extLst>
          </p:cNvPr>
          <p:cNvSpPr txBox="1"/>
          <p:nvPr/>
        </p:nvSpPr>
        <p:spPr>
          <a:xfrm>
            <a:off x="6615360" y="3822742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2</a:t>
            </a:r>
          </a:p>
        </p:txBody>
      </p:sp>
      <p:sp>
        <p:nvSpPr>
          <p:cNvPr id="81" name="TextBox 14">
            <a:extLst>
              <a:ext uri="{FF2B5EF4-FFF2-40B4-BE49-F238E27FC236}">
                <a16:creationId xmlns:a16="http://schemas.microsoft.com/office/drawing/2014/main" id="{4CF4D498-C1CF-A7D9-31DD-67C63CEE281F}"/>
              </a:ext>
            </a:extLst>
          </p:cNvPr>
          <p:cNvSpPr txBox="1"/>
          <p:nvPr/>
        </p:nvSpPr>
        <p:spPr>
          <a:xfrm>
            <a:off x="6615360" y="4113730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2" name="TextBox 15">
            <a:extLst>
              <a:ext uri="{FF2B5EF4-FFF2-40B4-BE49-F238E27FC236}">
                <a16:creationId xmlns:a16="http://schemas.microsoft.com/office/drawing/2014/main" id="{DB30DDDE-1F67-9101-0472-9B2155F46525}"/>
              </a:ext>
            </a:extLst>
          </p:cNvPr>
          <p:cNvSpPr txBox="1"/>
          <p:nvPr/>
        </p:nvSpPr>
        <p:spPr>
          <a:xfrm>
            <a:off x="6615360" y="5370399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3</a:t>
            </a:r>
          </a:p>
        </p:txBody>
      </p:sp>
      <p:sp>
        <p:nvSpPr>
          <p:cNvPr id="83" name="TextBox 16">
            <a:extLst>
              <a:ext uri="{FF2B5EF4-FFF2-40B4-BE49-F238E27FC236}">
                <a16:creationId xmlns:a16="http://schemas.microsoft.com/office/drawing/2014/main" id="{43AF7BD7-CFE5-CA9F-9112-26854F039BD1}"/>
              </a:ext>
            </a:extLst>
          </p:cNvPr>
          <p:cNvSpPr txBox="1"/>
          <p:nvPr/>
        </p:nvSpPr>
        <p:spPr>
          <a:xfrm>
            <a:off x="6615360" y="5661386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6" name="Freeform 67">
            <a:extLst>
              <a:ext uri="{FF2B5EF4-FFF2-40B4-BE49-F238E27FC236}">
                <a16:creationId xmlns:a16="http://schemas.microsoft.com/office/drawing/2014/main" id="{E8F40FF9-E01B-2747-4511-0731187D0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1864343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Freeform 36">
            <a:extLst>
              <a:ext uri="{FF2B5EF4-FFF2-40B4-BE49-F238E27FC236}">
                <a16:creationId xmlns:a16="http://schemas.microsoft.com/office/drawing/2014/main" id="{5F313E41-BA47-8342-5A18-FF5088A25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6154" y="2019423"/>
            <a:ext cx="604378" cy="640517"/>
          </a:xfrm>
          <a:custGeom>
            <a:avLst/>
            <a:gdLst>
              <a:gd name="connsiteX0" fmla="*/ 781491 w 1113194"/>
              <a:gd name="connsiteY0" fmla="*/ 732948 h 1179757"/>
              <a:gd name="connsiteX1" fmla="*/ 660893 w 1113194"/>
              <a:gd name="connsiteY1" fmla="*/ 853546 h 1179757"/>
              <a:gd name="connsiteX2" fmla="*/ 781491 w 1113194"/>
              <a:gd name="connsiteY2" fmla="*/ 974143 h 1179757"/>
              <a:gd name="connsiteX3" fmla="*/ 900845 w 1113194"/>
              <a:gd name="connsiteY3" fmla="*/ 853546 h 1179757"/>
              <a:gd name="connsiteX4" fmla="*/ 781491 w 1113194"/>
              <a:gd name="connsiteY4" fmla="*/ 732948 h 1179757"/>
              <a:gd name="connsiteX5" fmla="*/ 781491 w 1113194"/>
              <a:gd name="connsiteY5" fmla="*/ 703109 h 1179757"/>
              <a:gd name="connsiteX6" fmla="*/ 931927 w 1113194"/>
              <a:gd name="connsiteY6" fmla="*/ 853546 h 1179757"/>
              <a:gd name="connsiteX7" fmla="*/ 781491 w 1113194"/>
              <a:gd name="connsiteY7" fmla="*/ 1003982 h 1179757"/>
              <a:gd name="connsiteX8" fmla="*/ 631054 w 1113194"/>
              <a:gd name="connsiteY8" fmla="*/ 853546 h 1179757"/>
              <a:gd name="connsiteX9" fmla="*/ 781491 w 1113194"/>
              <a:gd name="connsiteY9" fmla="*/ 703109 h 1179757"/>
              <a:gd name="connsiteX10" fmla="*/ 751314 w 1113194"/>
              <a:gd name="connsiteY10" fmla="*/ 547582 h 1179757"/>
              <a:gd name="connsiteX11" fmla="*/ 751314 w 1113194"/>
              <a:gd name="connsiteY11" fmla="*/ 611299 h 1179757"/>
              <a:gd name="connsiteX12" fmla="*/ 737587 w 1113194"/>
              <a:gd name="connsiteY12" fmla="*/ 626292 h 1179757"/>
              <a:gd name="connsiteX13" fmla="*/ 655228 w 1113194"/>
              <a:gd name="connsiteY13" fmla="*/ 660024 h 1179757"/>
              <a:gd name="connsiteX14" fmla="*/ 636510 w 1113194"/>
              <a:gd name="connsiteY14" fmla="*/ 657526 h 1179757"/>
              <a:gd name="connsiteX15" fmla="*/ 591587 w 1113194"/>
              <a:gd name="connsiteY15" fmla="*/ 613798 h 1179757"/>
              <a:gd name="connsiteX16" fmla="*/ 549160 w 1113194"/>
              <a:gd name="connsiteY16" fmla="*/ 657526 h 1179757"/>
              <a:gd name="connsiteX17" fmla="*/ 592835 w 1113194"/>
              <a:gd name="connsiteY17" fmla="*/ 701253 h 1179757"/>
              <a:gd name="connsiteX18" fmla="*/ 594083 w 1113194"/>
              <a:gd name="connsiteY18" fmla="*/ 721243 h 1179757"/>
              <a:gd name="connsiteX19" fmla="*/ 559143 w 1113194"/>
              <a:gd name="connsiteY19" fmla="*/ 804950 h 1179757"/>
              <a:gd name="connsiteX20" fmla="*/ 544168 w 1113194"/>
              <a:gd name="connsiteY20" fmla="*/ 817443 h 1179757"/>
              <a:gd name="connsiteX21" fmla="*/ 481775 w 1113194"/>
              <a:gd name="connsiteY21" fmla="*/ 817443 h 1179757"/>
              <a:gd name="connsiteX22" fmla="*/ 481775 w 1113194"/>
              <a:gd name="connsiteY22" fmla="*/ 878662 h 1179757"/>
              <a:gd name="connsiteX23" fmla="*/ 542920 w 1113194"/>
              <a:gd name="connsiteY23" fmla="*/ 878662 h 1179757"/>
              <a:gd name="connsiteX24" fmla="*/ 557895 w 1113194"/>
              <a:gd name="connsiteY24" fmla="*/ 891155 h 1179757"/>
              <a:gd name="connsiteX25" fmla="*/ 592835 w 1113194"/>
              <a:gd name="connsiteY25" fmla="*/ 977361 h 1179757"/>
              <a:gd name="connsiteX26" fmla="*/ 590339 w 1113194"/>
              <a:gd name="connsiteY26" fmla="*/ 996101 h 1179757"/>
              <a:gd name="connsiteX27" fmla="*/ 549160 w 1113194"/>
              <a:gd name="connsiteY27" fmla="*/ 1038580 h 1179757"/>
              <a:gd name="connsiteX28" fmla="*/ 591587 w 1113194"/>
              <a:gd name="connsiteY28" fmla="*/ 1082307 h 1179757"/>
              <a:gd name="connsiteX29" fmla="*/ 634015 w 1113194"/>
              <a:gd name="connsiteY29" fmla="*/ 1039829 h 1179757"/>
              <a:gd name="connsiteX30" fmla="*/ 652732 w 1113194"/>
              <a:gd name="connsiteY30" fmla="*/ 1037330 h 1179757"/>
              <a:gd name="connsiteX31" fmla="*/ 740083 w 1113194"/>
              <a:gd name="connsiteY31" fmla="*/ 1073562 h 1179757"/>
              <a:gd name="connsiteX32" fmla="*/ 751314 w 1113194"/>
              <a:gd name="connsiteY32" fmla="*/ 1088554 h 1179757"/>
              <a:gd name="connsiteX33" fmla="*/ 751314 w 1113194"/>
              <a:gd name="connsiteY33" fmla="*/ 1108544 h 1179757"/>
              <a:gd name="connsiteX34" fmla="*/ 751314 w 1113194"/>
              <a:gd name="connsiteY34" fmla="*/ 1148523 h 1179757"/>
              <a:gd name="connsiteX35" fmla="*/ 812459 w 1113194"/>
              <a:gd name="connsiteY35" fmla="*/ 1148523 h 1179757"/>
              <a:gd name="connsiteX36" fmla="*/ 812459 w 1113194"/>
              <a:gd name="connsiteY36" fmla="*/ 1088554 h 1179757"/>
              <a:gd name="connsiteX37" fmla="*/ 824938 w 1113194"/>
              <a:gd name="connsiteY37" fmla="*/ 1073562 h 1179757"/>
              <a:gd name="connsiteX38" fmla="*/ 911040 w 1113194"/>
              <a:gd name="connsiteY38" fmla="*/ 1037330 h 1179757"/>
              <a:gd name="connsiteX39" fmla="*/ 931006 w 1113194"/>
              <a:gd name="connsiteY39" fmla="*/ 1039829 h 1179757"/>
              <a:gd name="connsiteX40" fmla="*/ 973434 w 1113194"/>
              <a:gd name="connsiteY40" fmla="*/ 1082307 h 1179757"/>
              <a:gd name="connsiteX41" fmla="*/ 1015861 w 1113194"/>
              <a:gd name="connsiteY41" fmla="*/ 1038580 h 1179757"/>
              <a:gd name="connsiteX42" fmla="*/ 973434 w 1113194"/>
              <a:gd name="connsiteY42" fmla="*/ 996101 h 1179757"/>
              <a:gd name="connsiteX43" fmla="*/ 970938 w 1113194"/>
              <a:gd name="connsiteY43" fmla="*/ 977361 h 1179757"/>
              <a:gd name="connsiteX44" fmla="*/ 1005878 w 1113194"/>
              <a:gd name="connsiteY44" fmla="*/ 891155 h 1179757"/>
              <a:gd name="connsiteX45" fmla="*/ 1020852 w 1113194"/>
              <a:gd name="connsiteY45" fmla="*/ 878662 h 1179757"/>
              <a:gd name="connsiteX46" fmla="*/ 1081998 w 1113194"/>
              <a:gd name="connsiteY46" fmla="*/ 878662 h 1179757"/>
              <a:gd name="connsiteX47" fmla="*/ 1081998 w 1113194"/>
              <a:gd name="connsiteY47" fmla="*/ 817443 h 1179757"/>
              <a:gd name="connsiteX48" fmla="*/ 1019605 w 1113194"/>
              <a:gd name="connsiteY48" fmla="*/ 817443 h 1179757"/>
              <a:gd name="connsiteX49" fmla="*/ 1005878 w 1113194"/>
              <a:gd name="connsiteY49" fmla="*/ 804950 h 1179757"/>
              <a:gd name="connsiteX50" fmla="*/ 969690 w 1113194"/>
              <a:gd name="connsiteY50" fmla="*/ 721243 h 1179757"/>
              <a:gd name="connsiteX51" fmla="*/ 972186 w 1113194"/>
              <a:gd name="connsiteY51" fmla="*/ 701253 h 1179757"/>
              <a:gd name="connsiteX52" fmla="*/ 1015861 w 1113194"/>
              <a:gd name="connsiteY52" fmla="*/ 657526 h 1179757"/>
              <a:gd name="connsiteX53" fmla="*/ 973434 w 1113194"/>
              <a:gd name="connsiteY53" fmla="*/ 613798 h 1179757"/>
              <a:gd name="connsiteX54" fmla="*/ 927263 w 1113194"/>
              <a:gd name="connsiteY54" fmla="*/ 657526 h 1179757"/>
              <a:gd name="connsiteX55" fmla="*/ 908545 w 1113194"/>
              <a:gd name="connsiteY55" fmla="*/ 660024 h 1179757"/>
              <a:gd name="connsiteX56" fmla="*/ 824938 w 1113194"/>
              <a:gd name="connsiteY56" fmla="*/ 626292 h 1179757"/>
              <a:gd name="connsiteX57" fmla="*/ 812459 w 1113194"/>
              <a:gd name="connsiteY57" fmla="*/ 611299 h 1179757"/>
              <a:gd name="connsiteX58" fmla="*/ 812459 w 1113194"/>
              <a:gd name="connsiteY58" fmla="*/ 547582 h 1179757"/>
              <a:gd name="connsiteX59" fmla="*/ 736339 w 1113194"/>
              <a:gd name="connsiteY59" fmla="*/ 516348 h 1179757"/>
              <a:gd name="connsiteX60" fmla="*/ 827433 w 1113194"/>
              <a:gd name="connsiteY60" fmla="*/ 516348 h 1179757"/>
              <a:gd name="connsiteX61" fmla="*/ 843656 w 1113194"/>
              <a:gd name="connsiteY61" fmla="*/ 532590 h 1179757"/>
              <a:gd name="connsiteX62" fmla="*/ 843656 w 1113194"/>
              <a:gd name="connsiteY62" fmla="*/ 598806 h 1179757"/>
              <a:gd name="connsiteX63" fmla="*/ 914784 w 1113194"/>
              <a:gd name="connsiteY63" fmla="*/ 628790 h 1179757"/>
              <a:gd name="connsiteX64" fmla="*/ 962203 w 1113194"/>
              <a:gd name="connsiteY64" fmla="*/ 581315 h 1179757"/>
              <a:gd name="connsiteX65" fmla="*/ 983416 w 1113194"/>
              <a:gd name="connsiteY65" fmla="*/ 581315 h 1179757"/>
              <a:gd name="connsiteX66" fmla="*/ 1048305 w 1113194"/>
              <a:gd name="connsiteY66" fmla="*/ 646281 h 1179757"/>
              <a:gd name="connsiteX67" fmla="*/ 1048305 w 1113194"/>
              <a:gd name="connsiteY67" fmla="*/ 668770 h 1179757"/>
              <a:gd name="connsiteX68" fmla="*/ 1002134 w 1113194"/>
              <a:gd name="connsiteY68" fmla="*/ 713747 h 1179757"/>
              <a:gd name="connsiteX69" fmla="*/ 1033331 w 1113194"/>
              <a:gd name="connsiteY69" fmla="*/ 786209 h 1179757"/>
              <a:gd name="connsiteX70" fmla="*/ 1096972 w 1113194"/>
              <a:gd name="connsiteY70" fmla="*/ 786209 h 1179757"/>
              <a:gd name="connsiteX71" fmla="*/ 1113194 w 1113194"/>
              <a:gd name="connsiteY71" fmla="*/ 801202 h 1179757"/>
              <a:gd name="connsiteX72" fmla="*/ 1113194 w 1113194"/>
              <a:gd name="connsiteY72" fmla="*/ 893654 h 1179757"/>
              <a:gd name="connsiteX73" fmla="*/ 1096972 w 1113194"/>
              <a:gd name="connsiteY73" fmla="*/ 909896 h 1179757"/>
              <a:gd name="connsiteX74" fmla="*/ 1034579 w 1113194"/>
              <a:gd name="connsiteY74" fmla="*/ 909896 h 1179757"/>
              <a:gd name="connsiteX75" fmla="*/ 1004630 w 1113194"/>
              <a:gd name="connsiteY75" fmla="*/ 982358 h 1179757"/>
              <a:gd name="connsiteX76" fmla="*/ 1048305 w 1113194"/>
              <a:gd name="connsiteY76" fmla="*/ 1028585 h 1179757"/>
              <a:gd name="connsiteX77" fmla="*/ 1048305 w 1113194"/>
              <a:gd name="connsiteY77" fmla="*/ 1049824 h 1179757"/>
              <a:gd name="connsiteX78" fmla="*/ 983416 w 1113194"/>
              <a:gd name="connsiteY78" fmla="*/ 1114790 h 1179757"/>
              <a:gd name="connsiteX79" fmla="*/ 973434 w 1113194"/>
              <a:gd name="connsiteY79" fmla="*/ 1118538 h 1179757"/>
              <a:gd name="connsiteX80" fmla="*/ 962203 w 1113194"/>
              <a:gd name="connsiteY80" fmla="*/ 1114790 h 1179757"/>
              <a:gd name="connsiteX81" fmla="*/ 918528 w 1113194"/>
              <a:gd name="connsiteY81" fmla="*/ 1069813 h 1179757"/>
              <a:gd name="connsiteX82" fmla="*/ 843656 w 1113194"/>
              <a:gd name="connsiteY82" fmla="*/ 1101047 h 1179757"/>
              <a:gd name="connsiteX83" fmla="*/ 843656 w 1113194"/>
              <a:gd name="connsiteY83" fmla="*/ 1163515 h 1179757"/>
              <a:gd name="connsiteX84" fmla="*/ 827433 w 1113194"/>
              <a:gd name="connsiteY84" fmla="*/ 1179757 h 1179757"/>
              <a:gd name="connsiteX85" fmla="*/ 736339 w 1113194"/>
              <a:gd name="connsiteY85" fmla="*/ 1179757 h 1179757"/>
              <a:gd name="connsiteX86" fmla="*/ 721365 w 1113194"/>
              <a:gd name="connsiteY86" fmla="*/ 1163515 h 1179757"/>
              <a:gd name="connsiteX87" fmla="*/ 721365 w 1113194"/>
              <a:gd name="connsiteY87" fmla="*/ 1131032 h 1179757"/>
              <a:gd name="connsiteX88" fmla="*/ 473040 w 1113194"/>
              <a:gd name="connsiteY88" fmla="*/ 1178508 h 1179757"/>
              <a:gd name="connsiteX89" fmla="*/ 37535 w 1113194"/>
              <a:gd name="connsiteY89" fmla="*/ 1019839 h 1179757"/>
              <a:gd name="connsiteX90" fmla="*/ 2595 w 1113194"/>
              <a:gd name="connsiteY90" fmla="*/ 917392 h 1179757"/>
              <a:gd name="connsiteX91" fmla="*/ 30048 w 1113194"/>
              <a:gd name="connsiteY91" fmla="*/ 794955 h 1179757"/>
              <a:gd name="connsiteX92" fmla="*/ 218475 w 1113194"/>
              <a:gd name="connsiteY92" fmla="*/ 590060 h 1179757"/>
              <a:gd name="connsiteX93" fmla="*/ 380698 w 1113194"/>
              <a:gd name="connsiteY93" fmla="*/ 590060 h 1179757"/>
              <a:gd name="connsiteX94" fmla="*/ 415638 w 1113194"/>
              <a:gd name="connsiteY94" fmla="*/ 608801 h 1179757"/>
              <a:gd name="connsiteX95" fmla="*/ 459313 w 1113194"/>
              <a:gd name="connsiteY95" fmla="*/ 685011 h 1179757"/>
              <a:gd name="connsiteX96" fmla="*/ 473040 w 1113194"/>
              <a:gd name="connsiteY96" fmla="*/ 693757 h 1179757"/>
              <a:gd name="connsiteX97" fmla="*/ 486767 w 1113194"/>
              <a:gd name="connsiteY97" fmla="*/ 685011 h 1179757"/>
              <a:gd name="connsiteX98" fmla="*/ 507980 w 1113194"/>
              <a:gd name="connsiteY98" fmla="*/ 680014 h 1179757"/>
              <a:gd name="connsiteX99" fmla="*/ 512972 w 1113194"/>
              <a:gd name="connsiteY99" fmla="*/ 701253 h 1179757"/>
              <a:gd name="connsiteX100" fmla="*/ 473040 w 1113194"/>
              <a:gd name="connsiteY100" fmla="*/ 724991 h 1179757"/>
              <a:gd name="connsiteX101" fmla="*/ 433108 w 1113194"/>
              <a:gd name="connsiteY101" fmla="*/ 701253 h 1179757"/>
              <a:gd name="connsiteX102" fmla="*/ 388185 w 1113194"/>
              <a:gd name="connsiteY102" fmla="*/ 625042 h 1179757"/>
              <a:gd name="connsiteX103" fmla="*/ 380698 w 1113194"/>
              <a:gd name="connsiteY103" fmla="*/ 620045 h 1179757"/>
              <a:gd name="connsiteX104" fmla="*/ 218475 w 1113194"/>
              <a:gd name="connsiteY104" fmla="*/ 620045 h 1179757"/>
              <a:gd name="connsiteX105" fmla="*/ 59997 w 1113194"/>
              <a:gd name="connsiteY105" fmla="*/ 802451 h 1179757"/>
              <a:gd name="connsiteX106" fmla="*/ 32544 w 1113194"/>
              <a:gd name="connsiteY106" fmla="*/ 923639 h 1179757"/>
              <a:gd name="connsiteX107" fmla="*/ 57501 w 1113194"/>
              <a:gd name="connsiteY107" fmla="*/ 997351 h 1179757"/>
              <a:gd name="connsiteX108" fmla="*/ 202253 w 1113194"/>
              <a:gd name="connsiteY108" fmla="*/ 1088554 h 1179757"/>
              <a:gd name="connsiteX109" fmla="*/ 202253 w 1113194"/>
              <a:gd name="connsiteY109" fmla="*/ 859921 h 1179757"/>
              <a:gd name="connsiteX110" fmla="*/ 217228 w 1113194"/>
              <a:gd name="connsiteY110" fmla="*/ 844929 h 1179757"/>
              <a:gd name="connsiteX111" fmla="*/ 232202 w 1113194"/>
              <a:gd name="connsiteY111" fmla="*/ 859921 h 1179757"/>
              <a:gd name="connsiteX112" fmla="*/ 232202 w 1113194"/>
              <a:gd name="connsiteY112" fmla="*/ 1101047 h 1179757"/>
              <a:gd name="connsiteX113" fmla="*/ 473040 w 1113194"/>
              <a:gd name="connsiteY113" fmla="*/ 1147274 h 1179757"/>
              <a:gd name="connsiteX114" fmla="*/ 716374 w 1113194"/>
              <a:gd name="connsiteY114" fmla="*/ 1099798 h 1179757"/>
              <a:gd name="connsiteX115" fmla="*/ 646493 w 1113194"/>
              <a:gd name="connsiteY115" fmla="*/ 1069813 h 1179757"/>
              <a:gd name="connsiteX116" fmla="*/ 602818 w 1113194"/>
              <a:gd name="connsiteY116" fmla="*/ 1114790 h 1179757"/>
              <a:gd name="connsiteX117" fmla="*/ 580356 w 1113194"/>
              <a:gd name="connsiteY117" fmla="*/ 1114790 h 1179757"/>
              <a:gd name="connsiteX118" fmla="*/ 515467 w 1113194"/>
              <a:gd name="connsiteY118" fmla="*/ 1049824 h 1179757"/>
              <a:gd name="connsiteX119" fmla="*/ 511724 w 1113194"/>
              <a:gd name="connsiteY119" fmla="*/ 1038580 h 1179757"/>
              <a:gd name="connsiteX120" fmla="*/ 515467 w 1113194"/>
              <a:gd name="connsiteY120" fmla="*/ 1028585 h 1179757"/>
              <a:gd name="connsiteX121" fmla="*/ 560391 w 1113194"/>
              <a:gd name="connsiteY121" fmla="*/ 982358 h 1179757"/>
              <a:gd name="connsiteX122" fmla="*/ 530442 w 1113194"/>
              <a:gd name="connsiteY122" fmla="*/ 909896 h 1179757"/>
              <a:gd name="connsiteX123" fmla="*/ 466801 w 1113194"/>
              <a:gd name="connsiteY123" fmla="*/ 909896 h 1179757"/>
              <a:gd name="connsiteX124" fmla="*/ 451826 w 1113194"/>
              <a:gd name="connsiteY124" fmla="*/ 893654 h 1179757"/>
              <a:gd name="connsiteX125" fmla="*/ 451826 w 1113194"/>
              <a:gd name="connsiteY125" fmla="*/ 801202 h 1179757"/>
              <a:gd name="connsiteX126" fmla="*/ 466801 w 1113194"/>
              <a:gd name="connsiteY126" fmla="*/ 786209 h 1179757"/>
              <a:gd name="connsiteX127" fmla="*/ 531690 w 1113194"/>
              <a:gd name="connsiteY127" fmla="*/ 786209 h 1179757"/>
              <a:gd name="connsiteX128" fmla="*/ 561638 w 1113194"/>
              <a:gd name="connsiteY128" fmla="*/ 713747 h 1179757"/>
              <a:gd name="connsiteX129" fmla="*/ 515467 w 1113194"/>
              <a:gd name="connsiteY129" fmla="*/ 668770 h 1179757"/>
              <a:gd name="connsiteX130" fmla="*/ 511724 w 1113194"/>
              <a:gd name="connsiteY130" fmla="*/ 657526 h 1179757"/>
              <a:gd name="connsiteX131" fmla="*/ 515467 w 1113194"/>
              <a:gd name="connsiteY131" fmla="*/ 646281 h 1179757"/>
              <a:gd name="connsiteX132" fmla="*/ 580356 w 1113194"/>
              <a:gd name="connsiteY132" fmla="*/ 581315 h 1179757"/>
              <a:gd name="connsiteX133" fmla="*/ 602818 w 1113194"/>
              <a:gd name="connsiteY133" fmla="*/ 581315 h 1179757"/>
              <a:gd name="connsiteX134" fmla="*/ 648989 w 1113194"/>
              <a:gd name="connsiteY134" fmla="*/ 628790 h 1179757"/>
              <a:gd name="connsiteX135" fmla="*/ 721365 w 1113194"/>
              <a:gd name="connsiteY135" fmla="*/ 597556 h 1179757"/>
              <a:gd name="connsiteX136" fmla="*/ 721365 w 1113194"/>
              <a:gd name="connsiteY136" fmla="*/ 532590 h 1179757"/>
              <a:gd name="connsiteX137" fmla="*/ 736339 w 1113194"/>
              <a:gd name="connsiteY137" fmla="*/ 516348 h 1179757"/>
              <a:gd name="connsiteX138" fmla="*/ 435241 w 1113194"/>
              <a:gd name="connsiteY138" fmla="*/ 170688 h 1179757"/>
              <a:gd name="connsiteX139" fmla="*/ 283189 w 1113194"/>
              <a:gd name="connsiteY139" fmla="*/ 314686 h 1179757"/>
              <a:gd name="connsiteX140" fmla="*/ 281943 w 1113194"/>
              <a:gd name="connsiteY140" fmla="*/ 327100 h 1179757"/>
              <a:gd name="connsiteX141" fmla="*/ 473877 w 1113194"/>
              <a:gd name="connsiteY141" fmla="*/ 517029 h 1179757"/>
              <a:gd name="connsiteX142" fmla="*/ 664565 w 1113194"/>
              <a:gd name="connsiteY142" fmla="*/ 327100 h 1179757"/>
              <a:gd name="connsiteX143" fmla="*/ 435241 w 1113194"/>
              <a:gd name="connsiteY143" fmla="*/ 170688 h 1179757"/>
              <a:gd name="connsiteX144" fmla="*/ 430256 w 1113194"/>
              <a:gd name="connsiteY144" fmla="*/ 111103 h 1179757"/>
              <a:gd name="connsiteX145" fmla="*/ 446458 w 1113194"/>
              <a:gd name="connsiteY145" fmla="*/ 121034 h 1179757"/>
              <a:gd name="connsiteX146" fmla="*/ 680767 w 1113194"/>
              <a:gd name="connsiteY146" fmla="*/ 297307 h 1179757"/>
              <a:gd name="connsiteX147" fmla="*/ 695723 w 1113194"/>
              <a:gd name="connsiteY147" fmla="*/ 312204 h 1179757"/>
              <a:gd name="connsiteX148" fmla="*/ 695723 w 1113194"/>
              <a:gd name="connsiteY148" fmla="*/ 327100 h 1179757"/>
              <a:gd name="connsiteX149" fmla="*/ 473877 w 1113194"/>
              <a:gd name="connsiteY149" fmla="*/ 548063 h 1179757"/>
              <a:gd name="connsiteX150" fmla="*/ 252031 w 1113194"/>
              <a:gd name="connsiteY150" fmla="*/ 327100 h 1179757"/>
              <a:gd name="connsiteX151" fmla="*/ 253277 w 1113194"/>
              <a:gd name="connsiteY151" fmla="*/ 302273 h 1179757"/>
              <a:gd name="connsiteX152" fmla="*/ 265741 w 1113194"/>
              <a:gd name="connsiteY152" fmla="*/ 287376 h 1179757"/>
              <a:gd name="connsiteX153" fmla="*/ 416546 w 1113194"/>
              <a:gd name="connsiteY153" fmla="*/ 122275 h 1179757"/>
              <a:gd name="connsiteX154" fmla="*/ 430256 w 1113194"/>
              <a:gd name="connsiteY154" fmla="*/ 111103 h 1179757"/>
              <a:gd name="connsiteX155" fmla="*/ 464522 w 1113194"/>
              <a:gd name="connsiteY155" fmla="*/ 0 h 1179757"/>
              <a:gd name="connsiteX156" fmla="*/ 647888 w 1113194"/>
              <a:gd name="connsiteY156" fmla="*/ 60799 h 1179757"/>
              <a:gd name="connsiteX157" fmla="*/ 757657 w 1113194"/>
              <a:gd name="connsiteY157" fmla="*/ 363557 h 1179757"/>
              <a:gd name="connsiteX158" fmla="*/ 745183 w 1113194"/>
              <a:gd name="connsiteY158" fmla="*/ 441728 h 1179757"/>
              <a:gd name="connsiteX159" fmla="*/ 691546 w 1113194"/>
              <a:gd name="connsiteY159" fmla="*/ 487638 h 1179757"/>
              <a:gd name="connsiteX160" fmla="*/ 671588 w 1113194"/>
              <a:gd name="connsiteY160" fmla="*/ 487638 h 1179757"/>
              <a:gd name="connsiteX161" fmla="*/ 656619 w 1113194"/>
              <a:gd name="connsiteY161" fmla="*/ 472749 h 1179757"/>
              <a:gd name="connsiteX162" fmla="*/ 671588 w 1113194"/>
              <a:gd name="connsiteY162" fmla="*/ 456618 h 1179757"/>
              <a:gd name="connsiteX163" fmla="*/ 691546 w 1113194"/>
              <a:gd name="connsiteY163" fmla="*/ 456618 h 1179757"/>
              <a:gd name="connsiteX164" fmla="*/ 715246 w 1113194"/>
              <a:gd name="connsiteY164" fmla="*/ 436765 h 1179757"/>
              <a:gd name="connsiteX165" fmla="*/ 726473 w 1113194"/>
              <a:gd name="connsiteY165" fmla="*/ 359835 h 1179757"/>
              <a:gd name="connsiteX166" fmla="*/ 629177 w 1113194"/>
              <a:gd name="connsiteY166" fmla="*/ 84375 h 1179757"/>
              <a:gd name="connsiteX167" fmla="*/ 465769 w 1113194"/>
              <a:gd name="connsiteY167" fmla="*/ 31020 h 1179757"/>
              <a:gd name="connsiteX168" fmla="*/ 233756 w 1113194"/>
              <a:gd name="connsiteY168" fmla="*/ 187362 h 1179757"/>
              <a:gd name="connsiteX169" fmla="*/ 220035 w 1113194"/>
              <a:gd name="connsiteY169" fmla="*/ 385892 h 1179757"/>
              <a:gd name="connsiteX170" fmla="*/ 228766 w 1113194"/>
              <a:gd name="connsiteY170" fmla="*/ 436765 h 1179757"/>
              <a:gd name="connsiteX171" fmla="*/ 252467 w 1113194"/>
              <a:gd name="connsiteY171" fmla="*/ 456618 h 1179757"/>
              <a:gd name="connsiteX172" fmla="*/ 273672 w 1113194"/>
              <a:gd name="connsiteY172" fmla="*/ 456618 h 1179757"/>
              <a:gd name="connsiteX173" fmla="*/ 289888 w 1113194"/>
              <a:gd name="connsiteY173" fmla="*/ 472749 h 1179757"/>
              <a:gd name="connsiteX174" fmla="*/ 273672 w 1113194"/>
              <a:gd name="connsiteY174" fmla="*/ 487638 h 1179757"/>
              <a:gd name="connsiteX175" fmla="*/ 252467 w 1113194"/>
              <a:gd name="connsiteY175" fmla="*/ 487638 h 1179757"/>
              <a:gd name="connsiteX176" fmla="*/ 198829 w 1113194"/>
              <a:gd name="connsiteY176" fmla="*/ 441728 h 1179757"/>
              <a:gd name="connsiteX177" fmla="*/ 190097 w 1113194"/>
              <a:gd name="connsiteY177" fmla="*/ 390855 h 1179757"/>
              <a:gd name="connsiteX178" fmla="*/ 205066 w 1113194"/>
              <a:gd name="connsiteY178" fmla="*/ 176195 h 1179757"/>
              <a:gd name="connsiteX179" fmla="*/ 464522 w 1113194"/>
              <a:gd name="connsiteY179" fmla="*/ 0 h 1179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</a:cxnLst>
            <a:rect l="l" t="t" r="r" b="b"/>
            <a:pathLst>
              <a:path w="1113194" h="1179757">
                <a:moveTo>
                  <a:pt x="781491" y="732948"/>
                </a:moveTo>
                <a:cubicBezTo>
                  <a:pt x="715597" y="732948"/>
                  <a:pt x="660893" y="787652"/>
                  <a:pt x="660893" y="853546"/>
                </a:cubicBezTo>
                <a:cubicBezTo>
                  <a:pt x="660893" y="919439"/>
                  <a:pt x="715597" y="974143"/>
                  <a:pt x="781491" y="974143"/>
                </a:cubicBezTo>
                <a:cubicBezTo>
                  <a:pt x="847384" y="974143"/>
                  <a:pt x="900845" y="919439"/>
                  <a:pt x="900845" y="853546"/>
                </a:cubicBezTo>
                <a:cubicBezTo>
                  <a:pt x="900845" y="787652"/>
                  <a:pt x="847384" y="732948"/>
                  <a:pt x="781491" y="732948"/>
                </a:cubicBezTo>
                <a:close/>
                <a:moveTo>
                  <a:pt x="781491" y="703109"/>
                </a:moveTo>
                <a:cubicBezTo>
                  <a:pt x="863547" y="703109"/>
                  <a:pt x="931927" y="770246"/>
                  <a:pt x="931927" y="853546"/>
                </a:cubicBezTo>
                <a:cubicBezTo>
                  <a:pt x="931927" y="936845"/>
                  <a:pt x="863547" y="1003982"/>
                  <a:pt x="781491" y="1003982"/>
                </a:cubicBezTo>
                <a:cubicBezTo>
                  <a:pt x="698191" y="1003982"/>
                  <a:pt x="631054" y="936845"/>
                  <a:pt x="631054" y="853546"/>
                </a:cubicBezTo>
                <a:cubicBezTo>
                  <a:pt x="631054" y="770246"/>
                  <a:pt x="698191" y="703109"/>
                  <a:pt x="781491" y="703109"/>
                </a:cubicBezTo>
                <a:close/>
                <a:moveTo>
                  <a:pt x="751314" y="547582"/>
                </a:moveTo>
                <a:lnTo>
                  <a:pt x="751314" y="611299"/>
                </a:lnTo>
                <a:cubicBezTo>
                  <a:pt x="751314" y="618796"/>
                  <a:pt x="745074" y="625042"/>
                  <a:pt x="737587" y="626292"/>
                </a:cubicBezTo>
                <a:cubicBezTo>
                  <a:pt x="711382" y="628790"/>
                  <a:pt x="685177" y="640035"/>
                  <a:pt x="655228" y="660024"/>
                </a:cubicBezTo>
                <a:cubicBezTo>
                  <a:pt x="648989" y="663772"/>
                  <a:pt x="641502" y="663772"/>
                  <a:pt x="636510" y="657526"/>
                </a:cubicBezTo>
                <a:lnTo>
                  <a:pt x="591587" y="613798"/>
                </a:lnTo>
                <a:lnTo>
                  <a:pt x="549160" y="657526"/>
                </a:lnTo>
                <a:lnTo>
                  <a:pt x="592835" y="701253"/>
                </a:lnTo>
                <a:cubicBezTo>
                  <a:pt x="597826" y="706251"/>
                  <a:pt x="597826" y="714996"/>
                  <a:pt x="594083" y="721243"/>
                </a:cubicBezTo>
                <a:cubicBezTo>
                  <a:pt x="576613" y="747479"/>
                  <a:pt x="565382" y="774965"/>
                  <a:pt x="559143" y="804950"/>
                </a:cubicBezTo>
                <a:cubicBezTo>
                  <a:pt x="556647" y="812446"/>
                  <a:pt x="551655" y="817443"/>
                  <a:pt x="544168" y="817443"/>
                </a:cubicBezTo>
                <a:lnTo>
                  <a:pt x="481775" y="817443"/>
                </a:lnTo>
                <a:lnTo>
                  <a:pt x="481775" y="878662"/>
                </a:lnTo>
                <a:lnTo>
                  <a:pt x="542920" y="878662"/>
                </a:lnTo>
                <a:cubicBezTo>
                  <a:pt x="550408" y="878662"/>
                  <a:pt x="556647" y="883659"/>
                  <a:pt x="557895" y="891155"/>
                </a:cubicBezTo>
                <a:cubicBezTo>
                  <a:pt x="564134" y="921140"/>
                  <a:pt x="575365" y="951125"/>
                  <a:pt x="592835" y="977361"/>
                </a:cubicBezTo>
                <a:cubicBezTo>
                  <a:pt x="596579" y="982358"/>
                  <a:pt x="596579" y="991104"/>
                  <a:pt x="590339" y="996101"/>
                </a:cubicBezTo>
                <a:lnTo>
                  <a:pt x="549160" y="1038580"/>
                </a:lnTo>
                <a:lnTo>
                  <a:pt x="591587" y="1082307"/>
                </a:lnTo>
                <a:lnTo>
                  <a:pt x="634015" y="1039829"/>
                </a:lnTo>
                <a:cubicBezTo>
                  <a:pt x="639006" y="1034831"/>
                  <a:pt x="646493" y="1034831"/>
                  <a:pt x="652732" y="1037330"/>
                </a:cubicBezTo>
                <a:cubicBezTo>
                  <a:pt x="678938" y="1056071"/>
                  <a:pt x="708886" y="1067315"/>
                  <a:pt x="740083" y="1073562"/>
                </a:cubicBezTo>
                <a:cubicBezTo>
                  <a:pt x="746322" y="1074811"/>
                  <a:pt x="751314" y="1081058"/>
                  <a:pt x="751314" y="1088554"/>
                </a:cubicBezTo>
                <a:lnTo>
                  <a:pt x="751314" y="1108544"/>
                </a:lnTo>
                <a:lnTo>
                  <a:pt x="751314" y="1148523"/>
                </a:lnTo>
                <a:lnTo>
                  <a:pt x="812459" y="1148523"/>
                </a:lnTo>
                <a:lnTo>
                  <a:pt x="812459" y="1088554"/>
                </a:lnTo>
                <a:cubicBezTo>
                  <a:pt x="812459" y="1081058"/>
                  <a:pt x="818698" y="1074811"/>
                  <a:pt x="824938" y="1073562"/>
                </a:cubicBezTo>
                <a:cubicBezTo>
                  <a:pt x="856134" y="1067315"/>
                  <a:pt x="884835" y="1056071"/>
                  <a:pt x="911040" y="1037330"/>
                </a:cubicBezTo>
                <a:cubicBezTo>
                  <a:pt x="917280" y="1034831"/>
                  <a:pt x="926015" y="1034831"/>
                  <a:pt x="931006" y="1039829"/>
                </a:cubicBezTo>
                <a:lnTo>
                  <a:pt x="973434" y="1082307"/>
                </a:lnTo>
                <a:lnTo>
                  <a:pt x="1015861" y="1038580"/>
                </a:lnTo>
                <a:lnTo>
                  <a:pt x="973434" y="996101"/>
                </a:lnTo>
                <a:cubicBezTo>
                  <a:pt x="968442" y="991104"/>
                  <a:pt x="967194" y="982358"/>
                  <a:pt x="970938" y="977361"/>
                </a:cubicBezTo>
                <a:cubicBezTo>
                  <a:pt x="989656" y="951125"/>
                  <a:pt x="1000887" y="921140"/>
                  <a:pt x="1005878" y="891155"/>
                </a:cubicBezTo>
                <a:cubicBezTo>
                  <a:pt x="1007126" y="883659"/>
                  <a:pt x="1014613" y="878662"/>
                  <a:pt x="1020852" y="878662"/>
                </a:cubicBezTo>
                <a:lnTo>
                  <a:pt x="1081998" y="878662"/>
                </a:lnTo>
                <a:lnTo>
                  <a:pt x="1081998" y="817443"/>
                </a:lnTo>
                <a:lnTo>
                  <a:pt x="1019605" y="817443"/>
                </a:lnTo>
                <a:cubicBezTo>
                  <a:pt x="1013365" y="817443"/>
                  <a:pt x="1007126" y="812446"/>
                  <a:pt x="1005878" y="804950"/>
                </a:cubicBezTo>
                <a:cubicBezTo>
                  <a:pt x="999639" y="774965"/>
                  <a:pt x="987160" y="747479"/>
                  <a:pt x="969690" y="721243"/>
                </a:cubicBezTo>
                <a:cubicBezTo>
                  <a:pt x="965946" y="714996"/>
                  <a:pt x="967194" y="706251"/>
                  <a:pt x="972186" y="701253"/>
                </a:cubicBezTo>
                <a:lnTo>
                  <a:pt x="1015861" y="657526"/>
                </a:lnTo>
                <a:lnTo>
                  <a:pt x="973434" y="613798"/>
                </a:lnTo>
                <a:lnTo>
                  <a:pt x="927263" y="657526"/>
                </a:lnTo>
                <a:cubicBezTo>
                  <a:pt x="923519" y="663772"/>
                  <a:pt x="914784" y="663772"/>
                  <a:pt x="908545" y="660024"/>
                </a:cubicBezTo>
                <a:cubicBezTo>
                  <a:pt x="883587" y="643783"/>
                  <a:pt x="854886" y="631289"/>
                  <a:pt x="824938" y="626292"/>
                </a:cubicBezTo>
                <a:cubicBezTo>
                  <a:pt x="818698" y="625042"/>
                  <a:pt x="812459" y="618796"/>
                  <a:pt x="812459" y="611299"/>
                </a:cubicBezTo>
                <a:lnTo>
                  <a:pt x="812459" y="547582"/>
                </a:lnTo>
                <a:close/>
                <a:moveTo>
                  <a:pt x="736339" y="516348"/>
                </a:moveTo>
                <a:lnTo>
                  <a:pt x="827433" y="516348"/>
                </a:lnTo>
                <a:cubicBezTo>
                  <a:pt x="836169" y="516348"/>
                  <a:pt x="843656" y="523844"/>
                  <a:pt x="843656" y="532590"/>
                </a:cubicBezTo>
                <a:lnTo>
                  <a:pt x="843656" y="598806"/>
                </a:lnTo>
                <a:cubicBezTo>
                  <a:pt x="868613" y="605053"/>
                  <a:pt x="892322" y="615047"/>
                  <a:pt x="914784" y="628790"/>
                </a:cubicBezTo>
                <a:lnTo>
                  <a:pt x="962203" y="581315"/>
                </a:lnTo>
                <a:cubicBezTo>
                  <a:pt x="967194" y="576317"/>
                  <a:pt x="977177" y="576317"/>
                  <a:pt x="983416" y="581315"/>
                </a:cubicBezTo>
                <a:lnTo>
                  <a:pt x="1048305" y="646281"/>
                </a:lnTo>
                <a:cubicBezTo>
                  <a:pt x="1054545" y="652528"/>
                  <a:pt x="1054545" y="662523"/>
                  <a:pt x="1048305" y="668770"/>
                </a:cubicBezTo>
                <a:lnTo>
                  <a:pt x="1002134" y="713747"/>
                </a:lnTo>
                <a:cubicBezTo>
                  <a:pt x="1017109" y="736235"/>
                  <a:pt x="1025844" y="761222"/>
                  <a:pt x="1033331" y="786209"/>
                </a:cubicBezTo>
                <a:lnTo>
                  <a:pt x="1096972" y="786209"/>
                </a:lnTo>
                <a:cubicBezTo>
                  <a:pt x="1105707" y="786209"/>
                  <a:pt x="1113194" y="793706"/>
                  <a:pt x="1113194" y="801202"/>
                </a:cubicBezTo>
                <a:lnTo>
                  <a:pt x="1113194" y="893654"/>
                </a:lnTo>
                <a:cubicBezTo>
                  <a:pt x="1113194" y="902400"/>
                  <a:pt x="1105707" y="909896"/>
                  <a:pt x="1096972" y="909896"/>
                </a:cubicBezTo>
                <a:lnTo>
                  <a:pt x="1034579" y="909896"/>
                </a:lnTo>
                <a:cubicBezTo>
                  <a:pt x="1028340" y="936132"/>
                  <a:pt x="1018357" y="959870"/>
                  <a:pt x="1004630" y="982358"/>
                </a:cubicBezTo>
                <a:lnTo>
                  <a:pt x="1048305" y="1028585"/>
                </a:lnTo>
                <a:cubicBezTo>
                  <a:pt x="1054545" y="1034831"/>
                  <a:pt x="1054545" y="1043577"/>
                  <a:pt x="1048305" y="1049824"/>
                </a:cubicBezTo>
                <a:lnTo>
                  <a:pt x="983416" y="1114790"/>
                </a:lnTo>
                <a:cubicBezTo>
                  <a:pt x="980921" y="1117289"/>
                  <a:pt x="977177" y="1118538"/>
                  <a:pt x="973434" y="1118538"/>
                </a:cubicBezTo>
                <a:cubicBezTo>
                  <a:pt x="968442" y="1118538"/>
                  <a:pt x="964699" y="1117289"/>
                  <a:pt x="962203" y="1114790"/>
                </a:cubicBezTo>
                <a:lnTo>
                  <a:pt x="918528" y="1069813"/>
                </a:lnTo>
                <a:cubicBezTo>
                  <a:pt x="894818" y="1084806"/>
                  <a:pt x="869861" y="1094801"/>
                  <a:pt x="843656" y="1101047"/>
                </a:cubicBezTo>
                <a:lnTo>
                  <a:pt x="843656" y="1163515"/>
                </a:lnTo>
                <a:cubicBezTo>
                  <a:pt x="843656" y="1172261"/>
                  <a:pt x="836169" y="1179757"/>
                  <a:pt x="827433" y="1179757"/>
                </a:cubicBezTo>
                <a:lnTo>
                  <a:pt x="736339" y="1179757"/>
                </a:lnTo>
                <a:cubicBezTo>
                  <a:pt x="727604" y="1179757"/>
                  <a:pt x="721365" y="1172261"/>
                  <a:pt x="721365" y="1163515"/>
                </a:cubicBezTo>
                <a:lnTo>
                  <a:pt x="721365" y="1131032"/>
                </a:lnTo>
                <a:cubicBezTo>
                  <a:pt x="641502" y="1162266"/>
                  <a:pt x="559143" y="1178508"/>
                  <a:pt x="473040" y="1178508"/>
                </a:cubicBezTo>
                <a:cubicBezTo>
                  <a:pt x="313313" y="1178508"/>
                  <a:pt x="159826" y="1122286"/>
                  <a:pt x="37535" y="1019839"/>
                </a:cubicBezTo>
                <a:cubicBezTo>
                  <a:pt x="7586" y="996101"/>
                  <a:pt x="-6140" y="956122"/>
                  <a:pt x="2595" y="917392"/>
                </a:cubicBezTo>
                <a:lnTo>
                  <a:pt x="30048" y="794955"/>
                </a:lnTo>
                <a:cubicBezTo>
                  <a:pt x="79962" y="622544"/>
                  <a:pt x="108663" y="590060"/>
                  <a:pt x="218475" y="590060"/>
                </a:cubicBezTo>
                <a:lnTo>
                  <a:pt x="380698" y="590060"/>
                </a:lnTo>
                <a:cubicBezTo>
                  <a:pt x="394425" y="590060"/>
                  <a:pt x="408151" y="597556"/>
                  <a:pt x="415638" y="608801"/>
                </a:cubicBezTo>
                <a:lnTo>
                  <a:pt x="459313" y="685011"/>
                </a:lnTo>
                <a:cubicBezTo>
                  <a:pt x="463057" y="692508"/>
                  <a:pt x="470544" y="693757"/>
                  <a:pt x="473040" y="693757"/>
                </a:cubicBezTo>
                <a:cubicBezTo>
                  <a:pt x="475536" y="693757"/>
                  <a:pt x="481775" y="692508"/>
                  <a:pt x="486767" y="685011"/>
                </a:cubicBezTo>
                <a:cubicBezTo>
                  <a:pt x="490510" y="677515"/>
                  <a:pt x="500493" y="676266"/>
                  <a:pt x="507980" y="680014"/>
                </a:cubicBezTo>
                <a:cubicBezTo>
                  <a:pt x="515467" y="683762"/>
                  <a:pt x="517963" y="693757"/>
                  <a:pt x="512972" y="701253"/>
                </a:cubicBezTo>
                <a:cubicBezTo>
                  <a:pt x="504237" y="714996"/>
                  <a:pt x="489262" y="724991"/>
                  <a:pt x="473040" y="724991"/>
                </a:cubicBezTo>
                <a:cubicBezTo>
                  <a:pt x="455570" y="724991"/>
                  <a:pt x="440596" y="714996"/>
                  <a:pt x="433108" y="701253"/>
                </a:cubicBezTo>
                <a:lnTo>
                  <a:pt x="388185" y="625042"/>
                </a:lnTo>
                <a:cubicBezTo>
                  <a:pt x="386937" y="622544"/>
                  <a:pt x="383194" y="620045"/>
                  <a:pt x="380698" y="620045"/>
                </a:cubicBezTo>
                <a:lnTo>
                  <a:pt x="218475" y="620045"/>
                </a:lnTo>
                <a:cubicBezTo>
                  <a:pt x="129877" y="620045"/>
                  <a:pt x="107416" y="636287"/>
                  <a:pt x="59997" y="802451"/>
                </a:cubicBezTo>
                <a:lnTo>
                  <a:pt x="32544" y="923639"/>
                </a:lnTo>
                <a:cubicBezTo>
                  <a:pt x="26304" y="951125"/>
                  <a:pt x="36287" y="978610"/>
                  <a:pt x="57501" y="997351"/>
                </a:cubicBezTo>
                <a:cubicBezTo>
                  <a:pt x="101176" y="1034831"/>
                  <a:pt x="149843" y="1064816"/>
                  <a:pt x="202253" y="1088554"/>
                </a:cubicBezTo>
                <a:lnTo>
                  <a:pt x="202253" y="859921"/>
                </a:lnTo>
                <a:cubicBezTo>
                  <a:pt x="202253" y="851176"/>
                  <a:pt x="208492" y="844929"/>
                  <a:pt x="217228" y="844929"/>
                </a:cubicBezTo>
                <a:cubicBezTo>
                  <a:pt x="225963" y="844929"/>
                  <a:pt x="232202" y="851176"/>
                  <a:pt x="232202" y="859921"/>
                </a:cubicBezTo>
                <a:lnTo>
                  <a:pt x="232202" y="1101047"/>
                </a:lnTo>
                <a:cubicBezTo>
                  <a:pt x="308322" y="1131032"/>
                  <a:pt x="389433" y="1147274"/>
                  <a:pt x="473040" y="1147274"/>
                </a:cubicBezTo>
                <a:cubicBezTo>
                  <a:pt x="556647" y="1147274"/>
                  <a:pt x="639006" y="1131032"/>
                  <a:pt x="716374" y="1099798"/>
                </a:cubicBezTo>
                <a:cubicBezTo>
                  <a:pt x="691416" y="1093551"/>
                  <a:pt x="668955" y="1083556"/>
                  <a:pt x="646493" y="1069813"/>
                </a:cubicBezTo>
                <a:lnTo>
                  <a:pt x="602818" y="1114790"/>
                </a:lnTo>
                <a:cubicBezTo>
                  <a:pt x="596579" y="1121037"/>
                  <a:pt x="586596" y="1121037"/>
                  <a:pt x="580356" y="1114790"/>
                </a:cubicBezTo>
                <a:lnTo>
                  <a:pt x="515467" y="1049824"/>
                </a:lnTo>
                <a:cubicBezTo>
                  <a:pt x="512972" y="1046076"/>
                  <a:pt x="511724" y="1042328"/>
                  <a:pt x="511724" y="1038580"/>
                </a:cubicBezTo>
                <a:cubicBezTo>
                  <a:pt x="511724" y="1034831"/>
                  <a:pt x="512972" y="1031083"/>
                  <a:pt x="515467" y="1028585"/>
                </a:cubicBezTo>
                <a:lnTo>
                  <a:pt x="560391" y="982358"/>
                </a:lnTo>
                <a:cubicBezTo>
                  <a:pt x="546664" y="959870"/>
                  <a:pt x="536681" y="936132"/>
                  <a:pt x="530442" y="909896"/>
                </a:cubicBezTo>
                <a:lnTo>
                  <a:pt x="466801" y="909896"/>
                </a:lnTo>
                <a:cubicBezTo>
                  <a:pt x="459313" y="909896"/>
                  <a:pt x="451826" y="902400"/>
                  <a:pt x="451826" y="893654"/>
                </a:cubicBezTo>
                <a:lnTo>
                  <a:pt x="451826" y="801202"/>
                </a:lnTo>
                <a:cubicBezTo>
                  <a:pt x="451826" y="793706"/>
                  <a:pt x="459313" y="786209"/>
                  <a:pt x="466801" y="786209"/>
                </a:cubicBezTo>
                <a:lnTo>
                  <a:pt x="531690" y="786209"/>
                </a:lnTo>
                <a:cubicBezTo>
                  <a:pt x="537929" y="761222"/>
                  <a:pt x="547912" y="736235"/>
                  <a:pt x="561638" y="713747"/>
                </a:cubicBezTo>
                <a:lnTo>
                  <a:pt x="515467" y="668770"/>
                </a:lnTo>
                <a:cubicBezTo>
                  <a:pt x="512972" y="665022"/>
                  <a:pt x="511724" y="661274"/>
                  <a:pt x="511724" y="657526"/>
                </a:cubicBezTo>
                <a:cubicBezTo>
                  <a:pt x="511724" y="652528"/>
                  <a:pt x="512972" y="648780"/>
                  <a:pt x="515467" y="646281"/>
                </a:cubicBezTo>
                <a:lnTo>
                  <a:pt x="580356" y="581315"/>
                </a:lnTo>
                <a:cubicBezTo>
                  <a:pt x="586596" y="576317"/>
                  <a:pt x="596579" y="576317"/>
                  <a:pt x="602818" y="581315"/>
                </a:cubicBezTo>
                <a:lnTo>
                  <a:pt x="648989" y="628790"/>
                </a:lnTo>
                <a:cubicBezTo>
                  <a:pt x="673946" y="612549"/>
                  <a:pt x="697656" y="603803"/>
                  <a:pt x="721365" y="597556"/>
                </a:cubicBezTo>
                <a:lnTo>
                  <a:pt x="721365" y="532590"/>
                </a:lnTo>
                <a:cubicBezTo>
                  <a:pt x="721365" y="523844"/>
                  <a:pt x="727604" y="516348"/>
                  <a:pt x="736339" y="516348"/>
                </a:cubicBezTo>
                <a:close/>
                <a:moveTo>
                  <a:pt x="435241" y="170688"/>
                </a:moveTo>
                <a:cubicBezTo>
                  <a:pt x="399097" y="271239"/>
                  <a:pt x="314347" y="304755"/>
                  <a:pt x="283189" y="314686"/>
                </a:cubicBezTo>
                <a:lnTo>
                  <a:pt x="281943" y="327100"/>
                </a:lnTo>
                <a:cubicBezTo>
                  <a:pt x="281943" y="432616"/>
                  <a:pt x="367939" y="517029"/>
                  <a:pt x="473877" y="517029"/>
                </a:cubicBezTo>
                <a:cubicBezTo>
                  <a:pt x="578568" y="517029"/>
                  <a:pt x="664565" y="432616"/>
                  <a:pt x="664565" y="327100"/>
                </a:cubicBezTo>
                <a:cubicBezTo>
                  <a:pt x="533701" y="317169"/>
                  <a:pt x="465153" y="225308"/>
                  <a:pt x="435241" y="170688"/>
                </a:cubicBezTo>
                <a:close/>
                <a:moveTo>
                  <a:pt x="430256" y="111103"/>
                </a:moveTo>
                <a:cubicBezTo>
                  <a:pt x="437734" y="109861"/>
                  <a:pt x="443965" y="114827"/>
                  <a:pt x="446458" y="121034"/>
                </a:cubicBezTo>
                <a:cubicBezTo>
                  <a:pt x="447704" y="128482"/>
                  <a:pt x="503789" y="292342"/>
                  <a:pt x="680767" y="297307"/>
                </a:cubicBezTo>
                <a:cubicBezTo>
                  <a:pt x="688245" y="298549"/>
                  <a:pt x="695723" y="304755"/>
                  <a:pt x="695723" y="312204"/>
                </a:cubicBezTo>
                <a:cubicBezTo>
                  <a:pt x="695723" y="312204"/>
                  <a:pt x="695723" y="322135"/>
                  <a:pt x="695723" y="327100"/>
                </a:cubicBezTo>
                <a:cubicBezTo>
                  <a:pt x="695723" y="448754"/>
                  <a:pt x="596017" y="548063"/>
                  <a:pt x="473877" y="548063"/>
                </a:cubicBezTo>
                <a:cubicBezTo>
                  <a:pt x="351737" y="548063"/>
                  <a:pt x="252031" y="448754"/>
                  <a:pt x="252031" y="327100"/>
                </a:cubicBezTo>
                <a:lnTo>
                  <a:pt x="253277" y="302273"/>
                </a:lnTo>
                <a:cubicBezTo>
                  <a:pt x="253277" y="294825"/>
                  <a:pt x="259509" y="288618"/>
                  <a:pt x="265741" y="287376"/>
                </a:cubicBezTo>
                <a:cubicBezTo>
                  <a:pt x="270726" y="286135"/>
                  <a:pt x="390373" y="262549"/>
                  <a:pt x="416546" y="122275"/>
                </a:cubicBezTo>
                <a:cubicBezTo>
                  <a:pt x="417792" y="116068"/>
                  <a:pt x="422778" y="111103"/>
                  <a:pt x="430256" y="111103"/>
                </a:cubicBezTo>
                <a:close/>
                <a:moveTo>
                  <a:pt x="464522" y="0"/>
                </a:moveTo>
                <a:cubicBezTo>
                  <a:pt x="531881" y="0"/>
                  <a:pt x="594250" y="19853"/>
                  <a:pt x="647888" y="60799"/>
                </a:cubicBezTo>
                <a:cubicBezTo>
                  <a:pt x="731462" y="122840"/>
                  <a:pt x="772626" y="236995"/>
                  <a:pt x="757657" y="363557"/>
                </a:cubicBezTo>
                <a:lnTo>
                  <a:pt x="745183" y="441728"/>
                </a:lnTo>
                <a:cubicBezTo>
                  <a:pt x="741441" y="467785"/>
                  <a:pt x="718988" y="487638"/>
                  <a:pt x="691546" y="487638"/>
                </a:cubicBezTo>
                <a:lnTo>
                  <a:pt x="671588" y="487638"/>
                </a:lnTo>
                <a:cubicBezTo>
                  <a:pt x="662856" y="487638"/>
                  <a:pt x="656619" y="480194"/>
                  <a:pt x="656619" y="472749"/>
                </a:cubicBezTo>
                <a:cubicBezTo>
                  <a:pt x="656619" y="464063"/>
                  <a:pt x="662856" y="456618"/>
                  <a:pt x="671588" y="456618"/>
                </a:cubicBezTo>
                <a:lnTo>
                  <a:pt x="691546" y="456618"/>
                </a:lnTo>
                <a:cubicBezTo>
                  <a:pt x="704020" y="456618"/>
                  <a:pt x="713999" y="449173"/>
                  <a:pt x="715246" y="436765"/>
                </a:cubicBezTo>
                <a:lnTo>
                  <a:pt x="726473" y="359835"/>
                </a:lnTo>
                <a:cubicBezTo>
                  <a:pt x="741441" y="243199"/>
                  <a:pt x="704020" y="141453"/>
                  <a:pt x="629177" y="84375"/>
                </a:cubicBezTo>
                <a:cubicBezTo>
                  <a:pt x="581776" y="48391"/>
                  <a:pt x="525644" y="29779"/>
                  <a:pt x="465769" y="31020"/>
                </a:cubicBezTo>
                <a:cubicBezTo>
                  <a:pt x="360989" y="32261"/>
                  <a:pt x="276167" y="89338"/>
                  <a:pt x="233756" y="187362"/>
                </a:cubicBezTo>
                <a:cubicBezTo>
                  <a:pt x="206313" y="253125"/>
                  <a:pt x="211303" y="325092"/>
                  <a:pt x="220035" y="385892"/>
                </a:cubicBezTo>
                <a:lnTo>
                  <a:pt x="228766" y="436765"/>
                </a:lnTo>
                <a:cubicBezTo>
                  <a:pt x="231261" y="449173"/>
                  <a:pt x="239993" y="456618"/>
                  <a:pt x="252467" y="456618"/>
                </a:cubicBezTo>
                <a:lnTo>
                  <a:pt x="273672" y="456618"/>
                </a:lnTo>
                <a:cubicBezTo>
                  <a:pt x="282404" y="456618"/>
                  <a:pt x="289888" y="464063"/>
                  <a:pt x="289888" y="472749"/>
                </a:cubicBezTo>
                <a:cubicBezTo>
                  <a:pt x="289888" y="480194"/>
                  <a:pt x="282404" y="487638"/>
                  <a:pt x="273672" y="487638"/>
                </a:cubicBezTo>
                <a:lnTo>
                  <a:pt x="252467" y="487638"/>
                </a:lnTo>
                <a:cubicBezTo>
                  <a:pt x="225024" y="487638"/>
                  <a:pt x="202571" y="469026"/>
                  <a:pt x="198829" y="441728"/>
                </a:cubicBezTo>
                <a:lnTo>
                  <a:pt x="190097" y="390855"/>
                </a:lnTo>
                <a:cubicBezTo>
                  <a:pt x="180118" y="325092"/>
                  <a:pt x="175129" y="248162"/>
                  <a:pt x="205066" y="176195"/>
                </a:cubicBezTo>
                <a:cubicBezTo>
                  <a:pt x="252467" y="65763"/>
                  <a:pt x="347268" y="1241"/>
                  <a:pt x="46452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62" name="Freeform 543">
            <a:extLst>
              <a:ext uri="{FF2B5EF4-FFF2-40B4-BE49-F238E27FC236}">
                <a16:creationId xmlns:a16="http://schemas.microsoft.com/office/drawing/2014/main" id="{63179629-4528-C7FA-6AA3-DD35E3C96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1864343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Freeform 92">
            <a:extLst>
              <a:ext uri="{FF2B5EF4-FFF2-40B4-BE49-F238E27FC236}">
                <a16:creationId xmlns:a16="http://schemas.microsoft.com/office/drawing/2014/main" id="{B4878059-CF98-79FF-A317-3076104EB7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837" y="2022404"/>
            <a:ext cx="648608" cy="634555"/>
          </a:xfrm>
          <a:custGeom>
            <a:avLst/>
            <a:gdLst>
              <a:gd name="connsiteX0" fmla="*/ 901614 w 1194660"/>
              <a:gd name="connsiteY0" fmla="*/ 856915 h 1168776"/>
              <a:gd name="connsiteX1" fmla="*/ 918094 w 1194660"/>
              <a:gd name="connsiteY1" fmla="*/ 871949 h 1168776"/>
              <a:gd name="connsiteX2" fmla="*/ 918094 w 1194660"/>
              <a:gd name="connsiteY2" fmla="*/ 1126268 h 1168776"/>
              <a:gd name="connsiteX3" fmla="*/ 901614 w 1194660"/>
              <a:gd name="connsiteY3" fmla="*/ 1141301 h 1168776"/>
              <a:gd name="connsiteX4" fmla="*/ 886402 w 1194660"/>
              <a:gd name="connsiteY4" fmla="*/ 1126268 h 1168776"/>
              <a:gd name="connsiteX5" fmla="*/ 886402 w 1194660"/>
              <a:gd name="connsiteY5" fmla="*/ 871949 h 1168776"/>
              <a:gd name="connsiteX6" fmla="*/ 901614 w 1194660"/>
              <a:gd name="connsiteY6" fmla="*/ 856915 h 1168776"/>
              <a:gd name="connsiteX7" fmla="*/ 287660 w 1194660"/>
              <a:gd name="connsiteY7" fmla="*/ 856915 h 1168776"/>
              <a:gd name="connsiteX8" fmla="*/ 302872 w 1194660"/>
              <a:gd name="connsiteY8" fmla="*/ 871949 h 1168776"/>
              <a:gd name="connsiteX9" fmla="*/ 302872 w 1194660"/>
              <a:gd name="connsiteY9" fmla="*/ 1126268 h 1168776"/>
              <a:gd name="connsiteX10" fmla="*/ 287660 w 1194660"/>
              <a:gd name="connsiteY10" fmla="*/ 1141301 h 1168776"/>
              <a:gd name="connsiteX11" fmla="*/ 271180 w 1194660"/>
              <a:gd name="connsiteY11" fmla="*/ 1126268 h 1168776"/>
              <a:gd name="connsiteX12" fmla="*/ 271180 w 1194660"/>
              <a:gd name="connsiteY12" fmla="*/ 871949 h 1168776"/>
              <a:gd name="connsiteX13" fmla="*/ 287660 w 1194660"/>
              <a:gd name="connsiteY13" fmla="*/ 856915 h 1168776"/>
              <a:gd name="connsiteX14" fmla="*/ 594612 w 1194660"/>
              <a:gd name="connsiteY14" fmla="*/ 752548 h 1168776"/>
              <a:gd name="connsiteX15" fmla="*/ 610432 w 1194660"/>
              <a:gd name="connsiteY15" fmla="*/ 767507 h 1168776"/>
              <a:gd name="connsiteX16" fmla="*/ 610432 w 1194660"/>
              <a:gd name="connsiteY16" fmla="*/ 1087896 h 1168776"/>
              <a:gd name="connsiteX17" fmla="*/ 594612 w 1194660"/>
              <a:gd name="connsiteY17" fmla="*/ 1102856 h 1168776"/>
              <a:gd name="connsiteX18" fmla="*/ 578792 w 1194660"/>
              <a:gd name="connsiteY18" fmla="*/ 1087896 h 1168776"/>
              <a:gd name="connsiteX19" fmla="*/ 578792 w 1194660"/>
              <a:gd name="connsiteY19" fmla="*/ 767507 h 1168776"/>
              <a:gd name="connsiteX20" fmla="*/ 594612 w 1194660"/>
              <a:gd name="connsiteY20" fmla="*/ 752548 h 1168776"/>
              <a:gd name="connsiteX21" fmla="*/ 450596 w 1194660"/>
              <a:gd name="connsiteY21" fmla="*/ 324092 h 1168776"/>
              <a:gd name="connsiteX22" fmla="*/ 699402 w 1194660"/>
              <a:gd name="connsiteY22" fmla="*/ 324092 h 1168776"/>
              <a:gd name="connsiteX23" fmla="*/ 700646 w 1194660"/>
              <a:gd name="connsiteY23" fmla="*/ 324092 h 1168776"/>
              <a:gd name="connsiteX24" fmla="*/ 741698 w 1194660"/>
              <a:gd name="connsiteY24" fmla="*/ 324092 h 1168776"/>
              <a:gd name="connsiteX25" fmla="*/ 851174 w 1194660"/>
              <a:gd name="connsiteY25" fmla="*/ 428743 h 1168776"/>
              <a:gd name="connsiteX26" fmla="*/ 1009164 w 1194660"/>
              <a:gd name="connsiteY26" fmla="*/ 428743 h 1168776"/>
              <a:gd name="connsiteX27" fmla="*/ 1051462 w 1194660"/>
              <a:gd name="connsiteY27" fmla="*/ 428743 h 1168776"/>
              <a:gd name="connsiteX28" fmla="*/ 1165912 w 1194660"/>
              <a:gd name="connsiteY28" fmla="*/ 549590 h 1168776"/>
              <a:gd name="connsiteX29" fmla="*/ 1193280 w 1194660"/>
              <a:gd name="connsiteY29" fmla="*/ 674175 h 1168776"/>
              <a:gd name="connsiteX30" fmla="*/ 1170888 w 1194660"/>
              <a:gd name="connsiteY30" fmla="*/ 742696 h 1168776"/>
              <a:gd name="connsiteX31" fmla="*/ 1067634 w 1194660"/>
              <a:gd name="connsiteY31" fmla="*/ 838627 h 1168776"/>
              <a:gd name="connsiteX32" fmla="*/ 1067634 w 1194660"/>
              <a:gd name="connsiteY32" fmla="*/ 1153826 h 1168776"/>
              <a:gd name="connsiteX33" fmla="*/ 1052706 w 1194660"/>
              <a:gd name="connsiteY33" fmla="*/ 1168776 h 1168776"/>
              <a:gd name="connsiteX34" fmla="*/ 1036534 w 1194660"/>
              <a:gd name="connsiteY34" fmla="*/ 1153826 h 1168776"/>
              <a:gd name="connsiteX35" fmla="*/ 1036534 w 1194660"/>
              <a:gd name="connsiteY35" fmla="*/ 535886 h 1168776"/>
              <a:gd name="connsiteX36" fmla="*/ 1052706 w 1194660"/>
              <a:gd name="connsiteY36" fmla="*/ 520936 h 1168776"/>
              <a:gd name="connsiteX37" fmla="*/ 1067634 w 1194660"/>
              <a:gd name="connsiteY37" fmla="*/ 535886 h 1168776"/>
              <a:gd name="connsiteX38" fmla="*/ 1067634 w 1194660"/>
              <a:gd name="connsiteY38" fmla="*/ 635553 h 1168776"/>
              <a:gd name="connsiteX39" fmla="*/ 1082562 w 1194660"/>
              <a:gd name="connsiteY39" fmla="*/ 620603 h 1168776"/>
              <a:gd name="connsiteX40" fmla="*/ 1103710 w 1194660"/>
              <a:gd name="connsiteY40" fmla="*/ 620603 h 1168776"/>
              <a:gd name="connsiteX41" fmla="*/ 1103710 w 1194660"/>
              <a:gd name="connsiteY41" fmla="*/ 641783 h 1168776"/>
              <a:gd name="connsiteX42" fmla="*/ 1067634 w 1194660"/>
              <a:gd name="connsiteY42" fmla="*/ 679158 h 1168776"/>
              <a:gd name="connsiteX43" fmla="*/ 1067634 w 1194660"/>
              <a:gd name="connsiteY43" fmla="*/ 797514 h 1168776"/>
              <a:gd name="connsiteX44" fmla="*/ 1150984 w 1194660"/>
              <a:gd name="connsiteY44" fmla="*/ 720271 h 1168776"/>
              <a:gd name="connsiteX45" fmla="*/ 1163424 w 1194660"/>
              <a:gd name="connsiteY45" fmla="*/ 680404 h 1168776"/>
              <a:gd name="connsiteX46" fmla="*/ 1136056 w 1194660"/>
              <a:gd name="connsiteY46" fmla="*/ 557065 h 1168776"/>
              <a:gd name="connsiteX47" fmla="*/ 1051462 w 1194660"/>
              <a:gd name="connsiteY47" fmla="*/ 458643 h 1168776"/>
              <a:gd name="connsiteX48" fmla="*/ 1009164 w 1194660"/>
              <a:gd name="connsiteY48" fmla="*/ 458643 h 1168776"/>
              <a:gd name="connsiteX49" fmla="*/ 858638 w 1194660"/>
              <a:gd name="connsiteY49" fmla="*/ 458643 h 1168776"/>
              <a:gd name="connsiteX50" fmla="*/ 883518 w 1194660"/>
              <a:gd name="connsiteY50" fmla="*/ 569524 h 1168776"/>
              <a:gd name="connsiteX51" fmla="*/ 862370 w 1194660"/>
              <a:gd name="connsiteY51" fmla="*/ 638045 h 1168776"/>
              <a:gd name="connsiteX52" fmla="*/ 757872 w 1194660"/>
              <a:gd name="connsiteY52" fmla="*/ 735221 h 1168776"/>
              <a:gd name="connsiteX53" fmla="*/ 757872 w 1194660"/>
              <a:gd name="connsiteY53" fmla="*/ 1089042 h 1168776"/>
              <a:gd name="connsiteX54" fmla="*/ 742942 w 1194660"/>
              <a:gd name="connsiteY54" fmla="*/ 1103992 h 1168776"/>
              <a:gd name="connsiteX55" fmla="*/ 726770 w 1194660"/>
              <a:gd name="connsiteY55" fmla="*/ 1089042 h 1168776"/>
              <a:gd name="connsiteX56" fmla="*/ 726770 w 1194660"/>
              <a:gd name="connsiteY56" fmla="*/ 432480 h 1168776"/>
              <a:gd name="connsiteX57" fmla="*/ 742942 w 1194660"/>
              <a:gd name="connsiteY57" fmla="*/ 417530 h 1168776"/>
              <a:gd name="connsiteX58" fmla="*/ 757872 w 1194660"/>
              <a:gd name="connsiteY58" fmla="*/ 432480 h 1168776"/>
              <a:gd name="connsiteX59" fmla="*/ 757872 w 1194660"/>
              <a:gd name="connsiteY59" fmla="*/ 530902 h 1168776"/>
              <a:gd name="connsiteX60" fmla="*/ 774044 w 1194660"/>
              <a:gd name="connsiteY60" fmla="*/ 515952 h 1168776"/>
              <a:gd name="connsiteX61" fmla="*/ 795192 w 1194660"/>
              <a:gd name="connsiteY61" fmla="*/ 515952 h 1168776"/>
              <a:gd name="connsiteX62" fmla="*/ 795192 w 1194660"/>
              <a:gd name="connsiteY62" fmla="*/ 537132 h 1168776"/>
              <a:gd name="connsiteX63" fmla="*/ 757872 w 1194660"/>
              <a:gd name="connsiteY63" fmla="*/ 574507 h 1168776"/>
              <a:gd name="connsiteX64" fmla="*/ 757872 w 1194660"/>
              <a:gd name="connsiteY64" fmla="*/ 692862 h 1168776"/>
              <a:gd name="connsiteX65" fmla="*/ 841220 w 1194660"/>
              <a:gd name="connsiteY65" fmla="*/ 615620 h 1168776"/>
              <a:gd name="connsiteX66" fmla="*/ 853662 w 1194660"/>
              <a:gd name="connsiteY66" fmla="*/ 576999 h 1168776"/>
              <a:gd name="connsiteX67" fmla="*/ 826292 w 1194660"/>
              <a:gd name="connsiteY67" fmla="*/ 453660 h 1168776"/>
              <a:gd name="connsiteX68" fmla="*/ 741698 w 1194660"/>
              <a:gd name="connsiteY68" fmla="*/ 353992 h 1168776"/>
              <a:gd name="connsiteX69" fmla="*/ 700646 w 1194660"/>
              <a:gd name="connsiteY69" fmla="*/ 353992 h 1168776"/>
              <a:gd name="connsiteX70" fmla="*/ 699402 w 1194660"/>
              <a:gd name="connsiteY70" fmla="*/ 353992 h 1168776"/>
              <a:gd name="connsiteX71" fmla="*/ 450596 w 1194660"/>
              <a:gd name="connsiteY71" fmla="*/ 353992 h 1168776"/>
              <a:gd name="connsiteX72" fmla="*/ 366002 w 1194660"/>
              <a:gd name="connsiteY72" fmla="*/ 454906 h 1168776"/>
              <a:gd name="connsiteX73" fmla="*/ 338634 w 1194660"/>
              <a:gd name="connsiteY73" fmla="*/ 576999 h 1168776"/>
              <a:gd name="connsiteX74" fmla="*/ 351074 w 1194660"/>
              <a:gd name="connsiteY74" fmla="*/ 615620 h 1168776"/>
              <a:gd name="connsiteX75" fmla="*/ 434424 w 1194660"/>
              <a:gd name="connsiteY75" fmla="*/ 692862 h 1168776"/>
              <a:gd name="connsiteX76" fmla="*/ 434424 w 1194660"/>
              <a:gd name="connsiteY76" fmla="*/ 575753 h 1168776"/>
              <a:gd name="connsiteX77" fmla="*/ 395858 w 1194660"/>
              <a:gd name="connsiteY77" fmla="*/ 537132 h 1168776"/>
              <a:gd name="connsiteX78" fmla="*/ 395858 w 1194660"/>
              <a:gd name="connsiteY78" fmla="*/ 515952 h 1168776"/>
              <a:gd name="connsiteX79" fmla="*/ 417008 w 1194660"/>
              <a:gd name="connsiteY79" fmla="*/ 515952 h 1168776"/>
              <a:gd name="connsiteX80" fmla="*/ 434424 w 1194660"/>
              <a:gd name="connsiteY80" fmla="*/ 532148 h 1168776"/>
              <a:gd name="connsiteX81" fmla="*/ 434424 w 1194660"/>
              <a:gd name="connsiteY81" fmla="*/ 432480 h 1168776"/>
              <a:gd name="connsiteX82" fmla="*/ 449352 w 1194660"/>
              <a:gd name="connsiteY82" fmla="*/ 417530 h 1168776"/>
              <a:gd name="connsiteX83" fmla="*/ 465524 w 1194660"/>
              <a:gd name="connsiteY83" fmla="*/ 432480 h 1168776"/>
              <a:gd name="connsiteX84" fmla="*/ 465524 w 1194660"/>
              <a:gd name="connsiteY84" fmla="*/ 1089042 h 1168776"/>
              <a:gd name="connsiteX85" fmla="*/ 449352 w 1194660"/>
              <a:gd name="connsiteY85" fmla="*/ 1103992 h 1168776"/>
              <a:gd name="connsiteX86" fmla="*/ 434424 w 1194660"/>
              <a:gd name="connsiteY86" fmla="*/ 1089042 h 1168776"/>
              <a:gd name="connsiteX87" fmla="*/ 434424 w 1194660"/>
              <a:gd name="connsiteY87" fmla="*/ 735221 h 1168776"/>
              <a:gd name="connsiteX88" fmla="*/ 331170 w 1194660"/>
              <a:gd name="connsiteY88" fmla="*/ 638045 h 1168776"/>
              <a:gd name="connsiteX89" fmla="*/ 308776 w 1194660"/>
              <a:gd name="connsiteY89" fmla="*/ 569524 h 1168776"/>
              <a:gd name="connsiteX90" fmla="*/ 333658 w 1194660"/>
              <a:gd name="connsiteY90" fmla="*/ 458643 h 1168776"/>
              <a:gd name="connsiteX91" fmla="*/ 185618 w 1194660"/>
              <a:gd name="connsiteY91" fmla="*/ 458643 h 1168776"/>
              <a:gd name="connsiteX92" fmla="*/ 184374 w 1194660"/>
              <a:gd name="connsiteY92" fmla="*/ 458643 h 1168776"/>
              <a:gd name="connsiteX93" fmla="*/ 143322 w 1194660"/>
              <a:gd name="connsiteY93" fmla="*/ 458643 h 1168776"/>
              <a:gd name="connsiteX94" fmla="*/ 58728 w 1194660"/>
              <a:gd name="connsiteY94" fmla="*/ 558311 h 1168776"/>
              <a:gd name="connsiteX95" fmla="*/ 31358 w 1194660"/>
              <a:gd name="connsiteY95" fmla="*/ 680404 h 1168776"/>
              <a:gd name="connsiteX96" fmla="*/ 43800 w 1194660"/>
              <a:gd name="connsiteY96" fmla="*/ 720271 h 1168776"/>
              <a:gd name="connsiteX97" fmla="*/ 127148 w 1194660"/>
              <a:gd name="connsiteY97" fmla="*/ 797514 h 1168776"/>
              <a:gd name="connsiteX98" fmla="*/ 127148 w 1194660"/>
              <a:gd name="connsiteY98" fmla="*/ 679158 h 1168776"/>
              <a:gd name="connsiteX99" fmla="*/ 89828 w 1194660"/>
              <a:gd name="connsiteY99" fmla="*/ 641783 h 1168776"/>
              <a:gd name="connsiteX100" fmla="*/ 89828 w 1194660"/>
              <a:gd name="connsiteY100" fmla="*/ 620603 h 1168776"/>
              <a:gd name="connsiteX101" fmla="*/ 110976 w 1194660"/>
              <a:gd name="connsiteY101" fmla="*/ 620603 h 1168776"/>
              <a:gd name="connsiteX102" fmla="*/ 127148 w 1194660"/>
              <a:gd name="connsiteY102" fmla="*/ 635553 h 1168776"/>
              <a:gd name="connsiteX103" fmla="*/ 127148 w 1194660"/>
              <a:gd name="connsiteY103" fmla="*/ 535886 h 1168776"/>
              <a:gd name="connsiteX104" fmla="*/ 142078 w 1194660"/>
              <a:gd name="connsiteY104" fmla="*/ 520936 h 1168776"/>
              <a:gd name="connsiteX105" fmla="*/ 157006 w 1194660"/>
              <a:gd name="connsiteY105" fmla="*/ 535886 h 1168776"/>
              <a:gd name="connsiteX106" fmla="*/ 157006 w 1194660"/>
              <a:gd name="connsiteY106" fmla="*/ 1153826 h 1168776"/>
              <a:gd name="connsiteX107" fmla="*/ 142078 w 1194660"/>
              <a:gd name="connsiteY107" fmla="*/ 1168776 h 1168776"/>
              <a:gd name="connsiteX108" fmla="*/ 127148 w 1194660"/>
              <a:gd name="connsiteY108" fmla="*/ 1153826 h 1168776"/>
              <a:gd name="connsiteX109" fmla="*/ 127148 w 1194660"/>
              <a:gd name="connsiteY109" fmla="*/ 838627 h 1168776"/>
              <a:gd name="connsiteX110" fmla="*/ 22650 w 1194660"/>
              <a:gd name="connsiteY110" fmla="*/ 742696 h 1168776"/>
              <a:gd name="connsiteX111" fmla="*/ 1502 w 1194660"/>
              <a:gd name="connsiteY111" fmla="*/ 674175 h 1168776"/>
              <a:gd name="connsiteX112" fmla="*/ 28870 w 1194660"/>
              <a:gd name="connsiteY112" fmla="*/ 550836 h 1168776"/>
              <a:gd name="connsiteX113" fmla="*/ 143322 w 1194660"/>
              <a:gd name="connsiteY113" fmla="*/ 428743 h 1168776"/>
              <a:gd name="connsiteX114" fmla="*/ 184374 w 1194660"/>
              <a:gd name="connsiteY114" fmla="*/ 428743 h 1168776"/>
              <a:gd name="connsiteX115" fmla="*/ 185618 w 1194660"/>
              <a:gd name="connsiteY115" fmla="*/ 428743 h 1168776"/>
              <a:gd name="connsiteX116" fmla="*/ 342366 w 1194660"/>
              <a:gd name="connsiteY116" fmla="*/ 428743 h 1168776"/>
              <a:gd name="connsiteX117" fmla="*/ 450596 w 1194660"/>
              <a:gd name="connsiteY117" fmla="*/ 324092 h 1168776"/>
              <a:gd name="connsiteX118" fmla="*/ 901632 w 1194660"/>
              <a:gd name="connsiteY118" fmla="*/ 130318 h 1168776"/>
              <a:gd name="connsiteX119" fmla="*/ 800892 w 1194660"/>
              <a:gd name="connsiteY119" fmla="*/ 233455 h 1168776"/>
              <a:gd name="connsiteX120" fmla="*/ 901632 w 1194660"/>
              <a:gd name="connsiteY120" fmla="*/ 335334 h 1168776"/>
              <a:gd name="connsiteX121" fmla="*/ 1003616 w 1194660"/>
              <a:gd name="connsiteY121" fmla="*/ 233455 h 1168776"/>
              <a:gd name="connsiteX122" fmla="*/ 901632 w 1194660"/>
              <a:gd name="connsiteY122" fmla="*/ 130318 h 1168776"/>
              <a:gd name="connsiteX123" fmla="*/ 287036 w 1194660"/>
              <a:gd name="connsiteY123" fmla="*/ 130318 h 1168776"/>
              <a:gd name="connsiteX124" fmla="*/ 185530 w 1194660"/>
              <a:gd name="connsiteY124" fmla="*/ 233455 h 1168776"/>
              <a:gd name="connsiteX125" fmla="*/ 287036 w 1194660"/>
              <a:gd name="connsiteY125" fmla="*/ 335334 h 1168776"/>
              <a:gd name="connsiteX126" fmla="*/ 388542 w 1194660"/>
              <a:gd name="connsiteY126" fmla="*/ 233455 h 1168776"/>
              <a:gd name="connsiteX127" fmla="*/ 287036 w 1194660"/>
              <a:gd name="connsiteY127" fmla="*/ 130318 h 1168776"/>
              <a:gd name="connsiteX128" fmla="*/ 901632 w 1194660"/>
              <a:gd name="connsiteY128" fmla="*/ 98874 h 1168776"/>
              <a:gd name="connsiteX129" fmla="*/ 1033466 w 1194660"/>
              <a:gd name="connsiteY129" fmla="*/ 233455 h 1168776"/>
              <a:gd name="connsiteX130" fmla="*/ 901632 w 1194660"/>
              <a:gd name="connsiteY130" fmla="*/ 366778 h 1168776"/>
              <a:gd name="connsiteX131" fmla="*/ 771042 w 1194660"/>
              <a:gd name="connsiteY131" fmla="*/ 233455 h 1168776"/>
              <a:gd name="connsiteX132" fmla="*/ 901632 w 1194660"/>
              <a:gd name="connsiteY132" fmla="*/ 98874 h 1168776"/>
              <a:gd name="connsiteX133" fmla="*/ 287036 w 1194660"/>
              <a:gd name="connsiteY133" fmla="*/ 98874 h 1168776"/>
              <a:gd name="connsiteX134" fmla="*/ 418250 w 1194660"/>
              <a:gd name="connsiteY134" fmla="*/ 233455 h 1168776"/>
              <a:gd name="connsiteX135" fmla="*/ 287036 w 1194660"/>
              <a:gd name="connsiteY135" fmla="*/ 366778 h 1168776"/>
              <a:gd name="connsiteX136" fmla="*/ 155820 w 1194660"/>
              <a:gd name="connsiteY136" fmla="*/ 233455 h 1168776"/>
              <a:gd name="connsiteX137" fmla="*/ 287036 w 1194660"/>
              <a:gd name="connsiteY137" fmla="*/ 98874 h 1168776"/>
              <a:gd name="connsiteX138" fmla="*/ 594646 w 1194660"/>
              <a:gd name="connsiteY138" fmla="*/ 30947 h 1168776"/>
              <a:gd name="connsiteX139" fmla="*/ 493140 w 1194660"/>
              <a:gd name="connsiteY139" fmla="*/ 131214 h 1168776"/>
              <a:gd name="connsiteX140" fmla="*/ 594646 w 1194660"/>
              <a:gd name="connsiteY140" fmla="*/ 231482 h 1168776"/>
              <a:gd name="connsiteX141" fmla="*/ 694914 w 1194660"/>
              <a:gd name="connsiteY141" fmla="*/ 131214 h 1168776"/>
              <a:gd name="connsiteX142" fmla="*/ 594646 w 1194660"/>
              <a:gd name="connsiteY142" fmla="*/ 30947 h 1168776"/>
              <a:gd name="connsiteX143" fmla="*/ 594646 w 1194660"/>
              <a:gd name="connsiteY143" fmla="*/ 0 h 1168776"/>
              <a:gd name="connsiteX144" fmla="*/ 725862 w 1194660"/>
              <a:gd name="connsiteY144" fmla="*/ 131214 h 1168776"/>
              <a:gd name="connsiteX145" fmla="*/ 594646 w 1194660"/>
              <a:gd name="connsiteY145" fmla="*/ 262429 h 1168776"/>
              <a:gd name="connsiteX146" fmla="*/ 463432 w 1194660"/>
              <a:gd name="connsiteY146" fmla="*/ 131214 h 1168776"/>
              <a:gd name="connsiteX147" fmla="*/ 594646 w 1194660"/>
              <a:gd name="connsiteY147" fmla="*/ 0 h 116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194660" h="1168776">
                <a:moveTo>
                  <a:pt x="901614" y="856915"/>
                </a:moveTo>
                <a:cubicBezTo>
                  <a:pt x="910488" y="856915"/>
                  <a:pt x="918094" y="863179"/>
                  <a:pt x="918094" y="871949"/>
                </a:cubicBezTo>
                <a:lnTo>
                  <a:pt x="918094" y="1126268"/>
                </a:lnTo>
                <a:cubicBezTo>
                  <a:pt x="918094" y="1135037"/>
                  <a:pt x="910488" y="1141301"/>
                  <a:pt x="901614" y="1141301"/>
                </a:cubicBezTo>
                <a:cubicBezTo>
                  <a:pt x="894008" y="1141301"/>
                  <a:pt x="886402" y="1135037"/>
                  <a:pt x="886402" y="1126268"/>
                </a:cubicBezTo>
                <a:lnTo>
                  <a:pt x="886402" y="871949"/>
                </a:lnTo>
                <a:cubicBezTo>
                  <a:pt x="886402" y="863179"/>
                  <a:pt x="894008" y="856915"/>
                  <a:pt x="901614" y="856915"/>
                </a:cubicBezTo>
                <a:close/>
                <a:moveTo>
                  <a:pt x="287660" y="856915"/>
                </a:moveTo>
                <a:cubicBezTo>
                  <a:pt x="296534" y="856915"/>
                  <a:pt x="302872" y="863179"/>
                  <a:pt x="302872" y="871949"/>
                </a:cubicBezTo>
                <a:lnTo>
                  <a:pt x="302872" y="1126268"/>
                </a:lnTo>
                <a:cubicBezTo>
                  <a:pt x="302872" y="1135037"/>
                  <a:pt x="296534" y="1141301"/>
                  <a:pt x="287660" y="1141301"/>
                </a:cubicBezTo>
                <a:cubicBezTo>
                  <a:pt x="278786" y="1141301"/>
                  <a:pt x="271180" y="1135037"/>
                  <a:pt x="271180" y="1126268"/>
                </a:cubicBezTo>
                <a:lnTo>
                  <a:pt x="271180" y="871949"/>
                </a:lnTo>
                <a:cubicBezTo>
                  <a:pt x="271180" y="863179"/>
                  <a:pt x="278786" y="856915"/>
                  <a:pt x="287660" y="856915"/>
                </a:cubicBezTo>
                <a:close/>
                <a:moveTo>
                  <a:pt x="594612" y="752548"/>
                </a:moveTo>
                <a:cubicBezTo>
                  <a:pt x="603840" y="752548"/>
                  <a:pt x="610432" y="758781"/>
                  <a:pt x="610432" y="767507"/>
                </a:cubicBezTo>
                <a:lnTo>
                  <a:pt x="610432" y="1087896"/>
                </a:lnTo>
                <a:cubicBezTo>
                  <a:pt x="610432" y="1095376"/>
                  <a:pt x="603840" y="1102856"/>
                  <a:pt x="594612" y="1102856"/>
                </a:cubicBezTo>
                <a:cubicBezTo>
                  <a:pt x="585382" y="1102856"/>
                  <a:pt x="578792" y="1095376"/>
                  <a:pt x="578792" y="1087896"/>
                </a:cubicBezTo>
                <a:lnTo>
                  <a:pt x="578792" y="767507"/>
                </a:lnTo>
                <a:cubicBezTo>
                  <a:pt x="578792" y="758781"/>
                  <a:pt x="585382" y="752548"/>
                  <a:pt x="594612" y="752548"/>
                </a:cubicBezTo>
                <a:close/>
                <a:moveTo>
                  <a:pt x="450596" y="324092"/>
                </a:moveTo>
                <a:lnTo>
                  <a:pt x="699402" y="324092"/>
                </a:lnTo>
                <a:lnTo>
                  <a:pt x="700646" y="324092"/>
                </a:lnTo>
                <a:lnTo>
                  <a:pt x="741698" y="324092"/>
                </a:lnTo>
                <a:cubicBezTo>
                  <a:pt x="802656" y="324092"/>
                  <a:pt x="825048" y="342779"/>
                  <a:pt x="851174" y="428743"/>
                </a:cubicBezTo>
                <a:lnTo>
                  <a:pt x="1009164" y="428743"/>
                </a:lnTo>
                <a:lnTo>
                  <a:pt x="1051462" y="428743"/>
                </a:lnTo>
                <a:cubicBezTo>
                  <a:pt x="1117396" y="428743"/>
                  <a:pt x="1137300" y="449922"/>
                  <a:pt x="1165912" y="549590"/>
                </a:cubicBezTo>
                <a:lnTo>
                  <a:pt x="1193280" y="674175"/>
                </a:lnTo>
                <a:cubicBezTo>
                  <a:pt x="1198256" y="699092"/>
                  <a:pt x="1189548" y="725254"/>
                  <a:pt x="1170888" y="742696"/>
                </a:cubicBezTo>
                <a:lnTo>
                  <a:pt x="1067634" y="838627"/>
                </a:lnTo>
                <a:lnTo>
                  <a:pt x="1067634" y="1153826"/>
                </a:lnTo>
                <a:cubicBezTo>
                  <a:pt x="1067634" y="1162547"/>
                  <a:pt x="1060170" y="1168776"/>
                  <a:pt x="1052706" y="1168776"/>
                </a:cubicBezTo>
                <a:cubicBezTo>
                  <a:pt x="1043998" y="1168776"/>
                  <a:pt x="1036534" y="1162547"/>
                  <a:pt x="1036534" y="1153826"/>
                </a:cubicBezTo>
                <a:lnTo>
                  <a:pt x="1036534" y="535886"/>
                </a:lnTo>
                <a:cubicBezTo>
                  <a:pt x="1036534" y="528411"/>
                  <a:pt x="1043998" y="520936"/>
                  <a:pt x="1052706" y="520936"/>
                </a:cubicBezTo>
                <a:cubicBezTo>
                  <a:pt x="1060170" y="520936"/>
                  <a:pt x="1067634" y="528411"/>
                  <a:pt x="1067634" y="535886"/>
                </a:cubicBezTo>
                <a:lnTo>
                  <a:pt x="1067634" y="635553"/>
                </a:lnTo>
                <a:lnTo>
                  <a:pt x="1082562" y="620603"/>
                </a:lnTo>
                <a:cubicBezTo>
                  <a:pt x="1088782" y="614374"/>
                  <a:pt x="1098734" y="614374"/>
                  <a:pt x="1103710" y="620603"/>
                </a:cubicBezTo>
                <a:cubicBezTo>
                  <a:pt x="1109932" y="626833"/>
                  <a:pt x="1109932" y="635553"/>
                  <a:pt x="1103710" y="641783"/>
                </a:cubicBezTo>
                <a:lnTo>
                  <a:pt x="1067634" y="679158"/>
                </a:lnTo>
                <a:lnTo>
                  <a:pt x="1067634" y="797514"/>
                </a:lnTo>
                <a:lnTo>
                  <a:pt x="1150984" y="720271"/>
                </a:lnTo>
                <a:cubicBezTo>
                  <a:pt x="1160936" y="710304"/>
                  <a:pt x="1165912" y="694108"/>
                  <a:pt x="1163424" y="680404"/>
                </a:cubicBezTo>
                <a:lnTo>
                  <a:pt x="1136056" y="557065"/>
                </a:lnTo>
                <a:cubicBezTo>
                  <a:pt x="1108688" y="462381"/>
                  <a:pt x="1096246" y="458643"/>
                  <a:pt x="1051462" y="458643"/>
                </a:cubicBezTo>
                <a:lnTo>
                  <a:pt x="1009164" y="458643"/>
                </a:lnTo>
                <a:lnTo>
                  <a:pt x="858638" y="458643"/>
                </a:lnTo>
                <a:lnTo>
                  <a:pt x="883518" y="569524"/>
                </a:lnTo>
                <a:cubicBezTo>
                  <a:pt x="888494" y="594441"/>
                  <a:pt x="881030" y="621849"/>
                  <a:pt x="862370" y="638045"/>
                </a:cubicBezTo>
                <a:lnTo>
                  <a:pt x="757872" y="735221"/>
                </a:lnTo>
                <a:lnTo>
                  <a:pt x="757872" y="1089042"/>
                </a:lnTo>
                <a:cubicBezTo>
                  <a:pt x="757872" y="1097763"/>
                  <a:pt x="750406" y="1103992"/>
                  <a:pt x="742942" y="1103992"/>
                </a:cubicBezTo>
                <a:cubicBezTo>
                  <a:pt x="734234" y="1103992"/>
                  <a:pt x="726770" y="1097763"/>
                  <a:pt x="726770" y="1089042"/>
                </a:cubicBezTo>
                <a:lnTo>
                  <a:pt x="726770" y="432480"/>
                </a:lnTo>
                <a:cubicBezTo>
                  <a:pt x="726770" y="423760"/>
                  <a:pt x="734234" y="417530"/>
                  <a:pt x="742942" y="417530"/>
                </a:cubicBezTo>
                <a:cubicBezTo>
                  <a:pt x="750406" y="417530"/>
                  <a:pt x="757872" y="423760"/>
                  <a:pt x="757872" y="432480"/>
                </a:cubicBezTo>
                <a:lnTo>
                  <a:pt x="757872" y="530902"/>
                </a:lnTo>
                <a:lnTo>
                  <a:pt x="774044" y="515952"/>
                </a:lnTo>
                <a:cubicBezTo>
                  <a:pt x="779020" y="509723"/>
                  <a:pt x="788972" y="509723"/>
                  <a:pt x="795192" y="515952"/>
                </a:cubicBezTo>
                <a:cubicBezTo>
                  <a:pt x="801412" y="522181"/>
                  <a:pt x="801412" y="532148"/>
                  <a:pt x="795192" y="537132"/>
                </a:cubicBezTo>
                <a:lnTo>
                  <a:pt x="757872" y="574507"/>
                </a:lnTo>
                <a:lnTo>
                  <a:pt x="757872" y="692862"/>
                </a:lnTo>
                <a:lnTo>
                  <a:pt x="841220" y="615620"/>
                </a:lnTo>
                <a:cubicBezTo>
                  <a:pt x="852418" y="606899"/>
                  <a:pt x="857394" y="590703"/>
                  <a:pt x="853662" y="576999"/>
                </a:cubicBezTo>
                <a:lnTo>
                  <a:pt x="826292" y="453660"/>
                </a:lnTo>
                <a:cubicBezTo>
                  <a:pt x="800168" y="358975"/>
                  <a:pt x="786484" y="353992"/>
                  <a:pt x="741698" y="353992"/>
                </a:cubicBezTo>
                <a:lnTo>
                  <a:pt x="700646" y="353992"/>
                </a:lnTo>
                <a:lnTo>
                  <a:pt x="699402" y="353992"/>
                </a:lnTo>
                <a:lnTo>
                  <a:pt x="450596" y="353992"/>
                </a:lnTo>
                <a:cubicBezTo>
                  <a:pt x="405812" y="353992"/>
                  <a:pt x="393370" y="358975"/>
                  <a:pt x="366002" y="454906"/>
                </a:cubicBezTo>
                <a:lnTo>
                  <a:pt x="338634" y="576999"/>
                </a:lnTo>
                <a:cubicBezTo>
                  <a:pt x="336146" y="590703"/>
                  <a:pt x="341122" y="606899"/>
                  <a:pt x="351074" y="615620"/>
                </a:cubicBezTo>
                <a:lnTo>
                  <a:pt x="434424" y="692862"/>
                </a:lnTo>
                <a:lnTo>
                  <a:pt x="434424" y="575753"/>
                </a:lnTo>
                <a:lnTo>
                  <a:pt x="395858" y="537132"/>
                </a:lnTo>
                <a:cubicBezTo>
                  <a:pt x="389638" y="532148"/>
                  <a:pt x="389638" y="522181"/>
                  <a:pt x="395858" y="515952"/>
                </a:cubicBezTo>
                <a:cubicBezTo>
                  <a:pt x="402080" y="509723"/>
                  <a:pt x="412032" y="509723"/>
                  <a:pt x="417008" y="515952"/>
                </a:cubicBezTo>
                <a:lnTo>
                  <a:pt x="434424" y="532148"/>
                </a:lnTo>
                <a:lnTo>
                  <a:pt x="434424" y="432480"/>
                </a:lnTo>
                <a:cubicBezTo>
                  <a:pt x="434424" y="423760"/>
                  <a:pt x="441888" y="417530"/>
                  <a:pt x="449352" y="417530"/>
                </a:cubicBezTo>
                <a:cubicBezTo>
                  <a:pt x="458060" y="417530"/>
                  <a:pt x="465524" y="423760"/>
                  <a:pt x="465524" y="432480"/>
                </a:cubicBezTo>
                <a:lnTo>
                  <a:pt x="465524" y="1089042"/>
                </a:lnTo>
                <a:cubicBezTo>
                  <a:pt x="465524" y="1097763"/>
                  <a:pt x="458060" y="1103992"/>
                  <a:pt x="449352" y="1103992"/>
                </a:cubicBezTo>
                <a:cubicBezTo>
                  <a:pt x="441888" y="1103992"/>
                  <a:pt x="434424" y="1097763"/>
                  <a:pt x="434424" y="1089042"/>
                </a:cubicBezTo>
                <a:lnTo>
                  <a:pt x="434424" y="735221"/>
                </a:lnTo>
                <a:lnTo>
                  <a:pt x="331170" y="638045"/>
                </a:lnTo>
                <a:cubicBezTo>
                  <a:pt x="311266" y="621849"/>
                  <a:pt x="303800" y="594441"/>
                  <a:pt x="308776" y="569524"/>
                </a:cubicBezTo>
                <a:lnTo>
                  <a:pt x="333658" y="458643"/>
                </a:lnTo>
                <a:lnTo>
                  <a:pt x="185618" y="458643"/>
                </a:lnTo>
                <a:lnTo>
                  <a:pt x="184374" y="458643"/>
                </a:lnTo>
                <a:lnTo>
                  <a:pt x="143322" y="458643"/>
                </a:lnTo>
                <a:cubicBezTo>
                  <a:pt x="98536" y="458643"/>
                  <a:pt x="84852" y="462381"/>
                  <a:pt x="58728" y="558311"/>
                </a:cubicBezTo>
                <a:lnTo>
                  <a:pt x="31358" y="680404"/>
                </a:lnTo>
                <a:cubicBezTo>
                  <a:pt x="28870" y="694108"/>
                  <a:pt x="32602" y="710304"/>
                  <a:pt x="43800" y="720271"/>
                </a:cubicBezTo>
                <a:lnTo>
                  <a:pt x="127148" y="797514"/>
                </a:lnTo>
                <a:lnTo>
                  <a:pt x="127148" y="679158"/>
                </a:lnTo>
                <a:lnTo>
                  <a:pt x="89828" y="641783"/>
                </a:lnTo>
                <a:cubicBezTo>
                  <a:pt x="83608" y="635553"/>
                  <a:pt x="83608" y="626833"/>
                  <a:pt x="89828" y="620603"/>
                </a:cubicBezTo>
                <a:cubicBezTo>
                  <a:pt x="96048" y="614374"/>
                  <a:pt x="106000" y="614374"/>
                  <a:pt x="110976" y="620603"/>
                </a:cubicBezTo>
                <a:lnTo>
                  <a:pt x="127148" y="635553"/>
                </a:lnTo>
                <a:lnTo>
                  <a:pt x="127148" y="535886"/>
                </a:lnTo>
                <a:cubicBezTo>
                  <a:pt x="127148" y="528411"/>
                  <a:pt x="133370" y="520936"/>
                  <a:pt x="142078" y="520936"/>
                </a:cubicBezTo>
                <a:cubicBezTo>
                  <a:pt x="150786" y="520936"/>
                  <a:pt x="157006" y="528411"/>
                  <a:pt x="157006" y="535886"/>
                </a:cubicBezTo>
                <a:lnTo>
                  <a:pt x="157006" y="1153826"/>
                </a:lnTo>
                <a:cubicBezTo>
                  <a:pt x="157006" y="1162547"/>
                  <a:pt x="150786" y="1168776"/>
                  <a:pt x="142078" y="1168776"/>
                </a:cubicBezTo>
                <a:cubicBezTo>
                  <a:pt x="133370" y="1168776"/>
                  <a:pt x="127148" y="1162547"/>
                  <a:pt x="127148" y="1153826"/>
                </a:cubicBezTo>
                <a:lnTo>
                  <a:pt x="127148" y="838627"/>
                </a:lnTo>
                <a:lnTo>
                  <a:pt x="22650" y="742696"/>
                </a:lnTo>
                <a:cubicBezTo>
                  <a:pt x="3990" y="725254"/>
                  <a:pt x="-3474" y="699092"/>
                  <a:pt x="1502" y="674175"/>
                </a:cubicBezTo>
                <a:lnTo>
                  <a:pt x="28870" y="550836"/>
                </a:lnTo>
                <a:cubicBezTo>
                  <a:pt x="57484" y="449922"/>
                  <a:pt x="77388" y="428743"/>
                  <a:pt x="143322" y="428743"/>
                </a:cubicBezTo>
                <a:lnTo>
                  <a:pt x="184374" y="428743"/>
                </a:lnTo>
                <a:lnTo>
                  <a:pt x="185618" y="428743"/>
                </a:lnTo>
                <a:lnTo>
                  <a:pt x="342366" y="428743"/>
                </a:lnTo>
                <a:cubicBezTo>
                  <a:pt x="367246" y="342779"/>
                  <a:pt x="389638" y="324092"/>
                  <a:pt x="450596" y="324092"/>
                </a:cubicBezTo>
                <a:close/>
                <a:moveTo>
                  <a:pt x="901632" y="130318"/>
                </a:moveTo>
                <a:cubicBezTo>
                  <a:pt x="846908" y="130318"/>
                  <a:pt x="800892" y="176855"/>
                  <a:pt x="800892" y="233455"/>
                </a:cubicBezTo>
                <a:cubicBezTo>
                  <a:pt x="800892" y="288796"/>
                  <a:pt x="846908" y="335334"/>
                  <a:pt x="901632" y="335334"/>
                </a:cubicBezTo>
                <a:cubicBezTo>
                  <a:pt x="957598" y="335334"/>
                  <a:pt x="1003616" y="288796"/>
                  <a:pt x="1003616" y="233455"/>
                </a:cubicBezTo>
                <a:cubicBezTo>
                  <a:pt x="1003616" y="176855"/>
                  <a:pt x="957598" y="130318"/>
                  <a:pt x="901632" y="130318"/>
                </a:cubicBezTo>
                <a:close/>
                <a:moveTo>
                  <a:pt x="287036" y="130318"/>
                </a:moveTo>
                <a:cubicBezTo>
                  <a:pt x="231332" y="130318"/>
                  <a:pt x="185530" y="176855"/>
                  <a:pt x="185530" y="233455"/>
                </a:cubicBezTo>
                <a:cubicBezTo>
                  <a:pt x="185530" y="288796"/>
                  <a:pt x="231332" y="335334"/>
                  <a:pt x="287036" y="335334"/>
                </a:cubicBezTo>
                <a:cubicBezTo>
                  <a:pt x="342740" y="335334"/>
                  <a:pt x="388542" y="288796"/>
                  <a:pt x="388542" y="233455"/>
                </a:cubicBezTo>
                <a:cubicBezTo>
                  <a:pt x="388542" y="176855"/>
                  <a:pt x="342740" y="130318"/>
                  <a:pt x="287036" y="130318"/>
                </a:cubicBezTo>
                <a:close/>
                <a:moveTo>
                  <a:pt x="901632" y="98874"/>
                </a:moveTo>
                <a:cubicBezTo>
                  <a:pt x="975010" y="98874"/>
                  <a:pt x="1033466" y="159247"/>
                  <a:pt x="1033466" y="233455"/>
                </a:cubicBezTo>
                <a:cubicBezTo>
                  <a:pt x="1033466" y="306405"/>
                  <a:pt x="975010" y="366778"/>
                  <a:pt x="901632" y="366778"/>
                </a:cubicBezTo>
                <a:cubicBezTo>
                  <a:pt x="829496" y="366778"/>
                  <a:pt x="771042" y="306405"/>
                  <a:pt x="771042" y="233455"/>
                </a:cubicBezTo>
                <a:cubicBezTo>
                  <a:pt x="771042" y="159247"/>
                  <a:pt x="829496" y="98874"/>
                  <a:pt x="901632" y="98874"/>
                </a:cubicBezTo>
                <a:close/>
                <a:moveTo>
                  <a:pt x="287036" y="98874"/>
                </a:moveTo>
                <a:cubicBezTo>
                  <a:pt x="360070" y="98874"/>
                  <a:pt x="418250" y="159247"/>
                  <a:pt x="418250" y="233455"/>
                </a:cubicBezTo>
                <a:cubicBezTo>
                  <a:pt x="418250" y="306405"/>
                  <a:pt x="360070" y="366778"/>
                  <a:pt x="287036" y="366778"/>
                </a:cubicBezTo>
                <a:cubicBezTo>
                  <a:pt x="215238" y="366778"/>
                  <a:pt x="155820" y="306405"/>
                  <a:pt x="155820" y="233455"/>
                </a:cubicBezTo>
                <a:cubicBezTo>
                  <a:pt x="155820" y="159247"/>
                  <a:pt x="215238" y="98874"/>
                  <a:pt x="287036" y="98874"/>
                </a:cubicBezTo>
                <a:close/>
                <a:moveTo>
                  <a:pt x="594646" y="30947"/>
                </a:moveTo>
                <a:cubicBezTo>
                  <a:pt x="538942" y="30947"/>
                  <a:pt x="493140" y="75510"/>
                  <a:pt x="493140" y="131214"/>
                </a:cubicBezTo>
                <a:cubicBezTo>
                  <a:pt x="493140" y="186919"/>
                  <a:pt x="538942" y="231482"/>
                  <a:pt x="594646" y="231482"/>
                </a:cubicBezTo>
                <a:cubicBezTo>
                  <a:pt x="650350" y="231482"/>
                  <a:pt x="694914" y="186919"/>
                  <a:pt x="694914" y="131214"/>
                </a:cubicBezTo>
                <a:cubicBezTo>
                  <a:pt x="694914" y="75510"/>
                  <a:pt x="650350" y="30947"/>
                  <a:pt x="594646" y="30947"/>
                </a:cubicBezTo>
                <a:close/>
                <a:moveTo>
                  <a:pt x="594646" y="0"/>
                </a:moveTo>
                <a:cubicBezTo>
                  <a:pt x="666444" y="0"/>
                  <a:pt x="725862" y="59418"/>
                  <a:pt x="725862" y="131214"/>
                </a:cubicBezTo>
                <a:cubicBezTo>
                  <a:pt x="725862" y="204249"/>
                  <a:pt x="666444" y="262429"/>
                  <a:pt x="594646" y="262429"/>
                </a:cubicBezTo>
                <a:cubicBezTo>
                  <a:pt x="521612" y="262429"/>
                  <a:pt x="463432" y="204249"/>
                  <a:pt x="463432" y="131214"/>
                </a:cubicBezTo>
                <a:cubicBezTo>
                  <a:pt x="463432" y="59418"/>
                  <a:pt x="521612" y="0"/>
                  <a:pt x="59464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5DC46E6-8594-341C-0F7C-6DA0666C42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83979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6F67D94E-DEBE-DCAD-1742-BBE462D05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2547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6F67D94E-DEBE-DCAD-1742-BBE462D05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5">
            <a:extLst>
              <a:ext uri="{FF2B5EF4-FFF2-40B4-BE49-F238E27FC236}">
                <a16:creationId xmlns:a16="http://schemas.microsoft.com/office/drawing/2014/main" id="{0F4E7C7C-CA8E-17CB-C066-B85EC5B4510E}"/>
              </a:ext>
            </a:extLst>
          </p:cNvPr>
          <p:cNvSpPr/>
          <p:nvPr/>
        </p:nvSpPr>
        <p:spPr>
          <a:xfrm>
            <a:off x="371475" y="3771900"/>
            <a:ext cx="11449050" cy="25368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Marcador de texto 32">
            <a:extLst>
              <a:ext uri="{FF2B5EF4-FFF2-40B4-BE49-F238E27FC236}">
                <a16:creationId xmlns:a16="http://schemas.microsoft.com/office/drawing/2014/main" id="{1571731C-7884-3FF4-03DA-666EC4B9E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63">
            <a:extLst>
              <a:ext uri="{FF2B5EF4-FFF2-40B4-BE49-F238E27FC236}">
                <a16:creationId xmlns:a16="http://schemas.microsoft.com/office/drawing/2014/main" id="{836B7A35-6954-5496-4D43-994E9A507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2761" y="1710732"/>
            <a:ext cx="1900594" cy="2320812"/>
          </a:xfrm>
          <a:custGeom>
            <a:avLst/>
            <a:gdLst>
              <a:gd name="T0" fmla="*/ 1525 w 3050"/>
              <a:gd name="T1" fmla="*/ 2470 h 3727"/>
              <a:gd name="T2" fmla="*/ 1525 w 3050"/>
              <a:gd name="T3" fmla="*/ 2470 h 3727"/>
              <a:gd name="T4" fmla="*/ 581 w 3050"/>
              <a:gd name="T5" fmla="*/ 1525 h 3727"/>
              <a:gd name="T6" fmla="*/ 581 w 3050"/>
              <a:gd name="T7" fmla="*/ 1525 h 3727"/>
              <a:gd name="T8" fmla="*/ 1525 w 3050"/>
              <a:gd name="T9" fmla="*/ 580 h 3727"/>
              <a:gd name="T10" fmla="*/ 1525 w 3050"/>
              <a:gd name="T11" fmla="*/ 580 h 3727"/>
              <a:gd name="T12" fmla="*/ 2470 w 3050"/>
              <a:gd name="T13" fmla="*/ 1525 h 3727"/>
              <a:gd name="T14" fmla="*/ 2470 w 3050"/>
              <a:gd name="T15" fmla="*/ 1525 h 3727"/>
              <a:gd name="T16" fmla="*/ 1525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5 w 3050"/>
              <a:gd name="T27" fmla="*/ 0 h 3727"/>
              <a:gd name="T28" fmla="*/ 1525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2 w 3050"/>
              <a:gd name="T43" fmla="*/ 2992 h 3727"/>
              <a:gd name="T44" fmla="*/ 1112 w 3050"/>
              <a:gd name="T45" fmla="*/ 2992 h 3727"/>
              <a:gd name="T46" fmla="*/ 1042 w 3050"/>
              <a:gd name="T47" fmla="*/ 3242 h 3727"/>
              <a:gd name="T48" fmla="*/ 1042 w 3050"/>
              <a:gd name="T49" fmla="*/ 3242 h 3727"/>
              <a:gd name="T50" fmla="*/ 1525 w 3050"/>
              <a:gd name="T51" fmla="*/ 3726 h 3727"/>
              <a:gd name="T52" fmla="*/ 1525 w 3050"/>
              <a:gd name="T53" fmla="*/ 3726 h 3727"/>
              <a:gd name="T54" fmla="*/ 2009 w 3050"/>
              <a:gd name="T55" fmla="*/ 3242 h 3727"/>
              <a:gd name="T56" fmla="*/ 2009 w 3050"/>
              <a:gd name="T57" fmla="*/ 3242 h 3727"/>
              <a:gd name="T58" fmla="*/ 1939 w 3050"/>
              <a:gd name="T59" fmla="*/ 2992 h 3727"/>
              <a:gd name="T60" fmla="*/ 1939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6" y="580"/>
                  <a:pt x="2470" y="1004"/>
                  <a:pt x="2470" y="1525"/>
                </a:cubicBezTo>
                <a:lnTo>
                  <a:pt x="2470" y="1525"/>
                </a:lnTo>
                <a:cubicBezTo>
                  <a:pt x="2470" y="2046"/>
                  <a:pt x="2046" y="2470"/>
                  <a:pt x="1525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2" y="2992"/>
                </a:cubicBezTo>
                <a:lnTo>
                  <a:pt x="1112" y="2992"/>
                </a:lnTo>
                <a:cubicBezTo>
                  <a:pt x="1067" y="3065"/>
                  <a:pt x="1042" y="3151"/>
                  <a:pt x="1042" y="3242"/>
                </a:cubicBezTo>
                <a:lnTo>
                  <a:pt x="1042" y="3242"/>
                </a:lnTo>
                <a:cubicBezTo>
                  <a:pt x="1042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2" y="3726"/>
                  <a:pt x="2009" y="3509"/>
                  <a:pt x="2009" y="3242"/>
                </a:cubicBezTo>
                <a:lnTo>
                  <a:pt x="2009" y="3242"/>
                </a:lnTo>
                <a:cubicBezTo>
                  <a:pt x="2009" y="3151"/>
                  <a:pt x="1984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6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5" name="Freeform 64">
            <a:extLst>
              <a:ext uri="{FF2B5EF4-FFF2-40B4-BE49-F238E27FC236}">
                <a16:creationId xmlns:a16="http://schemas.microsoft.com/office/drawing/2014/main" id="{39056DED-1697-E4CE-80DA-686B3BE515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5605" y="1710732"/>
            <a:ext cx="1900594" cy="2320812"/>
          </a:xfrm>
          <a:custGeom>
            <a:avLst/>
            <a:gdLst>
              <a:gd name="T0" fmla="*/ 1524 w 3050"/>
              <a:gd name="T1" fmla="*/ 2470 h 3727"/>
              <a:gd name="T2" fmla="*/ 1524 w 3050"/>
              <a:gd name="T3" fmla="*/ 2470 h 3727"/>
              <a:gd name="T4" fmla="*/ 580 w 3050"/>
              <a:gd name="T5" fmla="*/ 1525 h 3727"/>
              <a:gd name="T6" fmla="*/ 580 w 3050"/>
              <a:gd name="T7" fmla="*/ 1525 h 3727"/>
              <a:gd name="T8" fmla="*/ 1524 w 3050"/>
              <a:gd name="T9" fmla="*/ 580 h 3727"/>
              <a:gd name="T10" fmla="*/ 1524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4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4 w 3050"/>
              <a:gd name="T27" fmla="*/ 0 h 3727"/>
              <a:gd name="T28" fmla="*/ 1524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1 w 3050"/>
              <a:gd name="T43" fmla="*/ 2992 h 3727"/>
              <a:gd name="T44" fmla="*/ 1111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4 w 3050"/>
              <a:gd name="T51" fmla="*/ 3726 h 3727"/>
              <a:gd name="T52" fmla="*/ 1524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8 w 3050"/>
              <a:gd name="T59" fmla="*/ 2992 h 3727"/>
              <a:gd name="T60" fmla="*/ 1938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4" y="2470"/>
                </a:moveTo>
                <a:lnTo>
                  <a:pt x="1524" y="2470"/>
                </a:lnTo>
                <a:cubicBezTo>
                  <a:pt x="1004" y="2470"/>
                  <a:pt x="580" y="2046"/>
                  <a:pt x="580" y="1525"/>
                </a:cubicBezTo>
                <a:lnTo>
                  <a:pt x="580" y="1525"/>
                </a:lnTo>
                <a:cubicBezTo>
                  <a:pt x="580" y="1004"/>
                  <a:pt x="1004" y="580"/>
                  <a:pt x="1524" y="580"/>
                </a:cubicBezTo>
                <a:lnTo>
                  <a:pt x="1524" y="580"/>
                </a:lnTo>
                <a:cubicBezTo>
                  <a:pt x="2045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5" y="2470"/>
                  <a:pt x="1524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4" y="0"/>
                </a:cubicBezTo>
                <a:lnTo>
                  <a:pt x="1524" y="0"/>
                </a:lnTo>
                <a:cubicBezTo>
                  <a:pt x="1117" y="0"/>
                  <a:pt x="734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4" y="2790"/>
                  <a:pt x="862" y="2922"/>
                  <a:pt x="1111" y="2992"/>
                </a:cubicBezTo>
                <a:lnTo>
                  <a:pt x="1111" y="2992"/>
                </a:lnTo>
                <a:cubicBezTo>
                  <a:pt x="1066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4" y="3726"/>
                </a:cubicBezTo>
                <a:lnTo>
                  <a:pt x="1524" y="3726"/>
                </a:lnTo>
                <a:cubicBezTo>
                  <a:pt x="1792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8" y="2992"/>
                </a:cubicBezTo>
                <a:lnTo>
                  <a:pt x="1938" y="2992"/>
                </a:lnTo>
                <a:cubicBezTo>
                  <a:pt x="2187" y="2922"/>
                  <a:pt x="2415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6" name="Freeform 65">
            <a:extLst>
              <a:ext uri="{FF2B5EF4-FFF2-40B4-BE49-F238E27FC236}">
                <a16:creationId xmlns:a16="http://schemas.microsoft.com/office/drawing/2014/main" id="{930B316A-D766-607B-2D18-57C647EA3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8449" y="1710732"/>
            <a:ext cx="1900594" cy="2320812"/>
          </a:xfrm>
          <a:custGeom>
            <a:avLst/>
            <a:gdLst>
              <a:gd name="T0" fmla="*/ 1525 w 3050"/>
              <a:gd name="T1" fmla="*/ 2470 h 3727"/>
              <a:gd name="T2" fmla="*/ 1525 w 3050"/>
              <a:gd name="T3" fmla="*/ 2470 h 3727"/>
              <a:gd name="T4" fmla="*/ 581 w 3050"/>
              <a:gd name="T5" fmla="*/ 1525 h 3727"/>
              <a:gd name="T6" fmla="*/ 581 w 3050"/>
              <a:gd name="T7" fmla="*/ 1525 h 3727"/>
              <a:gd name="T8" fmla="*/ 1525 w 3050"/>
              <a:gd name="T9" fmla="*/ 580 h 3727"/>
              <a:gd name="T10" fmla="*/ 1525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5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2 w 3050"/>
              <a:gd name="T23" fmla="*/ 447 h 3727"/>
              <a:gd name="T24" fmla="*/ 2602 w 3050"/>
              <a:gd name="T25" fmla="*/ 447 h 3727"/>
              <a:gd name="T26" fmla="*/ 1525 w 3050"/>
              <a:gd name="T27" fmla="*/ 0 h 3727"/>
              <a:gd name="T28" fmla="*/ 1525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1 w 3050"/>
              <a:gd name="T43" fmla="*/ 2992 h 3727"/>
              <a:gd name="T44" fmla="*/ 1111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5 w 3050"/>
              <a:gd name="T51" fmla="*/ 3726 h 3727"/>
              <a:gd name="T52" fmla="*/ 1525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8 w 3050"/>
              <a:gd name="T59" fmla="*/ 2992 h 3727"/>
              <a:gd name="T60" fmla="*/ 1938 w 3050"/>
              <a:gd name="T61" fmla="*/ 2992 h 3727"/>
              <a:gd name="T62" fmla="*/ 2602 w 3050"/>
              <a:gd name="T63" fmla="*/ 2602 h 3727"/>
              <a:gd name="T64" fmla="*/ 2602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5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5" y="2470"/>
                  <a:pt x="1525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0" y="735"/>
                  <a:pt x="2602" y="447"/>
                </a:cubicBezTo>
                <a:lnTo>
                  <a:pt x="2602" y="447"/>
                </a:lnTo>
                <a:cubicBezTo>
                  <a:pt x="2314" y="159"/>
                  <a:pt x="1931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1" y="2992"/>
                </a:cubicBezTo>
                <a:lnTo>
                  <a:pt x="1111" y="2992"/>
                </a:lnTo>
                <a:cubicBezTo>
                  <a:pt x="1067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1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8" y="2992"/>
                </a:cubicBezTo>
                <a:lnTo>
                  <a:pt x="1938" y="2992"/>
                </a:lnTo>
                <a:cubicBezTo>
                  <a:pt x="2187" y="2922"/>
                  <a:pt x="2414" y="2790"/>
                  <a:pt x="2602" y="2602"/>
                </a:cubicBezTo>
                <a:lnTo>
                  <a:pt x="2602" y="2602"/>
                </a:lnTo>
                <a:cubicBezTo>
                  <a:pt x="2890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7" name="Freeform 66">
            <a:extLst>
              <a:ext uri="{FF2B5EF4-FFF2-40B4-BE49-F238E27FC236}">
                <a16:creationId xmlns:a16="http://schemas.microsoft.com/office/drawing/2014/main" id="{BFADAA0A-FDEB-CA47-E6CC-DFDA0EC3B3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1294" y="1710732"/>
            <a:ext cx="1900594" cy="2320812"/>
          </a:xfrm>
          <a:custGeom>
            <a:avLst/>
            <a:gdLst>
              <a:gd name="T0" fmla="*/ 1524 w 3050"/>
              <a:gd name="T1" fmla="*/ 2470 h 3727"/>
              <a:gd name="T2" fmla="*/ 1524 w 3050"/>
              <a:gd name="T3" fmla="*/ 2470 h 3727"/>
              <a:gd name="T4" fmla="*/ 580 w 3050"/>
              <a:gd name="T5" fmla="*/ 1525 h 3727"/>
              <a:gd name="T6" fmla="*/ 580 w 3050"/>
              <a:gd name="T7" fmla="*/ 1525 h 3727"/>
              <a:gd name="T8" fmla="*/ 1524 w 3050"/>
              <a:gd name="T9" fmla="*/ 580 h 3727"/>
              <a:gd name="T10" fmla="*/ 1524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4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4 w 3050"/>
              <a:gd name="T27" fmla="*/ 0 h 3727"/>
              <a:gd name="T28" fmla="*/ 1524 w 3050"/>
              <a:gd name="T29" fmla="*/ 0 h 3727"/>
              <a:gd name="T30" fmla="*/ 446 w 3050"/>
              <a:gd name="T31" fmla="*/ 447 h 3727"/>
              <a:gd name="T32" fmla="*/ 446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6 w 3050"/>
              <a:gd name="T39" fmla="*/ 2602 h 3727"/>
              <a:gd name="T40" fmla="*/ 446 w 3050"/>
              <a:gd name="T41" fmla="*/ 2602 h 3727"/>
              <a:gd name="T42" fmla="*/ 1110 w 3050"/>
              <a:gd name="T43" fmla="*/ 2992 h 3727"/>
              <a:gd name="T44" fmla="*/ 1110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4 w 3050"/>
              <a:gd name="T51" fmla="*/ 3726 h 3727"/>
              <a:gd name="T52" fmla="*/ 1524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9 w 3050"/>
              <a:gd name="T59" fmla="*/ 2992 h 3727"/>
              <a:gd name="T60" fmla="*/ 1939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4" y="2470"/>
                </a:moveTo>
                <a:lnTo>
                  <a:pt x="1524" y="2470"/>
                </a:lnTo>
                <a:cubicBezTo>
                  <a:pt x="1004" y="2470"/>
                  <a:pt x="580" y="2046"/>
                  <a:pt x="580" y="1525"/>
                </a:cubicBezTo>
                <a:lnTo>
                  <a:pt x="580" y="1525"/>
                </a:lnTo>
                <a:cubicBezTo>
                  <a:pt x="580" y="1004"/>
                  <a:pt x="1004" y="580"/>
                  <a:pt x="1524" y="580"/>
                </a:cubicBezTo>
                <a:lnTo>
                  <a:pt x="1524" y="580"/>
                </a:lnTo>
                <a:cubicBezTo>
                  <a:pt x="2046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6" y="2470"/>
                  <a:pt x="1524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4" y="0"/>
                </a:cubicBezTo>
                <a:lnTo>
                  <a:pt x="1524" y="0"/>
                </a:lnTo>
                <a:cubicBezTo>
                  <a:pt x="1117" y="0"/>
                  <a:pt x="735" y="159"/>
                  <a:pt x="446" y="447"/>
                </a:cubicBezTo>
                <a:lnTo>
                  <a:pt x="446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6" y="2602"/>
                </a:cubicBezTo>
                <a:lnTo>
                  <a:pt x="446" y="2602"/>
                </a:lnTo>
                <a:cubicBezTo>
                  <a:pt x="634" y="2790"/>
                  <a:pt x="862" y="2922"/>
                  <a:pt x="1110" y="2992"/>
                </a:cubicBezTo>
                <a:lnTo>
                  <a:pt x="1110" y="2992"/>
                </a:lnTo>
                <a:cubicBezTo>
                  <a:pt x="1066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4" y="3726"/>
                </a:cubicBezTo>
                <a:lnTo>
                  <a:pt x="1524" y="3726"/>
                </a:lnTo>
                <a:cubicBezTo>
                  <a:pt x="1792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5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4">
              <a:alpha val="89859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8" name="Freeform 67">
            <a:extLst>
              <a:ext uri="{FF2B5EF4-FFF2-40B4-BE49-F238E27FC236}">
                <a16:creationId xmlns:a16="http://schemas.microsoft.com/office/drawing/2014/main" id="{E5097408-0A1E-A19C-EC86-B8297469B7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6884" y="1710732"/>
            <a:ext cx="1900594" cy="2320812"/>
          </a:xfrm>
          <a:custGeom>
            <a:avLst/>
            <a:gdLst>
              <a:gd name="T0" fmla="*/ 1525 w 3051"/>
              <a:gd name="T1" fmla="*/ 2470 h 3727"/>
              <a:gd name="T2" fmla="*/ 1525 w 3051"/>
              <a:gd name="T3" fmla="*/ 2470 h 3727"/>
              <a:gd name="T4" fmla="*/ 581 w 3051"/>
              <a:gd name="T5" fmla="*/ 1525 h 3727"/>
              <a:gd name="T6" fmla="*/ 581 w 3051"/>
              <a:gd name="T7" fmla="*/ 1525 h 3727"/>
              <a:gd name="T8" fmla="*/ 1525 w 3051"/>
              <a:gd name="T9" fmla="*/ 580 h 3727"/>
              <a:gd name="T10" fmla="*/ 1525 w 3051"/>
              <a:gd name="T11" fmla="*/ 580 h 3727"/>
              <a:gd name="T12" fmla="*/ 2470 w 3051"/>
              <a:gd name="T13" fmla="*/ 1525 h 3727"/>
              <a:gd name="T14" fmla="*/ 2470 w 3051"/>
              <a:gd name="T15" fmla="*/ 1525 h 3727"/>
              <a:gd name="T16" fmla="*/ 1525 w 3051"/>
              <a:gd name="T17" fmla="*/ 2470 h 3727"/>
              <a:gd name="T18" fmla="*/ 3050 w 3051"/>
              <a:gd name="T19" fmla="*/ 1525 h 3727"/>
              <a:gd name="T20" fmla="*/ 3050 w 3051"/>
              <a:gd name="T21" fmla="*/ 1525 h 3727"/>
              <a:gd name="T22" fmla="*/ 2603 w 3051"/>
              <a:gd name="T23" fmla="*/ 447 h 3727"/>
              <a:gd name="T24" fmla="*/ 2603 w 3051"/>
              <a:gd name="T25" fmla="*/ 447 h 3727"/>
              <a:gd name="T26" fmla="*/ 1525 w 3051"/>
              <a:gd name="T27" fmla="*/ 0 h 3727"/>
              <a:gd name="T28" fmla="*/ 1525 w 3051"/>
              <a:gd name="T29" fmla="*/ 0 h 3727"/>
              <a:gd name="T30" fmla="*/ 447 w 3051"/>
              <a:gd name="T31" fmla="*/ 447 h 3727"/>
              <a:gd name="T32" fmla="*/ 447 w 3051"/>
              <a:gd name="T33" fmla="*/ 447 h 3727"/>
              <a:gd name="T34" fmla="*/ 0 w 3051"/>
              <a:gd name="T35" fmla="*/ 1525 h 3727"/>
              <a:gd name="T36" fmla="*/ 0 w 3051"/>
              <a:gd name="T37" fmla="*/ 1525 h 3727"/>
              <a:gd name="T38" fmla="*/ 447 w 3051"/>
              <a:gd name="T39" fmla="*/ 2602 h 3727"/>
              <a:gd name="T40" fmla="*/ 447 w 3051"/>
              <a:gd name="T41" fmla="*/ 2602 h 3727"/>
              <a:gd name="T42" fmla="*/ 1111 w 3051"/>
              <a:gd name="T43" fmla="*/ 2992 h 3727"/>
              <a:gd name="T44" fmla="*/ 1111 w 3051"/>
              <a:gd name="T45" fmla="*/ 2992 h 3727"/>
              <a:gd name="T46" fmla="*/ 1041 w 3051"/>
              <a:gd name="T47" fmla="*/ 3242 h 3727"/>
              <a:gd name="T48" fmla="*/ 1041 w 3051"/>
              <a:gd name="T49" fmla="*/ 3242 h 3727"/>
              <a:gd name="T50" fmla="*/ 1525 w 3051"/>
              <a:gd name="T51" fmla="*/ 3726 h 3727"/>
              <a:gd name="T52" fmla="*/ 1525 w 3051"/>
              <a:gd name="T53" fmla="*/ 3726 h 3727"/>
              <a:gd name="T54" fmla="*/ 2009 w 3051"/>
              <a:gd name="T55" fmla="*/ 3242 h 3727"/>
              <a:gd name="T56" fmla="*/ 2009 w 3051"/>
              <a:gd name="T57" fmla="*/ 3242 h 3727"/>
              <a:gd name="T58" fmla="*/ 1939 w 3051"/>
              <a:gd name="T59" fmla="*/ 2992 h 3727"/>
              <a:gd name="T60" fmla="*/ 1939 w 3051"/>
              <a:gd name="T61" fmla="*/ 2992 h 3727"/>
              <a:gd name="T62" fmla="*/ 2603 w 3051"/>
              <a:gd name="T63" fmla="*/ 2602 h 3727"/>
              <a:gd name="T64" fmla="*/ 2603 w 3051"/>
              <a:gd name="T65" fmla="*/ 2602 h 3727"/>
              <a:gd name="T66" fmla="*/ 3050 w 3051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1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6" y="580"/>
                  <a:pt x="2470" y="1004"/>
                  <a:pt x="2470" y="1525"/>
                </a:cubicBezTo>
                <a:lnTo>
                  <a:pt x="2470" y="1525"/>
                </a:lnTo>
                <a:cubicBezTo>
                  <a:pt x="2470" y="2046"/>
                  <a:pt x="2046" y="2470"/>
                  <a:pt x="1525" y="2470"/>
                </a:cubicBezTo>
                <a:close/>
                <a:moveTo>
                  <a:pt x="3050" y="1525"/>
                </a:moveTo>
                <a:lnTo>
                  <a:pt x="3050" y="1525"/>
                </a:lnTo>
                <a:cubicBezTo>
                  <a:pt x="3050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3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1" y="2992"/>
                </a:cubicBezTo>
                <a:lnTo>
                  <a:pt x="1111" y="2992"/>
                </a:lnTo>
                <a:cubicBezTo>
                  <a:pt x="1067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2" y="3726"/>
                  <a:pt x="2009" y="3509"/>
                  <a:pt x="2009" y="3242"/>
                </a:cubicBezTo>
                <a:lnTo>
                  <a:pt x="2009" y="3242"/>
                </a:lnTo>
                <a:cubicBezTo>
                  <a:pt x="2009" y="3151"/>
                  <a:pt x="1983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6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50" y="1932"/>
                  <a:pt x="3050" y="152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9" name="Freeform 20">
            <a:extLst>
              <a:ext uri="{FF2B5EF4-FFF2-40B4-BE49-F238E27FC236}">
                <a16:creationId xmlns:a16="http://schemas.microsoft.com/office/drawing/2014/main" id="{AC9AC3B1-B6DF-A5A0-97C2-56E21B8B3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4405" y="2363331"/>
            <a:ext cx="651199" cy="576580"/>
          </a:xfrm>
          <a:custGeom>
            <a:avLst/>
            <a:gdLst>
              <a:gd name="connsiteX0" fmla="*/ 913116 w 1302398"/>
              <a:gd name="connsiteY0" fmla="*/ 1012868 h 1153159"/>
              <a:gd name="connsiteX1" fmla="*/ 1191250 w 1302398"/>
              <a:gd name="connsiteY1" fmla="*/ 1012868 h 1153159"/>
              <a:gd name="connsiteX2" fmla="*/ 1301759 w 1302398"/>
              <a:gd name="connsiteY2" fmla="*/ 1132937 h 1153159"/>
              <a:gd name="connsiteX3" fmla="*/ 1290584 w 1302398"/>
              <a:gd name="connsiteY3" fmla="*/ 1151896 h 1153159"/>
              <a:gd name="connsiteX4" fmla="*/ 1286859 w 1302398"/>
              <a:gd name="connsiteY4" fmla="*/ 1153159 h 1153159"/>
              <a:gd name="connsiteX5" fmla="*/ 1270717 w 1302398"/>
              <a:gd name="connsiteY5" fmla="*/ 1140521 h 1153159"/>
              <a:gd name="connsiteX6" fmla="*/ 1191250 w 1302398"/>
              <a:gd name="connsiteY6" fmla="*/ 1044465 h 1153159"/>
              <a:gd name="connsiteX7" fmla="*/ 913116 w 1302398"/>
              <a:gd name="connsiteY7" fmla="*/ 1044465 h 1153159"/>
              <a:gd name="connsiteX8" fmla="*/ 832406 w 1302398"/>
              <a:gd name="connsiteY8" fmla="*/ 1140521 h 1153159"/>
              <a:gd name="connsiteX9" fmla="*/ 812539 w 1302398"/>
              <a:gd name="connsiteY9" fmla="*/ 1151896 h 1153159"/>
              <a:gd name="connsiteX10" fmla="*/ 801364 w 1302398"/>
              <a:gd name="connsiteY10" fmla="*/ 1132937 h 1153159"/>
              <a:gd name="connsiteX11" fmla="*/ 913116 w 1302398"/>
              <a:gd name="connsiteY11" fmla="*/ 1012868 h 1153159"/>
              <a:gd name="connsiteX12" fmla="*/ 112080 w 1302398"/>
              <a:gd name="connsiteY12" fmla="*/ 1012868 h 1153159"/>
              <a:gd name="connsiteX13" fmla="*/ 393799 w 1302398"/>
              <a:gd name="connsiteY13" fmla="*/ 1012868 h 1153159"/>
              <a:gd name="connsiteX14" fmla="*/ 505235 w 1302398"/>
              <a:gd name="connsiteY14" fmla="*/ 1132937 h 1153159"/>
              <a:gd name="connsiteX15" fmla="*/ 493966 w 1302398"/>
              <a:gd name="connsiteY15" fmla="*/ 1151896 h 1153159"/>
              <a:gd name="connsiteX16" fmla="*/ 488957 w 1302398"/>
              <a:gd name="connsiteY16" fmla="*/ 1153159 h 1153159"/>
              <a:gd name="connsiteX17" fmla="*/ 473932 w 1302398"/>
              <a:gd name="connsiteY17" fmla="*/ 1140521 h 1153159"/>
              <a:gd name="connsiteX18" fmla="*/ 393799 w 1302398"/>
              <a:gd name="connsiteY18" fmla="*/ 1044465 h 1153159"/>
              <a:gd name="connsiteX19" fmla="*/ 112080 w 1302398"/>
              <a:gd name="connsiteY19" fmla="*/ 1044465 h 1153159"/>
              <a:gd name="connsiteX20" fmla="*/ 31946 w 1302398"/>
              <a:gd name="connsiteY20" fmla="*/ 1140521 h 1153159"/>
              <a:gd name="connsiteX21" fmla="*/ 11913 w 1302398"/>
              <a:gd name="connsiteY21" fmla="*/ 1151896 h 1153159"/>
              <a:gd name="connsiteX22" fmla="*/ 644 w 1302398"/>
              <a:gd name="connsiteY22" fmla="*/ 1132937 h 1153159"/>
              <a:gd name="connsiteX23" fmla="*/ 112080 w 1302398"/>
              <a:gd name="connsiteY23" fmla="*/ 1012868 h 1153159"/>
              <a:gd name="connsiteX24" fmla="*/ 794022 w 1302398"/>
              <a:gd name="connsiteY24" fmla="*/ 892018 h 1153159"/>
              <a:gd name="connsiteX25" fmla="*/ 809891 w 1302398"/>
              <a:gd name="connsiteY25" fmla="*/ 909851 h 1153159"/>
              <a:gd name="connsiteX26" fmla="*/ 809891 w 1302398"/>
              <a:gd name="connsiteY26" fmla="*/ 960801 h 1153159"/>
              <a:gd name="connsiteX27" fmla="*/ 794022 w 1302398"/>
              <a:gd name="connsiteY27" fmla="*/ 978633 h 1153159"/>
              <a:gd name="connsiteX28" fmla="*/ 778153 w 1302398"/>
              <a:gd name="connsiteY28" fmla="*/ 960801 h 1153159"/>
              <a:gd name="connsiteX29" fmla="*/ 778153 w 1302398"/>
              <a:gd name="connsiteY29" fmla="*/ 909851 h 1153159"/>
              <a:gd name="connsiteX30" fmla="*/ 794022 w 1302398"/>
              <a:gd name="connsiteY30" fmla="*/ 892018 h 1153159"/>
              <a:gd name="connsiteX31" fmla="*/ 513875 w 1302398"/>
              <a:gd name="connsiteY31" fmla="*/ 892018 h 1153159"/>
              <a:gd name="connsiteX32" fmla="*/ 529744 w 1302398"/>
              <a:gd name="connsiteY32" fmla="*/ 909851 h 1153159"/>
              <a:gd name="connsiteX33" fmla="*/ 529744 w 1302398"/>
              <a:gd name="connsiteY33" fmla="*/ 960801 h 1153159"/>
              <a:gd name="connsiteX34" fmla="*/ 513875 w 1302398"/>
              <a:gd name="connsiteY34" fmla="*/ 978633 h 1153159"/>
              <a:gd name="connsiteX35" fmla="*/ 498006 w 1302398"/>
              <a:gd name="connsiteY35" fmla="*/ 960801 h 1153159"/>
              <a:gd name="connsiteX36" fmla="*/ 498006 w 1302398"/>
              <a:gd name="connsiteY36" fmla="*/ 909851 h 1153159"/>
              <a:gd name="connsiteX37" fmla="*/ 513875 w 1302398"/>
              <a:gd name="connsiteY37" fmla="*/ 892018 h 1153159"/>
              <a:gd name="connsiteX38" fmla="*/ 1053682 w 1302398"/>
              <a:gd name="connsiteY38" fmla="*/ 770644 h 1153159"/>
              <a:gd name="connsiteX39" fmla="*/ 958893 w 1302398"/>
              <a:gd name="connsiteY39" fmla="*/ 866680 h 1153159"/>
              <a:gd name="connsiteX40" fmla="*/ 1053682 w 1302398"/>
              <a:gd name="connsiteY40" fmla="*/ 962716 h 1153159"/>
              <a:gd name="connsiteX41" fmla="*/ 1149718 w 1302398"/>
              <a:gd name="connsiteY41" fmla="*/ 866680 h 1153159"/>
              <a:gd name="connsiteX42" fmla="*/ 1053682 w 1302398"/>
              <a:gd name="connsiteY42" fmla="*/ 770644 h 1153159"/>
              <a:gd name="connsiteX43" fmla="*/ 252942 w 1302398"/>
              <a:gd name="connsiteY43" fmla="*/ 770644 h 1153159"/>
              <a:gd name="connsiteX44" fmla="*/ 156906 w 1302398"/>
              <a:gd name="connsiteY44" fmla="*/ 866680 h 1153159"/>
              <a:gd name="connsiteX45" fmla="*/ 252942 w 1302398"/>
              <a:gd name="connsiteY45" fmla="*/ 962716 h 1153159"/>
              <a:gd name="connsiteX46" fmla="*/ 348978 w 1302398"/>
              <a:gd name="connsiteY46" fmla="*/ 866680 h 1153159"/>
              <a:gd name="connsiteX47" fmla="*/ 252942 w 1302398"/>
              <a:gd name="connsiteY47" fmla="*/ 770644 h 1153159"/>
              <a:gd name="connsiteX48" fmla="*/ 513234 w 1302398"/>
              <a:gd name="connsiteY48" fmla="*/ 754697 h 1153159"/>
              <a:gd name="connsiteX49" fmla="*/ 792880 w 1302398"/>
              <a:gd name="connsiteY49" fmla="*/ 754697 h 1153159"/>
              <a:gd name="connsiteX50" fmla="*/ 905238 w 1302398"/>
              <a:gd name="connsiteY50" fmla="*/ 872253 h 1153159"/>
              <a:gd name="connsiteX51" fmla="*/ 923964 w 1302398"/>
              <a:gd name="connsiteY51" fmla="*/ 957636 h 1153159"/>
              <a:gd name="connsiteX52" fmla="*/ 911480 w 1302398"/>
              <a:gd name="connsiteY52" fmla="*/ 976197 h 1153159"/>
              <a:gd name="connsiteX53" fmla="*/ 891506 w 1302398"/>
              <a:gd name="connsiteY53" fmla="*/ 963823 h 1153159"/>
              <a:gd name="connsiteX54" fmla="*/ 872779 w 1302398"/>
              <a:gd name="connsiteY54" fmla="*/ 879678 h 1153159"/>
              <a:gd name="connsiteX55" fmla="*/ 792880 w 1302398"/>
              <a:gd name="connsiteY55" fmla="*/ 786870 h 1153159"/>
              <a:gd name="connsiteX56" fmla="*/ 513234 w 1302398"/>
              <a:gd name="connsiteY56" fmla="*/ 786870 h 1153159"/>
              <a:gd name="connsiteX57" fmla="*/ 433336 w 1302398"/>
              <a:gd name="connsiteY57" fmla="*/ 880915 h 1153159"/>
              <a:gd name="connsiteX58" fmla="*/ 410864 w 1302398"/>
              <a:gd name="connsiteY58" fmla="*/ 965060 h 1153159"/>
              <a:gd name="connsiteX59" fmla="*/ 395883 w 1302398"/>
              <a:gd name="connsiteY59" fmla="*/ 977434 h 1153159"/>
              <a:gd name="connsiteX60" fmla="*/ 390889 w 1302398"/>
              <a:gd name="connsiteY60" fmla="*/ 976197 h 1153159"/>
              <a:gd name="connsiteX61" fmla="*/ 379654 w 1302398"/>
              <a:gd name="connsiteY61" fmla="*/ 956398 h 1153159"/>
              <a:gd name="connsiteX62" fmla="*/ 402125 w 1302398"/>
              <a:gd name="connsiteY62" fmla="*/ 872253 h 1153159"/>
              <a:gd name="connsiteX63" fmla="*/ 513234 w 1302398"/>
              <a:gd name="connsiteY63" fmla="*/ 754697 h 1153159"/>
              <a:gd name="connsiteX64" fmla="*/ 1053682 w 1302398"/>
              <a:gd name="connsiteY64" fmla="*/ 738216 h 1153159"/>
              <a:gd name="connsiteX65" fmla="*/ 1183393 w 1302398"/>
              <a:gd name="connsiteY65" fmla="*/ 866680 h 1153159"/>
              <a:gd name="connsiteX66" fmla="*/ 1053682 w 1302398"/>
              <a:gd name="connsiteY66" fmla="*/ 995144 h 1153159"/>
              <a:gd name="connsiteX67" fmla="*/ 926465 w 1302398"/>
              <a:gd name="connsiteY67" fmla="*/ 866680 h 1153159"/>
              <a:gd name="connsiteX68" fmla="*/ 1053682 w 1302398"/>
              <a:gd name="connsiteY68" fmla="*/ 738216 h 1153159"/>
              <a:gd name="connsiteX69" fmla="*/ 252942 w 1302398"/>
              <a:gd name="connsiteY69" fmla="*/ 738216 h 1153159"/>
              <a:gd name="connsiteX70" fmla="*/ 381406 w 1302398"/>
              <a:gd name="connsiteY70" fmla="*/ 866680 h 1153159"/>
              <a:gd name="connsiteX71" fmla="*/ 252942 w 1302398"/>
              <a:gd name="connsiteY71" fmla="*/ 995144 h 1153159"/>
              <a:gd name="connsiteX72" fmla="*/ 124478 w 1302398"/>
              <a:gd name="connsiteY72" fmla="*/ 866680 h 1153159"/>
              <a:gd name="connsiteX73" fmla="*/ 252942 w 1302398"/>
              <a:gd name="connsiteY73" fmla="*/ 738216 h 1153159"/>
              <a:gd name="connsiteX74" fmla="*/ 386396 w 1302398"/>
              <a:gd name="connsiteY74" fmla="*/ 614480 h 1153159"/>
              <a:gd name="connsiteX75" fmla="*/ 406371 w 1302398"/>
              <a:gd name="connsiteY75" fmla="*/ 626189 h 1153159"/>
              <a:gd name="connsiteX76" fmla="*/ 395135 w 1302398"/>
              <a:gd name="connsiteY76" fmla="*/ 647004 h 1153159"/>
              <a:gd name="connsiteX77" fmla="*/ 350192 w 1302398"/>
              <a:gd name="connsiteY77" fmla="*/ 660013 h 1153159"/>
              <a:gd name="connsiteX78" fmla="*/ 345198 w 1302398"/>
              <a:gd name="connsiteY78" fmla="*/ 660013 h 1153159"/>
              <a:gd name="connsiteX79" fmla="*/ 328969 w 1302398"/>
              <a:gd name="connsiteY79" fmla="*/ 648305 h 1153159"/>
              <a:gd name="connsiteX80" fmla="*/ 341453 w 1302398"/>
              <a:gd name="connsiteY80" fmla="*/ 627490 h 1153159"/>
              <a:gd name="connsiteX81" fmla="*/ 408206 w 1302398"/>
              <a:gd name="connsiteY81" fmla="*/ 570466 h 1153159"/>
              <a:gd name="connsiteX82" fmla="*/ 428316 w 1302398"/>
              <a:gd name="connsiteY82" fmla="*/ 581874 h 1153159"/>
              <a:gd name="connsiteX83" fmla="*/ 417004 w 1302398"/>
              <a:gd name="connsiteY83" fmla="*/ 602156 h 1153159"/>
              <a:gd name="connsiteX84" fmla="*/ 306400 w 1302398"/>
              <a:gd name="connsiteY84" fmla="*/ 632580 h 1153159"/>
              <a:gd name="connsiteX85" fmla="*/ 301373 w 1302398"/>
              <a:gd name="connsiteY85" fmla="*/ 632580 h 1153159"/>
              <a:gd name="connsiteX86" fmla="*/ 286290 w 1302398"/>
              <a:gd name="connsiteY86" fmla="*/ 621171 h 1153159"/>
              <a:gd name="connsiteX87" fmla="*/ 297602 w 1302398"/>
              <a:gd name="connsiteY87" fmla="*/ 600889 h 1153159"/>
              <a:gd name="connsiteX88" fmla="*/ 909843 w 1302398"/>
              <a:gd name="connsiteY88" fmla="*/ 548577 h 1153159"/>
              <a:gd name="connsiteX89" fmla="*/ 966842 w 1302398"/>
              <a:gd name="connsiteY89" fmla="*/ 565579 h 1153159"/>
              <a:gd name="connsiteX90" fmla="*/ 977756 w 1302398"/>
              <a:gd name="connsiteY90" fmla="*/ 586505 h 1153159"/>
              <a:gd name="connsiteX91" fmla="*/ 963203 w 1302398"/>
              <a:gd name="connsiteY91" fmla="*/ 599583 h 1153159"/>
              <a:gd name="connsiteX92" fmla="*/ 958352 w 1302398"/>
              <a:gd name="connsiteY92" fmla="*/ 598276 h 1153159"/>
              <a:gd name="connsiteX93" fmla="*/ 901354 w 1302398"/>
              <a:gd name="connsiteY93" fmla="*/ 582581 h 1153159"/>
              <a:gd name="connsiteX94" fmla="*/ 890440 w 1302398"/>
              <a:gd name="connsiteY94" fmla="*/ 560348 h 1153159"/>
              <a:gd name="connsiteX95" fmla="*/ 909843 w 1302398"/>
              <a:gd name="connsiteY95" fmla="*/ 548577 h 1153159"/>
              <a:gd name="connsiteX96" fmla="*/ 391366 w 1302398"/>
              <a:gd name="connsiteY96" fmla="*/ 529430 h 1153159"/>
              <a:gd name="connsiteX97" fmla="*/ 285533 w 1302398"/>
              <a:gd name="connsiteY97" fmla="*/ 557011 h 1153159"/>
              <a:gd name="connsiteX98" fmla="*/ 288024 w 1302398"/>
              <a:gd name="connsiteY98" fmla="*/ 567040 h 1153159"/>
              <a:gd name="connsiteX99" fmla="*/ 395102 w 1302398"/>
              <a:gd name="connsiteY99" fmla="*/ 538205 h 1153159"/>
              <a:gd name="connsiteX100" fmla="*/ 653935 w 1302398"/>
              <a:gd name="connsiteY100" fmla="*/ 513717 h 1153159"/>
              <a:gd name="connsiteX101" fmla="*/ 557900 w 1302398"/>
              <a:gd name="connsiteY101" fmla="*/ 608505 h 1153159"/>
              <a:gd name="connsiteX102" fmla="*/ 653935 w 1302398"/>
              <a:gd name="connsiteY102" fmla="*/ 704540 h 1153159"/>
              <a:gd name="connsiteX103" fmla="*/ 749969 w 1302398"/>
              <a:gd name="connsiteY103" fmla="*/ 608505 h 1153159"/>
              <a:gd name="connsiteX104" fmla="*/ 653935 w 1302398"/>
              <a:gd name="connsiteY104" fmla="*/ 513717 h 1153159"/>
              <a:gd name="connsiteX105" fmla="*/ 882672 w 1302398"/>
              <a:gd name="connsiteY105" fmla="*/ 493492 h 1153159"/>
              <a:gd name="connsiteX106" fmla="*/ 1021574 w 1302398"/>
              <a:gd name="connsiteY106" fmla="*/ 529196 h 1153159"/>
              <a:gd name="connsiteX107" fmla="*/ 1033866 w 1302398"/>
              <a:gd name="connsiteY107" fmla="*/ 548895 h 1153159"/>
              <a:gd name="connsiteX108" fmla="*/ 1017886 w 1302398"/>
              <a:gd name="connsiteY108" fmla="*/ 561207 h 1153159"/>
              <a:gd name="connsiteX109" fmla="*/ 1014198 w 1302398"/>
              <a:gd name="connsiteY109" fmla="*/ 561207 h 1153159"/>
              <a:gd name="connsiteX110" fmla="*/ 874067 w 1302398"/>
              <a:gd name="connsiteY110" fmla="*/ 524271 h 1153159"/>
              <a:gd name="connsiteX111" fmla="*/ 863004 w 1302398"/>
              <a:gd name="connsiteY111" fmla="*/ 504573 h 1153159"/>
              <a:gd name="connsiteX112" fmla="*/ 882672 w 1302398"/>
              <a:gd name="connsiteY112" fmla="*/ 493492 h 1153159"/>
              <a:gd name="connsiteX113" fmla="*/ 653935 w 1302398"/>
              <a:gd name="connsiteY113" fmla="*/ 480043 h 1153159"/>
              <a:gd name="connsiteX114" fmla="*/ 782397 w 1302398"/>
              <a:gd name="connsiteY114" fmla="*/ 608505 h 1153159"/>
              <a:gd name="connsiteX115" fmla="*/ 653935 w 1302398"/>
              <a:gd name="connsiteY115" fmla="*/ 736967 h 1153159"/>
              <a:gd name="connsiteX116" fmla="*/ 525473 w 1302398"/>
              <a:gd name="connsiteY116" fmla="*/ 608505 h 1153159"/>
              <a:gd name="connsiteX117" fmla="*/ 653935 w 1302398"/>
              <a:gd name="connsiteY117" fmla="*/ 480043 h 1153159"/>
              <a:gd name="connsiteX118" fmla="*/ 898000 w 1302398"/>
              <a:gd name="connsiteY118" fmla="*/ 425853 h 1153159"/>
              <a:gd name="connsiteX119" fmla="*/ 893044 w 1302398"/>
              <a:gd name="connsiteY119" fmla="*/ 444631 h 1153159"/>
              <a:gd name="connsiteX120" fmla="*/ 894283 w 1302398"/>
              <a:gd name="connsiteY120" fmla="*/ 445883 h 1153159"/>
              <a:gd name="connsiteX121" fmla="*/ 1035519 w 1302398"/>
              <a:gd name="connsiteY121" fmla="*/ 484692 h 1153159"/>
              <a:gd name="connsiteX122" fmla="*/ 1036758 w 1302398"/>
              <a:gd name="connsiteY122" fmla="*/ 484692 h 1153159"/>
              <a:gd name="connsiteX123" fmla="*/ 1036758 w 1302398"/>
              <a:gd name="connsiteY123" fmla="*/ 483440 h 1153159"/>
              <a:gd name="connsiteX124" fmla="*/ 1041714 w 1302398"/>
              <a:gd name="connsiteY124" fmla="*/ 464662 h 1153159"/>
              <a:gd name="connsiteX125" fmla="*/ 315399 w 1302398"/>
              <a:gd name="connsiteY125" fmla="*/ 236408 h 1153159"/>
              <a:gd name="connsiteX126" fmla="*/ 367300 w 1302398"/>
              <a:gd name="connsiteY126" fmla="*/ 262258 h 1153159"/>
              <a:gd name="connsiteX127" fmla="*/ 370996 w 1302398"/>
              <a:gd name="connsiteY127" fmla="*/ 285523 h 1153159"/>
              <a:gd name="connsiteX128" fmla="*/ 357443 w 1302398"/>
              <a:gd name="connsiteY128" fmla="*/ 291985 h 1153159"/>
              <a:gd name="connsiteX129" fmla="*/ 347587 w 1302398"/>
              <a:gd name="connsiteY129" fmla="*/ 288108 h 1153159"/>
              <a:gd name="connsiteX130" fmla="*/ 266269 w 1302398"/>
              <a:gd name="connsiteY130" fmla="*/ 271305 h 1153159"/>
              <a:gd name="connsiteX131" fmla="*/ 246556 w 1302398"/>
              <a:gd name="connsiteY131" fmla="*/ 258381 h 1153159"/>
              <a:gd name="connsiteX132" fmla="*/ 258877 w 1302398"/>
              <a:gd name="connsiteY132" fmla="*/ 237701 h 1153159"/>
              <a:gd name="connsiteX133" fmla="*/ 315399 w 1302398"/>
              <a:gd name="connsiteY133" fmla="*/ 236408 h 1153159"/>
              <a:gd name="connsiteX134" fmla="*/ 291759 w 1302398"/>
              <a:gd name="connsiteY134" fmla="*/ 222281 h 1153159"/>
              <a:gd name="connsiteX135" fmla="*/ 248181 w 1302398"/>
              <a:gd name="connsiteY135" fmla="*/ 228550 h 1153159"/>
              <a:gd name="connsiteX136" fmla="*/ 154799 w 1302398"/>
              <a:gd name="connsiteY136" fmla="*/ 395287 h 1153159"/>
              <a:gd name="connsiteX137" fmla="*/ 253161 w 1302398"/>
              <a:gd name="connsiteY137" fmla="*/ 500595 h 1153159"/>
              <a:gd name="connsiteX138" fmla="*/ 278063 w 1302398"/>
              <a:gd name="connsiteY138" fmla="*/ 525669 h 1153159"/>
              <a:gd name="connsiteX139" fmla="*/ 383896 w 1302398"/>
              <a:gd name="connsiteY139" fmla="*/ 496834 h 1153159"/>
              <a:gd name="connsiteX140" fmla="*/ 392612 w 1302398"/>
              <a:gd name="connsiteY140" fmla="*/ 462985 h 1153159"/>
              <a:gd name="connsiteX141" fmla="*/ 427474 w 1302398"/>
              <a:gd name="connsiteY141" fmla="*/ 327589 h 1153159"/>
              <a:gd name="connsiteX142" fmla="*/ 358994 w 1302398"/>
              <a:gd name="connsiteY142" fmla="*/ 238579 h 1153159"/>
              <a:gd name="connsiteX143" fmla="*/ 291759 w 1302398"/>
              <a:gd name="connsiteY143" fmla="*/ 222281 h 1153159"/>
              <a:gd name="connsiteX144" fmla="*/ 308257 w 1302398"/>
              <a:gd name="connsiteY144" fmla="*/ 190000 h 1153159"/>
              <a:gd name="connsiteX145" fmla="*/ 375180 w 1302398"/>
              <a:gd name="connsiteY145" fmla="*/ 210998 h 1153159"/>
              <a:gd name="connsiteX146" fmla="*/ 458601 w 1302398"/>
              <a:gd name="connsiteY146" fmla="*/ 318814 h 1153159"/>
              <a:gd name="connsiteX147" fmla="*/ 415023 w 1302398"/>
              <a:gd name="connsiteY147" fmla="*/ 485551 h 1153159"/>
              <a:gd name="connsiteX148" fmla="*/ 415023 w 1302398"/>
              <a:gd name="connsiteY148" fmla="*/ 488059 h 1153159"/>
              <a:gd name="connsiteX149" fmla="*/ 427474 w 1302398"/>
              <a:gd name="connsiteY149" fmla="*/ 531937 h 1153159"/>
              <a:gd name="connsiteX150" fmla="*/ 405062 w 1302398"/>
              <a:gd name="connsiteY150" fmla="*/ 568294 h 1153159"/>
              <a:gd name="connsiteX151" fmla="*/ 295494 w 1302398"/>
              <a:gd name="connsiteY151" fmla="*/ 598382 h 1153159"/>
              <a:gd name="connsiteX152" fmla="*/ 286779 w 1302398"/>
              <a:gd name="connsiteY152" fmla="*/ 599636 h 1153159"/>
              <a:gd name="connsiteX153" fmla="*/ 258141 w 1302398"/>
              <a:gd name="connsiteY153" fmla="*/ 577070 h 1153159"/>
              <a:gd name="connsiteX154" fmla="*/ 246936 w 1302398"/>
              <a:gd name="connsiteY154" fmla="*/ 534444 h 1153159"/>
              <a:gd name="connsiteX155" fmla="*/ 245690 w 1302398"/>
              <a:gd name="connsiteY155" fmla="*/ 531937 h 1153159"/>
              <a:gd name="connsiteX156" fmla="*/ 122426 w 1302398"/>
              <a:gd name="connsiteY156" fmla="*/ 402809 h 1153159"/>
              <a:gd name="connsiteX157" fmla="*/ 239465 w 1302398"/>
              <a:gd name="connsiteY157" fmla="*/ 197208 h 1153159"/>
              <a:gd name="connsiteX158" fmla="*/ 308257 w 1302398"/>
              <a:gd name="connsiteY158" fmla="*/ 190000 h 1153159"/>
              <a:gd name="connsiteX159" fmla="*/ 1069696 w 1302398"/>
              <a:gd name="connsiteY159" fmla="*/ 65089 h 1153159"/>
              <a:gd name="connsiteX160" fmla="*/ 1174167 w 1302398"/>
              <a:gd name="connsiteY160" fmla="*/ 160761 h 1153159"/>
              <a:gd name="connsiteX161" fmla="*/ 1165461 w 1302398"/>
              <a:gd name="connsiteY161" fmla="*/ 180902 h 1153159"/>
              <a:gd name="connsiteX162" fmla="*/ 1159243 w 1302398"/>
              <a:gd name="connsiteY162" fmla="*/ 182161 h 1153159"/>
              <a:gd name="connsiteX163" fmla="*/ 1144318 w 1302398"/>
              <a:gd name="connsiteY163" fmla="*/ 172090 h 1153159"/>
              <a:gd name="connsiteX164" fmla="*/ 1060990 w 1302398"/>
              <a:gd name="connsiteY164" fmla="*/ 96560 h 1153159"/>
              <a:gd name="connsiteX165" fmla="*/ 1049797 w 1302398"/>
              <a:gd name="connsiteY165" fmla="*/ 76419 h 1153159"/>
              <a:gd name="connsiteX166" fmla="*/ 1069696 w 1302398"/>
              <a:gd name="connsiteY166" fmla="*/ 65089 h 1153159"/>
              <a:gd name="connsiteX167" fmla="*/ 1030564 w 1302398"/>
              <a:gd name="connsiteY167" fmla="*/ 32755 h 1153159"/>
              <a:gd name="connsiteX168" fmla="*/ 853398 w 1302398"/>
              <a:gd name="connsiteY168" fmla="*/ 165457 h 1153159"/>
              <a:gd name="connsiteX169" fmla="*/ 898000 w 1302398"/>
              <a:gd name="connsiteY169" fmla="*/ 349487 h 1153159"/>
              <a:gd name="connsiteX170" fmla="*/ 907911 w 1302398"/>
              <a:gd name="connsiteY170" fmla="*/ 388296 h 1153159"/>
              <a:gd name="connsiteX171" fmla="*/ 906672 w 1302398"/>
              <a:gd name="connsiteY171" fmla="*/ 393303 h 1153159"/>
              <a:gd name="connsiteX172" fmla="*/ 1050386 w 1302398"/>
              <a:gd name="connsiteY172" fmla="*/ 433364 h 1153159"/>
              <a:gd name="connsiteX173" fmla="*/ 1051625 w 1302398"/>
              <a:gd name="connsiteY173" fmla="*/ 428357 h 1153159"/>
              <a:gd name="connsiteX174" fmla="*/ 1080120 w 1302398"/>
              <a:gd name="connsiteY174" fmla="*/ 398311 h 1153159"/>
              <a:gd name="connsiteX175" fmla="*/ 1207729 w 1302398"/>
              <a:gd name="connsiteY175" fmla="*/ 268113 h 1153159"/>
              <a:gd name="connsiteX176" fmla="*/ 1187906 w 1302398"/>
              <a:gd name="connsiteY176" fmla="*/ 121640 h 1153159"/>
              <a:gd name="connsiteX177" fmla="*/ 1068970 w 1302398"/>
              <a:gd name="connsiteY177" fmla="*/ 36510 h 1153159"/>
              <a:gd name="connsiteX178" fmla="*/ 1030564 w 1302398"/>
              <a:gd name="connsiteY178" fmla="*/ 32755 h 1153159"/>
              <a:gd name="connsiteX179" fmla="*/ 1035560 w 1302398"/>
              <a:gd name="connsiteY179" fmla="*/ 63 h 1153159"/>
              <a:gd name="connsiteX180" fmla="*/ 1076403 w 1302398"/>
              <a:gd name="connsiteY180" fmla="*/ 5213 h 1153159"/>
              <a:gd name="connsiteX181" fmla="*/ 1215162 w 1302398"/>
              <a:gd name="connsiteY181" fmla="*/ 105365 h 1153159"/>
              <a:gd name="connsiteX182" fmla="*/ 1238701 w 1302398"/>
              <a:gd name="connsiteY182" fmla="*/ 275624 h 1153159"/>
              <a:gd name="connsiteX183" fmla="*/ 1088793 w 1302398"/>
              <a:gd name="connsiteY183" fmla="*/ 429609 h 1153159"/>
              <a:gd name="connsiteX184" fmla="*/ 1082598 w 1302398"/>
              <a:gd name="connsiteY184" fmla="*/ 435868 h 1153159"/>
              <a:gd name="connsiteX185" fmla="*/ 1068970 w 1302398"/>
              <a:gd name="connsiteY185" fmla="*/ 492204 h 1153159"/>
              <a:gd name="connsiteX186" fmla="*/ 1052864 w 1302398"/>
              <a:gd name="connsiteY186" fmla="*/ 512234 h 1153159"/>
              <a:gd name="connsiteX187" fmla="*/ 1035519 w 1302398"/>
              <a:gd name="connsiteY187" fmla="*/ 517242 h 1153159"/>
              <a:gd name="connsiteX188" fmla="*/ 1026847 w 1302398"/>
              <a:gd name="connsiteY188" fmla="*/ 515990 h 1153159"/>
              <a:gd name="connsiteX189" fmla="*/ 885610 w 1302398"/>
              <a:gd name="connsiteY189" fmla="*/ 478433 h 1153159"/>
              <a:gd name="connsiteX190" fmla="*/ 865787 w 1302398"/>
              <a:gd name="connsiteY190" fmla="*/ 462158 h 1153159"/>
              <a:gd name="connsiteX191" fmla="*/ 862071 w 1302398"/>
              <a:gd name="connsiteY191" fmla="*/ 435868 h 1153159"/>
              <a:gd name="connsiteX192" fmla="*/ 876938 w 1302398"/>
              <a:gd name="connsiteY192" fmla="*/ 379532 h 1153159"/>
              <a:gd name="connsiteX193" fmla="*/ 874460 w 1302398"/>
              <a:gd name="connsiteY193" fmla="*/ 372021 h 1153159"/>
              <a:gd name="connsiteX194" fmla="*/ 822425 w 1302398"/>
              <a:gd name="connsiteY194" fmla="*/ 155441 h 1153159"/>
              <a:gd name="connsiteX195" fmla="*/ 1035560 w 1302398"/>
              <a:gd name="connsiteY195" fmla="*/ 63 h 1153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1302398" h="1153159">
                <a:moveTo>
                  <a:pt x="913116" y="1012868"/>
                </a:moveTo>
                <a:lnTo>
                  <a:pt x="1191250" y="1012868"/>
                </a:lnTo>
                <a:cubicBezTo>
                  <a:pt x="1259542" y="1012868"/>
                  <a:pt x="1276926" y="1039410"/>
                  <a:pt x="1301759" y="1132937"/>
                </a:cubicBezTo>
                <a:cubicBezTo>
                  <a:pt x="1304243" y="1140521"/>
                  <a:pt x="1299276" y="1150632"/>
                  <a:pt x="1290584" y="1151896"/>
                </a:cubicBezTo>
                <a:cubicBezTo>
                  <a:pt x="1289342" y="1153159"/>
                  <a:pt x="1288101" y="1153159"/>
                  <a:pt x="1286859" y="1153159"/>
                </a:cubicBezTo>
                <a:cubicBezTo>
                  <a:pt x="1279409" y="1153159"/>
                  <a:pt x="1273201" y="1148104"/>
                  <a:pt x="1270717" y="1140521"/>
                </a:cubicBezTo>
                <a:cubicBezTo>
                  <a:pt x="1244642" y="1044465"/>
                  <a:pt x="1232226" y="1044465"/>
                  <a:pt x="1191250" y="1044465"/>
                </a:cubicBezTo>
                <a:lnTo>
                  <a:pt x="913116" y="1044465"/>
                </a:lnTo>
                <a:cubicBezTo>
                  <a:pt x="872140" y="1044465"/>
                  <a:pt x="859723" y="1044465"/>
                  <a:pt x="832406" y="1140521"/>
                </a:cubicBezTo>
                <a:cubicBezTo>
                  <a:pt x="831165" y="1150632"/>
                  <a:pt x="821231" y="1154423"/>
                  <a:pt x="812539" y="1151896"/>
                </a:cubicBezTo>
                <a:cubicBezTo>
                  <a:pt x="805089" y="1150632"/>
                  <a:pt x="800123" y="1140521"/>
                  <a:pt x="801364" y="1132937"/>
                </a:cubicBezTo>
                <a:cubicBezTo>
                  <a:pt x="827440" y="1039410"/>
                  <a:pt x="844823" y="1012868"/>
                  <a:pt x="913116" y="1012868"/>
                </a:cubicBezTo>
                <a:close/>
                <a:moveTo>
                  <a:pt x="112080" y="1012868"/>
                </a:moveTo>
                <a:lnTo>
                  <a:pt x="393799" y="1012868"/>
                </a:lnTo>
                <a:cubicBezTo>
                  <a:pt x="461412" y="1012868"/>
                  <a:pt x="478941" y="1039410"/>
                  <a:pt x="505235" y="1132937"/>
                </a:cubicBezTo>
                <a:cubicBezTo>
                  <a:pt x="507739" y="1140521"/>
                  <a:pt x="502730" y="1150632"/>
                  <a:pt x="493966" y="1151896"/>
                </a:cubicBezTo>
                <a:cubicBezTo>
                  <a:pt x="492714" y="1153159"/>
                  <a:pt x="490209" y="1153159"/>
                  <a:pt x="488957" y="1153159"/>
                </a:cubicBezTo>
                <a:cubicBezTo>
                  <a:pt x="482697" y="1153159"/>
                  <a:pt x="475184" y="1148104"/>
                  <a:pt x="473932" y="1140521"/>
                </a:cubicBezTo>
                <a:cubicBezTo>
                  <a:pt x="447639" y="1044465"/>
                  <a:pt x="433866" y="1044465"/>
                  <a:pt x="393799" y="1044465"/>
                </a:cubicBezTo>
                <a:lnTo>
                  <a:pt x="112080" y="1044465"/>
                </a:lnTo>
                <a:cubicBezTo>
                  <a:pt x="70761" y="1044465"/>
                  <a:pt x="59492" y="1044465"/>
                  <a:pt x="31946" y="1140521"/>
                </a:cubicBezTo>
                <a:cubicBezTo>
                  <a:pt x="29442" y="1150632"/>
                  <a:pt x="20677" y="1154423"/>
                  <a:pt x="11913" y="1151896"/>
                </a:cubicBezTo>
                <a:cubicBezTo>
                  <a:pt x="3148" y="1150632"/>
                  <a:pt x="-1860" y="1140521"/>
                  <a:pt x="644" y="1132937"/>
                </a:cubicBezTo>
                <a:cubicBezTo>
                  <a:pt x="26938" y="1039410"/>
                  <a:pt x="44467" y="1012868"/>
                  <a:pt x="112080" y="1012868"/>
                </a:cubicBezTo>
                <a:close/>
                <a:moveTo>
                  <a:pt x="794022" y="892018"/>
                </a:moveTo>
                <a:cubicBezTo>
                  <a:pt x="802567" y="892018"/>
                  <a:pt x="809891" y="899661"/>
                  <a:pt x="809891" y="909851"/>
                </a:cubicBezTo>
                <a:lnTo>
                  <a:pt x="809891" y="960801"/>
                </a:lnTo>
                <a:cubicBezTo>
                  <a:pt x="809891" y="970991"/>
                  <a:pt x="802567" y="978633"/>
                  <a:pt x="794022" y="978633"/>
                </a:cubicBezTo>
                <a:cubicBezTo>
                  <a:pt x="785477" y="978633"/>
                  <a:pt x="778153" y="970991"/>
                  <a:pt x="778153" y="960801"/>
                </a:cubicBezTo>
                <a:lnTo>
                  <a:pt x="778153" y="909851"/>
                </a:lnTo>
                <a:cubicBezTo>
                  <a:pt x="778153" y="899661"/>
                  <a:pt x="785477" y="892018"/>
                  <a:pt x="794022" y="892018"/>
                </a:cubicBezTo>
                <a:close/>
                <a:moveTo>
                  <a:pt x="513875" y="892018"/>
                </a:moveTo>
                <a:cubicBezTo>
                  <a:pt x="522420" y="892018"/>
                  <a:pt x="529744" y="899661"/>
                  <a:pt x="529744" y="909851"/>
                </a:cubicBezTo>
                <a:lnTo>
                  <a:pt x="529744" y="960801"/>
                </a:lnTo>
                <a:cubicBezTo>
                  <a:pt x="529744" y="970991"/>
                  <a:pt x="522420" y="978633"/>
                  <a:pt x="513875" y="978633"/>
                </a:cubicBezTo>
                <a:cubicBezTo>
                  <a:pt x="505330" y="978633"/>
                  <a:pt x="498006" y="970991"/>
                  <a:pt x="498006" y="960801"/>
                </a:cubicBezTo>
                <a:lnTo>
                  <a:pt x="498006" y="909851"/>
                </a:lnTo>
                <a:cubicBezTo>
                  <a:pt x="498006" y="899661"/>
                  <a:pt x="505330" y="892018"/>
                  <a:pt x="513875" y="892018"/>
                </a:cubicBezTo>
                <a:close/>
                <a:moveTo>
                  <a:pt x="1053682" y="770644"/>
                </a:moveTo>
                <a:cubicBezTo>
                  <a:pt x="1001299" y="770644"/>
                  <a:pt x="958893" y="814297"/>
                  <a:pt x="958893" y="866680"/>
                </a:cubicBezTo>
                <a:cubicBezTo>
                  <a:pt x="958893" y="919063"/>
                  <a:pt x="1001299" y="962716"/>
                  <a:pt x="1053682" y="962716"/>
                </a:cubicBezTo>
                <a:cubicBezTo>
                  <a:pt x="1107312" y="962716"/>
                  <a:pt x="1149718" y="919063"/>
                  <a:pt x="1149718" y="866680"/>
                </a:cubicBezTo>
                <a:cubicBezTo>
                  <a:pt x="1149718" y="814297"/>
                  <a:pt x="1107312" y="770644"/>
                  <a:pt x="1053682" y="770644"/>
                </a:cubicBezTo>
                <a:close/>
                <a:moveTo>
                  <a:pt x="252942" y="770644"/>
                </a:moveTo>
                <a:cubicBezTo>
                  <a:pt x="200558" y="770644"/>
                  <a:pt x="156906" y="814297"/>
                  <a:pt x="156906" y="866680"/>
                </a:cubicBezTo>
                <a:cubicBezTo>
                  <a:pt x="156906" y="919063"/>
                  <a:pt x="200558" y="962716"/>
                  <a:pt x="252942" y="962716"/>
                </a:cubicBezTo>
                <a:cubicBezTo>
                  <a:pt x="305325" y="962716"/>
                  <a:pt x="348978" y="919063"/>
                  <a:pt x="348978" y="866680"/>
                </a:cubicBezTo>
                <a:cubicBezTo>
                  <a:pt x="348978" y="814297"/>
                  <a:pt x="305325" y="770644"/>
                  <a:pt x="252942" y="770644"/>
                </a:cubicBezTo>
                <a:close/>
                <a:moveTo>
                  <a:pt x="513234" y="754697"/>
                </a:moveTo>
                <a:lnTo>
                  <a:pt x="792880" y="754697"/>
                </a:lnTo>
                <a:cubicBezTo>
                  <a:pt x="861543" y="754697"/>
                  <a:pt x="879021" y="780683"/>
                  <a:pt x="905238" y="872253"/>
                </a:cubicBezTo>
                <a:lnTo>
                  <a:pt x="923964" y="957636"/>
                </a:lnTo>
                <a:cubicBezTo>
                  <a:pt x="925213" y="965060"/>
                  <a:pt x="920219" y="974960"/>
                  <a:pt x="911480" y="976197"/>
                </a:cubicBezTo>
                <a:cubicBezTo>
                  <a:pt x="902741" y="978672"/>
                  <a:pt x="894002" y="972485"/>
                  <a:pt x="891506" y="963823"/>
                </a:cubicBezTo>
                <a:lnTo>
                  <a:pt x="872779" y="879678"/>
                </a:lnTo>
                <a:cubicBezTo>
                  <a:pt x="846562" y="786870"/>
                  <a:pt x="834078" y="786870"/>
                  <a:pt x="792880" y="786870"/>
                </a:cubicBezTo>
                <a:lnTo>
                  <a:pt x="513234" y="786870"/>
                </a:lnTo>
                <a:cubicBezTo>
                  <a:pt x="472037" y="786870"/>
                  <a:pt x="459552" y="786870"/>
                  <a:pt x="433336" y="880915"/>
                </a:cubicBezTo>
                <a:lnTo>
                  <a:pt x="410864" y="965060"/>
                </a:lnTo>
                <a:cubicBezTo>
                  <a:pt x="409616" y="971247"/>
                  <a:pt x="403374" y="977434"/>
                  <a:pt x="395883" y="977434"/>
                </a:cubicBezTo>
                <a:cubicBezTo>
                  <a:pt x="394635" y="977434"/>
                  <a:pt x="393386" y="976197"/>
                  <a:pt x="390889" y="976197"/>
                </a:cubicBezTo>
                <a:cubicBezTo>
                  <a:pt x="383399" y="973722"/>
                  <a:pt x="377157" y="965060"/>
                  <a:pt x="379654" y="956398"/>
                </a:cubicBezTo>
                <a:lnTo>
                  <a:pt x="402125" y="872253"/>
                </a:lnTo>
                <a:cubicBezTo>
                  <a:pt x="427093" y="780683"/>
                  <a:pt x="445820" y="754697"/>
                  <a:pt x="513234" y="754697"/>
                </a:cubicBezTo>
                <a:close/>
                <a:moveTo>
                  <a:pt x="1053682" y="738216"/>
                </a:moveTo>
                <a:cubicBezTo>
                  <a:pt x="1124774" y="738216"/>
                  <a:pt x="1183393" y="795588"/>
                  <a:pt x="1183393" y="866680"/>
                </a:cubicBezTo>
                <a:cubicBezTo>
                  <a:pt x="1183393" y="937772"/>
                  <a:pt x="1124774" y="995144"/>
                  <a:pt x="1053682" y="995144"/>
                </a:cubicBezTo>
                <a:cubicBezTo>
                  <a:pt x="983837" y="995144"/>
                  <a:pt x="926465" y="937772"/>
                  <a:pt x="926465" y="866680"/>
                </a:cubicBezTo>
                <a:cubicBezTo>
                  <a:pt x="926465" y="795588"/>
                  <a:pt x="983837" y="738216"/>
                  <a:pt x="1053682" y="738216"/>
                </a:cubicBezTo>
                <a:close/>
                <a:moveTo>
                  <a:pt x="252942" y="738216"/>
                </a:moveTo>
                <a:cubicBezTo>
                  <a:pt x="324033" y="738216"/>
                  <a:pt x="381406" y="795588"/>
                  <a:pt x="381406" y="866680"/>
                </a:cubicBezTo>
                <a:cubicBezTo>
                  <a:pt x="381406" y="937772"/>
                  <a:pt x="324033" y="995144"/>
                  <a:pt x="252942" y="995144"/>
                </a:cubicBezTo>
                <a:cubicBezTo>
                  <a:pt x="181850" y="995144"/>
                  <a:pt x="124478" y="937772"/>
                  <a:pt x="124478" y="866680"/>
                </a:cubicBezTo>
                <a:cubicBezTo>
                  <a:pt x="124478" y="795588"/>
                  <a:pt x="181850" y="738216"/>
                  <a:pt x="252942" y="738216"/>
                </a:cubicBezTo>
                <a:close/>
                <a:moveTo>
                  <a:pt x="386396" y="614480"/>
                </a:moveTo>
                <a:cubicBezTo>
                  <a:pt x="396383" y="611878"/>
                  <a:pt x="405122" y="617082"/>
                  <a:pt x="406371" y="626189"/>
                </a:cubicBezTo>
                <a:cubicBezTo>
                  <a:pt x="408867" y="635295"/>
                  <a:pt x="405122" y="644402"/>
                  <a:pt x="395135" y="647004"/>
                </a:cubicBezTo>
                <a:lnTo>
                  <a:pt x="350192" y="660013"/>
                </a:lnTo>
                <a:cubicBezTo>
                  <a:pt x="347695" y="660013"/>
                  <a:pt x="346447" y="660013"/>
                  <a:pt x="345198" y="660013"/>
                </a:cubicBezTo>
                <a:cubicBezTo>
                  <a:pt x="337708" y="660013"/>
                  <a:pt x="331466" y="654810"/>
                  <a:pt x="328969" y="648305"/>
                </a:cubicBezTo>
                <a:cubicBezTo>
                  <a:pt x="327721" y="639198"/>
                  <a:pt x="331466" y="628791"/>
                  <a:pt x="341453" y="627490"/>
                </a:cubicBezTo>
                <a:close/>
                <a:moveTo>
                  <a:pt x="408206" y="570466"/>
                </a:moveTo>
                <a:cubicBezTo>
                  <a:pt x="417004" y="567930"/>
                  <a:pt x="425802" y="574268"/>
                  <a:pt x="428316" y="581874"/>
                </a:cubicBezTo>
                <a:cubicBezTo>
                  <a:pt x="430830" y="590748"/>
                  <a:pt x="425802" y="599621"/>
                  <a:pt x="417004" y="602156"/>
                </a:cubicBezTo>
                <a:lnTo>
                  <a:pt x="306400" y="632580"/>
                </a:lnTo>
                <a:cubicBezTo>
                  <a:pt x="305143" y="632580"/>
                  <a:pt x="302630" y="632580"/>
                  <a:pt x="301373" y="632580"/>
                </a:cubicBezTo>
                <a:cubicBezTo>
                  <a:pt x="295089" y="632580"/>
                  <a:pt x="287547" y="627509"/>
                  <a:pt x="286290" y="621171"/>
                </a:cubicBezTo>
                <a:cubicBezTo>
                  <a:pt x="283777" y="612297"/>
                  <a:pt x="288804" y="603424"/>
                  <a:pt x="297602" y="600889"/>
                </a:cubicBezTo>
                <a:close/>
                <a:moveTo>
                  <a:pt x="909843" y="548577"/>
                </a:moveTo>
                <a:lnTo>
                  <a:pt x="966842" y="565579"/>
                </a:lnTo>
                <a:cubicBezTo>
                  <a:pt x="975331" y="568195"/>
                  <a:pt x="980182" y="577350"/>
                  <a:pt x="977756" y="586505"/>
                </a:cubicBezTo>
                <a:cubicBezTo>
                  <a:pt x="976543" y="594352"/>
                  <a:pt x="969267" y="599583"/>
                  <a:pt x="963203" y="599583"/>
                </a:cubicBezTo>
                <a:cubicBezTo>
                  <a:pt x="961991" y="599583"/>
                  <a:pt x="959565" y="599583"/>
                  <a:pt x="958352" y="598276"/>
                </a:cubicBezTo>
                <a:lnTo>
                  <a:pt x="901354" y="582581"/>
                </a:lnTo>
                <a:cubicBezTo>
                  <a:pt x="892865" y="578658"/>
                  <a:pt x="888014" y="570811"/>
                  <a:pt x="890440" y="560348"/>
                </a:cubicBezTo>
                <a:cubicBezTo>
                  <a:pt x="892865" y="552501"/>
                  <a:pt x="900142" y="545961"/>
                  <a:pt x="909843" y="548577"/>
                </a:cubicBezTo>
                <a:close/>
                <a:moveTo>
                  <a:pt x="391366" y="529430"/>
                </a:moveTo>
                <a:lnTo>
                  <a:pt x="285533" y="557011"/>
                </a:lnTo>
                <a:lnTo>
                  <a:pt x="288024" y="567040"/>
                </a:lnTo>
                <a:lnTo>
                  <a:pt x="395102" y="538205"/>
                </a:lnTo>
                <a:close/>
                <a:moveTo>
                  <a:pt x="653935" y="513717"/>
                </a:moveTo>
                <a:cubicBezTo>
                  <a:pt x="600305" y="513717"/>
                  <a:pt x="557900" y="556123"/>
                  <a:pt x="557900" y="608505"/>
                </a:cubicBezTo>
                <a:cubicBezTo>
                  <a:pt x="557900" y="662135"/>
                  <a:pt x="600305" y="704540"/>
                  <a:pt x="653935" y="704540"/>
                </a:cubicBezTo>
                <a:cubicBezTo>
                  <a:pt x="706317" y="704540"/>
                  <a:pt x="749969" y="662135"/>
                  <a:pt x="749969" y="608505"/>
                </a:cubicBezTo>
                <a:cubicBezTo>
                  <a:pt x="749969" y="556123"/>
                  <a:pt x="706317" y="513717"/>
                  <a:pt x="653935" y="513717"/>
                </a:cubicBezTo>
                <a:close/>
                <a:moveTo>
                  <a:pt x="882672" y="493492"/>
                </a:moveTo>
                <a:lnTo>
                  <a:pt x="1021574" y="529196"/>
                </a:lnTo>
                <a:cubicBezTo>
                  <a:pt x="1030178" y="531658"/>
                  <a:pt x="1035095" y="541508"/>
                  <a:pt x="1033866" y="548895"/>
                </a:cubicBezTo>
                <a:cubicBezTo>
                  <a:pt x="1031407" y="557514"/>
                  <a:pt x="1025261" y="561207"/>
                  <a:pt x="1017886" y="561207"/>
                </a:cubicBezTo>
                <a:cubicBezTo>
                  <a:pt x="1015428" y="561207"/>
                  <a:pt x="1015428" y="561207"/>
                  <a:pt x="1014198" y="561207"/>
                </a:cubicBezTo>
                <a:lnTo>
                  <a:pt x="874067" y="524271"/>
                </a:lnTo>
                <a:cubicBezTo>
                  <a:pt x="865463" y="521809"/>
                  <a:pt x="860546" y="513191"/>
                  <a:pt x="863004" y="504573"/>
                </a:cubicBezTo>
                <a:cubicBezTo>
                  <a:pt x="865463" y="495954"/>
                  <a:pt x="874067" y="491030"/>
                  <a:pt x="882672" y="493492"/>
                </a:cubicBezTo>
                <a:close/>
                <a:moveTo>
                  <a:pt x="653935" y="480043"/>
                </a:moveTo>
                <a:cubicBezTo>
                  <a:pt x="723778" y="480043"/>
                  <a:pt x="782397" y="538661"/>
                  <a:pt x="782397" y="608505"/>
                </a:cubicBezTo>
                <a:cubicBezTo>
                  <a:pt x="782397" y="679596"/>
                  <a:pt x="723778" y="736967"/>
                  <a:pt x="653935" y="736967"/>
                </a:cubicBezTo>
                <a:cubicBezTo>
                  <a:pt x="582844" y="736967"/>
                  <a:pt x="525473" y="679596"/>
                  <a:pt x="525473" y="608505"/>
                </a:cubicBezTo>
                <a:cubicBezTo>
                  <a:pt x="525473" y="538661"/>
                  <a:pt x="582844" y="480043"/>
                  <a:pt x="653935" y="480043"/>
                </a:cubicBezTo>
                <a:close/>
                <a:moveTo>
                  <a:pt x="898000" y="425853"/>
                </a:moveTo>
                <a:lnTo>
                  <a:pt x="893044" y="444631"/>
                </a:lnTo>
                <a:cubicBezTo>
                  <a:pt x="893044" y="445883"/>
                  <a:pt x="893044" y="445883"/>
                  <a:pt x="894283" y="445883"/>
                </a:cubicBezTo>
                <a:lnTo>
                  <a:pt x="1035519" y="484692"/>
                </a:lnTo>
                <a:cubicBezTo>
                  <a:pt x="1035519" y="484692"/>
                  <a:pt x="1035519" y="484692"/>
                  <a:pt x="1036758" y="484692"/>
                </a:cubicBezTo>
                <a:lnTo>
                  <a:pt x="1036758" y="483440"/>
                </a:lnTo>
                <a:lnTo>
                  <a:pt x="1041714" y="464662"/>
                </a:lnTo>
                <a:close/>
                <a:moveTo>
                  <a:pt x="315399" y="236408"/>
                </a:moveTo>
                <a:cubicBezTo>
                  <a:pt x="334034" y="240609"/>
                  <a:pt x="351899" y="249333"/>
                  <a:pt x="367300" y="262258"/>
                </a:cubicBezTo>
                <a:cubicBezTo>
                  <a:pt x="374693" y="268720"/>
                  <a:pt x="375925" y="277768"/>
                  <a:pt x="370996" y="285523"/>
                </a:cubicBezTo>
                <a:cubicBezTo>
                  <a:pt x="367300" y="289400"/>
                  <a:pt x="362372" y="291985"/>
                  <a:pt x="357443" y="291985"/>
                </a:cubicBezTo>
                <a:cubicBezTo>
                  <a:pt x="353747" y="291985"/>
                  <a:pt x="351283" y="290693"/>
                  <a:pt x="347587" y="288108"/>
                </a:cubicBezTo>
                <a:cubicBezTo>
                  <a:pt x="324177" y="270013"/>
                  <a:pt x="295839" y="262258"/>
                  <a:pt x="266269" y="271305"/>
                </a:cubicBezTo>
                <a:cubicBezTo>
                  <a:pt x="258877" y="273890"/>
                  <a:pt x="249020" y="268720"/>
                  <a:pt x="246556" y="258381"/>
                </a:cubicBezTo>
                <a:cubicBezTo>
                  <a:pt x="245324" y="249333"/>
                  <a:pt x="250252" y="241578"/>
                  <a:pt x="258877" y="237701"/>
                </a:cubicBezTo>
                <a:cubicBezTo>
                  <a:pt x="277358" y="232531"/>
                  <a:pt x="296763" y="232208"/>
                  <a:pt x="315399" y="236408"/>
                </a:cubicBezTo>
                <a:close/>
                <a:moveTo>
                  <a:pt x="291759" y="222281"/>
                </a:moveTo>
                <a:cubicBezTo>
                  <a:pt x="278063" y="222281"/>
                  <a:pt x="263122" y="224789"/>
                  <a:pt x="248181" y="228550"/>
                </a:cubicBezTo>
                <a:cubicBezTo>
                  <a:pt x="179701" y="249862"/>
                  <a:pt x="137367" y="323828"/>
                  <a:pt x="154799" y="395287"/>
                </a:cubicBezTo>
                <a:cubicBezTo>
                  <a:pt x="166005" y="445434"/>
                  <a:pt x="204602" y="485551"/>
                  <a:pt x="253161" y="500595"/>
                </a:cubicBezTo>
                <a:cubicBezTo>
                  <a:pt x="265612" y="503103"/>
                  <a:pt x="274328" y="513132"/>
                  <a:pt x="278063" y="525669"/>
                </a:cubicBezTo>
                <a:lnTo>
                  <a:pt x="383896" y="496834"/>
                </a:lnTo>
                <a:cubicBezTo>
                  <a:pt x="380161" y="484298"/>
                  <a:pt x="383896" y="471761"/>
                  <a:pt x="392612" y="462985"/>
                </a:cubicBezTo>
                <a:cubicBezTo>
                  <a:pt x="427474" y="426629"/>
                  <a:pt x="441170" y="375229"/>
                  <a:pt x="427474" y="327589"/>
                </a:cubicBezTo>
                <a:cubicBezTo>
                  <a:pt x="417513" y="289979"/>
                  <a:pt x="393857" y="258638"/>
                  <a:pt x="358994" y="238579"/>
                </a:cubicBezTo>
                <a:cubicBezTo>
                  <a:pt x="337827" y="227296"/>
                  <a:pt x="315416" y="222281"/>
                  <a:pt x="291759" y="222281"/>
                </a:cubicBezTo>
                <a:close/>
                <a:moveTo>
                  <a:pt x="308257" y="190000"/>
                </a:moveTo>
                <a:cubicBezTo>
                  <a:pt x="331291" y="192193"/>
                  <a:pt x="354014" y="199089"/>
                  <a:pt x="375180" y="210998"/>
                </a:cubicBezTo>
                <a:cubicBezTo>
                  <a:pt x="416268" y="233564"/>
                  <a:pt x="447396" y="272428"/>
                  <a:pt x="458601" y="318814"/>
                </a:cubicBezTo>
                <a:cubicBezTo>
                  <a:pt x="474788" y="377736"/>
                  <a:pt x="458601" y="441673"/>
                  <a:pt x="415023" y="485551"/>
                </a:cubicBezTo>
                <a:lnTo>
                  <a:pt x="415023" y="488059"/>
                </a:lnTo>
                <a:lnTo>
                  <a:pt x="427474" y="531937"/>
                </a:lnTo>
                <a:cubicBezTo>
                  <a:pt x="431209" y="548235"/>
                  <a:pt x="421249" y="564533"/>
                  <a:pt x="405062" y="568294"/>
                </a:cubicBezTo>
                <a:lnTo>
                  <a:pt x="295494" y="598382"/>
                </a:lnTo>
                <a:cubicBezTo>
                  <a:pt x="291759" y="599636"/>
                  <a:pt x="290514" y="599636"/>
                  <a:pt x="286779" y="599636"/>
                </a:cubicBezTo>
                <a:cubicBezTo>
                  <a:pt x="274328" y="599636"/>
                  <a:pt x="261877" y="590860"/>
                  <a:pt x="258141" y="577070"/>
                </a:cubicBezTo>
                <a:lnTo>
                  <a:pt x="246936" y="534444"/>
                </a:lnTo>
                <a:cubicBezTo>
                  <a:pt x="246936" y="531937"/>
                  <a:pt x="245690" y="531937"/>
                  <a:pt x="245690" y="531937"/>
                </a:cubicBezTo>
                <a:cubicBezTo>
                  <a:pt x="184681" y="514386"/>
                  <a:pt x="137367" y="465493"/>
                  <a:pt x="122426" y="402809"/>
                </a:cubicBezTo>
                <a:cubicBezTo>
                  <a:pt x="102505" y="315053"/>
                  <a:pt x="153554" y="224789"/>
                  <a:pt x="239465" y="197208"/>
                </a:cubicBezTo>
                <a:cubicBezTo>
                  <a:pt x="261877" y="190313"/>
                  <a:pt x="285222" y="187806"/>
                  <a:pt x="308257" y="190000"/>
                </a:cubicBezTo>
                <a:close/>
                <a:moveTo>
                  <a:pt x="1069696" y="65089"/>
                </a:moveTo>
                <a:cubicBezTo>
                  <a:pt x="1116957" y="78937"/>
                  <a:pt x="1155512" y="114184"/>
                  <a:pt x="1174167" y="160761"/>
                </a:cubicBezTo>
                <a:cubicBezTo>
                  <a:pt x="1177899" y="168314"/>
                  <a:pt x="1174167" y="178384"/>
                  <a:pt x="1165461" y="180902"/>
                </a:cubicBezTo>
                <a:cubicBezTo>
                  <a:pt x="1164218" y="182161"/>
                  <a:pt x="1161730" y="182161"/>
                  <a:pt x="1159243" y="182161"/>
                </a:cubicBezTo>
                <a:cubicBezTo>
                  <a:pt x="1153024" y="182161"/>
                  <a:pt x="1146806" y="178384"/>
                  <a:pt x="1144318" y="172090"/>
                </a:cubicBezTo>
                <a:cubicBezTo>
                  <a:pt x="1129394" y="134325"/>
                  <a:pt x="1099545" y="107890"/>
                  <a:pt x="1060990" y="96560"/>
                </a:cubicBezTo>
                <a:cubicBezTo>
                  <a:pt x="1052284" y="95301"/>
                  <a:pt x="1047309" y="85231"/>
                  <a:pt x="1049797" y="76419"/>
                </a:cubicBezTo>
                <a:cubicBezTo>
                  <a:pt x="1052284" y="68866"/>
                  <a:pt x="1060990" y="62572"/>
                  <a:pt x="1069696" y="65089"/>
                </a:cubicBezTo>
                <a:close/>
                <a:moveTo>
                  <a:pt x="1030564" y="32755"/>
                </a:moveTo>
                <a:cubicBezTo>
                  <a:pt x="951273" y="32755"/>
                  <a:pt x="878176" y="85335"/>
                  <a:pt x="853398" y="165457"/>
                </a:cubicBezTo>
                <a:cubicBezTo>
                  <a:pt x="833575" y="229304"/>
                  <a:pt x="850920" y="300662"/>
                  <a:pt x="898000" y="349487"/>
                </a:cubicBezTo>
                <a:cubicBezTo>
                  <a:pt x="907911" y="359502"/>
                  <a:pt x="911628" y="374525"/>
                  <a:pt x="907911" y="388296"/>
                </a:cubicBezTo>
                <a:lnTo>
                  <a:pt x="906672" y="393303"/>
                </a:lnTo>
                <a:lnTo>
                  <a:pt x="1050386" y="433364"/>
                </a:lnTo>
                <a:lnTo>
                  <a:pt x="1051625" y="428357"/>
                </a:lnTo>
                <a:cubicBezTo>
                  <a:pt x="1055342" y="413334"/>
                  <a:pt x="1066492" y="402067"/>
                  <a:pt x="1080120" y="398311"/>
                </a:cubicBezTo>
                <a:cubicBezTo>
                  <a:pt x="1142066" y="380784"/>
                  <a:pt x="1191623" y="330708"/>
                  <a:pt x="1207729" y="268113"/>
                </a:cubicBezTo>
                <a:cubicBezTo>
                  <a:pt x="1221357" y="218037"/>
                  <a:pt x="1213923" y="166709"/>
                  <a:pt x="1187906" y="121640"/>
                </a:cubicBezTo>
                <a:cubicBezTo>
                  <a:pt x="1160650" y="77823"/>
                  <a:pt x="1119766" y="47778"/>
                  <a:pt x="1068970" y="36510"/>
                </a:cubicBezTo>
                <a:cubicBezTo>
                  <a:pt x="1056581" y="34007"/>
                  <a:pt x="1042953" y="32755"/>
                  <a:pt x="1030564" y="32755"/>
                </a:cubicBezTo>
                <a:close/>
                <a:moveTo>
                  <a:pt x="1035560" y="63"/>
                </a:moveTo>
                <a:cubicBezTo>
                  <a:pt x="1049108" y="401"/>
                  <a:pt x="1062775" y="2083"/>
                  <a:pt x="1076403" y="5213"/>
                </a:cubicBezTo>
                <a:cubicBezTo>
                  <a:pt x="1134632" y="17732"/>
                  <a:pt x="1184189" y="54037"/>
                  <a:pt x="1215162" y="105365"/>
                </a:cubicBezTo>
                <a:cubicBezTo>
                  <a:pt x="1246135" y="156693"/>
                  <a:pt x="1254807" y="218037"/>
                  <a:pt x="1238701" y="275624"/>
                </a:cubicBezTo>
                <a:cubicBezTo>
                  <a:pt x="1220118" y="350739"/>
                  <a:pt x="1161889" y="409578"/>
                  <a:pt x="1088793" y="429609"/>
                </a:cubicBezTo>
                <a:cubicBezTo>
                  <a:pt x="1086315" y="430860"/>
                  <a:pt x="1083837" y="433364"/>
                  <a:pt x="1082598" y="435868"/>
                </a:cubicBezTo>
                <a:lnTo>
                  <a:pt x="1068970" y="492204"/>
                </a:lnTo>
                <a:cubicBezTo>
                  <a:pt x="1066492" y="500967"/>
                  <a:pt x="1060298" y="508479"/>
                  <a:pt x="1052864" y="512234"/>
                </a:cubicBezTo>
                <a:cubicBezTo>
                  <a:pt x="1047908" y="515990"/>
                  <a:pt x="1041714" y="517242"/>
                  <a:pt x="1035519" y="517242"/>
                </a:cubicBezTo>
                <a:cubicBezTo>
                  <a:pt x="1033041" y="517242"/>
                  <a:pt x="1029325" y="515990"/>
                  <a:pt x="1026847" y="515990"/>
                </a:cubicBezTo>
                <a:lnTo>
                  <a:pt x="885610" y="478433"/>
                </a:lnTo>
                <a:cubicBezTo>
                  <a:pt x="876938" y="474677"/>
                  <a:pt x="869504" y="469669"/>
                  <a:pt x="865787" y="462158"/>
                </a:cubicBezTo>
                <a:cubicBezTo>
                  <a:pt x="860832" y="453395"/>
                  <a:pt x="859593" y="444631"/>
                  <a:pt x="862071" y="435868"/>
                </a:cubicBezTo>
                <a:lnTo>
                  <a:pt x="876938" y="379532"/>
                </a:lnTo>
                <a:cubicBezTo>
                  <a:pt x="878176" y="377029"/>
                  <a:pt x="876938" y="373273"/>
                  <a:pt x="874460" y="372021"/>
                </a:cubicBezTo>
                <a:cubicBezTo>
                  <a:pt x="819947" y="314433"/>
                  <a:pt x="800125" y="231808"/>
                  <a:pt x="822425" y="155441"/>
                </a:cubicBezTo>
                <a:cubicBezTo>
                  <a:pt x="851694" y="61236"/>
                  <a:pt x="940723" y="-2299"/>
                  <a:pt x="1035560" y="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0" name="Freeform 21">
            <a:extLst>
              <a:ext uri="{FF2B5EF4-FFF2-40B4-BE49-F238E27FC236}">
                <a16:creationId xmlns:a16="http://schemas.microsoft.com/office/drawing/2014/main" id="{75BA9F3B-B4D7-F9E1-3EF7-90D9DB55D8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894" y="2325954"/>
            <a:ext cx="498319" cy="652080"/>
          </a:xfrm>
          <a:custGeom>
            <a:avLst/>
            <a:gdLst>
              <a:gd name="connsiteX0" fmla="*/ 508391 w 996637"/>
              <a:gd name="connsiteY0" fmla="*/ 1208469 h 1304159"/>
              <a:gd name="connsiteX1" fmla="*/ 524260 w 996637"/>
              <a:gd name="connsiteY1" fmla="*/ 1224235 h 1304159"/>
              <a:gd name="connsiteX2" fmla="*/ 524260 w 996637"/>
              <a:gd name="connsiteY2" fmla="*/ 1286086 h 1304159"/>
              <a:gd name="connsiteX3" fmla="*/ 508391 w 996637"/>
              <a:gd name="connsiteY3" fmla="*/ 1300639 h 1304159"/>
              <a:gd name="connsiteX4" fmla="*/ 492522 w 996637"/>
              <a:gd name="connsiteY4" fmla="*/ 1286086 h 1304159"/>
              <a:gd name="connsiteX5" fmla="*/ 492522 w 996637"/>
              <a:gd name="connsiteY5" fmla="*/ 1224235 h 1304159"/>
              <a:gd name="connsiteX6" fmla="*/ 508391 w 996637"/>
              <a:gd name="connsiteY6" fmla="*/ 1208469 h 1304159"/>
              <a:gd name="connsiteX7" fmla="*/ 156178 w 996637"/>
              <a:gd name="connsiteY7" fmla="*/ 1208469 h 1304159"/>
              <a:gd name="connsiteX8" fmla="*/ 172657 w 996637"/>
              <a:gd name="connsiteY8" fmla="*/ 1224235 h 1304159"/>
              <a:gd name="connsiteX9" fmla="*/ 172657 w 996637"/>
              <a:gd name="connsiteY9" fmla="*/ 1286086 h 1304159"/>
              <a:gd name="connsiteX10" fmla="*/ 156178 w 996637"/>
              <a:gd name="connsiteY10" fmla="*/ 1300639 h 1304159"/>
              <a:gd name="connsiteX11" fmla="*/ 140966 w 996637"/>
              <a:gd name="connsiteY11" fmla="*/ 1286086 h 1304159"/>
              <a:gd name="connsiteX12" fmla="*/ 140966 w 996637"/>
              <a:gd name="connsiteY12" fmla="*/ 1224235 h 1304159"/>
              <a:gd name="connsiteX13" fmla="*/ 156178 w 996637"/>
              <a:gd name="connsiteY13" fmla="*/ 1208469 h 1304159"/>
              <a:gd name="connsiteX14" fmla="*/ 161450 w 996637"/>
              <a:gd name="connsiteY14" fmla="*/ 1032693 h 1304159"/>
              <a:gd name="connsiteX15" fmla="*/ 511739 w 996637"/>
              <a:gd name="connsiteY15" fmla="*/ 1032693 h 1304159"/>
              <a:gd name="connsiteX16" fmla="*/ 646369 w 996637"/>
              <a:gd name="connsiteY16" fmla="*/ 1177510 h 1304159"/>
              <a:gd name="connsiteX17" fmla="*/ 670054 w 996637"/>
              <a:gd name="connsiteY17" fmla="*/ 1284874 h 1304159"/>
              <a:gd name="connsiteX18" fmla="*/ 657588 w 996637"/>
              <a:gd name="connsiteY18" fmla="*/ 1303600 h 1304159"/>
              <a:gd name="connsiteX19" fmla="*/ 638890 w 996637"/>
              <a:gd name="connsiteY19" fmla="*/ 1292364 h 1304159"/>
              <a:gd name="connsiteX20" fmla="*/ 615205 w 996637"/>
              <a:gd name="connsiteY20" fmla="*/ 1185000 h 1304159"/>
              <a:gd name="connsiteX21" fmla="*/ 511739 w 996637"/>
              <a:gd name="connsiteY21" fmla="*/ 1065152 h 1304159"/>
              <a:gd name="connsiteX22" fmla="*/ 161450 w 996637"/>
              <a:gd name="connsiteY22" fmla="*/ 1065152 h 1304159"/>
              <a:gd name="connsiteX23" fmla="*/ 57984 w 996637"/>
              <a:gd name="connsiteY23" fmla="*/ 1186249 h 1304159"/>
              <a:gd name="connsiteX24" fmla="*/ 31805 w 996637"/>
              <a:gd name="connsiteY24" fmla="*/ 1292364 h 1304159"/>
              <a:gd name="connsiteX25" fmla="*/ 15600 w 996637"/>
              <a:gd name="connsiteY25" fmla="*/ 1303600 h 1304159"/>
              <a:gd name="connsiteX26" fmla="*/ 11860 w 996637"/>
              <a:gd name="connsiteY26" fmla="*/ 1303600 h 1304159"/>
              <a:gd name="connsiteX27" fmla="*/ 641 w 996637"/>
              <a:gd name="connsiteY27" fmla="*/ 1283625 h 1304159"/>
              <a:gd name="connsiteX28" fmla="*/ 26819 w 996637"/>
              <a:gd name="connsiteY28" fmla="*/ 1177510 h 1304159"/>
              <a:gd name="connsiteX29" fmla="*/ 161450 w 996637"/>
              <a:gd name="connsiteY29" fmla="*/ 1032693 h 1304159"/>
              <a:gd name="connsiteX30" fmla="*/ 335348 w 996637"/>
              <a:gd name="connsiteY30" fmla="*/ 723307 h 1304159"/>
              <a:gd name="connsiteX31" fmla="*/ 211854 w 996637"/>
              <a:gd name="connsiteY31" fmla="*/ 848050 h 1304159"/>
              <a:gd name="connsiteX32" fmla="*/ 335348 w 996637"/>
              <a:gd name="connsiteY32" fmla="*/ 971546 h 1304159"/>
              <a:gd name="connsiteX33" fmla="*/ 458842 w 996637"/>
              <a:gd name="connsiteY33" fmla="*/ 848050 h 1304159"/>
              <a:gd name="connsiteX34" fmla="*/ 335348 w 996637"/>
              <a:gd name="connsiteY34" fmla="*/ 723307 h 1304159"/>
              <a:gd name="connsiteX35" fmla="*/ 541333 w 996637"/>
              <a:gd name="connsiteY35" fmla="*/ 714931 h 1304159"/>
              <a:gd name="connsiteX36" fmla="*/ 525063 w 996637"/>
              <a:gd name="connsiteY36" fmla="*/ 731201 h 1304159"/>
              <a:gd name="connsiteX37" fmla="*/ 541333 w 996637"/>
              <a:gd name="connsiteY37" fmla="*/ 746220 h 1304159"/>
              <a:gd name="connsiteX38" fmla="*/ 557604 w 996637"/>
              <a:gd name="connsiteY38" fmla="*/ 731201 h 1304159"/>
              <a:gd name="connsiteX39" fmla="*/ 541333 w 996637"/>
              <a:gd name="connsiteY39" fmla="*/ 714931 h 1304159"/>
              <a:gd name="connsiteX40" fmla="*/ 335348 w 996637"/>
              <a:gd name="connsiteY40" fmla="*/ 692121 h 1304159"/>
              <a:gd name="connsiteX41" fmla="*/ 491275 w 996637"/>
              <a:gd name="connsiteY41" fmla="*/ 848050 h 1304159"/>
              <a:gd name="connsiteX42" fmla="*/ 335348 w 996637"/>
              <a:gd name="connsiteY42" fmla="*/ 1003979 h 1304159"/>
              <a:gd name="connsiteX43" fmla="*/ 179421 w 996637"/>
              <a:gd name="connsiteY43" fmla="*/ 848050 h 1304159"/>
              <a:gd name="connsiteX44" fmla="*/ 335348 w 996637"/>
              <a:gd name="connsiteY44" fmla="*/ 692121 h 1304159"/>
              <a:gd name="connsiteX45" fmla="*/ 541333 w 996637"/>
              <a:gd name="connsiteY45" fmla="*/ 681138 h 1304159"/>
              <a:gd name="connsiteX46" fmla="*/ 590144 w 996637"/>
              <a:gd name="connsiteY46" fmla="*/ 731201 h 1304159"/>
              <a:gd name="connsiteX47" fmla="*/ 541333 w 996637"/>
              <a:gd name="connsiteY47" fmla="*/ 778761 h 1304159"/>
              <a:gd name="connsiteX48" fmla="*/ 492522 w 996637"/>
              <a:gd name="connsiteY48" fmla="*/ 731201 h 1304159"/>
              <a:gd name="connsiteX49" fmla="*/ 541333 w 996637"/>
              <a:gd name="connsiteY49" fmla="*/ 681138 h 1304159"/>
              <a:gd name="connsiteX50" fmla="*/ 544707 w 996637"/>
              <a:gd name="connsiteY50" fmla="*/ 526457 h 1304159"/>
              <a:gd name="connsiteX51" fmla="*/ 492881 w 996637"/>
              <a:gd name="connsiteY51" fmla="*/ 579517 h 1304159"/>
              <a:gd name="connsiteX52" fmla="*/ 544707 w 996637"/>
              <a:gd name="connsiteY52" fmla="*/ 631343 h 1304159"/>
              <a:gd name="connsiteX53" fmla="*/ 596533 w 996637"/>
              <a:gd name="connsiteY53" fmla="*/ 579517 h 1304159"/>
              <a:gd name="connsiteX54" fmla="*/ 544707 w 996637"/>
              <a:gd name="connsiteY54" fmla="*/ 526457 h 1304159"/>
              <a:gd name="connsiteX55" fmla="*/ 544707 w 996637"/>
              <a:gd name="connsiteY55" fmla="*/ 494374 h 1304159"/>
              <a:gd name="connsiteX56" fmla="*/ 628616 w 996637"/>
              <a:gd name="connsiteY56" fmla="*/ 579517 h 1304159"/>
              <a:gd name="connsiteX57" fmla="*/ 544707 w 996637"/>
              <a:gd name="connsiteY57" fmla="*/ 663426 h 1304159"/>
              <a:gd name="connsiteX58" fmla="*/ 459564 w 996637"/>
              <a:gd name="connsiteY58" fmla="*/ 579517 h 1304159"/>
              <a:gd name="connsiteX59" fmla="*/ 544707 w 996637"/>
              <a:gd name="connsiteY59" fmla="*/ 494374 h 1304159"/>
              <a:gd name="connsiteX60" fmla="*/ 728026 w 996637"/>
              <a:gd name="connsiteY60" fmla="*/ 32272 h 1304159"/>
              <a:gd name="connsiteX61" fmla="*/ 637245 w 996637"/>
              <a:gd name="connsiteY61" fmla="*/ 70749 h 1304159"/>
              <a:gd name="connsiteX62" fmla="*/ 616104 w 996637"/>
              <a:gd name="connsiteY62" fmla="*/ 73232 h 1304159"/>
              <a:gd name="connsiteX63" fmla="*/ 543977 w 996637"/>
              <a:gd name="connsiteY63" fmla="*/ 49649 h 1304159"/>
              <a:gd name="connsiteX64" fmla="*/ 461902 w 996637"/>
              <a:gd name="connsiteY64" fmla="*/ 79438 h 1304159"/>
              <a:gd name="connsiteX65" fmla="*/ 439517 w 996637"/>
              <a:gd name="connsiteY65" fmla="*/ 79438 h 1304159"/>
              <a:gd name="connsiteX66" fmla="*/ 353711 w 996637"/>
              <a:gd name="connsiteY66" fmla="*/ 44684 h 1304159"/>
              <a:gd name="connsiteX67" fmla="*/ 274122 w 996637"/>
              <a:gd name="connsiteY67" fmla="*/ 73232 h 1304159"/>
              <a:gd name="connsiteX68" fmla="*/ 255469 w 996637"/>
              <a:gd name="connsiteY68" fmla="*/ 75714 h 1304159"/>
              <a:gd name="connsiteX69" fmla="*/ 198264 w 996637"/>
              <a:gd name="connsiteY69" fmla="*/ 62061 h 1304159"/>
              <a:gd name="connsiteX70" fmla="*/ 177124 w 996637"/>
              <a:gd name="connsiteY70" fmla="*/ 64543 h 1304159"/>
              <a:gd name="connsiteX71" fmla="*/ 72664 w 996637"/>
              <a:gd name="connsiteY71" fmla="*/ 173770 h 1304159"/>
              <a:gd name="connsiteX72" fmla="*/ 92561 w 996637"/>
              <a:gd name="connsiteY72" fmla="*/ 255690 h 1304159"/>
              <a:gd name="connsiteX73" fmla="*/ 93805 w 996637"/>
              <a:gd name="connsiteY73" fmla="*/ 265620 h 1304159"/>
              <a:gd name="connsiteX74" fmla="*/ 93805 w 996637"/>
              <a:gd name="connsiteY74" fmla="*/ 271826 h 1304159"/>
              <a:gd name="connsiteX75" fmla="*/ 143547 w 996637"/>
              <a:gd name="connsiteY75" fmla="*/ 384777 h 1304159"/>
              <a:gd name="connsiteX76" fmla="*/ 163444 w 996637"/>
              <a:gd name="connsiteY76" fmla="*/ 402154 h 1304159"/>
              <a:gd name="connsiteX77" fmla="*/ 254225 w 996637"/>
              <a:gd name="connsiteY77" fmla="*/ 430701 h 1304159"/>
              <a:gd name="connsiteX78" fmla="*/ 307699 w 996637"/>
              <a:gd name="connsiteY78" fmla="*/ 430701 h 1304159"/>
              <a:gd name="connsiteX79" fmla="*/ 320134 w 996637"/>
              <a:gd name="connsiteY79" fmla="*/ 436908 h 1304159"/>
              <a:gd name="connsiteX80" fmla="*/ 418377 w 996637"/>
              <a:gd name="connsiteY80" fmla="*/ 482832 h 1304159"/>
              <a:gd name="connsiteX81" fmla="*/ 509157 w 996637"/>
              <a:gd name="connsiteY81" fmla="*/ 444355 h 1304159"/>
              <a:gd name="connsiteX82" fmla="*/ 542734 w 996637"/>
              <a:gd name="connsiteY82" fmla="*/ 430701 h 1304159"/>
              <a:gd name="connsiteX83" fmla="*/ 572579 w 996637"/>
              <a:gd name="connsiteY83" fmla="*/ 441872 h 1304159"/>
              <a:gd name="connsiteX84" fmla="*/ 652168 w 996637"/>
              <a:gd name="connsiteY84" fmla="*/ 470420 h 1304159"/>
              <a:gd name="connsiteX85" fmla="*/ 713103 w 996637"/>
              <a:gd name="connsiteY85" fmla="*/ 455526 h 1304159"/>
              <a:gd name="connsiteX86" fmla="*/ 754141 w 996637"/>
              <a:gd name="connsiteY86" fmla="*/ 450561 h 1304159"/>
              <a:gd name="connsiteX87" fmla="*/ 795179 w 996637"/>
              <a:gd name="connsiteY87" fmla="*/ 458008 h 1304159"/>
              <a:gd name="connsiteX88" fmla="*/ 922023 w 996637"/>
              <a:gd name="connsiteY88" fmla="*/ 331404 h 1304159"/>
              <a:gd name="connsiteX89" fmla="*/ 922023 w 996637"/>
              <a:gd name="connsiteY89" fmla="*/ 327681 h 1304159"/>
              <a:gd name="connsiteX90" fmla="*/ 922023 w 996637"/>
              <a:gd name="connsiteY90" fmla="*/ 325198 h 1304159"/>
              <a:gd name="connsiteX91" fmla="*/ 925754 w 996637"/>
              <a:gd name="connsiteY91" fmla="*/ 312786 h 1304159"/>
              <a:gd name="connsiteX92" fmla="*/ 963061 w 996637"/>
              <a:gd name="connsiteY92" fmla="*/ 223419 h 1304159"/>
              <a:gd name="connsiteX93" fmla="*/ 846165 w 996637"/>
              <a:gd name="connsiteY93" fmla="*/ 96815 h 1304159"/>
              <a:gd name="connsiteX94" fmla="*/ 833729 w 996637"/>
              <a:gd name="connsiteY94" fmla="*/ 89368 h 1304159"/>
              <a:gd name="connsiteX95" fmla="*/ 728026 w 996637"/>
              <a:gd name="connsiteY95" fmla="*/ 32272 h 1304159"/>
              <a:gd name="connsiteX96" fmla="*/ 728026 w 996637"/>
              <a:gd name="connsiteY96" fmla="*/ 0 h 1304159"/>
              <a:gd name="connsiteX97" fmla="*/ 857357 w 996637"/>
              <a:gd name="connsiteY97" fmla="*/ 65785 h 1304159"/>
              <a:gd name="connsiteX98" fmla="*/ 996637 w 996637"/>
              <a:gd name="connsiteY98" fmla="*/ 223419 h 1304159"/>
              <a:gd name="connsiteX99" fmla="*/ 954356 w 996637"/>
              <a:gd name="connsiteY99" fmla="*/ 330163 h 1304159"/>
              <a:gd name="connsiteX100" fmla="*/ 954356 w 996637"/>
              <a:gd name="connsiteY100" fmla="*/ 331404 h 1304159"/>
              <a:gd name="connsiteX101" fmla="*/ 795179 w 996637"/>
              <a:gd name="connsiteY101" fmla="*/ 490280 h 1304159"/>
              <a:gd name="connsiteX102" fmla="*/ 744192 w 996637"/>
              <a:gd name="connsiteY102" fmla="*/ 481591 h 1304159"/>
              <a:gd name="connsiteX103" fmla="*/ 728026 w 996637"/>
              <a:gd name="connsiteY103" fmla="*/ 482832 h 1304159"/>
              <a:gd name="connsiteX104" fmla="*/ 652168 w 996637"/>
              <a:gd name="connsiteY104" fmla="*/ 502692 h 1304159"/>
              <a:gd name="connsiteX105" fmla="*/ 551439 w 996637"/>
              <a:gd name="connsiteY105" fmla="*/ 466697 h 1304159"/>
              <a:gd name="connsiteX106" fmla="*/ 531542 w 996637"/>
              <a:gd name="connsiteY106" fmla="*/ 466697 h 1304159"/>
              <a:gd name="connsiteX107" fmla="*/ 418377 w 996637"/>
              <a:gd name="connsiteY107" fmla="*/ 515104 h 1304159"/>
              <a:gd name="connsiteX108" fmla="*/ 300237 w 996637"/>
              <a:gd name="connsiteY108" fmla="*/ 462973 h 1304159"/>
              <a:gd name="connsiteX109" fmla="*/ 254225 w 996637"/>
              <a:gd name="connsiteY109" fmla="*/ 462973 h 1304159"/>
              <a:gd name="connsiteX110" fmla="*/ 144791 w 996637"/>
              <a:gd name="connsiteY110" fmla="*/ 429460 h 1304159"/>
              <a:gd name="connsiteX111" fmla="*/ 119919 w 996637"/>
              <a:gd name="connsiteY111" fmla="*/ 408360 h 1304159"/>
              <a:gd name="connsiteX112" fmla="*/ 61472 w 996637"/>
              <a:gd name="connsiteY112" fmla="*/ 271826 h 1304159"/>
              <a:gd name="connsiteX113" fmla="*/ 61472 w 996637"/>
              <a:gd name="connsiteY113" fmla="*/ 269344 h 1304159"/>
              <a:gd name="connsiteX114" fmla="*/ 40331 w 996637"/>
              <a:gd name="connsiteY114" fmla="*/ 170047 h 1304159"/>
              <a:gd name="connsiteX115" fmla="*/ 172149 w 996637"/>
              <a:gd name="connsiteY115" fmla="*/ 32272 h 1304159"/>
              <a:gd name="connsiteX116" fmla="*/ 260443 w 996637"/>
              <a:gd name="connsiteY116" fmla="*/ 43443 h 1304159"/>
              <a:gd name="connsiteX117" fmla="*/ 353711 w 996637"/>
              <a:gd name="connsiteY117" fmla="*/ 12412 h 1304159"/>
              <a:gd name="connsiteX118" fmla="*/ 451953 w 996637"/>
              <a:gd name="connsiteY118" fmla="*/ 45925 h 1304159"/>
              <a:gd name="connsiteX119" fmla="*/ 543977 w 996637"/>
              <a:gd name="connsiteY119" fmla="*/ 17377 h 1304159"/>
              <a:gd name="connsiteX120" fmla="*/ 624809 w 996637"/>
              <a:gd name="connsiteY120" fmla="*/ 39719 h 1304159"/>
              <a:gd name="connsiteX121" fmla="*/ 728026 w 996637"/>
              <a:gd name="connsiteY121" fmla="*/ 0 h 130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996637" h="1304159">
                <a:moveTo>
                  <a:pt x="508391" y="1208469"/>
                </a:moveTo>
                <a:cubicBezTo>
                  <a:pt x="516936" y="1208469"/>
                  <a:pt x="524260" y="1214533"/>
                  <a:pt x="524260" y="1224235"/>
                </a:cubicBezTo>
                <a:lnTo>
                  <a:pt x="524260" y="1286086"/>
                </a:lnTo>
                <a:cubicBezTo>
                  <a:pt x="524260" y="1294576"/>
                  <a:pt x="516936" y="1300639"/>
                  <a:pt x="508391" y="1300639"/>
                </a:cubicBezTo>
                <a:cubicBezTo>
                  <a:pt x="499846" y="1300639"/>
                  <a:pt x="492522" y="1294576"/>
                  <a:pt x="492522" y="1286086"/>
                </a:cubicBezTo>
                <a:lnTo>
                  <a:pt x="492522" y="1224235"/>
                </a:lnTo>
                <a:cubicBezTo>
                  <a:pt x="492522" y="1214533"/>
                  <a:pt x="499846" y="1208469"/>
                  <a:pt x="508391" y="1208469"/>
                </a:cubicBezTo>
                <a:close/>
                <a:moveTo>
                  <a:pt x="156178" y="1208469"/>
                </a:moveTo>
                <a:cubicBezTo>
                  <a:pt x="166319" y="1208469"/>
                  <a:pt x="172657" y="1214533"/>
                  <a:pt x="172657" y="1224235"/>
                </a:cubicBezTo>
                <a:lnTo>
                  <a:pt x="172657" y="1286086"/>
                </a:lnTo>
                <a:cubicBezTo>
                  <a:pt x="172657" y="1294576"/>
                  <a:pt x="166319" y="1300639"/>
                  <a:pt x="156178" y="1300639"/>
                </a:cubicBezTo>
                <a:cubicBezTo>
                  <a:pt x="147304" y="1300639"/>
                  <a:pt x="140966" y="1294576"/>
                  <a:pt x="140966" y="1286086"/>
                </a:cubicBezTo>
                <a:lnTo>
                  <a:pt x="140966" y="1224235"/>
                </a:lnTo>
                <a:cubicBezTo>
                  <a:pt x="140966" y="1214533"/>
                  <a:pt x="147304" y="1208469"/>
                  <a:pt x="156178" y="1208469"/>
                </a:cubicBezTo>
                <a:close/>
                <a:moveTo>
                  <a:pt x="161450" y="1032693"/>
                </a:moveTo>
                <a:lnTo>
                  <a:pt x="511739" y="1032693"/>
                </a:lnTo>
                <a:cubicBezTo>
                  <a:pt x="590273" y="1032693"/>
                  <a:pt x="612712" y="1057662"/>
                  <a:pt x="646369" y="1177510"/>
                </a:cubicBezTo>
                <a:lnTo>
                  <a:pt x="670054" y="1284874"/>
                </a:lnTo>
                <a:cubicBezTo>
                  <a:pt x="672547" y="1293613"/>
                  <a:pt x="666315" y="1302352"/>
                  <a:pt x="657588" y="1303600"/>
                </a:cubicBezTo>
                <a:cubicBezTo>
                  <a:pt x="648862" y="1306097"/>
                  <a:pt x="640136" y="1299855"/>
                  <a:pt x="638890" y="1292364"/>
                </a:cubicBezTo>
                <a:lnTo>
                  <a:pt x="615205" y="1185000"/>
                </a:lnTo>
                <a:cubicBezTo>
                  <a:pt x="582794" y="1070146"/>
                  <a:pt x="566588" y="1065152"/>
                  <a:pt x="511739" y="1065152"/>
                </a:cubicBezTo>
                <a:lnTo>
                  <a:pt x="161450" y="1065152"/>
                </a:lnTo>
                <a:cubicBezTo>
                  <a:pt x="106600" y="1065152"/>
                  <a:pt x="90395" y="1070146"/>
                  <a:pt x="57984" y="1186249"/>
                </a:cubicBezTo>
                <a:lnTo>
                  <a:pt x="31805" y="1292364"/>
                </a:lnTo>
                <a:cubicBezTo>
                  <a:pt x="29312" y="1299855"/>
                  <a:pt x="23079" y="1303600"/>
                  <a:pt x="15600" y="1303600"/>
                </a:cubicBezTo>
                <a:cubicBezTo>
                  <a:pt x="14353" y="1303600"/>
                  <a:pt x="13107" y="1303600"/>
                  <a:pt x="11860" y="1303600"/>
                </a:cubicBezTo>
                <a:cubicBezTo>
                  <a:pt x="3134" y="1302352"/>
                  <a:pt x="-1852" y="1292364"/>
                  <a:pt x="641" y="1283625"/>
                </a:cubicBezTo>
                <a:lnTo>
                  <a:pt x="26819" y="1177510"/>
                </a:lnTo>
                <a:cubicBezTo>
                  <a:pt x="60477" y="1057662"/>
                  <a:pt x="84162" y="1032693"/>
                  <a:pt x="161450" y="1032693"/>
                </a:cubicBezTo>
                <a:close/>
                <a:moveTo>
                  <a:pt x="335348" y="723307"/>
                </a:moveTo>
                <a:cubicBezTo>
                  <a:pt x="267987" y="723307"/>
                  <a:pt x="211854" y="779441"/>
                  <a:pt x="211854" y="848050"/>
                </a:cubicBezTo>
                <a:cubicBezTo>
                  <a:pt x="211854" y="915411"/>
                  <a:pt x="267987" y="971546"/>
                  <a:pt x="335348" y="971546"/>
                </a:cubicBezTo>
                <a:cubicBezTo>
                  <a:pt x="403956" y="971546"/>
                  <a:pt x="458842" y="915411"/>
                  <a:pt x="458842" y="848050"/>
                </a:cubicBezTo>
                <a:cubicBezTo>
                  <a:pt x="458842" y="779441"/>
                  <a:pt x="403956" y="723307"/>
                  <a:pt x="335348" y="723307"/>
                </a:cubicBezTo>
                <a:close/>
                <a:moveTo>
                  <a:pt x="541333" y="714931"/>
                </a:moveTo>
                <a:cubicBezTo>
                  <a:pt x="531321" y="714931"/>
                  <a:pt x="525063" y="721188"/>
                  <a:pt x="525063" y="731201"/>
                </a:cubicBezTo>
                <a:cubicBezTo>
                  <a:pt x="525063" y="738710"/>
                  <a:pt x="531321" y="746220"/>
                  <a:pt x="541333" y="746220"/>
                </a:cubicBezTo>
                <a:cubicBezTo>
                  <a:pt x="550094" y="746220"/>
                  <a:pt x="557604" y="738710"/>
                  <a:pt x="557604" y="731201"/>
                </a:cubicBezTo>
                <a:cubicBezTo>
                  <a:pt x="557604" y="721188"/>
                  <a:pt x="550094" y="714931"/>
                  <a:pt x="541333" y="714931"/>
                </a:cubicBezTo>
                <a:close/>
                <a:moveTo>
                  <a:pt x="335348" y="692121"/>
                </a:moveTo>
                <a:cubicBezTo>
                  <a:pt x="421419" y="692121"/>
                  <a:pt x="491275" y="761977"/>
                  <a:pt x="491275" y="848050"/>
                </a:cubicBezTo>
                <a:cubicBezTo>
                  <a:pt x="491275" y="934123"/>
                  <a:pt x="421419" y="1003979"/>
                  <a:pt x="335348" y="1003979"/>
                </a:cubicBezTo>
                <a:cubicBezTo>
                  <a:pt x="249276" y="1003979"/>
                  <a:pt x="179421" y="934123"/>
                  <a:pt x="179421" y="848050"/>
                </a:cubicBezTo>
                <a:cubicBezTo>
                  <a:pt x="179421" y="761977"/>
                  <a:pt x="249276" y="692121"/>
                  <a:pt x="335348" y="692121"/>
                </a:cubicBezTo>
                <a:close/>
                <a:moveTo>
                  <a:pt x="541333" y="681138"/>
                </a:moveTo>
                <a:cubicBezTo>
                  <a:pt x="567616" y="681138"/>
                  <a:pt x="590144" y="703667"/>
                  <a:pt x="590144" y="731201"/>
                </a:cubicBezTo>
                <a:cubicBezTo>
                  <a:pt x="590144" y="757484"/>
                  <a:pt x="567616" y="778761"/>
                  <a:pt x="541333" y="778761"/>
                </a:cubicBezTo>
                <a:cubicBezTo>
                  <a:pt x="513799" y="778761"/>
                  <a:pt x="492522" y="757484"/>
                  <a:pt x="492522" y="731201"/>
                </a:cubicBezTo>
                <a:cubicBezTo>
                  <a:pt x="492522" y="703667"/>
                  <a:pt x="513799" y="681138"/>
                  <a:pt x="541333" y="681138"/>
                </a:cubicBezTo>
                <a:close/>
                <a:moveTo>
                  <a:pt x="544707" y="526457"/>
                </a:moveTo>
                <a:cubicBezTo>
                  <a:pt x="516326" y="526457"/>
                  <a:pt x="492881" y="549902"/>
                  <a:pt x="492881" y="579517"/>
                </a:cubicBezTo>
                <a:cubicBezTo>
                  <a:pt x="492881" y="607898"/>
                  <a:pt x="516326" y="631343"/>
                  <a:pt x="544707" y="631343"/>
                </a:cubicBezTo>
                <a:cubicBezTo>
                  <a:pt x="573088" y="631343"/>
                  <a:pt x="596533" y="607898"/>
                  <a:pt x="596533" y="579517"/>
                </a:cubicBezTo>
                <a:cubicBezTo>
                  <a:pt x="596533" y="549902"/>
                  <a:pt x="573088" y="526457"/>
                  <a:pt x="544707" y="526457"/>
                </a:cubicBezTo>
                <a:close/>
                <a:moveTo>
                  <a:pt x="544707" y="494374"/>
                </a:moveTo>
                <a:cubicBezTo>
                  <a:pt x="591597" y="494374"/>
                  <a:pt x="628616" y="532627"/>
                  <a:pt x="628616" y="579517"/>
                </a:cubicBezTo>
                <a:cubicBezTo>
                  <a:pt x="628616" y="626408"/>
                  <a:pt x="591597" y="663426"/>
                  <a:pt x="544707" y="663426"/>
                </a:cubicBezTo>
                <a:cubicBezTo>
                  <a:pt x="497817" y="663426"/>
                  <a:pt x="459564" y="626408"/>
                  <a:pt x="459564" y="579517"/>
                </a:cubicBezTo>
                <a:cubicBezTo>
                  <a:pt x="459564" y="532627"/>
                  <a:pt x="497817" y="494374"/>
                  <a:pt x="544707" y="494374"/>
                </a:cubicBezTo>
                <a:close/>
                <a:moveTo>
                  <a:pt x="728026" y="32272"/>
                </a:moveTo>
                <a:cubicBezTo>
                  <a:pt x="694449" y="32272"/>
                  <a:pt x="660873" y="45925"/>
                  <a:pt x="637245" y="70749"/>
                </a:cubicBezTo>
                <a:cubicBezTo>
                  <a:pt x="632271" y="76956"/>
                  <a:pt x="622322" y="78197"/>
                  <a:pt x="616104" y="73232"/>
                </a:cubicBezTo>
                <a:cubicBezTo>
                  <a:pt x="594964" y="58337"/>
                  <a:pt x="570092" y="49649"/>
                  <a:pt x="543977" y="49649"/>
                </a:cubicBezTo>
                <a:cubicBezTo>
                  <a:pt x="514132" y="49649"/>
                  <a:pt x="485529" y="59579"/>
                  <a:pt x="461902" y="79438"/>
                </a:cubicBezTo>
                <a:cubicBezTo>
                  <a:pt x="455684" y="85644"/>
                  <a:pt x="445735" y="84403"/>
                  <a:pt x="439517" y="79438"/>
                </a:cubicBezTo>
                <a:cubicBezTo>
                  <a:pt x="417133" y="57096"/>
                  <a:pt x="386044" y="44684"/>
                  <a:pt x="353711" y="44684"/>
                </a:cubicBezTo>
                <a:cubicBezTo>
                  <a:pt x="325109" y="44684"/>
                  <a:pt x="295263" y="54614"/>
                  <a:pt x="274122" y="73232"/>
                </a:cubicBezTo>
                <a:cubicBezTo>
                  <a:pt x="267904" y="78197"/>
                  <a:pt x="261687" y="78197"/>
                  <a:pt x="255469" y="75714"/>
                </a:cubicBezTo>
                <a:cubicBezTo>
                  <a:pt x="238059" y="67026"/>
                  <a:pt x="218161" y="62061"/>
                  <a:pt x="198264" y="62061"/>
                </a:cubicBezTo>
                <a:cubicBezTo>
                  <a:pt x="192046" y="62061"/>
                  <a:pt x="184585" y="62061"/>
                  <a:pt x="177124" y="64543"/>
                </a:cubicBezTo>
                <a:cubicBezTo>
                  <a:pt x="122406" y="73232"/>
                  <a:pt x="78882" y="117916"/>
                  <a:pt x="72664" y="173770"/>
                </a:cubicBezTo>
                <a:cubicBezTo>
                  <a:pt x="68933" y="202318"/>
                  <a:pt x="75151" y="232107"/>
                  <a:pt x="92561" y="255690"/>
                </a:cubicBezTo>
                <a:cubicBezTo>
                  <a:pt x="93805" y="259414"/>
                  <a:pt x="93805" y="261896"/>
                  <a:pt x="93805" y="265620"/>
                </a:cubicBezTo>
                <a:lnTo>
                  <a:pt x="93805" y="271826"/>
                </a:lnTo>
                <a:cubicBezTo>
                  <a:pt x="93805" y="314027"/>
                  <a:pt x="111214" y="354987"/>
                  <a:pt x="143547" y="384777"/>
                </a:cubicBezTo>
                <a:cubicBezTo>
                  <a:pt x="148521" y="392224"/>
                  <a:pt x="155983" y="397189"/>
                  <a:pt x="163444" y="402154"/>
                </a:cubicBezTo>
                <a:cubicBezTo>
                  <a:pt x="190803" y="420772"/>
                  <a:pt x="221892" y="430701"/>
                  <a:pt x="254225" y="430701"/>
                </a:cubicBezTo>
                <a:lnTo>
                  <a:pt x="307699" y="430701"/>
                </a:lnTo>
                <a:cubicBezTo>
                  <a:pt x="312673" y="430701"/>
                  <a:pt x="316404" y="433184"/>
                  <a:pt x="320134" y="436908"/>
                </a:cubicBezTo>
                <a:cubicBezTo>
                  <a:pt x="345006" y="465455"/>
                  <a:pt x="379826" y="482832"/>
                  <a:pt x="418377" y="482832"/>
                </a:cubicBezTo>
                <a:cubicBezTo>
                  <a:pt x="451953" y="482832"/>
                  <a:pt x="484286" y="469179"/>
                  <a:pt x="509157" y="444355"/>
                </a:cubicBezTo>
                <a:cubicBezTo>
                  <a:pt x="516619" y="435666"/>
                  <a:pt x="529054" y="430701"/>
                  <a:pt x="542734" y="430701"/>
                </a:cubicBezTo>
                <a:cubicBezTo>
                  <a:pt x="552682" y="430701"/>
                  <a:pt x="563874" y="434425"/>
                  <a:pt x="572579" y="441872"/>
                </a:cubicBezTo>
                <a:cubicBezTo>
                  <a:pt x="594964" y="459249"/>
                  <a:pt x="622322" y="470420"/>
                  <a:pt x="652168" y="470420"/>
                </a:cubicBezTo>
                <a:cubicBezTo>
                  <a:pt x="673309" y="470420"/>
                  <a:pt x="694449" y="464214"/>
                  <a:pt x="713103" y="455526"/>
                </a:cubicBezTo>
                <a:cubicBezTo>
                  <a:pt x="725539" y="446837"/>
                  <a:pt x="740462" y="446837"/>
                  <a:pt x="754141" y="450561"/>
                </a:cubicBezTo>
                <a:cubicBezTo>
                  <a:pt x="767820" y="455526"/>
                  <a:pt x="781499" y="458008"/>
                  <a:pt x="795179" y="458008"/>
                </a:cubicBezTo>
                <a:cubicBezTo>
                  <a:pt x="866062" y="458008"/>
                  <a:pt x="922023" y="400912"/>
                  <a:pt x="922023" y="331404"/>
                </a:cubicBezTo>
                <a:cubicBezTo>
                  <a:pt x="922023" y="330163"/>
                  <a:pt x="922023" y="328922"/>
                  <a:pt x="922023" y="327681"/>
                </a:cubicBezTo>
                <a:lnTo>
                  <a:pt x="922023" y="325198"/>
                </a:lnTo>
                <a:cubicBezTo>
                  <a:pt x="922023" y="320233"/>
                  <a:pt x="923267" y="316510"/>
                  <a:pt x="925754" y="312786"/>
                </a:cubicBezTo>
                <a:cubicBezTo>
                  <a:pt x="950625" y="289203"/>
                  <a:pt x="963061" y="256932"/>
                  <a:pt x="963061" y="223419"/>
                </a:cubicBezTo>
                <a:cubicBezTo>
                  <a:pt x="963061" y="157634"/>
                  <a:pt x="912075" y="101780"/>
                  <a:pt x="846165" y="96815"/>
                </a:cubicBezTo>
                <a:cubicBezTo>
                  <a:pt x="842435" y="96815"/>
                  <a:pt x="837460" y="93091"/>
                  <a:pt x="833729" y="89368"/>
                </a:cubicBezTo>
                <a:cubicBezTo>
                  <a:pt x="810102" y="54614"/>
                  <a:pt x="771551" y="32272"/>
                  <a:pt x="728026" y="32272"/>
                </a:cubicBezTo>
                <a:close/>
                <a:moveTo>
                  <a:pt x="728026" y="0"/>
                </a:moveTo>
                <a:cubicBezTo>
                  <a:pt x="779012" y="0"/>
                  <a:pt x="826268" y="24825"/>
                  <a:pt x="857357" y="65785"/>
                </a:cubicBezTo>
                <a:cubicBezTo>
                  <a:pt x="935702" y="75714"/>
                  <a:pt x="996637" y="142740"/>
                  <a:pt x="996637" y="223419"/>
                </a:cubicBezTo>
                <a:cubicBezTo>
                  <a:pt x="996637" y="263138"/>
                  <a:pt x="980471" y="300374"/>
                  <a:pt x="954356" y="330163"/>
                </a:cubicBezTo>
                <a:lnTo>
                  <a:pt x="954356" y="331404"/>
                </a:lnTo>
                <a:cubicBezTo>
                  <a:pt x="954356" y="419531"/>
                  <a:pt x="882229" y="490280"/>
                  <a:pt x="795179" y="490280"/>
                </a:cubicBezTo>
                <a:cubicBezTo>
                  <a:pt x="777769" y="490280"/>
                  <a:pt x="760359" y="487797"/>
                  <a:pt x="744192" y="481591"/>
                </a:cubicBezTo>
                <a:cubicBezTo>
                  <a:pt x="739218" y="480350"/>
                  <a:pt x="733000" y="480350"/>
                  <a:pt x="728026" y="482832"/>
                </a:cubicBezTo>
                <a:cubicBezTo>
                  <a:pt x="704398" y="496486"/>
                  <a:pt x="679527" y="502692"/>
                  <a:pt x="652168" y="502692"/>
                </a:cubicBezTo>
                <a:cubicBezTo>
                  <a:pt x="614861" y="502692"/>
                  <a:pt x="580041" y="490280"/>
                  <a:pt x="551439" y="466697"/>
                </a:cubicBezTo>
                <a:cubicBezTo>
                  <a:pt x="546464" y="461732"/>
                  <a:pt x="536516" y="462973"/>
                  <a:pt x="531542" y="466697"/>
                </a:cubicBezTo>
                <a:cubicBezTo>
                  <a:pt x="501696" y="497727"/>
                  <a:pt x="460658" y="515104"/>
                  <a:pt x="418377" y="515104"/>
                </a:cubicBezTo>
                <a:cubicBezTo>
                  <a:pt x="373608" y="515104"/>
                  <a:pt x="331327" y="496486"/>
                  <a:pt x="300237" y="462973"/>
                </a:cubicBezTo>
                <a:lnTo>
                  <a:pt x="254225" y="462973"/>
                </a:lnTo>
                <a:cubicBezTo>
                  <a:pt x="215674" y="462973"/>
                  <a:pt x="178367" y="450561"/>
                  <a:pt x="144791" y="429460"/>
                </a:cubicBezTo>
                <a:cubicBezTo>
                  <a:pt x="136086" y="423254"/>
                  <a:pt x="127381" y="415807"/>
                  <a:pt x="119919" y="408360"/>
                </a:cubicBezTo>
                <a:cubicBezTo>
                  <a:pt x="82612" y="372364"/>
                  <a:pt x="61472" y="322716"/>
                  <a:pt x="61472" y="271826"/>
                </a:cubicBezTo>
                <a:lnTo>
                  <a:pt x="61472" y="269344"/>
                </a:lnTo>
                <a:cubicBezTo>
                  <a:pt x="44062" y="239555"/>
                  <a:pt x="36600" y="204801"/>
                  <a:pt x="40331" y="170047"/>
                </a:cubicBezTo>
                <a:cubicBezTo>
                  <a:pt x="49036" y="100539"/>
                  <a:pt x="102509" y="43443"/>
                  <a:pt x="172149" y="32272"/>
                </a:cubicBezTo>
                <a:cubicBezTo>
                  <a:pt x="201995" y="27307"/>
                  <a:pt x="233084" y="31031"/>
                  <a:pt x="260443" y="43443"/>
                </a:cubicBezTo>
                <a:cubicBezTo>
                  <a:pt x="287801" y="23583"/>
                  <a:pt x="321378" y="12412"/>
                  <a:pt x="353711" y="12412"/>
                </a:cubicBezTo>
                <a:cubicBezTo>
                  <a:pt x="389774" y="12412"/>
                  <a:pt x="424594" y="24825"/>
                  <a:pt x="451953" y="45925"/>
                </a:cubicBezTo>
                <a:cubicBezTo>
                  <a:pt x="479312" y="27307"/>
                  <a:pt x="510401" y="17377"/>
                  <a:pt x="543977" y="17377"/>
                </a:cubicBezTo>
                <a:cubicBezTo>
                  <a:pt x="572579" y="17377"/>
                  <a:pt x="599938" y="24825"/>
                  <a:pt x="624809" y="39719"/>
                </a:cubicBezTo>
                <a:cubicBezTo>
                  <a:pt x="653412" y="13654"/>
                  <a:pt x="689475" y="0"/>
                  <a:pt x="72802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1" name="Freeform 22">
            <a:extLst>
              <a:ext uri="{FF2B5EF4-FFF2-40B4-BE49-F238E27FC236}">
                <a16:creationId xmlns:a16="http://schemas.microsoft.com/office/drawing/2014/main" id="{0F20C673-F0C8-CF17-B1EA-3F1A2C335B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684" y="2323207"/>
            <a:ext cx="691504" cy="655796"/>
          </a:xfrm>
          <a:custGeom>
            <a:avLst/>
            <a:gdLst>
              <a:gd name="connsiteX0" fmla="*/ 1194496 w 1383008"/>
              <a:gd name="connsiteY0" fmla="*/ 1134799 h 1311591"/>
              <a:gd name="connsiteX1" fmla="*/ 1172097 w 1383008"/>
              <a:gd name="connsiteY1" fmla="*/ 1138534 h 1311591"/>
              <a:gd name="connsiteX2" fmla="*/ 946861 w 1383008"/>
              <a:gd name="connsiteY2" fmla="*/ 1138534 h 1311591"/>
              <a:gd name="connsiteX3" fmla="*/ 958061 w 1383008"/>
              <a:gd name="connsiteY3" fmla="*/ 1220705 h 1311591"/>
              <a:gd name="connsiteX4" fmla="*/ 1145965 w 1383008"/>
              <a:gd name="connsiteY4" fmla="*/ 1220705 h 1311591"/>
              <a:gd name="connsiteX5" fmla="*/ 1194496 w 1383008"/>
              <a:gd name="connsiteY5" fmla="*/ 1184600 h 1311591"/>
              <a:gd name="connsiteX6" fmla="*/ 186534 w 1383008"/>
              <a:gd name="connsiteY6" fmla="*/ 1134799 h 1311591"/>
              <a:gd name="connsiteX7" fmla="*/ 186534 w 1383008"/>
              <a:gd name="connsiteY7" fmla="*/ 1184600 h 1311591"/>
              <a:gd name="connsiteX8" fmla="*/ 232577 w 1383008"/>
              <a:gd name="connsiteY8" fmla="*/ 1220705 h 1311591"/>
              <a:gd name="connsiteX9" fmla="*/ 430436 w 1383008"/>
              <a:gd name="connsiteY9" fmla="*/ 1220705 h 1311591"/>
              <a:gd name="connsiteX10" fmla="*/ 444124 w 1383008"/>
              <a:gd name="connsiteY10" fmla="*/ 1138534 h 1311591"/>
              <a:gd name="connsiteX11" fmla="*/ 207689 w 1383008"/>
              <a:gd name="connsiteY11" fmla="*/ 1138534 h 1311591"/>
              <a:gd name="connsiteX12" fmla="*/ 186534 w 1383008"/>
              <a:gd name="connsiteY12" fmla="*/ 1134799 h 1311591"/>
              <a:gd name="connsiteX13" fmla="*/ 687874 w 1383008"/>
              <a:gd name="connsiteY13" fmla="*/ 729840 h 1311591"/>
              <a:gd name="connsiteX14" fmla="*/ 599420 w 1383008"/>
              <a:gd name="connsiteY14" fmla="*/ 816602 h 1311591"/>
              <a:gd name="connsiteX15" fmla="*/ 687874 w 1383008"/>
              <a:gd name="connsiteY15" fmla="*/ 904603 h 1311591"/>
              <a:gd name="connsiteX16" fmla="*/ 773837 w 1383008"/>
              <a:gd name="connsiteY16" fmla="*/ 816602 h 1311591"/>
              <a:gd name="connsiteX17" fmla="*/ 687874 w 1383008"/>
              <a:gd name="connsiteY17" fmla="*/ 729840 h 1311591"/>
              <a:gd name="connsiteX18" fmla="*/ 687874 w 1383008"/>
              <a:gd name="connsiteY18" fmla="*/ 697614 h 1311591"/>
              <a:gd name="connsiteX19" fmla="*/ 806229 w 1383008"/>
              <a:gd name="connsiteY19" fmla="*/ 816602 h 1311591"/>
              <a:gd name="connsiteX20" fmla="*/ 687874 w 1383008"/>
              <a:gd name="connsiteY20" fmla="*/ 938068 h 1311591"/>
              <a:gd name="connsiteX21" fmla="*/ 565782 w 1383008"/>
              <a:gd name="connsiteY21" fmla="*/ 816602 h 1311591"/>
              <a:gd name="connsiteX22" fmla="*/ 687874 w 1383008"/>
              <a:gd name="connsiteY22" fmla="*/ 697614 h 1311591"/>
              <a:gd name="connsiteX23" fmla="*/ 665925 w 1383008"/>
              <a:gd name="connsiteY23" fmla="*/ 571278 h 1311591"/>
              <a:gd name="connsiteX24" fmla="*/ 712826 w 1383008"/>
              <a:gd name="connsiteY24" fmla="*/ 571278 h 1311591"/>
              <a:gd name="connsiteX25" fmla="*/ 729305 w 1383008"/>
              <a:gd name="connsiteY25" fmla="*/ 587147 h 1311591"/>
              <a:gd name="connsiteX26" fmla="*/ 712826 w 1383008"/>
              <a:gd name="connsiteY26" fmla="*/ 603017 h 1311591"/>
              <a:gd name="connsiteX27" fmla="*/ 665925 w 1383008"/>
              <a:gd name="connsiteY27" fmla="*/ 603017 h 1311591"/>
              <a:gd name="connsiteX28" fmla="*/ 648178 w 1383008"/>
              <a:gd name="connsiteY28" fmla="*/ 587147 h 1311591"/>
              <a:gd name="connsiteX29" fmla="*/ 665925 w 1383008"/>
              <a:gd name="connsiteY29" fmla="*/ 571278 h 1311591"/>
              <a:gd name="connsiteX30" fmla="*/ 631701 w 1383008"/>
              <a:gd name="connsiteY30" fmla="*/ 532825 h 1311591"/>
              <a:gd name="connsiteX31" fmla="*/ 747053 w 1383008"/>
              <a:gd name="connsiteY31" fmla="*/ 532825 h 1311591"/>
              <a:gd name="connsiteX32" fmla="*/ 762264 w 1383008"/>
              <a:gd name="connsiteY32" fmla="*/ 548128 h 1311591"/>
              <a:gd name="connsiteX33" fmla="*/ 747053 w 1383008"/>
              <a:gd name="connsiteY33" fmla="*/ 564607 h 1311591"/>
              <a:gd name="connsiteX34" fmla="*/ 631701 w 1383008"/>
              <a:gd name="connsiteY34" fmla="*/ 564607 h 1311591"/>
              <a:gd name="connsiteX35" fmla="*/ 615222 w 1383008"/>
              <a:gd name="connsiteY35" fmla="*/ 548128 h 1311591"/>
              <a:gd name="connsiteX36" fmla="*/ 631701 w 1383008"/>
              <a:gd name="connsiteY36" fmla="*/ 532825 h 1311591"/>
              <a:gd name="connsiteX37" fmla="*/ 634517 w 1383008"/>
              <a:gd name="connsiteY37" fmla="*/ 486148 h 1311591"/>
              <a:gd name="connsiteX38" fmla="*/ 634517 w 1383008"/>
              <a:gd name="connsiteY38" fmla="*/ 496108 h 1311591"/>
              <a:gd name="connsiteX39" fmla="*/ 742780 w 1383008"/>
              <a:gd name="connsiteY39" fmla="*/ 496108 h 1311591"/>
              <a:gd name="connsiteX40" fmla="*/ 742780 w 1383008"/>
              <a:gd name="connsiteY40" fmla="*/ 486148 h 1311591"/>
              <a:gd name="connsiteX41" fmla="*/ 541342 w 1383008"/>
              <a:gd name="connsiteY41" fmla="*/ 440959 h 1311591"/>
              <a:gd name="connsiteX42" fmla="*/ 553920 w 1383008"/>
              <a:gd name="connsiteY42" fmla="*/ 445503 h 1311591"/>
              <a:gd name="connsiteX43" fmla="*/ 553920 w 1383008"/>
              <a:gd name="connsiteY43" fmla="*/ 467313 h 1311591"/>
              <a:gd name="connsiteX44" fmla="*/ 502970 w 1383008"/>
              <a:gd name="connsiteY44" fmla="*/ 515781 h 1311591"/>
              <a:gd name="connsiteX45" fmla="*/ 490233 w 1383008"/>
              <a:gd name="connsiteY45" fmla="*/ 520628 h 1311591"/>
              <a:gd name="connsiteX46" fmla="*/ 478769 w 1383008"/>
              <a:gd name="connsiteY46" fmla="*/ 515781 h 1311591"/>
              <a:gd name="connsiteX47" fmla="*/ 478769 w 1383008"/>
              <a:gd name="connsiteY47" fmla="*/ 493970 h 1311591"/>
              <a:gd name="connsiteX48" fmla="*/ 529719 w 1383008"/>
              <a:gd name="connsiteY48" fmla="*/ 445503 h 1311591"/>
              <a:gd name="connsiteX49" fmla="*/ 541342 w 1383008"/>
              <a:gd name="connsiteY49" fmla="*/ 440959 h 1311591"/>
              <a:gd name="connsiteX50" fmla="*/ 842267 w 1383008"/>
              <a:gd name="connsiteY50" fmla="*/ 440959 h 1311591"/>
              <a:gd name="connsiteX51" fmla="*/ 853253 w 1383008"/>
              <a:gd name="connsiteY51" fmla="*/ 445503 h 1311591"/>
              <a:gd name="connsiteX52" fmla="*/ 904203 w 1383008"/>
              <a:gd name="connsiteY52" fmla="*/ 493970 h 1311591"/>
              <a:gd name="connsiteX53" fmla="*/ 904203 w 1383008"/>
              <a:gd name="connsiteY53" fmla="*/ 515781 h 1311591"/>
              <a:gd name="connsiteX54" fmla="*/ 892740 w 1383008"/>
              <a:gd name="connsiteY54" fmla="*/ 520628 h 1311591"/>
              <a:gd name="connsiteX55" fmla="*/ 881276 w 1383008"/>
              <a:gd name="connsiteY55" fmla="*/ 515781 h 1311591"/>
              <a:gd name="connsiteX56" fmla="*/ 830326 w 1383008"/>
              <a:gd name="connsiteY56" fmla="*/ 467313 h 1311591"/>
              <a:gd name="connsiteX57" fmla="*/ 830326 w 1383008"/>
              <a:gd name="connsiteY57" fmla="*/ 445503 h 1311591"/>
              <a:gd name="connsiteX58" fmla="*/ 842267 w 1383008"/>
              <a:gd name="connsiteY58" fmla="*/ 440959 h 1311591"/>
              <a:gd name="connsiteX59" fmla="*/ 360750 w 1383008"/>
              <a:gd name="connsiteY59" fmla="*/ 413937 h 1311591"/>
              <a:gd name="connsiteX60" fmla="*/ 339595 w 1383008"/>
              <a:gd name="connsiteY60" fmla="*/ 426387 h 1311591"/>
              <a:gd name="connsiteX61" fmla="*/ 313463 w 1383008"/>
              <a:gd name="connsiteY61" fmla="*/ 557114 h 1311591"/>
              <a:gd name="connsiteX62" fmla="*/ 352039 w 1383008"/>
              <a:gd name="connsiteY62" fmla="*/ 593219 h 1311591"/>
              <a:gd name="connsiteX63" fmla="*/ 375683 w 1383008"/>
              <a:gd name="connsiteY63" fmla="*/ 603179 h 1311591"/>
              <a:gd name="connsiteX64" fmla="*/ 517544 w 1383008"/>
              <a:gd name="connsiteY64" fmla="*/ 603179 h 1311591"/>
              <a:gd name="connsiteX65" fmla="*/ 589719 w 1383008"/>
              <a:gd name="connsiteY65" fmla="*/ 666675 h 1311591"/>
              <a:gd name="connsiteX66" fmla="*/ 572297 w 1383008"/>
              <a:gd name="connsiteY66" fmla="*/ 720210 h 1311591"/>
              <a:gd name="connsiteX67" fmla="*/ 520033 w 1383008"/>
              <a:gd name="connsiteY67" fmla="*/ 743865 h 1311591"/>
              <a:gd name="connsiteX68" fmla="*/ 332129 w 1383008"/>
              <a:gd name="connsiteY68" fmla="*/ 743865 h 1311591"/>
              <a:gd name="connsiteX69" fmla="*/ 284842 w 1383008"/>
              <a:gd name="connsiteY69" fmla="*/ 723945 h 1311591"/>
              <a:gd name="connsiteX70" fmla="*/ 274886 w 1383008"/>
              <a:gd name="connsiteY70" fmla="*/ 713985 h 1311591"/>
              <a:gd name="connsiteX71" fmla="*/ 186534 w 1383008"/>
              <a:gd name="connsiteY71" fmla="*/ 1088734 h 1311591"/>
              <a:gd name="connsiteX72" fmla="*/ 189023 w 1383008"/>
              <a:gd name="connsiteY72" fmla="*/ 1098694 h 1311591"/>
              <a:gd name="connsiteX73" fmla="*/ 207689 w 1383008"/>
              <a:gd name="connsiteY73" fmla="*/ 1106164 h 1311591"/>
              <a:gd name="connsiteX74" fmla="*/ 450346 w 1383008"/>
              <a:gd name="connsiteY74" fmla="*/ 1106164 h 1311591"/>
              <a:gd name="connsiteX75" fmla="*/ 460302 w 1383008"/>
              <a:gd name="connsiteY75" fmla="*/ 1046404 h 1311591"/>
              <a:gd name="connsiteX76" fmla="*/ 541187 w 1383008"/>
              <a:gd name="connsiteY76" fmla="*/ 967968 h 1311591"/>
              <a:gd name="connsiteX77" fmla="*/ 852287 w 1383008"/>
              <a:gd name="connsiteY77" fmla="*/ 967968 h 1311591"/>
              <a:gd name="connsiteX78" fmla="*/ 933173 w 1383008"/>
              <a:gd name="connsiteY78" fmla="*/ 1046404 h 1311591"/>
              <a:gd name="connsiteX79" fmla="*/ 941883 w 1383008"/>
              <a:gd name="connsiteY79" fmla="*/ 1106164 h 1311591"/>
              <a:gd name="connsiteX80" fmla="*/ 1172097 w 1383008"/>
              <a:gd name="connsiteY80" fmla="*/ 1106164 h 1311591"/>
              <a:gd name="connsiteX81" fmla="*/ 1192007 w 1383008"/>
              <a:gd name="connsiteY81" fmla="*/ 1098694 h 1311591"/>
              <a:gd name="connsiteX82" fmla="*/ 1193251 w 1383008"/>
              <a:gd name="connsiteY82" fmla="*/ 1088734 h 1311591"/>
              <a:gd name="connsiteX83" fmla="*/ 1107388 w 1383008"/>
              <a:gd name="connsiteY83" fmla="*/ 720210 h 1311591"/>
              <a:gd name="connsiteX84" fmla="*/ 1103655 w 1383008"/>
              <a:gd name="connsiteY84" fmla="*/ 723945 h 1311591"/>
              <a:gd name="connsiteX85" fmla="*/ 1056368 w 1383008"/>
              <a:gd name="connsiteY85" fmla="*/ 743865 h 1311591"/>
              <a:gd name="connsiteX86" fmla="*/ 867219 w 1383008"/>
              <a:gd name="connsiteY86" fmla="*/ 743865 h 1311591"/>
              <a:gd name="connsiteX87" fmla="*/ 814955 w 1383008"/>
              <a:gd name="connsiteY87" fmla="*/ 720210 h 1311591"/>
              <a:gd name="connsiteX88" fmla="*/ 797533 w 1383008"/>
              <a:gd name="connsiteY88" fmla="*/ 666675 h 1311591"/>
              <a:gd name="connsiteX89" fmla="*/ 869708 w 1383008"/>
              <a:gd name="connsiteY89" fmla="*/ 603179 h 1311591"/>
              <a:gd name="connsiteX90" fmla="*/ 1011570 w 1383008"/>
              <a:gd name="connsiteY90" fmla="*/ 603179 h 1311591"/>
              <a:gd name="connsiteX91" fmla="*/ 1035213 w 1383008"/>
              <a:gd name="connsiteY91" fmla="*/ 593219 h 1311591"/>
              <a:gd name="connsiteX92" fmla="*/ 1066323 w 1383008"/>
              <a:gd name="connsiteY92" fmla="*/ 564584 h 1311591"/>
              <a:gd name="connsiteX93" fmla="*/ 1040191 w 1383008"/>
              <a:gd name="connsiteY93" fmla="*/ 426387 h 1311591"/>
              <a:gd name="connsiteX94" fmla="*/ 1019036 w 1383008"/>
              <a:gd name="connsiteY94" fmla="*/ 413937 h 1311591"/>
              <a:gd name="connsiteX95" fmla="*/ 819932 w 1383008"/>
              <a:gd name="connsiteY95" fmla="*/ 413937 h 1311591"/>
              <a:gd name="connsiteX96" fmla="*/ 776379 w 1383008"/>
              <a:gd name="connsiteY96" fmla="*/ 451288 h 1311591"/>
              <a:gd name="connsiteX97" fmla="*/ 773890 w 1383008"/>
              <a:gd name="connsiteY97" fmla="*/ 452533 h 1311591"/>
              <a:gd name="connsiteX98" fmla="*/ 773890 w 1383008"/>
              <a:gd name="connsiteY98" fmla="*/ 498598 h 1311591"/>
              <a:gd name="connsiteX99" fmla="*/ 745269 w 1383008"/>
              <a:gd name="connsiteY99" fmla="*/ 528478 h 1311591"/>
              <a:gd name="connsiteX100" fmla="*/ 632028 w 1383008"/>
              <a:gd name="connsiteY100" fmla="*/ 528478 h 1311591"/>
              <a:gd name="connsiteX101" fmla="*/ 600919 w 1383008"/>
              <a:gd name="connsiteY101" fmla="*/ 498598 h 1311591"/>
              <a:gd name="connsiteX102" fmla="*/ 600919 w 1383008"/>
              <a:gd name="connsiteY102" fmla="*/ 452533 h 1311591"/>
              <a:gd name="connsiteX103" fmla="*/ 600919 w 1383008"/>
              <a:gd name="connsiteY103" fmla="*/ 451288 h 1311591"/>
              <a:gd name="connsiteX104" fmla="*/ 556120 w 1383008"/>
              <a:gd name="connsiteY104" fmla="*/ 413937 h 1311591"/>
              <a:gd name="connsiteX105" fmla="*/ 900726 w 1383008"/>
              <a:gd name="connsiteY105" fmla="*/ 285639 h 1311591"/>
              <a:gd name="connsiteX106" fmla="*/ 971144 w 1383008"/>
              <a:gd name="connsiteY106" fmla="*/ 285639 h 1311591"/>
              <a:gd name="connsiteX107" fmla="*/ 987492 w 1383008"/>
              <a:gd name="connsiteY107" fmla="*/ 301508 h 1311591"/>
              <a:gd name="connsiteX108" fmla="*/ 971144 w 1383008"/>
              <a:gd name="connsiteY108" fmla="*/ 317378 h 1311591"/>
              <a:gd name="connsiteX109" fmla="*/ 900726 w 1383008"/>
              <a:gd name="connsiteY109" fmla="*/ 317378 h 1311591"/>
              <a:gd name="connsiteX110" fmla="*/ 884379 w 1383008"/>
              <a:gd name="connsiteY110" fmla="*/ 301508 h 1311591"/>
              <a:gd name="connsiteX111" fmla="*/ 900726 w 1383008"/>
              <a:gd name="connsiteY111" fmla="*/ 285639 h 1311591"/>
              <a:gd name="connsiteX112" fmla="*/ 406353 w 1383008"/>
              <a:gd name="connsiteY112" fmla="*/ 285639 h 1311591"/>
              <a:gd name="connsiteX113" fmla="*/ 476771 w 1383008"/>
              <a:gd name="connsiteY113" fmla="*/ 285639 h 1311591"/>
              <a:gd name="connsiteX114" fmla="*/ 493119 w 1383008"/>
              <a:gd name="connsiteY114" fmla="*/ 301508 h 1311591"/>
              <a:gd name="connsiteX115" fmla="*/ 476771 w 1383008"/>
              <a:gd name="connsiteY115" fmla="*/ 317378 h 1311591"/>
              <a:gd name="connsiteX116" fmla="*/ 406353 w 1383008"/>
              <a:gd name="connsiteY116" fmla="*/ 317378 h 1311591"/>
              <a:gd name="connsiteX117" fmla="*/ 390006 w 1383008"/>
              <a:gd name="connsiteY117" fmla="*/ 301508 h 1311591"/>
              <a:gd name="connsiteX118" fmla="*/ 406353 w 1383008"/>
              <a:gd name="connsiteY118" fmla="*/ 285639 h 1311591"/>
              <a:gd name="connsiteX119" fmla="*/ 1262781 w 1383008"/>
              <a:gd name="connsiteY119" fmla="*/ 228896 h 1311591"/>
              <a:gd name="connsiteX120" fmla="*/ 1174780 w 1383008"/>
              <a:gd name="connsiteY120" fmla="*/ 318597 h 1311591"/>
              <a:gd name="connsiteX121" fmla="*/ 1262781 w 1383008"/>
              <a:gd name="connsiteY121" fmla="*/ 405806 h 1311591"/>
              <a:gd name="connsiteX122" fmla="*/ 1349542 w 1383008"/>
              <a:gd name="connsiteY122" fmla="*/ 318597 h 1311591"/>
              <a:gd name="connsiteX123" fmla="*/ 1262781 w 1383008"/>
              <a:gd name="connsiteY123" fmla="*/ 228896 h 1311591"/>
              <a:gd name="connsiteX124" fmla="*/ 119601 w 1383008"/>
              <a:gd name="connsiteY124" fmla="*/ 228896 h 1311591"/>
              <a:gd name="connsiteX125" fmla="*/ 32392 w 1383008"/>
              <a:gd name="connsiteY125" fmla="*/ 318597 h 1311591"/>
              <a:gd name="connsiteX126" fmla="*/ 119601 w 1383008"/>
              <a:gd name="connsiteY126" fmla="*/ 405806 h 1311591"/>
              <a:gd name="connsiteX127" fmla="*/ 208055 w 1383008"/>
              <a:gd name="connsiteY127" fmla="*/ 318597 h 1311591"/>
              <a:gd name="connsiteX128" fmla="*/ 119601 w 1383008"/>
              <a:gd name="connsiteY128" fmla="*/ 228896 h 1311591"/>
              <a:gd name="connsiteX129" fmla="*/ 1262781 w 1383008"/>
              <a:gd name="connsiteY129" fmla="*/ 197750 h 1311591"/>
              <a:gd name="connsiteX130" fmla="*/ 1383008 w 1383008"/>
              <a:gd name="connsiteY130" fmla="*/ 318597 h 1311591"/>
              <a:gd name="connsiteX131" fmla="*/ 1262781 w 1383008"/>
              <a:gd name="connsiteY131" fmla="*/ 438197 h 1311591"/>
              <a:gd name="connsiteX132" fmla="*/ 1142554 w 1383008"/>
              <a:gd name="connsiteY132" fmla="*/ 318597 h 1311591"/>
              <a:gd name="connsiteX133" fmla="*/ 1262781 w 1383008"/>
              <a:gd name="connsiteY133" fmla="*/ 197750 h 1311591"/>
              <a:gd name="connsiteX134" fmla="*/ 119601 w 1383008"/>
              <a:gd name="connsiteY134" fmla="*/ 197750 h 1311591"/>
              <a:gd name="connsiteX135" fmla="*/ 240447 w 1383008"/>
              <a:gd name="connsiteY135" fmla="*/ 318597 h 1311591"/>
              <a:gd name="connsiteX136" fmla="*/ 119601 w 1383008"/>
              <a:gd name="connsiteY136" fmla="*/ 438197 h 1311591"/>
              <a:gd name="connsiteX137" fmla="*/ 0 w 1383008"/>
              <a:gd name="connsiteY137" fmla="*/ 318597 h 1311591"/>
              <a:gd name="connsiteX138" fmla="*/ 119601 w 1383008"/>
              <a:gd name="connsiteY138" fmla="*/ 197750 h 1311591"/>
              <a:gd name="connsiteX139" fmla="*/ 686183 w 1383008"/>
              <a:gd name="connsiteY139" fmla="*/ 175778 h 1311591"/>
              <a:gd name="connsiteX140" fmla="*/ 783601 w 1383008"/>
              <a:gd name="connsiteY140" fmla="*/ 225392 h 1311591"/>
              <a:gd name="connsiteX141" fmla="*/ 781135 w 1383008"/>
              <a:gd name="connsiteY141" fmla="*/ 248959 h 1311591"/>
              <a:gd name="connsiteX142" fmla="*/ 771270 w 1383008"/>
              <a:gd name="connsiteY142" fmla="*/ 251440 h 1311591"/>
              <a:gd name="connsiteX143" fmla="*/ 758938 w 1383008"/>
              <a:gd name="connsiteY143" fmla="*/ 245238 h 1311591"/>
              <a:gd name="connsiteX144" fmla="*/ 686183 w 1383008"/>
              <a:gd name="connsiteY144" fmla="*/ 208027 h 1311591"/>
              <a:gd name="connsiteX145" fmla="*/ 670152 w 1383008"/>
              <a:gd name="connsiteY145" fmla="*/ 191903 h 1311591"/>
              <a:gd name="connsiteX146" fmla="*/ 686183 w 1383008"/>
              <a:gd name="connsiteY146" fmla="*/ 175778 h 1311591"/>
              <a:gd name="connsiteX147" fmla="*/ 681804 w 1383008"/>
              <a:gd name="connsiteY147" fmla="*/ 161200 h 1311591"/>
              <a:gd name="connsiteX148" fmla="*/ 547409 w 1383008"/>
              <a:gd name="connsiteY148" fmla="*/ 296906 h 1311591"/>
              <a:gd name="connsiteX149" fmla="*/ 617096 w 1383008"/>
              <a:gd name="connsiteY149" fmla="*/ 422652 h 1311591"/>
              <a:gd name="connsiteX150" fmla="*/ 634517 w 1383008"/>
              <a:gd name="connsiteY150" fmla="*/ 452533 h 1311591"/>
              <a:gd name="connsiteX151" fmla="*/ 634517 w 1383008"/>
              <a:gd name="connsiteY151" fmla="*/ 453778 h 1311591"/>
              <a:gd name="connsiteX152" fmla="*/ 742780 w 1383008"/>
              <a:gd name="connsiteY152" fmla="*/ 453778 h 1311591"/>
              <a:gd name="connsiteX153" fmla="*/ 742780 w 1383008"/>
              <a:gd name="connsiteY153" fmla="*/ 452533 h 1311591"/>
              <a:gd name="connsiteX154" fmla="*/ 758957 w 1383008"/>
              <a:gd name="connsiteY154" fmla="*/ 422652 h 1311591"/>
              <a:gd name="connsiteX155" fmla="*/ 828643 w 1383008"/>
              <a:gd name="connsiteY155" fmla="*/ 301886 h 1311591"/>
              <a:gd name="connsiteX156" fmla="*/ 785089 w 1383008"/>
              <a:gd name="connsiteY156" fmla="*/ 199795 h 1311591"/>
              <a:gd name="connsiteX157" fmla="*/ 681804 w 1383008"/>
              <a:gd name="connsiteY157" fmla="*/ 161200 h 1311591"/>
              <a:gd name="connsiteX158" fmla="*/ 680560 w 1383008"/>
              <a:gd name="connsiteY158" fmla="*/ 128829 h 1311591"/>
              <a:gd name="connsiteX159" fmla="*/ 807488 w 1383008"/>
              <a:gd name="connsiteY159" fmla="*/ 176140 h 1311591"/>
              <a:gd name="connsiteX160" fmla="*/ 859753 w 1383008"/>
              <a:gd name="connsiteY160" fmla="*/ 301886 h 1311591"/>
              <a:gd name="connsiteX161" fmla="*/ 841087 w 1383008"/>
              <a:gd name="connsiteY161" fmla="*/ 380322 h 1311591"/>
              <a:gd name="connsiteX162" fmla="*/ 1019036 w 1383008"/>
              <a:gd name="connsiteY162" fmla="*/ 380322 h 1311591"/>
              <a:gd name="connsiteX163" fmla="*/ 1072545 w 1383008"/>
              <a:gd name="connsiteY163" fmla="*/ 418917 h 1311591"/>
              <a:gd name="connsiteX164" fmla="*/ 1094944 w 1383008"/>
              <a:gd name="connsiteY164" fmla="*/ 537193 h 1311591"/>
              <a:gd name="connsiteX165" fmla="*/ 1158409 w 1383008"/>
              <a:gd name="connsiteY165" fmla="*/ 478678 h 1311591"/>
              <a:gd name="connsiteX166" fmla="*/ 1208184 w 1383008"/>
              <a:gd name="connsiteY166" fmla="*/ 458758 h 1311591"/>
              <a:gd name="connsiteX167" fmla="*/ 1267915 w 1383008"/>
              <a:gd name="connsiteY167" fmla="*/ 458758 h 1311591"/>
              <a:gd name="connsiteX168" fmla="*/ 1350046 w 1383008"/>
              <a:gd name="connsiteY168" fmla="*/ 540928 h 1311591"/>
              <a:gd name="connsiteX169" fmla="*/ 1350046 w 1383008"/>
              <a:gd name="connsiteY169" fmla="*/ 890777 h 1311591"/>
              <a:gd name="connsiteX170" fmla="*/ 1333869 w 1383008"/>
              <a:gd name="connsiteY170" fmla="*/ 906962 h 1311591"/>
              <a:gd name="connsiteX171" fmla="*/ 1316447 w 1383008"/>
              <a:gd name="connsiteY171" fmla="*/ 890777 h 1311591"/>
              <a:gd name="connsiteX172" fmla="*/ 1316447 w 1383008"/>
              <a:gd name="connsiteY172" fmla="*/ 540928 h 1311591"/>
              <a:gd name="connsiteX173" fmla="*/ 1267915 w 1383008"/>
              <a:gd name="connsiteY173" fmla="*/ 491128 h 1311591"/>
              <a:gd name="connsiteX174" fmla="*/ 1208184 w 1383008"/>
              <a:gd name="connsiteY174" fmla="*/ 491128 h 1311591"/>
              <a:gd name="connsiteX175" fmla="*/ 1180808 w 1383008"/>
              <a:gd name="connsiteY175" fmla="*/ 502333 h 1311591"/>
              <a:gd name="connsiteX176" fmla="*/ 1058857 w 1383008"/>
              <a:gd name="connsiteY176" fmla="*/ 616874 h 1311591"/>
              <a:gd name="connsiteX177" fmla="*/ 1011570 w 1383008"/>
              <a:gd name="connsiteY177" fmla="*/ 635549 h 1311591"/>
              <a:gd name="connsiteX178" fmla="*/ 869708 w 1383008"/>
              <a:gd name="connsiteY178" fmla="*/ 635549 h 1311591"/>
              <a:gd name="connsiteX179" fmla="*/ 829888 w 1383008"/>
              <a:gd name="connsiteY179" fmla="*/ 670410 h 1311591"/>
              <a:gd name="connsiteX180" fmla="*/ 838598 w 1383008"/>
              <a:gd name="connsiteY180" fmla="*/ 699045 h 1311591"/>
              <a:gd name="connsiteX181" fmla="*/ 867219 w 1383008"/>
              <a:gd name="connsiteY181" fmla="*/ 711495 h 1311591"/>
              <a:gd name="connsiteX182" fmla="*/ 1056368 w 1383008"/>
              <a:gd name="connsiteY182" fmla="*/ 711495 h 1311591"/>
              <a:gd name="connsiteX183" fmla="*/ 1080011 w 1383008"/>
              <a:gd name="connsiteY183" fmla="*/ 701535 h 1311591"/>
              <a:gd name="connsiteX184" fmla="*/ 1236805 w 1383008"/>
              <a:gd name="connsiteY184" fmla="*/ 545908 h 1311591"/>
              <a:gd name="connsiteX185" fmla="*/ 1259205 w 1383008"/>
              <a:gd name="connsiteY185" fmla="*/ 545908 h 1311591"/>
              <a:gd name="connsiteX186" fmla="*/ 1259205 w 1383008"/>
              <a:gd name="connsiteY186" fmla="*/ 568319 h 1311591"/>
              <a:gd name="connsiteX187" fmla="*/ 1177074 w 1383008"/>
              <a:gd name="connsiteY187" fmla="*/ 650490 h 1311591"/>
              <a:gd name="connsiteX188" fmla="*/ 1175830 w 1383008"/>
              <a:gd name="connsiteY188" fmla="*/ 651735 h 1311591"/>
              <a:gd name="connsiteX189" fmla="*/ 1150942 w 1383008"/>
              <a:gd name="connsiteY189" fmla="*/ 753826 h 1311591"/>
              <a:gd name="connsiteX190" fmla="*/ 1149698 w 1383008"/>
              <a:gd name="connsiteY190" fmla="*/ 757561 h 1311591"/>
              <a:gd name="connsiteX191" fmla="*/ 1225606 w 1383008"/>
              <a:gd name="connsiteY191" fmla="*/ 1082509 h 1311591"/>
              <a:gd name="connsiteX192" fmla="*/ 1226850 w 1383008"/>
              <a:gd name="connsiteY192" fmla="*/ 1094959 h 1311591"/>
              <a:gd name="connsiteX193" fmla="*/ 1226850 w 1383008"/>
              <a:gd name="connsiteY193" fmla="*/ 1098694 h 1311591"/>
              <a:gd name="connsiteX194" fmla="*/ 1226850 w 1383008"/>
              <a:gd name="connsiteY194" fmla="*/ 1184600 h 1311591"/>
              <a:gd name="connsiteX195" fmla="*/ 1145965 w 1383008"/>
              <a:gd name="connsiteY195" fmla="*/ 1253076 h 1311591"/>
              <a:gd name="connsiteX196" fmla="*/ 963038 w 1383008"/>
              <a:gd name="connsiteY196" fmla="*/ 1253076 h 1311591"/>
              <a:gd name="connsiteX197" fmla="*/ 968016 w 1383008"/>
              <a:gd name="connsiteY197" fmla="*/ 1292916 h 1311591"/>
              <a:gd name="connsiteX198" fmla="*/ 954327 w 1383008"/>
              <a:gd name="connsiteY198" fmla="*/ 1311591 h 1311591"/>
              <a:gd name="connsiteX199" fmla="*/ 935661 w 1383008"/>
              <a:gd name="connsiteY199" fmla="*/ 1297896 h 1311591"/>
              <a:gd name="connsiteX200" fmla="*/ 902063 w 1383008"/>
              <a:gd name="connsiteY200" fmla="*/ 1052629 h 1311591"/>
              <a:gd name="connsiteX201" fmla="*/ 852287 w 1383008"/>
              <a:gd name="connsiteY201" fmla="*/ 1000338 h 1311591"/>
              <a:gd name="connsiteX202" fmla="*/ 541187 w 1383008"/>
              <a:gd name="connsiteY202" fmla="*/ 1000338 h 1311591"/>
              <a:gd name="connsiteX203" fmla="*/ 491412 w 1383008"/>
              <a:gd name="connsiteY203" fmla="*/ 1052629 h 1311591"/>
              <a:gd name="connsiteX204" fmla="*/ 480212 w 1383008"/>
              <a:gd name="connsiteY204" fmla="*/ 1124839 h 1311591"/>
              <a:gd name="connsiteX205" fmla="*/ 450346 w 1383008"/>
              <a:gd name="connsiteY205" fmla="*/ 1297896 h 1311591"/>
              <a:gd name="connsiteX206" fmla="*/ 434169 w 1383008"/>
              <a:gd name="connsiteY206" fmla="*/ 1311591 h 1311591"/>
              <a:gd name="connsiteX207" fmla="*/ 432925 w 1383008"/>
              <a:gd name="connsiteY207" fmla="*/ 1311591 h 1311591"/>
              <a:gd name="connsiteX208" fmla="*/ 417992 w 1383008"/>
              <a:gd name="connsiteY208" fmla="*/ 1292916 h 1311591"/>
              <a:gd name="connsiteX209" fmla="*/ 425459 w 1383008"/>
              <a:gd name="connsiteY209" fmla="*/ 1253076 h 1311591"/>
              <a:gd name="connsiteX210" fmla="*/ 232577 w 1383008"/>
              <a:gd name="connsiteY210" fmla="*/ 1253076 h 1311591"/>
              <a:gd name="connsiteX211" fmla="*/ 154180 w 1383008"/>
              <a:gd name="connsiteY211" fmla="*/ 1184600 h 1311591"/>
              <a:gd name="connsiteX212" fmla="*/ 154180 w 1383008"/>
              <a:gd name="connsiteY212" fmla="*/ 1098694 h 1311591"/>
              <a:gd name="connsiteX213" fmla="*/ 154180 w 1383008"/>
              <a:gd name="connsiteY213" fmla="*/ 1094959 h 1311591"/>
              <a:gd name="connsiteX214" fmla="*/ 154180 w 1383008"/>
              <a:gd name="connsiteY214" fmla="*/ 1082509 h 1311591"/>
              <a:gd name="connsiteX215" fmla="*/ 233821 w 1383008"/>
              <a:gd name="connsiteY215" fmla="*/ 746355 h 1311591"/>
              <a:gd name="connsiteX216" fmla="*/ 211422 w 1383008"/>
              <a:gd name="connsiteY216" fmla="*/ 651735 h 1311591"/>
              <a:gd name="connsiteX217" fmla="*/ 211422 w 1383008"/>
              <a:gd name="connsiteY217" fmla="*/ 650490 h 1311591"/>
              <a:gd name="connsiteX218" fmla="*/ 128048 w 1383008"/>
              <a:gd name="connsiteY218" fmla="*/ 568319 h 1311591"/>
              <a:gd name="connsiteX219" fmla="*/ 128048 w 1383008"/>
              <a:gd name="connsiteY219" fmla="*/ 545908 h 1311591"/>
              <a:gd name="connsiteX220" fmla="*/ 151691 w 1383008"/>
              <a:gd name="connsiteY220" fmla="*/ 545908 h 1311591"/>
              <a:gd name="connsiteX221" fmla="*/ 307241 w 1383008"/>
              <a:gd name="connsiteY221" fmla="*/ 701535 h 1311591"/>
              <a:gd name="connsiteX222" fmla="*/ 332129 w 1383008"/>
              <a:gd name="connsiteY222" fmla="*/ 711495 h 1311591"/>
              <a:gd name="connsiteX223" fmla="*/ 520033 w 1383008"/>
              <a:gd name="connsiteY223" fmla="*/ 711495 h 1311591"/>
              <a:gd name="connsiteX224" fmla="*/ 547409 w 1383008"/>
              <a:gd name="connsiteY224" fmla="*/ 699045 h 1311591"/>
              <a:gd name="connsiteX225" fmla="*/ 558609 w 1383008"/>
              <a:gd name="connsiteY225" fmla="*/ 670410 h 1311591"/>
              <a:gd name="connsiteX226" fmla="*/ 517544 w 1383008"/>
              <a:gd name="connsiteY226" fmla="*/ 635549 h 1311591"/>
              <a:gd name="connsiteX227" fmla="*/ 375683 w 1383008"/>
              <a:gd name="connsiteY227" fmla="*/ 635549 h 1311591"/>
              <a:gd name="connsiteX228" fmla="*/ 329640 w 1383008"/>
              <a:gd name="connsiteY228" fmla="*/ 615629 h 1311591"/>
              <a:gd name="connsiteX229" fmla="*/ 206445 w 1383008"/>
              <a:gd name="connsiteY229" fmla="*/ 502333 h 1311591"/>
              <a:gd name="connsiteX230" fmla="*/ 180312 w 1383008"/>
              <a:gd name="connsiteY230" fmla="*/ 491128 h 1311591"/>
              <a:gd name="connsiteX231" fmla="*/ 119337 w 1383008"/>
              <a:gd name="connsiteY231" fmla="*/ 491128 h 1311591"/>
              <a:gd name="connsiteX232" fmla="*/ 69561 w 1383008"/>
              <a:gd name="connsiteY232" fmla="*/ 540928 h 1311591"/>
              <a:gd name="connsiteX233" fmla="*/ 69561 w 1383008"/>
              <a:gd name="connsiteY233" fmla="*/ 890777 h 1311591"/>
              <a:gd name="connsiteX234" fmla="*/ 54628 w 1383008"/>
              <a:gd name="connsiteY234" fmla="*/ 906962 h 1311591"/>
              <a:gd name="connsiteX235" fmla="*/ 38451 w 1383008"/>
              <a:gd name="connsiteY235" fmla="*/ 890777 h 1311591"/>
              <a:gd name="connsiteX236" fmla="*/ 38451 w 1383008"/>
              <a:gd name="connsiteY236" fmla="*/ 540928 h 1311591"/>
              <a:gd name="connsiteX237" fmla="*/ 119337 w 1383008"/>
              <a:gd name="connsiteY237" fmla="*/ 458758 h 1311591"/>
              <a:gd name="connsiteX238" fmla="*/ 180312 w 1383008"/>
              <a:gd name="connsiteY238" fmla="*/ 458758 h 1311591"/>
              <a:gd name="connsiteX239" fmla="*/ 228844 w 1383008"/>
              <a:gd name="connsiteY239" fmla="*/ 478678 h 1311591"/>
              <a:gd name="connsiteX240" fmla="*/ 286086 w 1383008"/>
              <a:gd name="connsiteY240" fmla="*/ 530968 h 1311591"/>
              <a:gd name="connsiteX241" fmla="*/ 307241 w 1383008"/>
              <a:gd name="connsiteY241" fmla="*/ 420162 h 1311591"/>
              <a:gd name="connsiteX242" fmla="*/ 360750 w 1383008"/>
              <a:gd name="connsiteY242" fmla="*/ 380322 h 1311591"/>
              <a:gd name="connsiteX243" fmla="*/ 534965 w 1383008"/>
              <a:gd name="connsiteY243" fmla="*/ 380322 h 1311591"/>
              <a:gd name="connsiteX244" fmla="*/ 515055 w 1383008"/>
              <a:gd name="connsiteY244" fmla="*/ 295661 h 1311591"/>
              <a:gd name="connsiteX245" fmla="*/ 680560 w 1383008"/>
              <a:gd name="connsiteY245" fmla="*/ 128829 h 1311591"/>
              <a:gd name="connsiteX246" fmla="*/ 892740 w 1383008"/>
              <a:gd name="connsiteY246" fmla="*/ 83910 h 1311591"/>
              <a:gd name="connsiteX247" fmla="*/ 904203 w 1383008"/>
              <a:gd name="connsiteY247" fmla="*/ 88454 h 1311591"/>
              <a:gd name="connsiteX248" fmla="*/ 904203 w 1383008"/>
              <a:gd name="connsiteY248" fmla="*/ 111477 h 1311591"/>
              <a:gd name="connsiteX249" fmla="*/ 853253 w 1383008"/>
              <a:gd name="connsiteY249" fmla="*/ 158734 h 1311591"/>
              <a:gd name="connsiteX250" fmla="*/ 841790 w 1383008"/>
              <a:gd name="connsiteY250" fmla="*/ 163581 h 1311591"/>
              <a:gd name="connsiteX251" fmla="*/ 830326 w 1383008"/>
              <a:gd name="connsiteY251" fmla="*/ 158734 h 1311591"/>
              <a:gd name="connsiteX252" fmla="*/ 830326 w 1383008"/>
              <a:gd name="connsiteY252" fmla="*/ 136923 h 1311591"/>
              <a:gd name="connsiteX253" fmla="*/ 881276 w 1383008"/>
              <a:gd name="connsiteY253" fmla="*/ 88454 h 1311591"/>
              <a:gd name="connsiteX254" fmla="*/ 892740 w 1383008"/>
              <a:gd name="connsiteY254" fmla="*/ 83910 h 1311591"/>
              <a:gd name="connsiteX255" fmla="*/ 490392 w 1383008"/>
              <a:gd name="connsiteY255" fmla="*/ 83910 h 1311591"/>
              <a:gd name="connsiteX256" fmla="*/ 502970 w 1383008"/>
              <a:gd name="connsiteY256" fmla="*/ 88454 h 1311591"/>
              <a:gd name="connsiteX257" fmla="*/ 553920 w 1383008"/>
              <a:gd name="connsiteY257" fmla="*/ 136923 h 1311591"/>
              <a:gd name="connsiteX258" fmla="*/ 553920 w 1383008"/>
              <a:gd name="connsiteY258" fmla="*/ 158734 h 1311591"/>
              <a:gd name="connsiteX259" fmla="*/ 541183 w 1383008"/>
              <a:gd name="connsiteY259" fmla="*/ 163581 h 1311591"/>
              <a:gd name="connsiteX260" fmla="*/ 529719 w 1383008"/>
              <a:gd name="connsiteY260" fmla="*/ 158734 h 1311591"/>
              <a:gd name="connsiteX261" fmla="*/ 478769 w 1383008"/>
              <a:gd name="connsiteY261" fmla="*/ 111477 h 1311591"/>
              <a:gd name="connsiteX262" fmla="*/ 478769 w 1383008"/>
              <a:gd name="connsiteY262" fmla="*/ 88454 h 1311591"/>
              <a:gd name="connsiteX263" fmla="*/ 490392 w 1383008"/>
              <a:gd name="connsiteY263" fmla="*/ 83910 h 1311591"/>
              <a:gd name="connsiteX264" fmla="*/ 686631 w 1383008"/>
              <a:gd name="connsiteY264" fmla="*/ 0 h 1311591"/>
              <a:gd name="connsiteX265" fmla="*/ 701843 w 1383008"/>
              <a:gd name="connsiteY265" fmla="*/ 16346 h 1311591"/>
              <a:gd name="connsiteX266" fmla="*/ 701843 w 1383008"/>
              <a:gd name="connsiteY266" fmla="*/ 88020 h 1311591"/>
              <a:gd name="connsiteX267" fmla="*/ 686631 w 1383008"/>
              <a:gd name="connsiteY267" fmla="*/ 103109 h 1311591"/>
              <a:gd name="connsiteX268" fmla="*/ 670152 w 1383008"/>
              <a:gd name="connsiteY268" fmla="*/ 88020 h 1311591"/>
              <a:gd name="connsiteX269" fmla="*/ 670152 w 1383008"/>
              <a:gd name="connsiteY269" fmla="*/ 16346 h 1311591"/>
              <a:gd name="connsiteX270" fmla="*/ 686631 w 1383008"/>
              <a:gd name="connsiteY270" fmla="*/ 0 h 131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</a:cxnLst>
            <a:rect l="l" t="t" r="r" b="b"/>
            <a:pathLst>
              <a:path w="1383008" h="1311591">
                <a:moveTo>
                  <a:pt x="1194496" y="1134799"/>
                </a:moveTo>
                <a:cubicBezTo>
                  <a:pt x="1187030" y="1137289"/>
                  <a:pt x="1179563" y="1138534"/>
                  <a:pt x="1172097" y="1138534"/>
                </a:cubicBezTo>
                <a:lnTo>
                  <a:pt x="946861" y="1138534"/>
                </a:lnTo>
                <a:lnTo>
                  <a:pt x="958061" y="1220705"/>
                </a:lnTo>
                <a:lnTo>
                  <a:pt x="1145965" y="1220705"/>
                </a:lnTo>
                <a:cubicBezTo>
                  <a:pt x="1173341" y="1220705"/>
                  <a:pt x="1194496" y="1204520"/>
                  <a:pt x="1194496" y="1184600"/>
                </a:cubicBezTo>
                <a:close/>
                <a:moveTo>
                  <a:pt x="186534" y="1134799"/>
                </a:moveTo>
                <a:lnTo>
                  <a:pt x="186534" y="1184600"/>
                </a:lnTo>
                <a:cubicBezTo>
                  <a:pt x="186534" y="1204520"/>
                  <a:pt x="206445" y="1220705"/>
                  <a:pt x="232577" y="1220705"/>
                </a:cubicBezTo>
                <a:lnTo>
                  <a:pt x="430436" y="1220705"/>
                </a:lnTo>
                <a:lnTo>
                  <a:pt x="444124" y="1138534"/>
                </a:lnTo>
                <a:lnTo>
                  <a:pt x="207689" y="1138534"/>
                </a:lnTo>
                <a:cubicBezTo>
                  <a:pt x="200223" y="1138534"/>
                  <a:pt x="192756" y="1137289"/>
                  <a:pt x="186534" y="1134799"/>
                </a:cubicBezTo>
                <a:close/>
                <a:moveTo>
                  <a:pt x="687874" y="729840"/>
                </a:moveTo>
                <a:cubicBezTo>
                  <a:pt x="638041" y="729840"/>
                  <a:pt x="599420" y="769502"/>
                  <a:pt x="599420" y="816602"/>
                </a:cubicBezTo>
                <a:cubicBezTo>
                  <a:pt x="599420" y="864940"/>
                  <a:pt x="638041" y="904603"/>
                  <a:pt x="687874" y="904603"/>
                </a:cubicBezTo>
                <a:cubicBezTo>
                  <a:pt x="733970" y="904603"/>
                  <a:pt x="773837" y="864940"/>
                  <a:pt x="773837" y="816602"/>
                </a:cubicBezTo>
                <a:cubicBezTo>
                  <a:pt x="773837" y="769502"/>
                  <a:pt x="733970" y="729840"/>
                  <a:pt x="687874" y="729840"/>
                </a:cubicBezTo>
                <a:close/>
                <a:moveTo>
                  <a:pt x="687874" y="697614"/>
                </a:moveTo>
                <a:cubicBezTo>
                  <a:pt x="752658" y="697614"/>
                  <a:pt x="806229" y="750911"/>
                  <a:pt x="806229" y="816602"/>
                </a:cubicBezTo>
                <a:cubicBezTo>
                  <a:pt x="806229" y="883532"/>
                  <a:pt x="752658" y="938068"/>
                  <a:pt x="687874" y="938068"/>
                </a:cubicBezTo>
                <a:cubicBezTo>
                  <a:pt x="620599" y="938068"/>
                  <a:pt x="565782" y="883532"/>
                  <a:pt x="565782" y="816602"/>
                </a:cubicBezTo>
                <a:cubicBezTo>
                  <a:pt x="565782" y="750911"/>
                  <a:pt x="620599" y="697614"/>
                  <a:pt x="687874" y="697614"/>
                </a:cubicBezTo>
                <a:close/>
                <a:moveTo>
                  <a:pt x="665925" y="571278"/>
                </a:moveTo>
                <a:lnTo>
                  <a:pt x="712826" y="571278"/>
                </a:lnTo>
                <a:cubicBezTo>
                  <a:pt x="721700" y="571278"/>
                  <a:pt x="729305" y="578602"/>
                  <a:pt x="729305" y="587147"/>
                </a:cubicBezTo>
                <a:cubicBezTo>
                  <a:pt x="729305" y="595692"/>
                  <a:pt x="721700" y="603017"/>
                  <a:pt x="712826" y="603017"/>
                </a:cubicBezTo>
                <a:lnTo>
                  <a:pt x="665925" y="603017"/>
                </a:lnTo>
                <a:cubicBezTo>
                  <a:pt x="655784" y="603017"/>
                  <a:pt x="648178" y="595692"/>
                  <a:pt x="648178" y="587147"/>
                </a:cubicBezTo>
                <a:cubicBezTo>
                  <a:pt x="648178" y="578602"/>
                  <a:pt x="655784" y="571278"/>
                  <a:pt x="665925" y="571278"/>
                </a:cubicBezTo>
                <a:close/>
                <a:moveTo>
                  <a:pt x="631701" y="532825"/>
                </a:moveTo>
                <a:lnTo>
                  <a:pt x="747053" y="532825"/>
                </a:lnTo>
                <a:cubicBezTo>
                  <a:pt x="754659" y="532825"/>
                  <a:pt x="762264" y="541065"/>
                  <a:pt x="762264" y="548128"/>
                </a:cubicBezTo>
                <a:cubicBezTo>
                  <a:pt x="762264" y="557544"/>
                  <a:pt x="754659" y="564607"/>
                  <a:pt x="747053" y="564607"/>
                </a:cubicBezTo>
                <a:lnTo>
                  <a:pt x="631701" y="564607"/>
                </a:lnTo>
                <a:cubicBezTo>
                  <a:pt x="622828" y="564607"/>
                  <a:pt x="615222" y="557544"/>
                  <a:pt x="615222" y="548128"/>
                </a:cubicBezTo>
                <a:cubicBezTo>
                  <a:pt x="615222" y="541065"/>
                  <a:pt x="622828" y="532825"/>
                  <a:pt x="631701" y="532825"/>
                </a:cubicBezTo>
                <a:close/>
                <a:moveTo>
                  <a:pt x="634517" y="486148"/>
                </a:moveTo>
                <a:lnTo>
                  <a:pt x="634517" y="496108"/>
                </a:lnTo>
                <a:lnTo>
                  <a:pt x="742780" y="496108"/>
                </a:lnTo>
                <a:lnTo>
                  <a:pt x="742780" y="486148"/>
                </a:lnTo>
                <a:close/>
                <a:moveTo>
                  <a:pt x="541342" y="440959"/>
                </a:moveTo>
                <a:cubicBezTo>
                  <a:pt x="545641" y="440959"/>
                  <a:pt x="550099" y="442474"/>
                  <a:pt x="553920" y="445503"/>
                </a:cubicBezTo>
                <a:cubicBezTo>
                  <a:pt x="559015" y="451561"/>
                  <a:pt x="559015" y="462466"/>
                  <a:pt x="553920" y="467313"/>
                </a:cubicBezTo>
                <a:lnTo>
                  <a:pt x="502970" y="515781"/>
                </a:lnTo>
                <a:cubicBezTo>
                  <a:pt x="499149" y="519416"/>
                  <a:pt x="495328" y="520628"/>
                  <a:pt x="490233" y="520628"/>
                </a:cubicBezTo>
                <a:cubicBezTo>
                  <a:pt x="486411" y="520628"/>
                  <a:pt x="482590" y="519416"/>
                  <a:pt x="478769" y="515781"/>
                </a:cubicBezTo>
                <a:cubicBezTo>
                  <a:pt x="472400" y="509722"/>
                  <a:pt x="472400" y="500029"/>
                  <a:pt x="478769" y="493970"/>
                </a:cubicBezTo>
                <a:lnTo>
                  <a:pt x="529719" y="445503"/>
                </a:lnTo>
                <a:cubicBezTo>
                  <a:pt x="532904" y="442474"/>
                  <a:pt x="537043" y="440959"/>
                  <a:pt x="541342" y="440959"/>
                </a:cubicBezTo>
                <a:close/>
                <a:moveTo>
                  <a:pt x="842267" y="440959"/>
                </a:moveTo>
                <a:cubicBezTo>
                  <a:pt x="846248" y="440959"/>
                  <a:pt x="850069" y="442474"/>
                  <a:pt x="853253" y="445503"/>
                </a:cubicBezTo>
                <a:lnTo>
                  <a:pt x="904203" y="493970"/>
                </a:lnTo>
                <a:cubicBezTo>
                  <a:pt x="910572" y="500029"/>
                  <a:pt x="910572" y="509722"/>
                  <a:pt x="904203" y="515781"/>
                </a:cubicBezTo>
                <a:cubicBezTo>
                  <a:pt x="901656" y="519416"/>
                  <a:pt x="897835" y="520628"/>
                  <a:pt x="892740" y="520628"/>
                </a:cubicBezTo>
                <a:cubicBezTo>
                  <a:pt x="888918" y="520628"/>
                  <a:pt x="883823" y="519416"/>
                  <a:pt x="881276" y="515781"/>
                </a:cubicBezTo>
                <a:lnTo>
                  <a:pt x="830326" y="467313"/>
                </a:lnTo>
                <a:cubicBezTo>
                  <a:pt x="823957" y="462466"/>
                  <a:pt x="823957" y="451561"/>
                  <a:pt x="830326" y="445503"/>
                </a:cubicBezTo>
                <a:cubicBezTo>
                  <a:pt x="834147" y="442474"/>
                  <a:pt x="838287" y="440959"/>
                  <a:pt x="842267" y="440959"/>
                </a:cubicBezTo>
                <a:close/>
                <a:moveTo>
                  <a:pt x="360750" y="413937"/>
                </a:moveTo>
                <a:cubicBezTo>
                  <a:pt x="350795" y="413937"/>
                  <a:pt x="340839" y="418917"/>
                  <a:pt x="339595" y="426387"/>
                </a:cubicBezTo>
                <a:lnTo>
                  <a:pt x="313463" y="557114"/>
                </a:lnTo>
                <a:lnTo>
                  <a:pt x="352039" y="593219"/>
                </a:lnTo>
                <a:cubicBezTo>
                  <a:pt x="358261" y="600689"/>
                  <a:pt x="366972" y="603179"/>
                  <a:pt x="375683" y="603179"/>
                </a:cubicBezTo>
                <a:lnTo>
                  <a:pt x="517544" y="603179"/>
                </a:lnTo>
                <a:cubicBezTo>
                  <a:pt x="554876" y="603179"/>
                  <a:pt x="587230" y="631814"/>
                  <a:pt x="589719" y="666675"/>
                </a:cubicBezTo>
                <a:cubicBezTo>
                  <a:pt x="592208" y="686595"/>
                  <a:pt x="585986" y="706515"/>
                  <a:pt x="572297" y="720210"/>
                </a:cubicBezTo>
                <a:cubicBezTo>
                  <a:pt x="558609" y="736395"/>
                  <a:pt x="539943" y="743865"/>
                  <a:pt x="520033" y="743865"/>
                </a:cubicBezTo>
                <a:lnTo>
                  <a:pt x="332129" y="743865"/>
                </a:lnTo>
                <a:cubicBezTo>
                  <a:pt x="313463" y="743865"/>
                  <a:pt x="297286" y="737640"/>
                  <a:pt x="284842" y="723945"/>
                </a:cubicBezTo>
                <a:lnTo>
                  <a:pt x="274886" y="713985"/>
                </a:lnTo>
                <a:lnTo>
                  <a:pt x="186534" y="1088734"/>
                </a:lnTo>
                <a:cubicBezTo>
                  <a:pt x="185290" y="1092469"/>
                  <a:pt x="186534" y="1094959"/>
                  <a:pt x="189023" y="1098694"/>
                </a:cubicBezTo>
                <a:cubicBezTo>
                  <a:pt x="192756" y="1103674"/>
                  <a:pt x="200223" y="1106164"/>
                  <a:pt x="207689" y="1106164"/>
                </a:cubicBezTo>
                <a:lnTo>
                  <a:pt x="450346" y="1106164"/>
                </a:lnTo>
                <a:lnTo>
                  <a:pt x="460302" y="1046404"/>
                </a:lnTo>
                <a:cubicBezTo>
                  <a:pt x="471501" y="996603"/>
                  <a:pt x="501367" y="967968"/>
                  <a:pt x="541187" y="967968"/>
                </a:cubicBezTo>
                <a:lnTo>
                  <a:pt x="852287" y="967968"/>
                </a:lnTo>
                <a:cubicBezTo>
                  <a:pt x="893352" y="967968"/>
                  <a:pt x="925706" y="1000338"/>
                  <a:pt x="933173" y="1046404"/>
                </a:cubicBezTo>
                <a:lnTo>
                  <a:pt x="941883" y="1106164"/>
                </a:lnTo>
                <a:lnTo>
                  <a:pt x="1172097" y="1106164"/>
                </a:lnTo>
                <a:cubicBezTo>
                  <a:pt x="1179563" y="1106164"/>
                  <a:pt x="1187030" y="1103674"/>
                  <a:pt x="1192007" y="1098694"/>
                </a:cubicBezTo>
                <a:cubicBezTo>
                  <a:pt x="1193251" y="1094959"/>
                  <a:pt x="1194496" y="1092469"/>
                  <a:pt x="1193251" y="1088734"/>
                </a:cubicBezTo>
                <a:lnTo>
                  <a:pt x="1107388" y="720210"/>
                </a:lnTo>
                <a:lnTo>
                  <a:pt x="1103655" y="723945"/>
                </a:lnTo>
                <a:cubicBezTo>
                  <a:pt x="1089967" y="737640"/>
                  <a:pt x="1073789" y="743865"/>
                  <a:pt x="1056368" y="743865"/>
                </a:cubicBezTo>
                <a:lnTo>
                  <a:pt x="867219" y="743865"/>
                </a:lnTo>
                <a:cubicBezTo>
                  <a:pt x="847309" y="743865"/>
                  <a:pt x="828643" y="736395"/>
                  <a:pt x="814955" y="720210"/>
                </a:cubicBezTo>
                <a:cubicBezTo>
                  <a:pt x="802511" y="706515"/>
                  <a:pt x="795045" y="686595"/>
                  <a:pt x="797533" y="666675"/>
                </a:cubicBezTo>
                <a:cubicBezTo>
                  <a:pt x="801266" y="631814"/>
                  <a:pt x="832376" y="603179"/>
                  <a:pt x="869708" y="603179"/>
                </a:cubicBezTo>
                <a:lnTo>
                  <a:pt x="1011570" y="603179"/>
                </a:lnTo>
                <a:cubicBezTo>
                  <a:pt x="1020280" y="603179"/>
                  <a:pt x="1028991" y="600689"/>
                  <a:pt x="1035213" y="593219"/>
                </a:cubicBezTo>
                <a:lnTo>
                  <a:pt x="1066323" y="564584"/>
                </a:lnTo>
                <a:lnTo>
                  <a:pt x="1040191" y="426387"/>
                </a:lnTo>
                <a:cubicBezTo>
                  <a:pt x="1038946" y="418917"/>
                  <a:pt x="1028991" y="413937"/>
                  <a:pt x="1019036" y="413937"/>
                </a:cubicBezTo>
                <a:lnTo>
                  <a:pt x="819932" y="413937"/>
                </a:lnTo>
                <a:cubicBezTo>
                  <a:pt x="807488" y="428877"/>
                  <a:pt x="792556" y="441327"/>
                  <a:pt x="776379" y="451288"/>
                </a:cubicBezTo>
                <a:cubicBezTo>
                  <a:pt x="775134" y="451288"/>
                  <a:pt x="773890" y="452533"/>
                  <a:pt x="773890" y="452533"/>
                </a:cubicBezTo>
                <a:lnTo>
                  <a:pt x="773890" y="498598"/>
                </a:lnTo>
                <a:cubicBezTo>
                  <a:pt x="773890" y="514783"/>
                  <a:pt x="761446" y="528478"/>
                  <a:pt x="745269" y="528478"/>
                </a:cubicBezTo>
                <a:lnTo>
                  <a:pt x="632028" y="528478"/>
                </a:lnTo>
                <a:cubicBezTo>
                  <a:pt x="615851" y="528478"/>
                  <a:pt x="600919" y="514783"/>
                  <a:pt x="600919" y="498598"/>
                </a:cubicBezTo>
                <a:lnTo>
                  <a:pt x="600919" y="452533"/>
                </a:lnTo>
                <a:lnTo>
                  <a:pt x="600919" y="451288"/>
                </a:lnTo>
                <a:cubicBezTo>
                  <a:pt x="583497" y="441327"/>
                  <a:pt x="568564" y="428877"/>
                  <a:pt x="556120" y="413937"/>
                </a:cubicBezTo>
                <a:close/>
                <a:moveTo>
                  <a:pt x="900726" y="285639"/>
                </a:moveTo>
                <a:lnTo>
                  <a:pt x="971144" y="285639"/>
                </a:lnTo>
                <a:cubicBezTo>
                  <a:pt x="979947" y="285639"/>
                  <a:pt x="987492" y="292963"/>
                  <a:pt x="987492" y="301508"/>
                </a:cubicBezTo>
                <a:cubicBezTo>
                  <a:pt x="987492" y="310053"/>
                  <a:pt x="979947" y="317378"/>
                  <a:pt x="971144" y="317378"/>
                </a:cubicBezTo>
                <a:lnTo>
                  <a:pt x="900726" y="317378"/>
                </a:lnTo>
                <a:cubicBezTo>
                  <a:pt x="891924" y="317378"/>
                  <a:pt x="884379" y="310053"/>
                  <a:pt x="884379" y="301508"/>
                </a:cubicBezTo>
                <a:cubicBezTo>
                  <a:pt x="884379" y="292963"/>
                  <a:pt x="891924" y="285639"/>
                  <a:pt x="900726" y="285639"/>
                </a:cubicBezTo>
                <a:close/>
                <a:moveTo>
                  <a:pt x="406353" y="285639"/>
                </a:moveTo>
                <a:lnTo>
                  <a:pt x="476771" y="285639"/>
                </a:lnTo>
                <a:cubicBezTo>
                  <a:pt x="486831" y="285639"/>
                  <a:pt x="493119" y="292963"/>
                  <a:pt x="493119" y="301508"/>
                </a:cubicBezTo>
                <a:cubicBezTo>
                  <a:pt x="493119" y="310053"/>
                  <a:pt x="486831" y="317378"/>
                  <a:pt x="476771" y="317378"/>
                </a:cubicBezTo>
                <a:lnTo>
                  <a:pt x="406353" y="317378"/>
                </a:lnTo>
                <a:cubicBezTo>
                  <a:pt x="397551" y="317378"/>
                  <a:pt x="390006" y="310053"/>
                  <a:pt x="390006" y="301508"/>
                </a:cubicBezTo>
                <a:cubicBezTo>
                  <a:pt x="390006" y="292963"/>
                  <a:pt x="397551" y="285639"/>
                  <a:pt x="406353" y="285639"/>
                </a:cubicBezTo>
                <a:close/>
                <a:moveTo>
                  <a:pt x="1262781" y="228896"/>
                </a:moveTo>
                <a:cubicBezTo>
                  <a:pt x="1214442" y="228896"/>
                  <a:pt x="1174780" y="268763"/>
                  <a:pt x="1174780" y="318597"/>
                </a:cubicBezTo>
                <a:cubicBezTo>
                  <a:pt x="1174780" y="365939"/>
                  <a:pt x="1214442" y="405806"/>
                  <a:pt x="1262781" y="405806"/>
                </a:cubicBezTo>
                <a:cubicBezTo>
                  <a:pt x="1309880" y="405806"/>
                  <a:pt x="1349542" y="365939"/>
                  <a:pt x="1349542" y="318597"/>
                </a:cubicBezTo>
                <a:cubicBezTo>
                  <a:pt x="1349542" y="268763"/>
                  <a:pt x="1309880" y="228896"/>
                  <a:pt x="1262781" y="228896"/>
                </a:cubicBezTo>
                <a:close/>
                <a:moveTo>
                  <a:pt x="119601" y="228896"/>
                </a:moveTo>
                <a:cubicBezTo>
                  <a:pt x="71013" y="228896"/>
                  <a:pt x="32392" y="268763"/>
                  <a:pt x="32392" y="318597"/>
                </a:cubicBezTo>
                <a:cubicBezTo>
                  <a:pt x="32392" y="365939"/>
                  <a:pt x="71013" y="405806"/>
                  <a:pt x="119601" y="405806"/>
                </a:cubicBezTo>
                <a:cubicBezTo>
                  <a:pt x="169434" y="405806"/>
                  <a:pt x="208055" y="365939"/>
                  <a:pt x="208055" y="318597"/>
                </a:cubicBezTo>
                <a:cubicBezTo>
                  <a:pt x="208055" y="268763"/>
                  <a:pt x="169434" y="228896"/>
                  <a:pt x="119601" y="228896"/>
                </a:cubicBezTo>
                <a:close/>
                <a:moveTo>
                  <a:pt x="1262781" y="197750"/>
                </a:moveTo>
                <a:cubicBezTo>
                  <a:pt x="1328472" y="197750"/>
                  <a:pt x="1383008" y="251321"/>
                  <a:pt x="1383008" y="318597"/>
                </a:cubicBezTo>
                <a:cubicBezTo>
                  <a:pt x="1383008" y="384626"/>
                  <a:pt x="1328472" y="438197"/>
                  <a:pt x="1262781" y="438197"/>
                </a:cubicBezTo>
                <a:cubicBezTo>
                  <a:pt x="1195850" y="438197"/>
                  <a:pt x="1142554" y="384626"/>
                  <a:pt x="1142554" y="318597"/>
                </a:cubicBezTo>
                <a:cubicBezTo>
                  <a:pt x="1142554" y="251321"/>
                  <a:pt x="1195850" y="197750"/>
                  <a:pt x="1262781" y="197750"/>
                </a:cubicBezTo>
                <a:close/>
                <a:moveTo>
                  <a:pt x="119601" y="197750"/>
                </a:moveTo>
                <a:cubicBezTo>
                  <a:pt x="186876" y="197750"/>
                  <a:pt x="240447" y="251321"/>
                  <a:pt x="240447" y="318597"/>
                </a:cubicBezTo>
                <a:cubicBezTo>
                  <a:pt x="240447" y="384626"/>
                  <a:pt x="186876" y="438197"/>
                  <a:pt x="119601" y="438197"/>
                </a:cubicBezTo>
                <a:cubicBezTo>
                  <a:pt x="53571" y="438197"/>
                  <a:pt x="0" y="384626"/>
                  <a:pt x="0" y="318597"/>
                </a:cubicBezTo>
                <a:cubicBezTo>
                  <a:pt x="0" y="251321"/>
                  <a:pt x="53571" y="197750"/>
                  <a:pt x="119601" y="197750"/>
                </a:cubicBezTo>
                <a:close/>
                <a:moveTo>
                  <a:pt x="686183" y="175778"/>
                </a:moveTo>
                <a:cubicBezTo>
                  <a:pt x="723177" y="175778"/>
                  <a:pt x="761405" y="194384"/>
                  <a:pt x="783601" y="225392"/>
                </a:cubicBezTo>
                <a:cubicBezTo>
                  <a:pt x="789767" y="234075"/>
                  <a:pt x="788534" y="242757"/>
                  <a:pt x="781135" y="248959"/>
                </a:cubicBezTo>
                <a:cubicBezTo>
                  <a:pt x="777435" y="250200"/>
                  <a:pt x="774969" y="251440"/>
                  <a:pt x="771270" y="251440"/>
                </a:cubicBezTo>
                <a:cubicBezTo>
                  <a:pt x="766337" y="251440"/>
                  <a:pt x="761405" y="248959"/>
                  <a:pt x="758938" y="245238"/>
                </a:cubicBezTo>
                <a:cubicBezTo>
                  <a:pt x="740441" y="221671"/>
                  <a:pt x="713312" y="208027"/>
                  <a:pt x="686183" y="208027"/>
                </a:cubicBezTo>
                <a:cubicBezTo>
                  <a:pt x="676318" y="208027"/>
                  <a:pt x="670152" y="200585"/>
                  <a:pt x="670152" y="191903"/>
                </a:cubicBezTo>
                <a:cubicBezTo>
                  <a:pt x="670152" y="183220"/>
                  <a:pt x="676318" y="175778"/>
                  <a:pt x="686183" y="175778"/>
                </a:cubicBezTo>
                <a:close/>
                <a:moveTo>
                  <a:pt x="681804" y="161200"/>
                </a:moveTo>
                <a:cubicBezTo>
                  <a:pt x="609629" y="164935"/>
                  <a:pt x="551143" y="223450"/>
                  <a:pt x="547409" y="296906"/>
                </a:cubicBezTo>
                <a:cubicBezTo>
                  <a:pt x="546165" y="347951"/>
                  <a:pt x="572297" y="396507"/>
                  <a:pt x="617096" y="422652"/>
                </a:cubicBezTo>
                <a:cubicBezTo>
                  <a:pt x="627051" y="428877"/>
                  <a:pt x="634517" y="441327"/>
                  <a:pt x="634517" y="452533"/>
                </a:cubicBezTo>
                <a:lnTo>
                  <a:pt x="634517" y="453778"/>
                </a:lnTo>
                <a:lnTo>
                  <a:pt x="742780" y="453778"/>
                </a:lnTo>
                <a:lnTo>
                  <a:pt x="742780" y="452533"/>
                </a:lnTo>
                <a:cubicBezTo>
                  <a:pt x="742780" y="441327"/>
                  <a:pt x="749002" y="428877"/>
                  <a:pt x="758957" y="422652"/>
                </a:cubicBezTo>
                <a:cubicBezTo>
                  <a:pt x="802511" y="396507"/>
                  <a:pt x="828643" y="351687"/>
                  <a:pt x="828643" y="301886"/>
                </a:cubicBezTo>
                <a:cubicBezTo>
                  <a:pt x="828643" y="263291"/>
                  <a:pt x="813710" y="225940"/>
                  <a:pt x="785089" y="199795"/>
                </a:cubicBezTo>
                <a:cubicBezTo>
                  <a:pt x="756468" y="172405"/>
                  <a:pt x="719136" y="158710"/>
                  <a:pt x="681804" y="161200"/>
                </a:cubicBezTo>
                <a:close/>
                <a:moveTo>
                  <a:pt x="680560" y="128829"/>
                </a:moveTo>
                <a:cubicBezTo>
                  <a:pt x="727847" y="126339"/>
                  <a:pt x="772645" y="143769"/>
                  <a:pt x="807488" y="176140"/>
                </a:cubicBezTo>
                <a:cubicBezTo>
                  <a:pt x="841087" y="209755"/>
                  <a:pt x="859753" y="253331"/>
                  <a:pt x="859753" y="301886"/>
                </a:cubicBezTo>
                <a:cubicBezTo>
                  <a:pt x="859753" y="329276"/>
                  <a:pt x="853531" y="356667"/>
                  <a:pt x="841087" y="380322"/>
                </a:cubicBezTo>
                <a:lnTo>
                  <a:pt x="1019036" y="380322"/>
                </a:lnTo>
                <a:cubicBezTo>
                  <a:pt x="1045168" y="380322"/>
                  <a:pt x="1067567" y="396507"/>
                  <a:pt x="1072545" y="418917"/>
                </a:cubicBezTo>
                <a:lnTo>
                  <a:pt x="1094944" y="537193"/>
                </a:lnTo>
                <a:lnTo>
                  <a:pt x="1158409" y="478678"/>
                </a:lnTo>
                <a:cubicBezTo>
                  <a:pt x="1172097" y="464983"/>
                  <a:pt x="1189518" y="458758"/>
                  <a:pt x="1208184" y="458758"/>
                </a:cubicBezTo>
                <a:lnTo>
                  <a:pt x="1267915" y="458758"/>
                </a:lnTo>
                <a:cubicBezTo>
                  <a:pt x="1313958" y="458758"/>
                  <a:pt x="1350046" y="496108"/>
                  <a:pt x="1350046" y="540928"/>
                </a:cubicBezTo>
                <a:lnTo>
                  <a:pt x="1350046" y="890777"/>
                </a:lnTo>
                <a:cubicBezTo>
                  <a:pt x="1350046" y="898247"/>
                  <a:pt x="1342579" y="906962"/>
                  <a:pt x="1333869" y="906962"/>
                </a:cubicBezTo>
                <a:cubicBezTo>
                  <a:pt x="1323913" y="906962"/>
                  <a:pt x="1316447" y="898247"/>
                  <a:pt x="1316447" y="890777"/>
                </a:cubicBezTo>
                <a:lnTo>
                  <a:pt x="1316447" y="540928"/>
                </a:lnTo>
                <a:cubicBezTo>
                  <a:pt x="1316447" y="513538"/>
                  <a:pt x="1295292" y="491128"/>
                  <a:pt x="1267915" y="491128"/>
                </a:cubicBezTo>
                <a:lnTo>
                  <a:pt x="1208184" y="491128"/>
                </a:lnTo>
                <a:cubicBezTo>
                  <a:pt x="1196985" y="491128"/>
                  <a:pt x="1188274" y="494863"/>
                  <a:pt x="1180808" y="502333"/>
                </a:cubicBezTo>
                <a:lnTo>
                  <a:pt x="1058857" y="616874"/>
                </a:lnTo>
                <a:cubicBezTo>
                  <a:pt x="1046413" y="629324"/>
                  <a:pt x="1028991" y="635549"/>
                  <a:pt x="1011570" y="635549"/>
                </a:cubicBezTo>
                <a:lnTo>
                  <a:pt x="869708" y="635549"/>
                </a:lnTo>
                <a:cubicBezTo>
                  <a:pt x="848554" y="635549"/>
                  <a:pt x="831132" y="650490"/>
                  <a:pt x="829888" y="670410"/>
                </a:cubicBezTo>
                <a:cubicBezTo>
                  <a:pt x="828643" y="680370"/>
                  <a:pt x="832376" y="690330"/>
                  <a:pt x="838598" y="699045"/>
                </a:cubicBezTo>
                <a:cubicBezTo>
                  <a:pt x="846065" y="706515"/>
                  <a:pt x="857264" y="711495"/>
                  <a:pt x="867219" y="711495"/>
                </a:cubicBezTo>
                <a:lnTo>
                  <a:pt x="1056368" y="711495"/>
                </a:lnTo>
                <a:cubicBezTo>
                  <a:pt x="1065079" y="711495"/>
                  <a:pt x="1073789" y="707760"/>
                  <a:pt x="1080011" y="701535"/>
                </a:cubicBezTo>
                <a:lnTo>
                  <a:pt x="1236805" y="545908"/>
                </a:lnTo>
                <a:cubicBezTo>
                  <a:pt x="1243027" y="538438"/>
                  <a:pt x="1252983" y="538438"/>
                  <a:pt x="1259205" y="545908"/>
                </a:cubicBezTo>
                <a:cubicBezTo>
                  <a:pt x="1265427" y="550889"/>
                  <a:pt x="1265427" y="560849"/>
                  <a:pt x="1259205" y="568319"/>
                </a:cubicBezTo>
                <a:lnTo>
                  <a:pt x="1177074" y="650490"/>
                </a:lnTo>
                <a:cubicBezTo>
                  <a:pt x="1177074" y="651735"/>
                  <a:pt x="1177074" y="651735"/>
                  <a:pt x="1175830" y="651735"/>
                </a:cubicBezTo>
                <a:lnTo>
                  <a:pt x="1150942" y="753826"/>
                </a:lnTo>
                <a:cubicBezTo>
                  <a:pt x="1150942" y="755071"/>
                  <a:pt x="1150942" y="756316"/>
                  <a:pt x="1149698" y="757561"/>
                </a:cubicBezTo>
                <a:lnTo>
                  <a:pt x="1225606" y="1082509"/>
                </a:lnTo>
                <a:cubicBezTo>
                  <a:pt x="1226850" y="1086244"/>
                  <a:pt x="1226850" y="1091224"/>
                  <a:pt x="1226850" y="1094959"/>
                </a:cubicBezTo>
                <a:cubicBezTo>
                  <a:pt x="1226850" y="1096204"/>
                  <a:pt x="1226850" y="1098694"/>
                  <a:pt x="1226850" y="1098694"/>
                </a:cubicBezTo>
                <a:lnTo>
                  <a:pt x="1226850" y="1184600"/>
                </a:lnTo>
                <a:cubicBezTo>
                  <a:pt x="1226850" y="1223195"/>
                  <a:pt x="1190763" y="1253076"/>
                  <a:pt x="1145965" y="1253076"/>
                </a:cubicBezTo>
                <a:lnTo>
                  <a:pt x="963038" y="1253076"/>
                </a:lnTo>
                <a:lnTo>
                  <a:pt x="968016" y="1292916"/>
                </a:lnTo>
                <a:cubicBezTo>
                  <a:pt x="968016" y="1301631"/>
                  <a:pt x="963038" y="1310346"/>
                  <a:pt x="954327" y="1311591"/>
                </a:cubicBezTo>
                <a:cubicBezTo>
                  <a:pt x="944372" y="1311591"/>
                  <a:pt x="936906" y="1306611"/>
                  <a:pt x="935661" y="1297896"/>
                </a:cubicBezTo>
                <a:lnTo>
                  <a:pt x="902063" y="1052629"/>
                </a:lnTo>
                <a:cubicBezTo>
                  <a:pt x="897085" y="1027728"/>
                  <a:pt x="882152" y="1000338"/>
                  <a:pt x="852287" y="1000338"/>
                </a:cubicBezTo>
                <a:lnTo>
                  <a:pt x="541187" y="1000338"/>
                </a:lnTo>
                <a:cubicBezTo>
                  <a:pt x="510078" y="1000338"/>
                  <a:pt x="496389" y="1028973"/>
                  <a:pt x="491412" y="1052629"/>
                </a:cubicBezTo>
                <a:lnTo>
                  <a:pt x="480212" y="1124839"/>
                </a:lnTo>
                <a:lnTo>
                  <a:pt x="450346" y="1297896"/>
                </a:lnTo>
                <a:cubicBezTo>
                  <a:pt x="450346" y="1306611"/>
                  <a:pt x="442880" y="1311591"/>
                  <a:pt x="434169" y="1311591"/>
                </a:cubicBezTo>
                <a:lnTo>
                  <a:pt x="432925" y="1311591"/>
                </a:lnTo>
                <a:cubicBezTo>
                  <a:pt x="422970" y="1310346"/>
                  <a:pt x="417992" y="1301631"/>
                  <a:pt x="417992" y="1292916"/>
                </a:cubicBezTo>
                <a:lnTo>
                  <a:pt x="425459" y="1253076"/>
                </a:lnTo>
                <a:lnTo>
                  <a:pt x="232577" y="1253076"/>
                </a:lnTo>
                <a:cubicBezTo>
                  <a:pt x="189023" y="1253076"/>
                  <a:pt x="154180" y="1223195"/>
                  <a:pt x="154180" y="1184600"/>
                </a:cubicBezTo>
                <a:lnTo>
                  <a:pt x="154180" y="1098694"/>
                </a:lnTo>
                <a:cubicBezTo>
                  <a:pt x="154180" y="1097449"/>
                  <a:pt x="154180" y="1096204"/>
                  <a:pt x="154180" y="1094959"/>
                </a:cubicBezTo>
                <a:cubicBezTo>
                  <a:pt x="154180" y="1089979"/>
                  <a:pt x="154180" y="1086244"/>
                  <a:pt x="154180" y="1082509"/>
                </a:cubicBezTo>
                <a:lnTo>
                  <a:pt x="233821" y="746355"/>
                </a:lnTo>
                <a:lnTo>
                  <a:pt x="211422" y="651735"/>
                </a:lnTo>
                <a:cubicBezTo>
                  <a:pt x="211422" y="651735"/>
                  <a:pt x="211422" y="651735"/>
                  <a:pt x="211422" y="650490"/>
                </a:cubicBezTo>
                <a:lnTo>
                  <a:pt x="128048" y="568319"/>
                </a:lnTo>
                <a:cubicBezTo>
                  <a:pt x="121826" y="560849"/>
                  <a:pt x="121826" y="550889"/>
                  <a:pt x="128048" y="545908"/>
                </a:cubicBezTo>
                <a:cubicBezTo>
                  <a:pt x="135514" y="538438"/>
                  <a:pt x="144225" y="538438"/>
                  <a:pt x="151691" y="545908"/>
                </a:cubicBezTo>
                <a:lnTo>
                  <a:pt x="307241" y="701535"/>
                </a:lnTo>
                <a:cubicBezTo>
                  <a:pt x="313463" y="707760"/>
                  <a:pt x="323418" y="711495"/>
                  <a:pt x="332129" y="711495"/>
                </a:cubicBezTo>
                <a:lnTo>
                  <a:pt x="520033" y="711495"/>
                </a:lnTo>
                <a:cubicBezTo>
                  <a:pt x="531232" y="711495"/>
                  <a:pt x="541187" y="706515"/>
                  <a:pt x="547409" y="699045"/>
                </a:cubicBezTo>
                <a:cubicBezTo>
                  <a:pt x="556120" y="690330"/>
                  <a:pt x="558609" y="680370"/>
                  <a:pt x="558609" y="670410"/>
                </a:cubicBezTo>
                <a:cubicBezTo>
                  <a:pt x="556120" y="650490"/>
                  <a:pt x="538699" y="635549"/>
                  <a:pt x="517544" y="635549"/>
                </a:cubicBezTo>
                <a:lnTo>
                  <a:pt x="375683" y="635549"/>
                </a:lnTo>
                <a:cubicBezTo>
                  <a:pt x="358261" y="635549"/>
                  <a:pt x="342084" y="629324"/>
                  <a:pt x="329640" y="615629"/>
                </a:cubicBezTo>
                <a:lnTo>
                  <a:pt x="206445" y="502333"/>
                </a:lnTo>
                <a:cubicBezTo>
                  <a:pt x="200223" y="494863"/>
                  <a:pt x="189023" y="491128"/>
                  <a:pt x="180312" y="491128"/>
                </a:cubicBezTo>
                <a:lnTo>
                  <a:pt x="119337" y="491128"/>
                </a:lnTo>
                <a:cubicBezTo>
                  <a:pt x="91960" y="491128"/>
                  <a:pt x="69561" y="513538"/>
                  <a:pt x="69561" y="540928"/>
                </a:cubicBezTo>
                <a:lnTo>
                  <a:pt x="69561" y="890777"/>
                </a:lnTo>
                <a:cubicBezTo>
                  <a:pt x="69561" y="898247"/>
                  <a:pt x="63339" y="906962"/>
                  <a:pt x="54628" y="906962"/>
                </a:cubicBezTo>
                <a:cubicBezTo>
                  <a:pt x="44673" y="906962"/>
                  <a:pt x="38451" y="898247"/>
                  <a:pt x="38451" y="890777"/>
                </a:cubicBezTo>
                <a:lnTo>
                  <a:pt x="38451" y="540928"/>
                </a:lnTo>
                <a:cubicBezTo>
                  <a:pt x="38451" y="496108"/>
                  <a:pt x="74539" y="458758"/>
                  <a:pt x="119337" y="458758"/>
                </a:cubicBezTo>
                <a:lnTo>
                  <a:pt x="180312" y="458758"/>
                </a:lnTo>
                <a:cubicBezTo>
                  <a:pt x="197734" y="458758"/>
                  <a:pt x="215155" y="464983"/>
                  <a:pt x="228844" y="478678"/>
                </a:cubicBezTo>
                <a:lnTo>
                  <a:pt x="286086" y="530968"/>
                </a:lnTo>
                <a:lnTo>
                  <a:pt x="307241" y="420162"/>
                </a:lnTo>
                <a:cubicBezTo>
                  <a:pt x="313463" y="396507"/>
                  <a:pt x="334618" y="380322"/>
                  <a:pt x="360750" y="380322"/>
                </a:cubicBezTo>
                <a:lnTo>
                  <a:pt x="534965" y="380322"/>
                </a:lnTo>
                <a:cubicBezTo>
                  <a:pt x="521277" y="355422"/>
                  <a:pt x="515055" y="325541"/>
                  <a:pt x="515055" y="295661"/>
                </a:cubicBezTo>
                <a:cubicBezTo>
                  <a:pt x="518788" y="207265"/>
                  <a:pt x="590963" y="132564"/>
                  <a:pt x="680560" y="128829"/>
                </a:cubicBezTo>
                <a:close/>
                <a:moveTo>
                  <a:pt x="892740" y="83910"/>
                </a:moveTo>
                <a:cubicBezTo>
                  <a:pt x="896880" y="83910"/>
                  <a:pt x="901019" y="85425"/>
                  <a:pt x="904203" y="88454"/>
                </a:cubicBezTo>
                <a:cubicBezTo>
                  <a:pt x="910572" y="94512"/>
                  <a:pt x="910572" y="104206"/>
                  <a:pt x="904203" y="111477"/>
                </a:cubicBezTo>
                <a:lnTo>
                  <a:pt x="853253" y="158734"/>
                </a:lnTo>
                <a:cubicBezTo>
                  <a:pt x="850706" y="162369"/>
                  <a:pt x="846885" y="163581"/>
                  <a:pt x="841790" y="163581"/>
                </a:cubicBezTo>
                <a:cubicBezTo>
                  <a:pt x="837968" y="163581"/>
                  <a:pt x="832873" y="162369"/>
                  <a:pt x="830326" y="158734"/>
                </a:cubicBezTo>
                <a:cubicBezTo>
                  <a:pt x="823957" y="152675"/>
                  <a:pt x="823957" y="142981"/>
                  <a:pt x="830326" y="136923"/>
                </a:cubicBezTo>
                <a:lnTo>
                  <a:pt x="881276" y="88454"/>
                </a:lnTo>
                <a:cubicBezTo>
                  <a:pt x="884460" y="85425"/>
                  <a:pt x="888600" y="83910"/>
                  <a:pt x="892740" y="83910"/>
                </a:cubicBezTo>
                <a:close/>
                <a:moveTo>
                  <a:pt x="490392" y="83910"/>
                </a:moveTo>
                <a:cubicBezTo>
                  <a:pt x="494691" y="83910"/>
                  <a:pt x="499149" y="85425"/>
                  <a:pt x="502970" y="88454"/>
                </a:cubicBezTo>
                <a:lnTo>
                  <a:pt x="553920" y="136923"/>
                </a:lnTo>
                <a:cubicBezTo>
                  <a:pt x="559015" y="142981"/>
                  <a:pt x="559015" y="152675"/>
                  <a:pt x="553920" y="158734"/>
                </a:cubicBezTo>
                <a:cubicBezTo>
                  <a:pt x="548825" y="162369"/>
                  <a:pt x="545004" y="163581"/>
                  <a:pt x="541183" y="163581"/>
                </a:cubicBezTo>
                <a:cubicBezTo>
                  <a:pt x="537361" y="163581"/>
                  <a:pt x="533540" y="162369"/>
                  <a:pt x="529719" y="158734"/>
                </a:cubicBezTo>
                <a:lnTo>
                  <a:pt x="478769" y="111477"/>
                </a:lnTo>
                <a:cubicBezTo>
                  <a:pt x="472400" y="104206"/>
                  <a:pt x="472400" y="94512"/>
                  <a:pt x="478769" y="88454"/>
                </a:cubicBezTo>
                <a:cubicBezTo>
                  <a:pt x="481954" y="85425"/>
                  <a:pt x="486093" y="83910"/>
                  <a:pt x="490392" y="83910"/>
                </a:cubicBezTo>
                <a:close/>
                <a:moveTo>
                  <a:pt x="686631" y="0"/>
                </a:moveTo>
                <a:cubicBezTo>
                  <a:pt x="695505" y="0"/>
                  <a:pt x="701843" y="7544"/>
                  <a:pt x="701843" y="16346"/>
                </a:cubicBezTo>
                <a:lnTo>
                  <a:pt x="701843" y="88020"/>
                </a:lnTo>
                <a:cubicBezTo>
                  <a:pt x="701843" y="95564"/>
                  <a:pt x="695505" y="103109"/>
                  <a:pt x="686631" y="103109"/>
                </a:cubicBezTo>
                <a:cubicBezTo>
                  <a:pt x="677758" y="103109"/>
                  <a:pt x="670152" y="95564"/>
                  <a:pt x="670152" y="88020"/>
                </a:cubicBezTo>
                <a:lnTo>
                  <a:pt x="670152" y="16346"/>
                </a:lnTo>
                <a:cubicBezTo>
                  <a:pt x="670152" y="7544"/>
                  <a:pt x="677758" y="0"/>
                  <a:pt x="68663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2" name="Freeform 23">
            <a:extLst>
              <a:ext uri="{FF2B5EF4-FFF2-40B4-BE49-F238E27FC236}">
                <a16:creationId xmlns:a16="http://schemas.microsoft.com/office/drawing/2014/main" id="{FE8E77AE-6AFA-ED9B-B0A0-7981AA460A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347" y="2375389"/>
            <a:ext cx="616182" cy="551432"/>
          </a:xfrm>
          <a:custGeom>
            <a:avLst/>
            <a:gdLst>
              <a:gd name="connsiteX0" fmla="*/ 945459 w 1232363"/>
              <a:gd name="connsiteY0" fmla="*/ 747056 h 1102864"/>
              <a:gd name="connsiteX1" fmla="*/ 961328 w 1232363"/>
              <a:gd name="connsiteY1" fmla="*/ 763205 h 1102864"/>
              <a:gd name="connsiteX2" fmla="*/ 961328 w 1232363"/>
              <a:gd name="connsiteY2" fmla="*/ 1081219 h 1102864"/>
              <a:gd name="connsiteX3" fmla="*/ 945459 w 1232363"/>
              <a:gd name="connsiteY3" fmla="*/ 1097368 h 1102864"/>
              <a:gd name="connsiteX4" fmla="*/ 929590 w 1232363"/>
              <a:gd name="connsiteY4" fmla="*/ 1081219 h 1102864"/>
              <a:gd name="connsiteX5" fmla="*/ 929590 w 1232363"/>
              <a:gd name="connsiteY5" fmla="*/ 763205 h 1102864"/>
              <a:gd name="connsiteX6" fmla="*/ 945459 w 1232363"/>
              <a:gd name="connsiteY6" fmla="*/ 747056 h 1102864"/>
              <a:gd name="connsiteX7" fmla="*/ 286294 w 1232363"/>
              <a:gd name="connsiteY7" fmla="*/ 747056 h 1102864"/>
              <a:gd name="connsiteX8" fmla="*/ 302163 w 1232363"/>
              <a:gd name="connsiteY8" fmla="*/ 763205 h 1102864"/>
              <a:gd name="connsiteX9" fmla="*/ 302163 w 1232363"/>
              <a:gd name="connsiteY9" fmla="*/ 1081219 h 1102864"/>
              <a:gd name="connsiteX10" fmla="*/ 286294 w 1232363"/>
              <a:gd name="connsiteY10" fmla="*/ 1097368 h 1102864"/>
              <a:gd name="connsiteX11" fmla="*/ 270425 w 1232363"/>
              <a:gd name="connsiteY11" fmla="*/ 1081219 h 1102864"/>
              <a:gd name="connsiteX12" fmla="*/ 270425 w 1232363"/>
              <a:gd name="connsiteY12" fmla="*/ 763205 h 1102864"/>
              <a:gd name="connsiteX13" fmla="*/ 286294 w 1232363"/>
              <a:gd name="connsiteY13" fmla="*/ 747056 h 1102864"/>
              <a:gd name="connsiteX14" fmla="*/ 665173 w 1232363"/>
              <a:gd name="connsiteY14" fmla="*/ 485407 h 1102864"/>
              <a:gd name="connsiteX15" fmla="*/ 676409 w 1232363"/>
              <a:gd name="connsiteY15" fmla="*/ 490838 h 1102864"/>
              <a:gd name="connsiteX16" fmla="*/ 743824 w 1232363"/>
              <a:gd name="connsiteY16" fmla="*/ 583945 h 1102864"/>
              <a:gd name="connsiteX17" fmla="*/ 743824 w 1232363"/>
              <a:gd name="connsiteY17" fmla="*/ 624912 h 1102864"/>
              <a:gd name="connsiteX18" fmla="*/ 676409 w 1232363"/>
              <a:gd name="connsiteY18" fmla="*/ 716778 h 1102864"/>
              <a:gd name="connsiteX19" fmla="*/ 662677 w 1232363"/>
              <a:gd name="connsiteY19" fmla="*/ 724227 h 1102864"/>
              <a:gd name="connsiteX20" fmla="*/ 653938 w 1232363"/>
              <a:gd name="connsiteY20" fmla="*/ 720503 h 1102864"/>
              <a:gd name="connsiteX21" fmla="*/ 650193 w 1232363"/>
              <a:gd name="connsiteY21" fmla="*/ 698157 h 1102864"/>
              <a:gd name="connsiteX22" fmla="*/ 707620 w 1232363"/>
              <a:gd name="connsiteY22" fmla="*/ 619947 h 1102864"/>
              <a:gd name="connsiteX23" fmla="*/ 450446 w 1232363"/>
              <a:gd name="connsiteY23" fmla="*/ 619947 h 1102864"/>
              <a:gd name="connsiteX24" fmla="*/ 450446 w 1232363"/>
              <a:gd name="connsiteY24" fmla="*/ 1086725 h 1102864"/>
              <a:gd name="connsiteX25" fmla="*/ 434217 w 1232363"/>
              <a:gd name="connsiteY25" fmla="*/ 1102864 h 1102864"/>
              <a:gd name="connsiteX26" fmla="*/ 419236 w 1232363"/>
              <a:gd name="connsiteY26" fmla="*/ 1086725 h 1102864"/>
              <a:gd name="connsiteX27" fmla="*/ 419236 w 1232363"/>
              <a:gd name="connsiteY27" fmla="*/ 619947 h 1102864"/>
              <a:gd name="connsiteX28" fmla="*/ 358063 w 1232363"/>
              <a:gd name="connsiteY28" fmla="*/ 619947 h 1102864"/>
              <a:gd name="connsiteX29" fmla="*/ 341834 w 1232363"/>
              <a:gd name="connsiteY29" fmla="*/ 605050 h 1102864"/>
              <a:gd name="connsiteX30" fmla="*/ 358063 w 1232363"/>
              <a:gd name="connsiteY30" fmla="*/ 587670 h 1102864"/>
              <a:gd name="connsiteX31" fmla="*/ 434217 w 1232363"/>
              <a:gd name="connsiteY31" fmla="*/ 587670 h 1102864"/>
              <a:gd name="connsiteX32" fmla="*/ 435465 w 1232363"/>
              <a:gd name="connsiteY32" fmla="*/ 587670 h 1102864"/>
              <a:gd name="connsiteX33" fmla="*/ 707620 w 1232363"/>
              <a:gd name="connsiteY33" fmla="*/ 587670 h 1102864"/>
              <a:gd name="connsiteX34" fmla="*/ 650193 w 1232363"/>
              <a:gd name="connsiteY34" fmla="*/ 510701 h 1102864"/>
              <a:gd name="connsiteX35" fmla="*/ 653938 w 1232363"/>
              <a:gd name="connsiteY35" fmla="*/ 488355 h 1102864"/>
              <a:gd name="connsiteX36" fmla="*/ 665173 w 1232363"/>
              <a:gd name="connsiteY36" fmla="*/ 485407 h 1102864"/>
              <a:gd name="connsiteX37" fmla="*/ 796340 w 1232363"/>
              <a:gd name="connsiteY37" fmla="*/ 417471 h 1102864"/>
              <a:gd name="connsiteX38" fmla="*/ 812465 w 1232363"/>
              <a:gd name="connsiteY38" fmla="*/ 434836 h 1102864"/>
              <a:gd name="connsiteX39" fmla="*/ 812465 w 1232363"/>
              <a:gd name="connsiteY39" fmla="*/ 896252 h 1102864"/>
              <a:gd name="connsiteX40" fmla="*/ 868281 w 1232363"/>
              <a:gd name="connsiteY40" fmla="*/ 896252 h 1102864"/>
              <a:gd name="connsiteX41" fmla="*/ 884406 w 1232363"/>
              <a:gd name="connsiteY41" fmla="*/ 912377 h 1102864"/>
              <a:gd name="connsiteX42" fmla="*/ 868281 w 1232363"/>
              <a:gd name="connsiteY42" fmla="*/ 928502 h 1102864"/>
              <a:gd name="connsiteX43" fmla="*/ 797581 w 1232363"/>
              <a:gd name="connsiteY43" fmla="*/ 928502 h 1102864"/>
              <a:gd name="connsiteX44" fmla="*/ 796340 w 1232363"/>
              <a:gd name="connsiteY44" fmla="*/ 928502 h 1102864"/>
              <a:gd name="connsiteX45" fmla="*/ 795100 w 1232363"/>
              <a:gd name="connsiteY45" fmla="*/ 928502 h 1102864"/>
              <a:gd name="connsiteX46" fmla="*/ 508577 w 1232363"/>
              <a:gd name="connsiteY46" fmla="*/ 928502 h 1102864"/>
              <a:gd name="connsiteX47" fmla="*/ 565634 w 1232363"/>
              <a:gd name="connsiteY47" fmla="*/ 1006645 h 1102864"/>
              <a:gd name="connsiteX48" fmla="*/ 561913 w 1232363"/>
              <a:gd name="connsiteY48" fmla="*/ 1028971 h 1102864"/>
              <a:gd name="connsiteX49" fmla="*/ 551990 w 1232363"/>
              <a:gd name="connsiteY49" fmla="*/ 1031452 h 1102864"/>
              <a:gd name="connsiteX50" fmla="*/ 539586 w 1232363"/>
              <a:gd name="connsiteY50" fmla="*/ 1025250 h 1102864"/>
              <a:gd name="connsiteX51" fmla="*/ 471367 w 1232363"/>
              <a:gd name="connsiteY51" fmla="*/ 933463 h 1102864"/>
              <a:gd name="connsiteX52" fmla="*/ 471367 w 1232363"/>
              <a:gd name="connsiteY52" fmla="*/ 892531 h 1102864"/>
              <a:gd name="connsiteX53" fmla="*/ 539586 w 1232363"/>
              <a:gd name="connsiteY53" fmla="*/ 799504 h 1102864"/>
              <a:gd name="connsiteX54" fmla="*/ 561913 w 1232363"/>
              <a:gd name="connsiteY54" fmla="*/ 795783 h 1102864"/>
              <a:gd name="connsiteX55" fmla="*/ 565634 w 1232363"/>
              <a:gd name="connsiteY55" fmla="*/ 818109 h 1102864"/>
              <a:gd name="connsiteX56" fmla="*/ 508577 w 1232363"/>
              <a:gd name="connsiteY56" fmla="*/ 896252 h 1102864"/>
              <a:gd name="connsiteX57" fmla="*/ 780216 w 1232363"/>
              <a:gd name="connsiteY57" fmla="*/ 896252 h 1102864"/>
              <a:gd name="connsiteX58" fmla="*/ 780216 w 1232363"/>
              <a:gd name="connsiteY58" fmla="*/ 434836 h 1102864"/>
              <a:gd name="connsiteX59" fmla="*/ 796340 w 1232363"/>
              <a:gd name="connsiteY59" fmla="*/ 417471 h 1102864"/>
              <a:gd name="connsiteX60" fmla="*/ 799336 w 1232363"/>
              <a:gd name="connsiteY60" fmla="*/ 324094 h 1102864"/>
              <a:gd name="connsiteX61" fmla="*/ 1046880 w 1232363"/>
              <a:gd name="connsiteY61" fmla="*/ 324094 h 1102864"/>
              <a:gd name="connsiteX62" fmla="*/ 1089174 w 1232363"/>
              <a:gd name="connsiteY62" fmla="*/ 324094 h 1102864"/>
              <a:gd name="connsiteX63" fmla="*/ 1203617 w 1232363"/>
              <a:gd name="connsiteY63" fmla="*/ 446205 h 1102864"/>
              <a:gd name="connsiteX64" fmla="*/ 1230983 w 1232363"/>
              <a:gd name="connsiteY64" fmla="*/ 569562 h 1102864"/>
              <a:gd name="connsiteX65" fmla="*/ 1208592 w 1232363"/>
              <a:gd name="connsiteY65" fmla="*/ 639339 h 1102864"/>
              <a:gd name="connsiteX66" fmla="*/ 1105345 w 1232363"/>
              <a:gd name="connsiteY66" fmla="*/ 735283 h 1102864"/>
              <a:gd name="connsiteX67" fmla="*/ 1105345 w 1232363"/>
              <a:gd name="connsiteY67" fmla="*/ 1086663 h 1102864"/>
              <a:gd name="connsiteX68" fmla="*/ 1090418 w 1232363"/>
              <a:gd name="connsiteY68" fmla="*/ 1102861 h 1102864"/>
              <a:gd name="connsiteX69" fmla="*/ 1073003 w 1232363"/>
              <a:gd name="connsiteY69" fmla="*/ 1086663 h 1102864"/>
              <a:gd name="connsiteX70" fmla="*/ 1073003 w 1232363"/>
              <a:gd name="connsiteY70" fmla="*/ 433745 h 1102864"/>
              <a:gd name="connsiteX71" fmla="*/ 1090418 w 1232363"/>
              <a:gd name="connsiteY71" fmla="*/ 416300 h 1102864"/>
              <a:gd name="connsiteX72" fmla="*/ 1105345 w 1232363"/>
              <a:gd name="connsiteY72" fmla="*/ 433745 h 1102864"/>
              <a:gd name="connsiteX73" fmla="*/ 1105345 w 1232363"/>
              <a:gd name="connsiteY73" fmla="*/ 528443 h 1102864"/>
              <a:gd name="connsiteX74" fmla="*/ 1119029 w 1232363"/>
              <a:gd name="connsiteY74" fmla="*/ 515982 h 1102864"/>
              <a:gd name="connsiteX75" fmla="*/ 1142664 w 1232363"/>
              <a:gd name="connsiteY75" fmla="*/ 515982 h 1102864"/>
              <a:gd name="connsiteX76" fmla="*/ 1142664 w 1232363"/>
              <a:gd name="connsiteY76" fmla="*/ 538411 h 1102864"/>
              <a:gd name="connsiteX77" fmla="*/ 1105345 w 1232363"/>
              <a:gd name="connsiteY77" fmla="*/ 574546 h 1102864"/>
              <a:gd name="connsiteX78" fmla="*/ 1105345 w 1232363"/>
              <a:gd name="connsiteY78" fmla="*/ 690426 h 1102864"/>
              <a:gd name="connsiteX79" fmla="*/ 1186201 w 1232363"/>
              <a:gd name="connsiteY79" fmla="*/ 615665 h 1102864"/>
              <a:gd name="connsiteX80" fmla="*/ 1198641 w 1232363"/>
              <a:gd name="connsiteY80" fmla="*/ 577038 h 1102864"/>
              <a:gd name="connsiteX81" fmla="*/ 1172518 w 1232363"/>
              <a:gd name="connsiteY81" fmla="*/ 453681 h 1102864"/>
              <a:gd name="connsiteX82" fmla="*/ 1089174 w 1232363"/>
              <a:gd name="connsiteY82" fmla="*/ 356490 h 1102864"/>
              <a:gd name="connsiteX83" fmla="*/ 1046880 w 1232363"/>
              <a:gd name="connsiteY83" fmla="*/ 356490 h 1102864"/>
              <a:gd name="connsiteX84" fmla="*/ 799336 w 1232363"/>
              <a:gd name="connsiteY84" fmla="*/ 356490 h 1102864"/>
              <a:gd name="connsiteX85" fmla="*/ 715992 w 1232363"/>
              <a:gd name="connsiteY85" fmla="*/ 456173 h 1102864"/>
              <a:gd name="connsiteX86" fmla="*/ 699821 w 1232363"/>
              <a:gd name="connsiteY86" fmla="*/ 467387 h 1102864"/>
              <a:gd name="connsiteX87" fmla="*/ 696089 w 1232363"/>
              <a:gd name="connsiteY87" fmla="*/ 466141 h 1102864"/>
              <a:gd name="connsiteX88" fmla="*/ 684894 w 1232363"/>
              <a:gd name="connsiteY88" fmla="*/ 446205 h 1102864"/>
              <a:gd name="connsiteX89" fmla="*/ 799336 w 1232363"/>
              <a:gd name="connsiteY89" fmla="*/ 324094 h 1102864"/>
              <a:gd name="connsiteX90" fmla="*/ 143800 w 1232363"/>
              <a:gd name="connsiteY90" fmla="*/ 324094 h 1102864"/>
              <a:gd name="connsiteX91" fmla="*/ 391344 w 1232363"/>
              <a:gd name="connsiteY91" fmla="*/ 324094 h 1102864"/>
              <a:gd name="connsiteX92" fmla="*/ 433638 w 1232363"/>
              <a:gd name="connsiteY92" fmla="*/ 324094 h 1102864"/>
              <a:gd name="connsiteX93" fmla="*/ 548081 w 1232363"/>
              <a:gd name="connsiteY93" fmla="*/ 446205 h 1102864"/>
              <a:gd name="connsiteX94" fmla="*/ 535642 w 1232363"/>
              <a:gd name="connsiteY94" fmla="*/ 466141 h 1102864"/>
              <a:gd name="connsiteX95" fmla="*/ 531910 w 1232363"/>
              <a:gd name="connsiteY95" fmla="*/ 467387 h 1102864"/>
              <a:gd name="connsiteX96" fmla="*/ 515739 w 1232363"/>
              <a:gd name="connsiteY96" fmla="*/ 456173 h 1102864"/>
              <a:gd name="connsiteX97" fmla="*/ 433638 w 1232363"/>
              <a:gd name="connsiteY97" fmla="*/ 356490 h 1102864"/>
              <a:gd name="connsiteX98" fmla="*/ 391344 w 1232363"/>
              <a:gd name="connsiteY98" fmla="*/ 356490 h 1102864"/>
              <a:gd name="connsiteX99" fmla="*/ 143800 w 1232363"/>
              <a:gd name="connsiteY99" fmla="*/ 356490 h 1102864"/>
              <a:gd name="connsiteX100" fmla="*/ 60456 w 1232363"/>
              <a:gd name="connsiteY100" fmla="*/ 456173 h 1102864"/>
              <a:gd name="connsiteX101" fmla="*/ 33089 w 1232363"/>
              <a:gd name="connsiteY101" fmla="*/ 577038 h 1102864"/>
              <a:gd name="connsiteX102" fmla="*/ 45529 w 1232363"/>
              <a:gd name="connsiteY102" fmla="*/ 615665 h 1102864"/>
              <a:gd name="connsiteX103" fmla="*/ 126385 w 1232363"/>
              <a:gd name="connsiteY103" fmla="*/ 690426 h 1102864"/>
              <a:gd name="connsiteX104" fmla="*/ 126385 w 1232363"/>
              <a:gd name="connsiteY104" fmla="*/ 575792 h 1102864"/>
              <a:gd name="connsiteX105" fmla="*/ 89067 w 1232363"/>
              <a:gd name="connsiteY105" fmla="*/ 538411 h 1102864"/>
              <a:gd name="connsiteX106" fmla="*/ 89067 w 1232363"/>
              <a:gd name="connsiteY106" fmla="*/ 515982 h 1102864"/>
              <a:gd name="connsiteX107" fmla="*/ 111458 w 1232363"/>
              <a:gd name="connsiteY107" fmla="*/ 515982 h 1102864"/>
              <a:gd name="connsiteX108" fmla="*/ 126385 w 1232363"/>
              <a:gd name="connsiteY108" fmla="*/ 530935 h 1102864"/>
              <a:gd name="connsiteX109" fmla="*/ 126385 w 1232363"/>
              <a:gd name="connsiteY109" fmla="*/ 433745 h 1102864"/>
              <a:gd name="connsiteX110" fmla="*/ 142556 w 1232363"/>
              <a:gd name="connsiteY110" fmla="*/ 416300 h 1102864"/>
              <a:gd name="connsiteX111" fmla="*/ 158727 w 1232363"/>
              <a:gd name="connsiteY111" fmla="*/ 433745 h 1102864"/>
              <a:gd name="connsiteX112" fmla="*/ 158727 w 1232363"/>
              <a:gd name="connsiteY112" fmla="*/ 1086663 h 1102864"/>
              <a:gd name="connsiteX113" fmla="*/ 142556 w 1232363"/>
              <a:gd name="connsiteY113" fmla="*/ 1102861 h 1102864"/>
              <a:gd name="connsiteX114" fmla="*/ 126385 w 1232363"/>
              <a:gd name="connsiteY114" fmla="*/ 1086663 h 1102864"/>
              <a:gd name="connsiteX115" fmla="*/ 126385 w 1232363"/>
              <a:gd name="connsiteY115" fmla="*/ 735283 h 1102864"/>
              <a:gd name="connsiteX116" fmla="*/ 23138 w 1232363"/>
              <a:gd name="connsiteY116" fmla="*/ 639339 h 1102864"/>
              <a:gd name="connsiteX117" fmla="*/ 1991 w 1232363"/>
              <a:gd name="connsiteY117" fmla="*/ 569562 h 1102864"/>
              <a:gd name="connsiteX118" fmla="*/ 28113 w 1232363"/>
              <a:gd name="connsiteY118" fmla="*/ 447451 h 1102864"/>
              <a:gd name="connsiteX119" fmla="*/ 143800 w 1232363"/>
              <a:gd name="connsiteY119" fmla="*/ 324094 h 1102864"/>
              <a:gd name="connsiteX120" fmla="*/ 943322 w 1232363"/>
              <a:gd name="connsiteY120" fmla="*/ 32702 h 1102864"/>
              <a:gd name="connsiteX121" fmla="*/ 842702 w 1232363"/>
              <a:gd name="connsiteY121" fmla="*/ 133322 h 1102864"/>
              <a:gd name="connsiteX122" fmla="*/ 943322 w 1232363"/>
              <a:gd name="connsiteY122" fmla="*/ 233943 h 1102864"/>
              <a:gd name="connsiteX123" fmla="*/ 1043943 w 1232363"/>
              <a:gd name="connsiteY123" fmla="*/ 133322 h 1102864"/>
              <a:gd name="connsiteX124" fmla="*/ 943322 w 1232363"/>
              <a:gd name="connsiteY124" fmla="*/ 32702 h 1102864"/>
              <a:gd name="connsiteX125" fmla="*/ 289652 w 1232363"/>
              <a:gd name="connsiteY125" fmla="*/ 32702 h 1102864"/>
              <a:gd name="connsiteX126" fmla="*/ 189032 w 1232363"/>
              <a:gd name="connsiteY126" fmla="*/ 133322 h 1102864"/>
              <a:gd name="connsiteX127" fmla="*/ 289652 w 1232363"/>
              <a:gd name="connsiteY127" fmla="*/ 233943 h 1102864"/>
              <a:gd name="connsiteX128" fmla="*/ 390272 w 1232363"/>
              <a:gd name="connsiteY128" fmla="*/ 133322 h 1102864"/>
              <a:gd name="connsiteX129" fmla="*/ 289652 w 1232363"/>
              <a:gd name="connsiteY129" fmla="*/ 32702 h 1102864"/>
              <a:gd name="connsiteX130" fmla="*/ 943322 w 1232363"/>
              <a:gd name="connsiteY130" fmla="*/ 0 h 1102864"/>
              <a:gd name="connsiteX131" fmla="*/ 1076645 w 1232363"/>
              <a:gd name="connsiteY131" fmla="*/ 133322 h 1102864"/>
              <a:gd name="connsiteX132" fmla="*/ 943322 w 1232363"/>
              <a:gd name="connsiteY132" fmla="*/ 267903 h 1102864"/>
              <a:gd name="connsiteX133" fmla="*/ 808742 w 1232363"/>
              <a:gd name="connsiteY133" fmla="*/ 133322 h 1102864"/>
              <a:gd name="connsiteX134" fmla="*/ 943322 w 1232363"/>
              <a:gd name="connsiteY134" fmla="*/ 0 h 1102864"/>
              <a:gd name="connsiteX135" fmla="*/ 289652 w 1232363"/>
              <a:gd name="connsiteY135" fmla="*/ 0 h 1102864"/>
              <a:gd name="connsiteX136" fmla="*/ 422973 w 1232363"/>
              <a:gd name="connsiteY136" fmla="*/ 133322 h 1102864"/>
              <a:gd name="connsiteX137" fmla="*/ 289652 w 1232363"/>
              <a:gd name="connsiteY137" fmla="*/ 267903 h 1102864"/>
              <a:gd name="connsiteX138" fmla="*/ 155073 w 1232363"/>
              <a:gd name="connsiteY138" fmla="*/ 133322 h 1102864"/>
              <a:gd name="connsiteX139" fmla="*/ 289652 w 1232363"/>
              <a:gd name="connsiteY139" fmla="*/ 0 h 1102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1232363" h="1102864">
                <a:moveTo>
                  <a:pt x="945459" y="747056"/>
                </a:moveTo>
                <a:cubicBezTo>
                  <a:pt x="954004" y="747056"/>
                  <a:pt x="961328" y="753267"/>
                  <a:pt x="961328" y="763205"/>
                </a:cubicBezTo>
                <a:lnTo>
                  <a:pt x="961328" y="1081219"/>
                </a:lnTo>
                <a:cubicBezTo>
                  <a:pt x="961328" y="1089915"/>
                  <a:pt x="954004" y="1097368"/>
                  <a:pt x="945459" y="1097368"/>
                </a:cubicBezTo>
                <a:cubicBezTo>
                  <a:pt x="936914" y="1097368"/>
                  <a:pt x="929590" y="1089915"/>
                  <a:pt x="929590" y="1081219"/>
                </a:cubicBezTo>
                <a:lnTo>
                  <a:pt x="929590" y="763205"/>
                </a:lnTo>
                <a:cubicBezTo>
                  <a:pt x="929590" y="753267"/>
                  <a:pt x="936914" y="747056"/>
                  <a:pt x="945459" y="747056"/>
                </a:cubicBezTo>
                <a:close/>
                <a:moveTo>
                  <a:pt x="286294" y="747056"/>
                </a:moveTo>
                <a:cubicBezTo>
                  <a:pt x="294839" y="747056"/>
                  <a:pt x="302163" y="753267"/>
                  <a:pt x="302163" y="763205"/>
                </a:cubicBezTo>
                <a:lnTo>
                  <a:pt x="302163" y="1081219"/>
                </a:lnTo>
                <a:cubicBezTo>
                  <a:pt x="302163" y="1089915"/>
                  <a:pt x="294839" y="1097368"/>
                  <a:pt x="286294" y="1097368"/>
                </a:cubicBezTo>
                <a:cubicBezTo>
                  <a:pt x="276529" y="1097368"/>
                  <a:pt x="270425" y="1089915"/>
                  <a:pt x="270425" y="1081219"/>
                </a:cubicBezTo>
                <a:lnTo>
                  <a:pt x="270425" y="763205"/>
                </a:lnTo>
                <a:cubicBezTo>
                  <a:pt x="270425" y="753267"/>
                  <a:pt x="276529" y="747056"/>
                  <a:pt x="286294" y="747056"/>
                </a:cubicBezTo>
                <a:close/>
                <a:moveTo>
                  <a:pt x="665173" y="485407"/>
                </a:moveTo>
                <a:cubicBezTo>
                  <a:pt x="669231" y="485872"/>
                  <a:pt x="673288" y="487734"/>
                  <a:pt x="676409" y="490838"/>
                </a:cubicBezTo>
                <a:lnTo>
                  <a:pt x="743824" y="583945"/>
                </a:lnTo>
                <a:cubicBezTo>
                  <a:pt x="752563" y="596360"/>
                  <a:pt x="752563" y="612498"/>
                  <a:pt x="743824" y="624912"/>
                </a:cubicBezTo>
                <a:lnTo>
                  <a:pt x="676409" y="716778"/>
                </a:lnTo>
                <a:cubicBezTo>
                  <a:pt x="672664" y="721744"/>
                  <a:pt x="667670" y="724227"/>
                  <a:pt x="662677" y="724227"/>
                </a:cubicBezTo>
                <a:cubicBezTo>
                  <a:pt x="660180" y="724227"/>
                  <a:pt x="656435" y="722986"/>
                  <a:pt x="653938" y="720503"/>
                </a:cubicBezTo>
                <a:cubicBezTo>
                  <a:pt x="646447" y="715537"/>
                  <a:pt x="643950" y="705606"/>
                  <a:pt x="650193" y="698157"/>
                </a:cubicBezTo>
                <a:lnTo>
                  <a:pt x="707620" y="619947"/>
                </a:lnTo>
                <a:lnTo>
                  <a:pt x="450446" y="619947"/>
                </a:lnTo>
                <a:lnTo>
                  <a:pt x="450446" y="1086725"/>
                </a:lnTo>
                <a:cubicBezTo>
                  <a:pt x="450446" y="1095415"/>
                  <a:pt x="444204" y="1102864"/>
                  <a:pt x="434217" y="1102864"/>
                </a:cubicBezTo>
                <a:cubicBezTo>
                  <a:pt x="425478" y="1102864"/>
                  <a:pt x="419236" y="1095415"/>
                  <a:pt x="419236" y="1086725"/>
                </a:cubicBezTo>
                <a:lnTo>
                  <a:pt x="419236" y="619947"/>
                </a:lnTo>
                <a:lnTo>
                  <a:pt x="358063" y="619947"/>
                </a:lnTo>
                <a:cubicBezTo>
                  <a:pt x="348076" y="619947"/>
                  <a:pt x="341834" y="612498"/>
                  <a:pt x="341834" y="605050"/>
                </a:cubicBezTo>
                <a:cubicBezTo>
                  <a:pt x="341834" y="595118"/>
                  <a:pt x="348076" y="587670"/>
                  <a:pt x="358063" y="587670"/>
                </a:cubicBezTo>
                <a:lnTo>
                  <a:pt x="434217" y="587670"/>
                </a:lnTo>
                <a:lnTo>
                  <a:pt x="435465" y="587670"/>
                </a:lnTo>
                <a:lnTo>
                  <a:pt x="707620" y="587670"/>
                </a:lnTo>
                <a:lnTo>
                  <a:pt x="650193" y="510701"/>
                </a:lnTo>
                <a:cubicBezTo>
                  <a:pt x="643950" y="503252"/>
                  <a:pt x="646447" y="493321"/>
                  <a:pt x="653938" y="488355"/>
                </a:cubicBezTo>
                <a:cubicBezTo>
                  <a:pt x="657059" y="485872"/>
                  <a:pt x="661116" y="484941"/>
                  <a:pt x="665173" y="485407"/>
                </a:cubicBezTo>
                <a:close/>
                <a:moveTo>
                  <a:pt x="796340" y="417471"/>
                </a:moveTo>
                <a:cubicBezTo>
                  <a:pt x="805023" y="417471"/>
                  <a:pt x="812465" y="424913"/>
                  <a:pt x="812465" y="434836"/>
                </a:cubicBezTo>
                <a:lnTo>
                  <a:pt x="812465" y="896252"/>
                </a:lnTo>
                <a:lnTo>
                  <a:pt x="868281" y="896252"/>
                </a:lnTo>
                <a:cubicBezTo>
                  <a:pt x="876964" y="896252"/>
                  <a:pt x="884406" y="903694"/>
                  <a:pt x="884406" y="912377"/>
                </a:cubicBezTo>
                <a:cubicBezTo>
                  <a:pt x="884406" y="921059"/>
                  <a:pt x="876964" y="928502"/>
                  <a:pt x="868281" y="928502"/>
                </a:cubicBezTo>
                <a:lnTo>
                  <a:pt x="797581" y="928502"/>
                </a:lnTo>
                <a:cubicBezTo>
                  <a:pt x="796340" y="928502"/>
                  <a:pt x="796340" y="928502"/>
                  <a:pt x="796340" y="928502"/>
                </a:cubicBezTo>
                <a:cubicBezTo>
                  <a:pt x="796340" y="928502"/>
                  <a:pt x="796340" y="928502"/>
                  <a:pt x="795100" y="928502"/>
                </a:cubicBezTo>
                <a:lnTo>
                  <a:pt x="508577" y="928502"/>
                </a:lnTo>
                <a:lnTo>
                  <a:pt x="565634" y="1006645"/>
                </a:lnTo>
                <a:cubicBezTo>
                  <a:pt x="570595" y="1014087"/>
                  <a:pt x="569355" y="1022769"/>
                  <a:pt x="561913" y="1028971"/>
                </a:cubicBezTo>
                <a:cubicBezTo>
                  <a:pt x="559432" y="1031452"/>
                  <a:pt x="555711" y="1031452"/>
                  <a:pt x="551990" y="1031452"/>
                </a:cubicBezTo>
                <a:cubicBezTo>
                  <a:pt x="547028" y="1031452"/>
                  <a:pt x="542067" y="1028971"/>
                  <a:pt x="539586" y="1025250"/>
                </a:cubicBezTo>
                <a:lnTo>
                  <a:pt x="471367" y="933463"/>
                </a:lnTo>
                <a:cubicBezTo>
                  <a:pt x="462684" y="921059"/>
                  <a:pt x="462684" y="903694"/>
                  <a:pt x="471367" y="892531"/>
                </a:cubicBezTo>
                <a:lnTo>
                  <a:pt x="539586" y="799504"/>
                </a:lnTo>
                <a:cubicBezTo>
                  <a:pt x="544548" y="793302"/>
                  <a:pt x="554470" y="790821"/>
                  <a:pt x="561913" y="795783"/>
                </a:cubicBezTo>
                <a:cubicBezTo>
                  <a:pt x="569355" y="800744"/>
                  <a:pt x="570595" y="811907"/>
                  <a:pt x="565634" y="818109"/>
                </a:cubicBezTo>
                <a:lnTo>
                  <a:pt x="508577" y="896252"/>
                </a:lnTo>
                <a:lnTo>
                  <a:pt x="780216" y="896252"/>
                </a:lnTo>
                <a:lnTo>
                  <a:pt x="780216" y="434836"/>
                </a:lnTo>
                <a:cubicBezTo>
                  <a:pt x="780216" y="424913"/>
                  <a:pt x="787658" y="417471"/>
                  <a:pt x="796340" y="417471"/>
                </a:cubicBezTo>
                <a:close/>
                <a:moveTo>
                  <a:pt x="799336" y="324094"/>
                </a:moveTo>
                <a:lnTo>
                  <a:pt x="1046880" y="324094"/>
                </a:lnTo>
                <a:lnTo>
                  <a:pt x="1089174" y="324094"/>
                </a:lnTo>
                <a:cubicBezTo>
                  <a:pt x="1155103" y="324094"/>
                  <a:pt x="1175006" y="345276"/>
                  <a:pt x="1203617" y="446205"/>
                </a:cubicBezTo>
                <a:lnTo>
                  <a:pt x="1230983" y="569562"/>
                </a:lnTo>
                <a:cubicBezTo>
                  <a:pt x="1235959" y="595728"/>
                  <a:pt x="1227252" y="621895"/>
                  <a:pt x="1208592" y="639339"/>
                </a:cubicBezTo>
                <a:lnTo>
                  <a:pt x="1105345" y="735283"/>
                </a:lnTo>
                <a:lnTo>
                  <a:pt x="1105345" y="1086663"/>
                </a:lnTo>
                <a:cubicBezTo>
                  <a:pt x="1105345" y="1095385"/>
                  <a:pt x="1097882" y="1102861"/>
                  <a:pt x="1090418" y="1102861"/>
                </a:cubicBezTo>
                <a:cubicBezTo>
                  <a:pt x="1080467" y="1102861"/>
                  <a:pt x="1073003" y="1095385"/>
                  <a:pt x="1073003" y="1086663"/>
                </a:cubicBezTo>
                <a:lnTo>
                  <a:pt x="1073003" y="433745"/>
                </a:lnTo>
                <a:cubicBezTo>
                  <a:pt x="1073003" y="423776"/>
                  <a:pt x="1080467" y="416300"/>
                  <a:pt x="1090418" y="416300"/>
                </a:cubicBezTo>
                <a:cubicBezTo>
                  <a:pt x="1097882" y="416300"/>
                  <a:pt x="1105345" y="423776"/>
                  <a:pt x="1105345" y="433745"/>
                </a:cubicBezTo>
                <a:lnTo>
                  <a:pt x="1105345" y="528443"/>
                </a:lnTo>
                <a:lnTo>
                  <a:pt x="1119029" y="515982"/>
                </a:lnTo>
                <a:cubicBezTo>
                  <a:pt x="1125248" y="508506"/>
                  <a:pt x="1136444" y="508506"/>
                  <a:pt x="1142664" y="515982"/>
                </a:cubicBezTo>
                <a:cubicBezTo>
                  <a:pt x="1148883" y="522213"/>
                  <a:pt x="1148883" y="532181"/>
                  <a:pt x="1142664" y="538411"/>
                </a:cubicBezTo>
                <a:lnTo>
                  <a:pt x="1105345" y="574546"/>
                </a:lnTo>
                <a:lnTo>
                  <a:pt x="1105345" y="690426"/>
                </a:lnTo>
                <a:lnTo>
                  <a:pt x="1186201" y="615665"/>
                </a:lnTo>
                <a:cubicBezTo>
                  <a:pt x="1197397" y="605696"/>
                  <a:pt x="1201129" y="590744"/>
                  <a:pt x="1198641" y="577038"/>
                </a:cubicBezTo>
                <a:lnTo>
                  <a:pt x="1172518" y="453681"/>
                </a:lnTo>
                <a:cubicBezTo>
                  <a:pt x="1145151" y="360229"/>
                  <a:pt x="1133956" y="356490"/>
                  <a:pt x="1089174" y="356490"/>
                </a:cubicBezTo>
                <a:lnTo>
                  <a:pt x="1046880" y="356490"/>
                </a:lnTo>
                <a:lnTo>
                  <a:pt x="799336" y="356490"/>
                </a:lnTo>
                <a:cubicBezTo>
                  <a:pt x="754554" y="356490"/>
                  <a:pt x="742115" y="360229"/>
                  <a:pt x="715992" y="456173"/>
                </a:cubicBezTo>
                <a:cubicBezTo>
                  <a:pt x="713504" y="462403"/>
                  <a:pt x="707285" y="467387"/>
                  <a:pt x="699821" y="467387"/>
                </a:cubicBezTo>
                <a:cubicBezTo>
                  <a:pt x="698577" y="467387"/>
                  <a:pt x="697333" y="467387"/>
                  <a:pt x="696089" y="466141"/>
                </a:cubicBezTo>
                <a:cubicBezTo>
                  <a:pt x="687382" y="463649"/>
                  <a:pt x="682406" y="454927"/>
                  <a:pt x="684894" y="446205"/>
                </a:cubicBezTo>
                <a:cubicBezTo>
                  <a:pt x="713504" y="345276"/>
                  <a:pt x="733408" y="324094"/>
                  <a:pt x="799336" y="324094"/>
                </a:cubicBezTo>
                <a:close/>
                <a:moveTo>
                  <a:pt x="143800" y="324094"/>
                </a:moveTo>
                <a:lnTo>
                  <a:pt x="391344" y="324094"/>
                </a:lnTo>
                <a:lnTo>
                  <a:pt x="433638" y="324094"/>
                </a:lnTo>
                <a:cubicBezTo>
                  <a:pt x="498323" y="324094"/>
                  <a:pt x="519470" y="345276"/>
                  <a:pt x="548081" y="446205"/>
                </a:cubicBezTo>
                <a:cubicBezTo>
                  <a:pt x="549325" y="454927"/>
                  <a:pt x="545593" y="463649"/>
                  <a:pt x="535642" y="466141"/>
                </a:cubicBezTo>
                <a:cubicBezTo>
                  <a:pt x="535642" y="467387"/>
                  <a:pt x="534398" y="467387"/>
                  <a:pt x="531910" y="467387"/>
                </a:cubicBezTo>
                <a:cubicBezTo>
                  <a:pt x="524446" y="467387"/>
                  <a:pt x="518227" y="462403"/>
                  <a:pt x="515739" y="456173"/>
                </a:cubicBezTo>
                <a:cubicBezTo>
                  <a:pt x="489616" y="360229"/>
                  <a:pt x="478420" y="356490"/>
                  <a:pt x="433638" y="356490"/>
                </a:cubicBezTo>
                <a:lnTo>
                  <a:pt x="391344" y="356490"/>
                </a:lnTo>
                <a:lnTo>
                  <a:pt x="143800" y="356490"/>
                </a:lnTo>
                <a:cubicBezTo>
                  <a:pt x="99018" y="356490"/>
                  <a:pt x="86579" y="360229"/>
                  <a:pt x="60456" y="456173"/>
                </a:cubicBezTo>
                <a:lnTo>
                  <a:pt x="33089" y="577038"/>
                </a:lnTo>
                <a:cubicBezTo>
                  <a:pt x="29357" y="590744"/>
                  <a:pt x="34333" y="605696"/>
                  <a:pt x="45529" y="615665"/>
                </a:cubicBezTo>
                <a:lnTo>
                  <a:pt x="126385" y="690426"/>
                </a:lnTo>
                <a:lnTo>
                  <a:pt x="126385" y="575792"/>
                </a:lnTo>
                <a:lnTo>
                  <a:pt x="89067" y="538411"/>
                </a:lnTo>
                <a:cubicBezTo>
                  <a:pt x="82847" y="532181"/>
                  <a:pt x="82847" y="522213"/>
                  <a:pt x="89067" y="515982"/>
                </a:cubicBezTo>
                <a:cubicBezTo>
                  <a:pt x="95286" y="508506"/>
                  <a:pt x="105238" y="508506"/>
                  <a:pt x="111458" y="515982"/>
                </a:cubicBezTo>
                <a:lnTo>
                  <a:pt x="126385" y="530935"/>
                </a:lnTo>
                <a:lnTo>
                  <a:pt x="126385" y="433745"/>
                </a:lnTo>
                <a:cubicBezTo>
                  <a:pt x="126385" y="423776"/>
                  <a:pt x="133849" y="416300"/>
                  <a:pt x="142556" y="416300"/>
                </a:cubicBezTo>
                <a:cubicBezTo>
                  <a:pt x="151264" y="416300"/>
                  <a:pt x="158727" y="423776"/>
                  <a:pt x="158727" y="433745"/>
                </a:cubicBezTo>
                <a:lnTo>
                  <a:pt x="158727" y="1086663"/>
                </a:lnTo>
                <a:cubicBezTo>
                  <a:pt x="158727" y="1095385"/>
                  <a:pt x="151264" y="1102861"/>
                  <a:pt x="142556" y="1102861"/>
                </a:cubicBezTo>
                <a:cubicBezTo>
                  <a:pt x="133849" y="1102861"/>
                  <a:pt x="126385" y="1095385"/>
                  <a:pt x="126385" y="1086663"/>
                </a:cubicBezTo>
                <a:lnTo>
                  <a:pt x="126385" y="735283"/>
                </a:lnTo>
                <a:lnTo>
                  <a:pt x="23138" y="639339"/>
                </a:lnTo>
                <a:cubicBezTo>
                  <a:pt x="4479" y="621895"/>
                  <a:pt x="-4229" y="595728"/>
                  <a:pt x="1991" y="569562"/>
                </a:cubicBezTo>
                <a:lnTo>
                  <a:pt x="28113" y="447451"/>
                </a:lnTo>
                <a:cubicBezTo>
                  <a:pt x="57968" y="345276"/>
                  <a:pt x="77871" y="324094"/>
                  <a:pt x="143800" y="324094"/>
                </a:cubicBezTo>
                <a:close/>
                <a:moveTo>
                  <a:pt x="943322" y="32702"/>
                </a:moveTo>
                <a:cubicBezTo>
                  <a:pt x="887981" y="32702"/>
                  <a:pt x="842702" y="77981"/>
                  <a:pt x="842702" y="133322"/>
                </a:cubicBezTo>
                <a:cubicBezTo>
                  <a:pt x="842702" y="188664"/>
                  <a:pt x="887981" y="233943"/>
                  <a:pt x="943322" y="233943"/>
                </a:cubicBezTo>
                <a:cubicBezTo>
                  <a:pt x="998664" y="233943"/>
                  <a:pt x="1043943" y="188664"/>
                  <a:pt x="1043943" y="133322"/>
                </a:cubicBezTo>
                <a:cubicBezTo>
                  <a:pt x="1043943" y="77981"/>
                  <a:pt x="998664" y="32702"/>
                  <a:pt x="943322" y="32702"/>
                </a:cubicBezTo>
                <a:close/>
                <a:moveTo>
                  <a:pt x="289652" y="32702"/>
                </a:moveTo>
                <a:cubicBezTo>
                  <a:pt x="234311" y="32702"/>
                  <a:pt x="189032" y="77981"/>
                  <a:pt x="189032" y="133322"/>
                </a:cubicBezTo>
                <a:cubicBezTo>
                  <a:pt x="189032" y="188664"/>
                  <a:pt x="234311" y="233943"/>
                  <a:pt x="289652" y="233943"/>
                </a:cubicBezTo>
                <a:cubicBezTo>
                  <a:pt x="344993" y="233943"/>
                  <a:pt x="390272" y="188664"/>
                  <a:pt x="390272" y="133322"/>
                </a:cubicBezTo>
                <a:cubicBezTo>
                  <a:pt x="390272" y="77981"/>
                  <a:pt x="344993" y="32702"/>
                  <a:pt x="289652" y="32702"/>
                </a:cubicBezTo>
                <a:close/>
                <a:moveTo>
                  <a:pt x="943322" y="0"/>
                </a:moveTo>
                <a:cubicBezTo>
                  <a:pt x="1016273" y="0"/>
                  <a:pt x="1076645" y="59115"/>
                  <a:pt x="1076645" y="133322"/>
                </a:cubicBezTo>
                <a:cubicBezTo>
                  <a:pt x="1076645" y="207530"/>
                  <a:pt x="1016273" y="267903"/>
                  <a:pt x="943322" y="267903"/>
                </a:cubicBezTo>
                <a:cubicBezTo>
                  <a:pt x="869115" y="267903"/>
                  <a:pt x="808742" y="207530"/>
                  <a:pt x="808742" y="133322"/>
                </a:cubicBezTo>
                <a:cubicBezTo>
                  <a:pt x="808742" y="59115"/>
                  <a:pt x="869115" y="0"/>
                  <a:pt x="943322" y="0"/>
                </a:cubicBezTo>
                <a:close/>
                <a:moveTo>
                  <a:pt x="289652" y="0"/>
                </a:moveTo>
                <a:cubicBezTo>
                  <a:pt x="362601" y="0"/>
                  <a:pt x="422973" y="59115"/>
                  <a:pt x="422973" y="133322"/>
                </a:cubicBezTo>
                <a:cubicBezTo>
                  <a:pt x="422973" y="207530"/>
                  <a:pt x="362601" y="267903"/>
                  <a:pt x="289652" y="267903"/>
                </a:cubicBezTo>
                <a:cubicBezTo>
                  <a:pt x="215445" y="267903"/>
                  <a:pt x="155073" y="207530"/>
                  <a:pt x="155073" y="133322"/>
                </a:cubicBezTo>
                <a:cubicBezTo>
                  <a:pt x="155073" y="59115"/>
                  <a:pt x="215445" y="0"/>
                  <a:pt x="28965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3" name="Freeform 24">
            <a:extLst>
              <a:ext uri="{FF2B5EF4-FFF2-40B4-BE49-F238E27FC236}">
                <a16:creationId xmlns:a16="http://schemas.microsoft.com/office/drawing/2014/main" id="{EDDE4872-EF8B-995D-CF92-A51B96B8A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8522" y="2358911"/>
            <a:ext cx="651600" cy="584406"/>
          </a:xfrm>
          <a:custGeom>
            <a:avLst/>
            <a:gdLst>
              <a:gd name="connsiteX0" fmla="*/ 793468 w 1303199"/>
              <a:gd name="connsiteY0" fmla="*/ 1087625 h 1168811"/>
              <a:gd name="connsiteX1" fmla="*/ 809948 w 1303199"/>
              <a:gd name="connsiteY1" fmla="*/ 1103378 h 1168811"/>
              <a:gd name="connsiteX2" fmla="*/ 809948 w 1303199"/>
              <a:gd name="connsiteY2" fmla="*/ 1153058 h 1168811"/>
              <a:gd name="connsiteX3" fmla="*/ 793468 w 1303199"/>
              <a:gd name="connsiteY3" fmla="*/ 1168811 h 1168811"/>
              <a:gd name="connsiteX4" fmla="*/ 778166 w 1303199"/>
              <a:gd name="connsiteY4" fmla="*/ 1153058 h 1168811"/>
              <a:gd name="connsiteX5" fmla="*/ 778166 w 1303199"/>
              <a:gd name="connsiteY5" fmla="*/ 1103378 h 1168811"/>
              <a:gd name="connsiteX6" fmla="*/ 793468 w 1303199"/>
              <a:gd name="connsiteY6" fmla="*/ 1087625 h 1168811"/>
              <a:gd name="connsiteX7" fmla="*/ 513232 w 1303199"/>
              <a:gd name="connsiteY7" fmla="*/ 1087625 h 1168811"/>
              <a:gd name="connsiteX8" fmla="*/ 529712 w 1303199"/>
              <a:gd name="connsiteY8" fmla="*/ 1103378 h 1168811"/>
              <a:gd name="connsiteX9" fmla="*/ 529712 w 1303199"/>
              <a:gd name="connsiteY9" fmla="*/ 1153058 h 1168811"/>
              <a:gd name="connsiteX10" fmla="*/ 513232 w 1303199"/>
              <a:gd name="connsiteY10" fmla="*/ 1168811 h 1168811"/>
              <a:gd name="connsiteX11" fmla="*/ 498020 w 1303199"/>
              <a:gd name="connsiteY11" fmla="*/ 1153058 h 1168811"/>
              <a:gd name="connsiteX12" fmla="*/ 498020 w 1303199"/>
              <a:gd name="connsiteY12" fmla="*/ 1103378 h 1168811"/>
              <a:gd name="connsiteX13" fmla="*/ 513232 w 1303199"/>
              <a:gd name="connsiteY13" fmla="*/ 1087625 h 1168811"/>
              <a:gd name="connsiteX14" fmla="*/ 111348 w 1303199"/>
              <a:gd name="connsiteY14" fmla="*/ 823958 h 1168811"/>
              <a:gd name="connsiteX15" fmla="*/ 391228 w 1303199"/>
              <a:gd name="connsiteY15" fmla="*/ 823958 h 1168811"/>
              <a:gd name="connsiteX16" fmla="*/ 501934 w 1303199"/>
              <a:gd name="connsiteY16" fmla="*/ 941794 h 1168811"/>
              <a:gd name="connsiteX17" fmla="*/ 501934 w 1303199"/>
              <a:gd name="connsiteY17" fmla="*/ 944274 h 1168811"/>
              <a:gd name="connsiteX18" fmla="*/ 510642 w 1303199"/>
              <a:gd name="connsiteY18" fmla="*/ 944274 h 1168811"/>
              <a:gd name="connsiteX19" fmla="*/ 789278 w 1303199"/>
              <a:gd name="connsiteY19" fmla="*/ 944274 h 1168811"/>
              <a:gd name="connsiteX20" fmla="*/ 801716 w 1303199"/>
              <a:gd name="connsiteY20" fmla="*/ 944274 h 1168811"/>
              <a:gd name="connsiteX21" fmla="*/ 801716 w 1303199"/>
              <a:gd name="connsiteY21" fmla="*/ 941794 h 1168811"/>
              <a:gd name="connsiteX22" fmla="*/ 912424 w 1303199"/>
              <a:gd name="connsiteY22" fmla="*/ 823958 h 1168811"/>
              <a:gd name="connsiteX23" fmla="*/ 1191058 w 1303199"/>
              <a:gd name="connsiteY23" fmla="*/ 823958 h 1168811"/>
              <a:gd name="connsiteX24" fmla="*/ 1303010 w 1303199"/>
              <a:gd name="connsiteY24" fmla="*/ 941794 h 1168811"/>
              <a:gd name="connsiteX25" fmla="*/ 1290572 w 1303199"/>
              <a:gd name="connsiteY25" fmla="*/ 961640 h 1168811"/>
              <a:gd name="connsiteX26" fmla="*/ 1271912 w 1303199"/>
              <a:gd name="connsiteY26" fmla="*/ 950476 h 1168811"/>
              <a:gd name="connsiteX27" fmla="*/ 1191058 w 1303199"/>
              <a:gd name="connsiteY27" fmla="*/ 856208 h 1168811"/>
              <a:gd name="connsiteX28" fmla="*/ 912424 w 1303199"/>
              <a:gd name="connsiteY28" fmla="*/ 856208 h 1168811"/>
              <a:gd name="connsiteX29" fmla="*/ 832814 w 1303199"/>
              <a:gd name="connsiteY29" fmla="*/ 949236 h 1168811"/>
              <a:gd name="connsiteX30" fmla="*/ 901228 w 1303199"/>
              <a:gd name="connsiteY30" fmla="*/ 1062110 h 1168811"/>
              <a:gd name="connsiteX31" fmla="*/ 919888 w 1303199"/>
              <a:gd name="connsiteY31" fmla="*/ 1146455 h 1168811"/>
              <a:gd name="connsiteX32" fmla="*/ 907448 w 1303199"/>
              <a:gd name="connsiteY32" fmla="*/ 1166301 h 1168811"/>
              <a:gd name="connsiteX33" fmla="*/ 887546 w 1303199"/>
              <a:gd name="connsiteY33" fmla="*/ 1153897 h 1168811"/>
              <a:gd name="connsiteX34" fmla="*/ 870130 w 1303199"/>
              <a:gd name="connsiteY34" fmla="*/ 1069552 h 1168811"/>
              <a:gd name="connsiteX35" fmla="*/ 789278 w 1303199"/>
              <a:gd name="connsiteY35" fmla="*/ 976524 h 1168811"/>
              <a:gd name="connsiteX36" fmla="*/ 510642 w 1303199"/>
              <a:gd name="connsiteY36" fmla="*/ 976524 h 1168811"/>
              <a:gd name="connsiteX37" fmla="*/ 431032 w 1303199"/>
              <a:gd name="connsiteY37" fmla="*/ 1070792 h 1168811"/>
              <a:gd name="connsiteX38" fmla="*/ 409886 w 1303199"/>
              <a:gd name="connsiteY38" fmla="*/ 1155138 h 1168811"/>
              <a:gd name="connsiteX39" fmla="*/ 393716 w 1303199"/>
              <a:gd name="connsiteY39" fmla="*/ 1166301 h 1168811"/>
              <a:gd name="connsiteX40" fmla="*/ 389984 w 1303199"/>
              <a:gd name="connsiteY40" fmla="*/ 1166301 h 1168811"/>
              <a:gd name="connsiteX41" fmla="*/ 378788 w 1303199"/>
              <a:gd name="connsiteY41" fmla="*/ 1146455 h 1168811"/>
              <a:gd name="connsiteX42" fmla="*/ 399934 w 1303199"/>
              <a:gd name="connsiteY42" fmla="*/ 1062110 h 1168811"/>
              <a:gd name="connsiteX43" fmla="*/ 470838 w 1303199"/>
              <a:gd name="connsiteY43" fmla="*/ 949236 h 1168811"/>
              <a:gd name="connsiteX44" fmla="*/ 391228 w 1303199"/>
              <a:gd name="connsiteY44" fmla="*/ 856208 h 1168811"/>
              <a:gd name="connsiteX45" fmla="*/ 111348 w 1303199"/>
              <a:gd name="connsiteY45" fmla="*/ 856208 h 1168811"/>
              <a:gd name="connsiteX46" fmla="*/ 31738 w 1303199"/>
              <a:gd name="connsiteY46" fmla="*/ 950476 h 1168811"/>
              <a:gd name="connsiteX47" fmla="*/ 11836 w 1303199"/>
              <a:gd name="connsiteY47" fmla="*/ 961640 h 1168811"/>
              <a:gd name="connsiteX48" fmla="*/ 640 w 1303199"/>
              <a:gd name="connsiteY48" fmla="*/ 941794 h 1168811"/>
              <a:gd name="connsiteX49" fmla="*/ 111348 w 1303199"/>
              <a:gd name="connsiteY49" fmla="*/ 823958 h 1168811"/>
              <a:gd name="connsiteX50" fmla="*/ 653950 w 1303199"/>
              <a:gd name="connsiteY50" fmla="*/ 708074 h 1168811"/>
              <a:gd name="connsiteX51" fmla="*/ 557914 w 1303199"/>
              <a:gd name="connsiteY51" fmla="*/ 804108 h 1168811"/>
              <a:gd name="connsiteX52" fmla="*/ 653950 w 1303199"/>
              <a:gd name="connsiteY52" fmla="*/ 900143 h 1168811"/>
              <a:gd name="connsiteX53" fmla="*/ 749986 w 1303199"/>
              <a:gd name="connsiteY53" fmla="*/ 804108 h 1168811"/>
              <a:gd name="connsiteX54" fmla="*/ 653950 w 1303199"/>
              <a:gd name="connsiteY54" fmla="*/ 708074 h 1168811"/>
              <a:gd name="connsiteX55" fmla="*/ 653950 w 1303199"/>
              <a:gd name="connsiteY55" fmla="*/ 675646 h 1168811"/>
              <a:gd name="connsiteX56" fmla="*/ 782414 w 1303199"/>
              <a:gd name="connsiteY56" fmla="*/ 804108 h 1168811"/>
              <a:gd name="connsiteX57" fmla="*/ 653950 w 1303199"/>
              <a:gd name="connsiteY57" fmla="*/ 932570 h 1168811"/>
              <a:gd name="connsiteX58" fmla="*/ 525486 w 1303199"/>
              <a:gd name="connsiteY58" fmla="*/ 804108 h 1168811"/>
              <a:gd name="connsiteX59" fmla="*/ 653950 w 1303199"/>
              <a:gd name="connsiteY59" fmla="*/ 675646 h 1168811"/>
              <a:gd name="connsiteX60" fmla="*/ 1055564 w 1303199"/>
              <a:gd name="connsiteY60" fmla="*/ 588474 h 1168811"/>
              <a:gd name="connsiteX61" fmla="*/ 957810 w 1303199"/>
              <a:gd name="connsiteY61" fmla="*/ 684508 h 1168811"/>
              <a:gd name="connsiteX62" fmla="*/ 1055564 w 1303199"/>
              <a:gd name="connsiteY62" fmla="*/ 779296 h 1168811"/>
              <a:gd name="connsiteX63" fmla="*/ 1152064 w 1303199"/>
              <a:gd name="connsiteY63" fmla="*/ 684508 h 1168811"/>
              <a:gd name="connsiteX64" fmla="*/ 1055564 w 1303199"/>
              <a:gd name="connsiteY64" fmla="*/ 588474 h 1168811"/>
              <a:gd name="connsiteX65" fmla="*/ 252326 w 1303199"/>
              <a:gd name="connsiteY65" fmla="*/ 588474 h 1168811"/>
              <a:gd name="connsiteX66" fmla="*/ 155824 w 1303199"/>
              <a:gd name="connsiteY66" fmla="*/ 684508 h 1168811"/>
              <a:gd name="connsiteX67" fmla="*/ 252326 w 1303199"/>
              <a:gd name="connsiteY67" fmla="*/ 779296 h 1168811"/>
              <a:gd name="connsiteX68" fmla="*/ 348826 w 1303199"/>
              <a:gd name="connsiteY68" fmla="*/ 684508 h 1168811"/>
              <a:gd name="connsiteX69" fmla="*/ 252326 w 1303199"/>
              <a:gd name="connsiteY69" fmla="*/ 588474 h 1168811"/>
              <a:gd name="connsiteX70" fmla="*/ 1055564 w 1303199"/>
              <a:gd name="connsiteY70" fmla="*/ 554799 h 1168811"/>
              <a:gd name="connsiteX71" fmla="*/ 1183396 w 1303199"/>
              <a:gd name="connsiteY71" fmla="*/ 684508 h 1168811"/>
              <a:gd name="connsiteX72" fmla="*/ 1055564 w 1303199"/>
              <a:gd name="connsiteY72" fmla="*/ 811723 h 1168811"/>
              <a:gd name="connsiteX73" fmla="*/ 926478 w 1303199"/>
              <a:gd name="connsiteY73" fmla="*/ 684508 h 1168811"/>
              <a:gd name="connsiteX74" fmla="*/ 1055564 w 1303199"/>
              <a:gd name="connsiteY74" fmla="*/ 554799 h 1168811"/>
              <a:gd name="connsiteX75" fmla="*/ 252326 w 1303199"/>
              <a:gd name="connsiteY75" fmla="*/ 554799 h 1168811"/>
              <a:gd name="connsiteX76" fmla="*/ 381410 w 1303199"/>
              <a:gd name="connsiteY76" fmla="*/ 684508 h 1168811"/>
              <a:gd name="connsiteX77" fmla="*/ 252326 w 1303199"/>
              <a:gd name="connsiteY77" fmla="*/ 811723 h 1168811"/>
              <a:gd name="connsiteX78" fmla="*/ 124492 w 1303199"/>
              <a:gd name="connsiteY78" fmla="*/ 684508 h 1168811"/>
              <a:gd name="connsiteX79" fmla="*/ 252326 w 1303199"/>
              <a:gd name="connsiteY79" fmla="*/ 554799 h 1168811"/>
              <a:gd name="connsiteX80" fmla="*/ 709666 w 1303199"/>
              <a:gd name="connsiteY80" fmla="*/ 32502 h 1168811"/>
              <a:gd name="connsiteX81" fmla="*/ 672274 w 1303199"/>
              <a:gd name="connsiteY81" fmla="*/ 70003 h 1168811"/>
              <a:gd name="connsiteX82" fmla="*/ 672274 w 1303199"/>
              <a:gd name="connsiteY82" fmla="*/ 171258 h 1168811"/>
              <a:gd name="connsiteX83" fmla="*/ 656070 w 1303199"/>
              <a:gd name="connsiteY83" fmla="*/ 171258 h 1168811"/>
              <a:gd name="connsiteX84" fmla="*/ 586268 w 1303199"/>
              <a:gd name="connsiteY84" fmla="*/ 241261 h 1168811"/>
              <a:gd name="connsiteX85" fmla="*/ 656070 w 1303199"/>
              <a:gd name="connsiteY85" fmla="*/ 311264 h 1168811"/>
              <a:gd name="connsiteX86" fmla="*/ 672274 w 1303199"/>
              <a:gd name="connsiteY86" fmla="*/ 311264 h 1168811"/>
              <a:gd name="connsiteX87" fmla="*/ 672274 w 1303199"/>
              <a:gd name="connsiteY87" fmla="*/ 413769 h 1168811"/>
              <a:gd name="connsiteX88" fmla="*/ 709666 w 1303199"/>
              <a:gd name="connsiteY88" fmla="*/ 451271 h 1168811"/>
              <a:gd name="connsiteX89" fmla="*/ 779468 w 1303199"/>
              <a:gd name="connsiteY89" fmla="*/ 451271 h 1168811"/>
              <a:gd name="connsiteX90" fmla="*/ 880430 w 1303199"/>
              <a:gd name="connsiteY90" fmla="*/ 363767 h 1168811"/>
              <a:gd name="connsiteX91" fmla="*/ 982638 w 1303199"/>
              <a:gd name="connsiteY91" fmla="*/ 451271 h 1168811"/>
              <a:gd name="connsiteX92" fmla="*/ 1058670 w 1303199"/>
              <a:gd name="connsiteY92" fmla="*/ 451271 h 1168811"/>
              <a:gd name="connsiteX93" fmla="*/ 1094818 w 1303199"/>
              <a:gd name="connsiteY93" fmla="*/ 413769 h 1168811"/>
              <a:gd name="connsiteX94" fmla="*/ 1094818 w 1303199"/>
              <a:gd name="connsiteY94" fmla="*/ 126256 h 1168811"/>
              <a:gd name="connsiteX95" fmla="*/ 1001334 w 1303199"/>
              <a:gd name="connsiteY95" fmla="*/ 32502 h 1168811"/>
              <a:gd name="connsiteX96" fmla="*/ 312052 w 1303199"/>
              <a:gd name="connsiteY96" fmla="*/ 32502 h 1168811"/>
              <a:gd name="connsiteX97" fmla="*/ 217322 w 1303199"/>
              <a:gd name="connsiteY97" fmla="*/ 126256 h 1168811"/>
              <a:gd name="connsiteX98" fmla="*/ 217322 w 1303199"/>
              <a:gd name="connsiteY98" fmla="*/ 413769 h 1168811"/>
              <a:gd name="connsiteX99" fmla="*/ 253468 w 1303199"/>
              <a:gd name="connsiteY99" fmla="*/ 451271 h 1168811"/>
              <a:gd name="connsiteX100" fmla="*/ 331994 w 1303199"/>
              <a:gd name="connsiteY100" fmla="*/ 451271 h 1168811"/>
              <a:gd name="connsiteX101" fmla="*/ 358170 w 1303199"/>
              <a:gd name="connsiteY101" fmla="*/ 475022 h 1168811"/>
              <a:gd name="connsiteX102" fmla="*/ 429216 w 1303199"/>
              <a:gd name="connsiteY102" fmla="*/ 537525 h 1168811"/>
              <a:gd name="connsiteX103" fmla="*/ 499018 w 1303199"/>
              <a:gd name="connsiteY103" fmla="*/ 475022 h 1168811"/>
              <a:gd name="connsiteX104" fmla="*/ 525192 w 1303199"/>
              <a:gd name="connsiteY104" fmla="*/ 451271 h 1168811"/>
              <a:gd name="connsiteX105" fmla="*/ 603718 w 1303199"/>
              <a:gd name="connsiteY105" fmla="*/ 451271 h 1168811"/>
              <a:gd name="connsiteX106" fmla="*/ 639866 w 1303199"/>
              <a:gd name="connsiteY106" fmla="*/ 413769 h 1168811"/>
              <a:gd name="connsiteX107" fmla="*/ 639866 w 1303199"/>
              <a:gd name="connsiteY107" fmla="*/ 342516 h 1168811"/>
              <a:gd name="connsiteX108" fmla="*/ 553862 w 1303199"/>
              <a:gd name="connsiteY108" fmla="*/ 241261 h 1168811"/>
              <a:gd name="connsiteX109" fmla="*/ 639866 w 1303199"/>
              <a:gd name="connsiteY109" fmla="*/ 140007 h 1168811"/>
              <a:gd name="connsiteX110" fmla="*/ 639866 w 1303199"/>
              <a:gd name="connsiteY110" fmla="*/ 70003 h 1168811"/>
              <a:gd name="connsiteX111" fmla="*/ 603718 w 1303199"/>
              <a:gd name="connsiteY111" fmla="*/ 32502 h 1168811"/>
              <a:gd name="connsiteX112" fmla="*/ 312052 w 1303199"/>
              <a:gd name="connsiteY112" fmla="*/ 0 h 1168811"/>
              <a:gd name="connsiteX113" fmla="*/ 603718 w 1303199"/>
              <a:gd name="connsiteY113" fmla="*/ 0 h 1168811"/>
              <a:gd name="connsiteX114" fmla="*/ 656070 w 1303199"/>
              <a:gd name="connsiteY114" fmla="*/ 23751 h 1168811"/>
              <a:gd name="connsiteX115" fmla="*/ 709666 w 1303199"/>
              <a:gd name="connsiteY115" fmla="*/ 0 h 1168811"/>
              <a:gd name="connsiteX116" fmla="*/ 1001334 w 1303199"/>
              <a:gd name="connsiteY116" fmla="*/ 0 h 1168811"/>
              <a:gd name="connsiteX117" fmla="*/ 1128472 w 1303199"/>
              <a:gd name="connsiteY117" fmla="*/ 126256 h 1168811"/>
              <a:gd name="connsiteX118" fmla="*/ 1128472 w 1303199"/>
              <a:gd name="connsiteY118" fmla="*/ 413769 h 1168811"/>
              <a:gd name="connsiteX119" fmla="*/ 1058670 w 1303199"/>
              <a:gd name="connsiteY119" fmla="*/ 482522 h 1168811"/>
              <a:gd name="connsiteX120" fmla="*/ 977652 w 1303199"/>
              <a:gd name="connsiteY120" fmla="*/ 482522 h 1168811"/>
              <a:gd name="connsiteX121" fmla="*/ 951476 w 1303199"/>
              <a:gd name="connsiteY121" fmla="*/ 458771 h 1168811"/>
              <a:gd name="connsiteX122" fmla="*/ 880430 w 1303199"/>
              <a:gd name="connsiteY122" fmla="*/ 396268 h 1168811"/>
              <a:gd name="connsiteX123" fmla="*/ 810628 w 1303199"/>
              <a:gd name="connsiteY123" fmla="*/ 458771 h 1168811"/>
              <a:gd name="connsiteX124" fmla="*/ 785700 w 1303199"/>
              <a:gd name="connsiteY124" fmla="*/ 482522 h 1168811"/>
              <a:gd name="connsiteX125" fmla="*/ 709666 w 1303199"/>
              <a:gd name="connsiteY125" fmla="*/ 482522 h 1168811"/>
              <a:gd name="connsiteX126" fmla="*/ 656070 w 1303199"/>
              <a:gd name="connsiteY126" fmla="*/ 458771 h 1168811"/>
              <a:gd name="connsiteX127" fmla="*/ 603718 w 1303199"/>
              <a:gd name="connsiteY127" fmla="*/ 482522 h 1168811"/>
              <a:gd name="connsiteX128" fmla="*/ 530178 w 1303199"/>
              <a:gd name="connsiteY128" fmla="*/ 482522 h 1168811"/>
              <a:gd name="connsiteX129" fmla="*/ 429216 w 1303199"/>
              <a:gd name="connsiteY129" fmla="*/ 570026 h 1168811"/>
              <a:gd name="connsiteX130" fmla="*/ 328254 w 1303199"/>
              <a:gd name="connsiteY130" fmla="*/ 482522 h 1168811"/>
              <a:gd name="connsiteX131" fmla="*/ 253468 w 1303199"/>
              <a:gd name="connsiteY131" fmla="*/ 482522 h 1168811"/>
              <a:gd name="connsiteX132" fmla="*/ 184914 w 1303199"/>
              <a:gd name="connsiteY132" fmla="*/ 413769 h 1168811"/>
              <a:gd name="connsiteX133" fmla="*/ 184914 w 1303199"/>
              <a:gd name="connsiteY133" fmla="*/ 126256 h 1168811"/>
              <a:gd name="connsiteX134" fmla="*/ 312052 w 1303199"/>
              <a:gd name="connsiteY134" fmla="*/ 0 h 116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303199" h="1168811">
                <a:moveTo>
                  <a:pt x="793468" y="1087625"/>
                </a:moveTo>
                <a:cubicBezTo>
                  <a:pt x="801708" y="1087625"/>
                  <a:pt x="809948" y="1094896"/>
                  <a:pt x="809948" y="1103378"/>
                </a:cubicBezTo>
                <a:lnTo>
                  <a:pt x="809948" y="1153058"/>
                </a:lnTo>
                <a:cubicBezTo>
                  <a:pt x="809948" y="1161540"/>
                  <a:pt x="801708" y="1168811"/>
                  <a:pt x="793468" y="1168811"/>
                </a:cubicBezTo>
                <a:cubicBezTo>
                  <a:pt x="785228" y="1168811"/>
                  <a:pt x="778166" y="1161540"/>
                  <a:pt x="778166" y="1153058"/>
                </a:cubicBezTo>
                <a:lnTo>
                  <a:pt x="778166" y="1103378"/>
                </a:lnTo>
                <a:cubicBezTo>
                  <a:pt x="778166" y="1094896"/>
                  <a:pt x="785228" y="1087625"/>
                  <a:pt x="793468" y="1087625"/>
                </a:cubicBezTo>
                <a:close/>
                <a:moveTo>
                  <a:pt x="513232" y="1087625"/>
                </a:moveTo>
                <a:cubicBezTo>
                  <a:pt x="523374" y="1087625"/>
                  <a:pt x="529712" y="1094896"/>
                  <a:pt x="529712" y="1103378"/>
                </a:cubicBezTo>
                <a:lnTo>
                  <a:pt x="529712" y="1153058"/>
                </a:lnTo>
                <a:cubicBezTo>
                  <a:pt x="529712" y="1161540"/>
                  <a:pt x="523374" y="1168811"/>
                  <a:pt x="513232" y="1168811"/>
                </a:cubicBezTo>
                <a:cubicBezTo>
                  <a:pt x="504360" y="1168811"/>
                  <a:pt x="498020" y="1161540"/>
                  <a:pt x="498020" y="1153058"/>
                </a:cubicBezTo>
                <a:lnTo>
                  <a:pt x="498020" y="1103378"/>
                </a:lnTo>
                <a:cubicBezTo>
                  <a:pt x="498020" y="1094896"/>
                  <a:pt x="504360" y="1087625"/>
                  <a:pt x="513232" y="1087625"/>
                </a:cubicBezTo>
                <a:close/>
                <a:moveTo>
                  <a:pt x="111348" y="823958"/>
                </a:moveTo>
                <a:lnTo>
                  <a:pt x="391228" y="823958"/>
                </a:lnTo>
                <a:cubicBezTo>
                  <a:pt x="458398" y="823958"/>
                  <a:pt x="475812" y="850006"/>
                  <a:pt x="501934" y="941794"/>
                </a:cubicBezTo>
                <a:cubicBezTo>
                  <a:pt x="501934" y="943034"/>
                  <a:pt x="501934" y="944274"/>
                  <a:pt x="501934" y="944274"/>
                </a:cubicBezTo>
                <a:cubicBezTo>
                  <a:pt x="505666" y="944274"/>
                  <a:pt x="508154" y="944274"/>
                  <a:pt x="510642" y="944274"/>
                </a:cubicBezTo>
                <a:lnTo>
                  <a:pt x="789278" y="944274"/>
                </a:lnTo>
                <a:cubicBezTo>
                  <a:pt x="794252" y="944274"/>
                  <a:pt x="796740" y="944274"/>
                  <a:pt x="801716" y="944274"/>
                </a:cubicBezTo>
                <a:cubicBezTo>
                  <a:pt x="801716" y="944274"/>
                  <a:pt x="801716" y="943034"/>
                  <a:pt x="801716" y="941794"/>
                </a:cubicBezTo>
                <a:cubicBezTo>
                  <a:pt x="826594" y="850006"/>
                  <a:pt x="844008" y="823958"/>
                  <a:pt x="912424" y="823958"/>
                </a:cubicBezTo>
                <a:lnTo>
                  <a:pt x="1191058" y="823958"/>
                </a:lnTo>
                <a:cubicBezTo>
                  <a:pt x="1259474" y="823958"/>
                  <a:pt x="1276888" y="850006"/>
                  <a:pt x="1303010" y="941794"/>
                </a:cubicBezTo>
                <a:cubicBezTo>
                  <a:pt x="1304254" y="950476"/>
                  <a:pt x="1299278" y="960399"/>
                  <a:pt x="1290572" y="961640"/>
                </a:cubicBezTo>
                <a:cubicBezTo>
                  <a:pt x="1283108" y="964120"/>
                  <a:pt x="1273156" y="959159"/>
                  <a:pt x="1271912" y="950476"/>
                </a:cubicBezTo>
                <a:cubicBezTo>
                  <a:pt x="1244546" y="856208"/>
                  <a:pt x="1232108" y="856208"/>
                  <a:pt x="1191058" y="856208"/>
                </a:cubicBezTo>
                <a:lnTo>
                  <a:pt x="912424" y="856208"/>
                </a:lnTo>
                <a:cubicBezTo>
                  <a:pt x="871374" y="856208"/>
                  <a:pt x="858936" y="856208"/>
                  <a:pt x="832814" y="949236"/>
                </a:cubicBezTo>
                <a:cubicBezTo>
                  <a:pt x="866400" y="961640"/>
                  <a:pt x="881326" y="993889"/>
                  <a:pt x="901228" y="1062110"/>
                </a:cubicBezTo>
                <a:lnTo>
                  <a:pt x="919888" y="1146455"/>
                </a:lnTo>
                <a:cubicBezTo>
                  <a:pt x="921132" y="1155138"/>
                  <a:pt x="916156" y="1165061"/>
                  <a:pt x="907448" y="1166301"/>
                </a:cubicBezTo>
                <a:cubicBezTo>
                  <a:pt x="898740" y="1168782"/>
                  <a:pt x="890034" y="1162580"/>
                  <a:pt x="887546" y="1153897"/>
                </a:cubicBezTo>
                <a:lnTo>
                  <a:pt x="870130" y="1069552"/>
                </a:lnTo>
                <a:cubicBezTo>
                  <a:pt x="842766" y="976524"/>
                  <a:pt x="830326" y="976524"/>
                  <a:pt x="789278" y="976524"/>
                </a:cubicBezTo>
                <a:lnTo>
                  <a:pt x="510642" y="976524"/>
                </a:lnTo>
                <a:cubicBezTo>
                  <a:pt x="469594" y="976524"/>
                  <a:pt x="457154" y="976524"/>
                  <a:pt x="431032" y="1070792"/>
                </a:cubicBezTo>
                <a:lnTo>
                  <a:pt x="409886" y="1155138"/>
                </a:lnTo>
                <a:cubicBezTo>
                  <a:pt x="407398" y="1161340"/>
                  <a:pt x="401178" y="1166301"/>
                  <a:pt x="393716" y="1166301"/>
                </a:cubicBezTo>
                <a:cubicBezTo>
                  <a:pt x="392472" y="1166301"/>
                  <a:pt x="391228" y="1166301"/>
                  <a:pt x="389984" y="1166301"/>
                </a:cubicBezTo>
                <a:cubicBezTo>
                  <a:pt x="381276" y="1163820"/>
                  <a:pt x="376300" y="1155138"/>
                  <a:pt x="378788" y="1146455"/>
                </a:cubicBezTo>
                <a:lnTo>
                  <a:pt x="399934" y="1062110"/>
                </a:lnTo>
                <a:cubicBezTo>
                  <a:pt x="418594" y="992649"/>
                  <a:pt x="434764" y="960399"/>
                  <a:pt x="470838" y="949236"/>
                </a:cubicBezTo>
                <a:cubicBezTo>
                  <a:pt x="443472" y="856208"/>
                  <a:pt x="431032" y="856208"/>
                  <a:pt x="391228" y="856208"/>
                </a:cubicBezTo>
                <a:lnTo>
                  <a:pt x="111348" y="856208"/>
                </a:lnTo>
                <a:cubicBezTo>
                  <a:pt x="70300" y="856208"/>
                  <a:pt x="59104" y="856208"/>
                  <a:pt x="31738" y="950476"/>
                </a:cubicBezTo>
                <a:cubicBezTo>
                  <a:pt x="30494" y="959159"/>
                  <a:pt x="20544" y="964120"/>
                  <a:pt x="11836" y="961640"/>
                </a:cubicBezTo>
                <a:cubicBezTo>
                  <a:pt x="3128" y="960399"/>
                  <a:pt x="-1848" y="950476"/>
                  <a:pt x="640" y="941794"/>
                </a:cubicBezTo>
                <a:cubicBezTo>
                  <a:pt x="26762" y="850006"/>
                  <a:pt x="44178" y="823958"/>
                  <a:pt x="111348" y="823958"/>
                </a:cubicBezTo>
                <a:close/>
                <a:moveTo>
                  <a:pt x="653950" y="708074"/>
                </a:moveTo>
                <a:cubicBezTo>
                  <a:pt x="600320" y="708074"/>
                  <a:pt x="557914" y="751726"/>
                  <a:pt x="557914" y="804108"/>
                </a:cubicBezTo>
                <a:cubicBezTo>
                  <a:pt x="557914" y="857738"/>
                  <a:pt x="600320" y="900143"/>
                  <a:pt x="653950" y="900143"/>
                </a:cubicBezTo>
                <a:cubicBezTo>
                  <a:pt x="707580" y="900143"/>
                  <a:pt x="749986" y="857738"/>
                  <a:pt x="749986" y="804108"/>
                </a:cubicBezTo>
                <a:cubicBezTo>
                  <a:pt x="749986" y="751726"/>
                  <a:pt x="707580" y="708074"/>
                  <a:pt x="653950" y="708074"/>
                </a:cubicBezTo>
                <a:close/>
                <a:moveTo>
                  <a:pt x="653950" y="675646"/>
                </a:moveTo>
                <a:cubicBezTo>
                  <a:pt x="723794" y="675646"/>
                  <a:pt x="782414" y="733018"/>
                  <a:pt x="782414" y="804108"/>
                </a:cubicBezTo>
                <a:cubicBezTo>
                  <a:pt x="782414" y="875199"/>
                  <a:pt x="723794" y="932570"/>
                  <a:pt x="653950" y="932570"/>
                </a:cubicBezTo>
                <a:cubicBezTo>
                  <a:pt x="582858" y="932570"/>
                  <a:pt x="525486" y="875199"/>
                  <a:pt x="525486" y="804108"/>
                </a:cubicBezTo>
                <a:cubicBezTo>
                  <a:pt x="525486" y="733018"/>
                  <a:pt x="582858" y="675646"/>
                  <a:pt x="653950" y="675646"/>
                </a:cubicBezTo>
                <a:close/>
                <a:moveTo>
                  <a:pt x="1055564" y="588474"/>
                </a:moveTo>
                <a:cubicBezTo>
                  <a:pt x="1001674" y="588474"/>
                  <a:pt x="957810" y="630879"/>
                  <a:pt x="957810" y="684508"/>
                </a:cubicBezTo>
                <a:cubicBezTo>
                  <a:pt x="957810" y="736891"/>
                  <a:pt x="1001674" y="779296"/>
                  <a:pt x="1055564" y="779296"/>
                </a:cubicBezTo>
                <a:cubicBezTo>
                  <a:pt x="1108200" y="779296"/>
                  <a:pt x="1152064" y="736891"/>
                  <a:pt x="1152064" y="684508"/>
                </a:cubicBezTo>
                <a:cubicBezTo>
                  <a:pt x="1152064" y="630879"/>
                  <a:pt x="1108200" y="588474"/>
                  <a:pt x="1055564" y="588474"/>
                </a:cubicBezTo>
                <a:close/>
                <a:moveTo>
                  <a:pt x="252326" y="588474"/>
                </a:moveTo>
                <a:cubicBezTo>
                  <a:pt x="199688" y="588474"/>
                  <a:pt x="155824" y="630879"/>
                  <a:pt x="155824" y="684508"/>
                </a:cubicBezTo>
                <a:cubicBezTo>
                  <a:pt x="155824" y="736891"/>
                  <a:pt x="199688" y="779296"/>
                  <a:pt x="252326" y="779296"/>
                </a:cubicBezTo>
                <a:cubicBezTo>
                  <a:pt x="304962" y="779296"/>
                  <a:pt x="348826" y="736891"/>
                  <a:pt x="348826" y="684508"/>
                </a:cubicBezTo>
                <a:cubicBezTo>
                  <a:pt x="348826" y="630879"/>
                  <a:pt x="304962" y="588474"/>
                  <a:pt x="252326" y="588474"/>
                </a:cubicBezTo>
                <a:close/>
                <a:moveTo>
                  <a:pt x="1055564" y="554799"/>
                </a:moveTo>
                <a:cubicBezTo>
                  <a:pt x="1125746" y="554799"/>
                  <a:pt x="1183396" y="613418"/>
                  <a:pt x="1183396" y="684508"/>
                </a:cubicBezTo>
                <a:cubicBezTo>
                  <a:pt x="1183396" y="754352"/>
                  <a:pt x="1125746" y="811723"/>
                  <a:pt x="1055564" y="811723"/>
                </a:cubicBezTo>
                <a:cubicBezTo>
                  <a:pt x="984128" y="811723"/>
                  <a:pt x="926478" y="754352"/>
                  <a:pt x="926478" y="684508"/>
                </a:cubicBezTo>
                <a:cubicBezTo>
                  <a:pt x="926478" y="613418"/>
                  <a:pt x="984128" y="554799"/>
                  <a:pt x="1055564" y="554799"/>
                </a:cubicBezTo>
                <a:close/>
                <a:moveTo>
                  <a:pt x="252326" y="554799"/>
                </a:moveTo>
                <a:cubicBezTo>
                  <a:pt x="323760" y="554799"/>
                  <a:pt x="381410" y="613418"/>
                  <a:pt x="381410" y="684508"/>
                </a:cubicBezTo>
                <a:cubicBezTo>
                  <a:pt x="381410" y="754352"/>
                  <a:pt x="323760" y="811723"/>
                  <a:pt x="252326" y="811723"/>
                </a:cubicBezTo>
                <a:cubicBezTo>
                  <a:pt x="180890" y="811723"/>
                  <a:pt x="124492" y="754352"/>
                  <a:pt x="124492" y="684508"/>
                </a:cubicBezTo>
                <a:cubicBezTo>
                  <a:pt x="124492" y="613418"/>
                  <a:pt x="180890" y="554799"/>
                  <a:pt x="252326" y="554799"/>
                </a:cubicBezTo>
                <a:close/>
                <a:moveTo>
                  <a:pt x="709666" y="32502"/>
                </a:moveTo>
                <a:cubicBezTo>
                  <a:pt x="688478" y="32502"/>
                  <a:pt x="672274" y="48752"/>
                  <a:pt x="672274" y="70003"/>
                </a:cubicBezTo>
                <a:lnTo>
                  <a:pt x="672274" y="171258"/>
                </a:lnTo>
                <a:lnTo>
                  <a:pt x="656070" y="171258"/>
                </a:lnTo>
                <a:cubicBezTo>
                  <a:pt x="617430" y="171258"/>
                  <a:pt x="586268" y="202509"/>
                  <a:pt x="586268" y="241261"/>
                </a:cubicBezTo>
                <a:cubicBezTo>
                  <a:pt x="586268" y="280013"/>
                  <a:pt x="617430" y="311264"/>
                  <a:pt x="656070" y="311264"/>
                </a:cubicBezTo>
                <a:lnTo>
                  <a:pt x="672274" y="311264"/>
                </a:lnTo>
                <a:lnTo>
                  <a:pt x="672274" y="413769"/>
                </a:lnTo>
                <a:cubicBezTo>
                  <a:pt x="672274" y="433770"/>
                  <a:pt x="688478" y="451271"/>
                  <a:pt x="709666" y="451271"/>
                </a:cubicBezTo>
                <a:lnTo>
                  <a:pt x="779468" y="451271"/>
                </a:lnTo>
                <a:cubicBezTo>
                  <a:pt x="786946" y="401268"/>
                  <a:pt x="829326" y="363767"/>
                  <a:pt x="880430" y="363767"/>
                </a:cubicBezTo>
                <a:cubicBezTo>
                  <a:pt x="931534" y="363767"/>
                  <a:pt x="975160" y="401268"/>
                  <a:pt x="982638" y="451271"/>
                </a:cubicBezTo>
                <a:lnTo>
                  <a:pt x="1058670" y="451271"/>
                </a:lnTo>
                <a:cubicBezTo>
                  <a:pt x="1079860" y="451271"/>
                  <a:pt x="1094818" y="433770"/>
                  <a:pt x="1094818" y="413769"/>
                </a:cubicBezTo>
                <a:lnTo>
                  <a:pt x="1094818" y="126256"/>
                </a:lnTo>
                <a:cubicBezTo>
                  <a:pt x="1094818" y="75004"/>
                  <a:pt x="1053684" y="32502"/>
                  <a:pt x="1001334" y="32502"/>
                </a:cubicBezTo>
                <a:close/>
                <a:moveTo>
                  <a:pt x="312052" y="32502"/>
                </a:moveTo>
                <a:cubicBezTo>
                  <a:pt x="259700" y="32502"/>
                  <a:pt x="217322" y="75004"/>
                  <a:pt x="217322" y="126256"/>
                </a:cubicBezTo>
                <a:lnTo>
                  <a:pt x="217322" y="413769"/>
                </a:lnTo>
                <a:cubicBezTo>
                  <a:pt x="217322" y="433770"/>
                  <a:pt x="233526" y="451271"/>
                  <a:pt x="253468" y="451271"/>
                </a:cubicBezTo>
                <a:lnTo>
                  <a:pt x="331994" y="451271"/>
                </a:lnTo>
                <a:cubicBezTo>
                  <a:pt x="345706" y="451271"/>
                  <a:pt x="356924" y="460021"/>
                  <a:pt x="358170" y="475022"/>
                </a:cubicBezTo>
                <a:cubicBezTo>
                  <a:pt x="363156" y="510023"/>
                  <a:pt x="393070" y="537525"/>
                  <a:pt x="429216" y="537525"/>
                </a:cubicBezTo>
                <a:cubicBezTo>
                  <a:pt x="465364" y="537525"/>
                  <a:pt x="494032" y="510023"/>
                  <a:pt x="499018" y="475022"/>
                </a:cubicBezTo>
                <a:cubicBezTo>
                  <a:pt x="500264" y="460021"/>
                  <a:pt x="511482" y="451271"/>
                  <a:pt x="525192" y="451271"/>
                </a:cubicBezTo>
                <a:lnTo>
                  <a:pt x="603718" y="451271"/>
                </a:lnTo>
                <a:cubicBezTo>
                  <a:pt x="623662" y="451271"/>
                  <a:pt x="639866" y="433770"/>
                  <a:pt x="639866" y="413769"/>
                </a:cubicBezTo>
                <a:lnTo>
                  <a:pt x="639866" y="342516"/>
                </a:lnTo>
                <a:cubicBezTo>
                  <a:pt x="591254" y="335015"/>
                  <a:pt x="553862" y="292514"/>
                  <a:pt x="553862" y="241261"/>
                </a:cubicBezTo>
                <a:cubicBezTo>
                  <a:pt x="553862" y="190009"/>
                  <a:pt x="591254" y="147507"/>
                  <a:pt x="639866" y="140007"/>
                </a:cubicBezTo>
                <a:lnTo>
                  <a:pt x="639866" y="70003"/>
                </a:lnTo>
                <a:cubicBezTo>
                  <a:pt x="639866" y="48752"/>
                  <a:pt x="623662" y="32502"/>
                  <a:pt x="603718" y="32502"/>
                </a:cubicBezTo>
                <a:close/>
                <a:moveTo>
                  <a:pt x="312052" y="0"/>
                </a:moveTo>
                <a:lnTo>
                  <a:pt x="603718" y="0"/>
                </a:lnTo>
                <a:cubicBezTo>
                  <a:pt x="624908" y="0"/>
                  <a:pt x="643606" y="10001"/>
                  <a:pt x="656070" y="23751"/>
                </a:cubicBezTo>
                <a:cubicBezTo>
                  <a:pt x="669780" y="10001"/>
                  <a:pt x="688478" y="0"/>
                  <a:pt x="709666" y="0"/>
                </a:cubicBezTo>
                <a:lnTo>
                  <a:pt x="1001334" y="0"/>
                </a:lnTo>
                <a:cubicBezTo>
                  <a:pt x="1071136" y="0"/>
                  <a:pt x="1128472" y="57503"/>
                  <a:pt x="1128472" y="126256"/>
                </a:cubicBezTo>
                <a:lnTo>
                  <a:pt x="1128472" y="413769"/>
                </a:lnTo>
                <a:cubicBezTo>
                  <a:pt x="1128472" y="451271"/>
                  <a:pt x="1097310" y="482522"/>
                  <a:pt x="1058670" y="482522"/>
                </a:cubicBezTo>
                <a:lnTo>
                  <a:pt x="977652" y="482522"/>
                </a:lnTo>
                <a:cubicBezTo>
                  <a:pt x="963942" y="482522"/>
                  <a:pt x="952724" y="472522"/>
                  <a:pt x="951476" y="458771"/>
                </a:cubicBezTo>
                <a:cubicBezTo>
                  <a:pt x="947738" y="423770"/>
                  <a:pt x="916576" y="396268"/>
                  <a:pt x="880430" y="396268"/>
                </a:cubicBezTo>
                <a:cubicBezTo>
                  <a:pt x="845528" y="396268"/>
                  <a:pt x="814368" y="423770"/>
                  <a:pt x="810628" y="458771"/>
                </a:cubicBezTo>
                <a:cubicBezTo>
                  <a:pt x="810628" y="472522"/>
                  <a:pt x="799410" y="482522"/>
                  <a:pt x="785700" y="482522"/>
                </a:cubicBezTo>
                <a:lnTo>
                  <a:pt x="709666" y="482522"/>
                </a:lnTo>
                <a:cubicBezTo>
                  <a:pt x="688478" y="482522"/>
                  <a:pt x="669780" y="473772"/>
                  <a:pt x="656070" y="458771"/>
                </a:cubicBezTo>
                <a:cubicBezTo>
                  <a:pt x="643606" y="473772"/>
                  <a:pt x="624908" y="482522"/>
                  <a:pt x="603718" y="482522"/>
                </a:cubicBezTo>
                <a:lnTo>
                  <a:pt x="530178" y="482522"/>
                </a:lnTo>
                <a:cubicBezTo>
                  <a:pt x="521454" y="532524"/>
                  <a:pt x="479074" y="570026"/>
                  <a:pt x="429216" y="570026"/>
                </a:cubicBezTo>
                <a:cubicBezTo>
                  <a:pt x="378112" y="570026"/>
                  <a:pt x="335734" y="532524"/>
                  <a:pt x="328254" y="482522"/>
                </a:cubicBezTo>
                <a:lnTo>
                  <a:pt x="253468" y="482522"/>
                </a:lnTo>
                <a:cubicBezTo>
                  <a:pt x="214828" y="482522"/>
                  <a:pt x="184914" y="451271"/>
                  <a:pt x="184914" y="413769"/>
                </a:cubicBezTo>
                <a:lnTo>
                  <a:pt x="184914" y="126256"/>
                </a:lnTo>
                <a:cubicBezTo>
                  <a:pt x="184914" y="57503"/>
                  <a:pt x="241004" y="0"/>
                  <a:pt x="31205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4" name="Freeform 443">
            <a:extLst>
              <a:ext uri="{FF2B5EF4-FFF2-40B4-BE49-F238E27FC236}">
                <a16:creationId xmlns:a16="http://schemas.microsoft.com/office/drawing/2014/main" id="{50FABDBC-56A4-AE8A-908D-6A648122B5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4163377"/>
            <a:ext cx="876141" cy="469655"/>
          </a:xfrm>
          <a:custGeom>
            <a:avLst/>
            <a:gdLst>
              <a:gd name="T0" fmla="*/ 1407 w 1408"/>
              <a:gd name="T1" fmla="*/ 0 h 753"/>
              <a:gd name="T2" fmla="*/ 1407 w 1408"/>
              <a:gd name="T3" fmla="*/ 415 h 753"/>
              <a:gd name="T4" fmla="*/ 0 w 1408"/>
              <a:gd name="T5" fmla="*/ 415 h 753"/>
              <a:gd name="T6" fmla="*/ 0 w 1408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08" h="753">
                <a:moveTo>
                  <a:pt x="1407" y="0"/>
                </a:moveTo>
                <a:lnTo>
                  <a:pt x="1407" y="415"/>
                </a:lnTo>
                <a:lnTo>
                  <a:pt x="0" y="415"/>
                </a:lnTo>
                <a:lnTo>
                  <a:pt x="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5" name="Freeform 444">
            <a:extLst>
              <a:ext uri="{FF2B5EF4-FFF2-40B4-BE49-F238E27FC236}">
                <a16:creationId xmlns:a16="http://schemas.microsoft.com/office/drawing/2014/main" id="{55CE4EC1-295E-42BF-815A-F943EE7F3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3872" y="4163377"/>
            <a:ext cx="878888" cy="469655"/>
          </a:xfrm>
          <a:custGeom>
            <a:avLst/>
            <a:gdLst>
              <a:gd name="T0" fmla="*/ 0 w 1409"/>
              <a:gd name="T1" fmla="*/ 0 h 753"/>
              <a:gd name="T2" fmla="*/ 0 w 1409"/>
              <a:gd name="T3" fmla="*/ 415 h 753"/>
              <a:gd name="T4" fmla="*/ 1408 w 1409"/>
              <a:gd name="T5" fmla="*/ 415 h 753"/>
              <a:gd name="T6" fmla="*/ 1408 w 1409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09" h="753">
                <a:moveTo>
                  <a:pt x="0" y="0"/>
                </a:moveTo>
                <a:lnTo>
                  <a:pt x="0" y="415"/>
                </a:lnTo>
                <a:lnTo>
                  <a:pt x="1408" y="415"/>
                </a:lnTo>
                <a:lnTo>
                  <a:pt x="1408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6" name="Line 445">
            <a:extLst>
              <a:ext uri="{FF2B5EF4-FFF2-40B4-BE49-F238E27FC236}">
                <a16:creationId xmlns:a16="http://schemas.microsoft.com/office/drawing/2014/main" id="{700BB822-BD3B-5A3E-8833-DA9DF6090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4163377"/>
            <a:ext cx="0" cy="469655"/>
          </a:xfrm>
          <a:prstGeom prst="line">
            <a:avLst/>
          </a:pr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7" name="Freeform 446">
            <a:extLst>
              <a:ext uri="{FF2B5EF4-FFF2-40B4-BE49-F238E27FC236}">
                <a16:creationId xmlns:a16="http://schemas.microsoft.com/office/drawing/2014/main" id="{66D6B874-856D-3FEE-299A-06493D572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9980" y="4163377"/>
            <a:ext cx="455923" cy="469655"/>
          </a:xfrm>
          <a:custGeom>
            <a:avLst/>
            <a:gdLst>
              <a:gd name="T0" fmla="*/ 730 w 731"/>
              <a:gd name="T1" fmla="*/ 0 h 753"/>
              <a:gd name="T2" fmla="*/ 730 w 731"/>
              <a:gd name="T3" fmla="*/ 376 h 753"/>
              <a:gd name="T4" fmla="*/ 0 w 731"/>
              <a:gd name="T5" fmla="*/ 376 h 753"/>
              <a:gd name="T6" fmla="*/ 0 w 731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31" h="753">
                <a:moveTo>
                  <a:pt x="730" y="0"/>
                </a:moveTo>
                <a:lnTo>
                  <a:pt x="730" y="376"/>
                </a:lnTo>
                <a:lnTo>
                  <a:pt x="0" y="376"/>
                </a:lnTo>
                <a:lnTo>
                  <a:pt x="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8" name="Freeform 447">
            <a:extLst>
              <a:ext uri="{FF2B5EF4-FFF2-40B4-BE49-F238E27FC236}">
                <a16:creationId xmlns:a16="http://schemas.microsoft.com/office/drawing/2014/main" id="{AF2F29E1-F96E-C245-4EA9-88E0999C6C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3564" y="4163377"/>
            <a:ext cx="455923" cy="469655"/>
          </a:xfrm>
          <a:custGeom>
            <a:avLst/>
            <a:gdLst>
              <a:gd name="T0" fmla="*/ 0 w 731"/>
              <a:gd name="T1" fmla="*/ 0 h 753"/>
              <a:gd name="T2" fmla="*/ 0 w 731"/>
              <a:gd name="T3" fmla="*/ 376 h 753"/>
              <a:gd name="T4" fmla="*/ 730 w 731"/>
              <a:gd name="T5" fmla="*/ 376 h 753"/>
              <a:gd name="T6" fmla="*/ 730 w 731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31" h="753">
                <a:moveTo>
                  <a:pt x="0" y="0"/>
                </a:moveTo>
                <a:lnTo>
                  <a:pt x="0" y="376"/>
                </a:lnTo>
                <a:lnTo>
                  <a:pt x="730" y="376"/>
                </a:lnTo>
                <a:lnTo>
                  <a:pt x="73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B40DB92B-B876-863C-EE44-A55E0FB94314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cs typeface="Poppins" pitchFamily="2" charset="77"/>
              </a:rPr>
              <a:t>Alternatives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44BE7592-43FE-9E23-9D2E-B1235C4A979D}"/>
              </a:ext>
            </a:extLst>
          </p:cNvPr>
          <p:cNvSpPr txBox="1"/>
          <p:nvPr/>
        </p:nvSpPr>
        <p:spPr>
          <a:xfrm>
            <a:off x="762000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9B2EF22B-F510-1C0F-6D4F-2315914D1A50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cs typeface="Poppins" pitchFamily="2" charset="77"/>
              </a:rPr>
              <a:t>Uncertainty</a:t>
            </a:r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834976D5-EB7B-5089-4AF9-9252866AEB99}"/>
              </a:ext>
            </a:extLst>
          </p:cNvPr>
          <p:cNvSpPr txBox="1"/>
          <p:nvPr/>
        </p:nvSpPr>
        <p:spPr>
          <a:xfrm>
            <a:off x="2918791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031B5225-FC26-671C-B316-6F31229665C8}"/>
              </a:ext>
            </a:extLst>
          </p:cNvPr>
          <p:cNvSpPr txBox="1"/>
          <p:nvPr/>
        </p:nvSpPr>
        <p:spPr>
          <a:xfrm>
            <a:off x="5078227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2"/>
                </a:solidFill>
                <a:cs typeface="Poppins" pitchFamily="2" charset="77"/>
              </a:rPr>
              <a:t>High-risk Consequences</a:t>
            </a:r>
          </a:p>
        </p:txBody>
      </p:sp>
      <p:sp>
        <p:nvSpPr>
          <p:cNvPr id="24" name="TextBox 10">
            <a:extLst>
              <a:ext uri="{FF2B5EF4-FFF2-40B4-BE49-F238E27FC236}">
                <a16:creationId xmlns:a16="http://schemas.microsoft.com/office/drawing/2014/main" id="{897EB9DF-6747-264A-044D-DE59973C9173}"/>
              </a:ext>
            </a:extLst>
          </p:cNvPr>
          <p:cNvSpPr txBox="1"/>
          <p:nvPr/>
        </p:nvSpPr>
        <p:spPr>
          <a:xfrm>
            <a:off x="5078227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9E79AF0E-AB92-7F6E-84BA-A7C927AEF09D}"/>
              </a:ext>
            </a:extLst>
          </p:cNvPr>
          <p:cNvSpPr txBox="1"/>
          <p:nvPr/>
        </p:nvSpPr>
        <p:spPr>
          <a:xfrm>
            <a:off x="7237665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cs typeface="Poppins" pitchFamily="2" charset="77"/>
              </a:rPr>
              <a:t>Interpersonal Issues</a:t>
            </a:r>
          </a:p>
        </p:txBody>
      </p:sp>
      <p:sp>
        <p:nvSpPr>
          <p:cNvPr id="26" name="TextBox 12">
            <a:extLst>
              <a:ext uri="{FF2B5EF4-FFF2-40B4-BE49-F238E27FC236}">
                <a16:creationId xmlns:a16="http://schemas.microsoft.com/office/drawing/2014/main" id="{0523AECD-67AC-C106-B1C6-B70F5BE7115E}"/>
              </a:ext>
            </a:extLst>
          </p:cNvPr>
          <p:cNvSpPr txBox="1"/>
          <p:nvPr/>
        </p:nvSpPr>
        <p:spPr>
          <a:xfrm>
            <a:off x="7237665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7" name="TextBox 13">
            <a:extLst>
              <a:ext uri="{FF2B5EF4-FFF2-40B4-BE49-F238E27FC236}">
                <a16:creationId xmlns:a16="http://schemas.microsoft.com/office/drawing/2014/main" id="{2BA97685-459A-8CD8-5D54-F05A006BACAC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cs typeface="Poppins" pitchFamily="2" charset="77"/>
              </a:rPr>
              <a:t>Complexity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4354802B-6E29-1787-CF4E-51FFB9FAD63E}"/>
              </a:ext>
            </a:extLst>
          </p:cNvPr>
          <p:cNvSpPr txBox="1"/>
          <p:nvPr/>
        </p:nvSpPr>
        <p:spPr>
          <a:xfrm>
            <a:off x="9394454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380C7C-DDCE-C663-D939-53211F357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31" name="Título 30">
            <a:extLst>
              <a:ext uri="{FF2B5EF4-FFF2-40B4-BE49-F238E27FC236}">
                <a16:creationId xmlns:a16="http://schemas.microsoft.com/office/drawing/2014/main" id="{FCB76D09-7F8D-F178-0503-612C9DA66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Diagram</a:t>
            </a:r>
          </a:p>
        </p:txBody>
      </p:sp>
    </p:spTree>
    <p:extLst>
      <p:ext uri="{BB962C8B-B14F-4D97-AF65-F5344CB8AC3E}">
        <p14:creationId xmlns:p14="http://schemas.microsoft.com/office/powerpoint/2010/main" val="1048938869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976B43A-027D-B184-33DE-36C41D5F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1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976B43A-027D-B184-33DE-36C41D5F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6D9D3-56DC-990C-4657-A2F53C4E3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FD1084-8357-9C90-897D-C486EA7B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Diagram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AD0DA38-C94B-B806-0CBA-EF68E2669671}"/>
              </a:ext>
            </a:extLst>
          </p:cNvPr>
          <p:cNvSpPr/>
          <p:nvPr/>
        </p:nvSpPr>
        <p:spPr>
          <a:xfrm>
            <a:off x="371475" y="3465513"/>
            <a:ext cx="11449050" cy="284321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8F487EEB-2A49-3075-7AE8-D25538B841CE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cs typeface="Poppins" pitchFamily="2" charset="77"/>
              </a:rPr>
              <a:t>Alternatives</a:t>
            </a: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6665DD1D-146C-2DCC-F7EE-2F49E97FE290}"/>
              </a:ext>
            </a:extLst>
          </p:cNvPr>
          <p:cNvSpPr txBox="1"/>
          <p:nvPr/>
        </p:nvSpPr>
        <p:spPr>
          <a:xfrm>
            <a:off x="762000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A320C6E3-E96E-277E-44B4-87899ED80101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cs typeface="Poppins" pitchFamily="2" charset="77"/>
              </a:rPr>
              <a:t>Uncertainty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9643A58A-DF34-010F-A65E-03DF91043263}"/>
              </a:ext>
            </a:extLst>
          </p:cNvPr>
          <p:cNvSpPr txBox="1"/>
          <p:nvPr/>
        </p:nvSpPr>
        <p:spPr>
          <a:xfrm>
            <a:off x="2918791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58119EBD-A319-4C05-C7CF-ACD584F6E44D}"/>
              </a:ext>
            </a:extLst>
          </p:cNvPr>
          <p:cNvSpPr txBox="1"/>
          <p:nvPr/>
        </p:nvSpPr>
        <p:spPr>
          <a:xfrm>
            <a:off x="5078227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2"/>
                </a:solidFill>
                <a:cs typeface="Poppins" pitchFamily="2" charset="77"/>
              </a:rPr>
              <a:t>High-risk Consequences</a:t>
            </a: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722532FB-60ED-0FB7-FA11-3025679FEE7C}"/>
              </a:ext>
            </a:extLst>
          </p:cNvPr>
          <p:cNvSpPr txBox="1"/>
          <p:nvPr/>
        </p:nvSpPr>
        <p:spPr>
          <a:xfrm>
            <a:off x="5078228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B9A0E2F4-5B6A-D727-1ADB-8FF16B5AE38E}"/>
              </a:ext>
            </a:extLst>
          </p:cNvPr>
          <p:cNvSpPr txBox="1"/>
          <p:nvPr/>
        </p:nvSpPr>
        <p:spPr>
          <a:xfrm>
            <a:off x="7237665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cs typeface="Poppins" pitchFamily="2" charset="77"/>
              </a:rPr>
              <a:t>Interpersonal Issues</a:t>
            </a: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DE6D40BA-C753-71B7-E2EC-10040E361E67}"/>
              </a:ext>
            </a:extLst>
          </p:cNvPr>
          <p:cNvSpPr txBox="1"/>
          <p:nvPr/>
        </p:nvSpPr>
        <p:spPr>
          <a:xfrm>
            <a:off x="7237666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1D995A90-F922-CCF6-E427-228BE6D4ED23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cs typeface="Poppins" pitchFamily="2" charset="77"/>
              </a:rPr>
              <a:t>Complexity</a:t>
            </a:r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30284FF1-D2E0-7662-0653-C2F3A596C9B7}"/>
              </a:ext>
            </a:extLst>
          </p:cNvPr>
          <p:cNvSpPr txBox="1"/>
          <p:nvPr/>
        </p:nvSpPr>
        <p:spPr>
          <a:xfrm>
            <a:off x="9394455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F91D48F4-0CD8-5CB6-DE60-3069160DF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2168348"/>
            <a:ext cx="8637815" cy="436696"/>
          </a:xfrm>
          <a:custGeom>
            <a:avLst/>
            <a:gdLst>
              <a:gd name="T0" fmla="*/ 0 w 13867"/>
              <a:gd name="T1" fmla="*/ 700 h 701"/>
              <a:gd name="T2" fmla="*/ 0 w 13867"/>
              <a:gd name="T3" fmla="*/ 700 h 701"/>
              <a:gd name="T4" fmla="*/ 711 w 13867"/>
              <a:gd name="T5" fmla="*/ 0 h 701"/>
              <a:gd name="T6" fmla="*/ 13154 w 13867"/>
              <a:gd name="T7" fmla="*/ 0 h 701"/>
              <a:gd name="T8" fmla="*/ 13154 w 13867"/>
              <a:gd name="T9" fmla="*/ 0 h 701"/>
              <a:gd name="T10" fmla="*/ 13866 w 13867"/>
              <a:gd name="T11" fmla="*/ 700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67" h="701">
                <a:moveTo>
                  <a:pt x="0" y="700"/>
                </a:moveTo>
                <a:lnTo>
                  <a:pt x="0" y="700"/>
                </a:lnTo>
                <a:cubicBezTo>
                  <a:pt x="0" y="315"/>
                  <a:pt x="320" y="0"/>
                  <a:pt x="711" y="0"/>
                </a:cubicBezTo>
                <a:lnTo>
                  <a:pt x="13154" y="0"/>
                </a:lnTo>
                <a:lnTo>
                  <a:pt x="13154" y="0"/>
                </a:lnTo>
                <a:cubicBezTo>
                  <a:pt x="13546" y="0"/>
                  <a:pt x="13866" y="315"/>
                  <a:pt x="13866" y="700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1" name="Line 25">
            <a:extLst>
              <a:ext uri="{FF2B5EF4-FFF2-40B4-BE49-F238E27FC236}">
                <a16:creationId xmlns:a16="http://schemas.microsoft.com/office/drawing/2014/main" id="{6BF2F14A-4C73-BCB5-3A2A-DC55D71F8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1525662"/>
            <a:ext cx="0" cy="1123327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2" name="Line 26">
            <a:extLst>
              <a:ext uri="{FF2B5EF4-FFF2-40B4-BE49-F238E27FC236}">
                <a16:creationId xmlns:a16="http://schemas.microsoft.com/office/drawing/2014/main" id="{79608CBC-D2A4-F87C-A119-2C5348D09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67445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3" name="Line 27">
            <a:extLst>
              <a:ext uri="{FF2B5EF4-FFF2-40B4-BE49-F238E27FC236}">
                <a16:creationId xmlns:a16="http://schemas.microsoft.com/office/drawing/2014/main" id="{0C2301BE-CB86-204D-825F-7AC064C1FB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1808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4" name="Freeform 28">
            <a:extLst>
              <a:ext uri="{FF2B5EF4-FFF2-40B4-BE49-F238E27FC236}">
                <a16:creationId xmlns:a16="http://schemas.microsoft.com/office/drawing/2014/main" id="{BD2BF8C7-0459-57D7-9FF6-3FDDB1524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931" y="2778077"/>
            <a:ext cx="1601224" cy="151882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6" name="Freeform 92">
            <a:extLst>
              <a:ext uri="{FF2B5EF4-FFF2-40B4-BE49-F238E27FC236}">
                <a16:creationId xmlns:a16="http://schemas.microsoft.com/office/drawing/2014/main" id="{8E3E3C92-7CCF-2C4F-568C-3A98AC856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87" y="2778077"/>
            <a:ext cx="1601222" cy="15188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8" name="Freeform 155">
            <a:extLst>
              <a:ext uri="{FF2B5EF4-FFF2-40B4-BE49-F238E27FC236}">
                <a16:creationId xmlns:a16="http://schemas.microsoft.com/office/drawing/2014/main" id="{E4939639-4AFE-7CC9-4A4F-E7CAF2034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043" y="2778077"/>
            <a:ext cx="1598477" cy="151882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0" name="Freeform 228">
            <a:extLst>
              <a:ext uri="{FF2B5EF4-FFF2-40B4-BE49-F238E27FC236}">
                <a16:creationId xmlns:a16="http://schemas.microsoft.com/office/drawing/2014/main" id="{8F52F3E9-E8C4-66C9-0210-91A390FC4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852" y="2778077"/>
            <a:ext cx="1598477" cy="151882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2" name="Freeform 299">
            <a:extLst>
              <a:ext uri="{FF2B5EF4-FFF2-40B4-BE49-F238E27FC236}">
                <a16:creationId xmlns:a16="http://schemas.microsoft.com/office/drawing/2014/main" id="{04E77B74-C350-E43F-9628-4AB058D5C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407" y="2778077"/>
            <a:ext cx="1601222" cy="151882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E455A8A7-1F24-F614-674D-8E5934B47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998" y="3190437"/>
            <a:ext cx="790817" cy="695371"/>
          </a:xfrm>
          <a:custGeom>
            <a:avLst/>
            <a:gdLst>
              <a:gd name="connsiteX0" fmla="*/ 1107162 w 1581633"/>
              <a:gd name="connsiteY0" fmla="*/ 1224184 h 1390741"/>
              <a:gd name="connsiteX1" fmla="*/ 1446033 w 1581633"/>
              <a:gd name="connsiteY1" fmla="*/ 1224184 h 1390741"/>
              <a:gd name="connsiteX2" fmla="*/ 1581082 w 1581633"/>
              <a:gd name="connsiteY2" fmla="*/ 1365882 h 1390741"/>
              <a:gd name="connsiteX3" fmla="*/ 1567327 w 1581633"/>
              <a:gd name="connsiteY3" fmla="*/ 1389498 h 1390741"/>
              <a:gd name="connsiteX4" fmla="*/ 1561075 w 1581633"/>
              <a:gd name="connsiteY4" fmla="*/ 1390741 h 1390741"/>
              <a:gd name="connsiteX5" fmla="*/ 1542318 w 1581633"/>
              <a:gd name="connsiteY5" fmla="*/ 1375826 h 1390741"/>
              <a:gd name="connsiteX6" fmla="*/ 1446033 w 1581633"/>
              <a:gd name="connsiteY6" fmla="*/ 1262716 h 1390741"/>
              <a:gd name="connsiteX7" fmla="*/ 1107162 w 1581633"/>
              <a:gd name="connsiteY7" fmla="*/ 1262716 h 1390741"/>
              <a:gd name="connsiteX8" fmla="*/ 1009626 w 1581633"/>
              <a:gd name="connsiteY8" fmla="*/ 1375826 h 1390741"/>
              <a:gd name="connsiteX9" fmla="*/ 985868 w 1581633"/>
              <a:gd name="connsiteY9" fmla="*/ 1389498 h 1390741"/>
              <a:gd name="connsiteX10" fmla="*/ 972113 w 1581633"/>
              <a:gd name="connsiteY10" fmla="*/ 1365882 h 1390741"/>
              <a:gd name="connsiteX11" fmla="*/ 1107162 w 1581633"/>
              <a:gd name="connsiteY11" fmla="*/ 1224184 h 1390741"/>
              <a:gd name="connsiteX12" fmla="*/ 134614 w 1581633"/>
              <a:gd name="connsiteY12" fmla="*/ 1224184 h 1390741"/>
              <a:gd name="connsiteX13" fmla="*/ 474047 w 1581633"/>
              <a:gd name="connsiteY13" fmla="*/ 1224184 h 1390741"/>
              <a:gd name="connsiteX14" fmla="*/ 608821 w 1581633"/>
              <a:gd name="connsiteY14" fmla="*/ 1365882 h 1390741"/>
              <a:gd name="connsiteX15" fmla="*/ 595094 w 1581633"/>
              <a:gd name="connsiteY15" fmla="*/ 1389498 h 1390741"/>
              <a:gd name="connsiteX16" fmla="*/ 590102 w 1581633"/>
              <a:gd name="connsiteY16" fmla="*/ 1390741 h 1390741"/>
              <a:gd name="connsiteX17" fmla="*/ 570136 w 1581633"/>
              <a:gd name="connsiteY17" fmla="*/ 1375826 h 1390741"/>
              <a:gd name="connsiteX18" fmla="*/ 474047 w 1581633"/>
              <a:gd name="connsiteY18" fmla="*/ 1262716 h 1390741"/>
              <a:gd name="connsiteX19" fmla="*/ 134614 w 1581633"/>
              <a:gd name="connsiteY19" fmla="*/ 1262716 h 1390741"/>
              <a:gd name="connsiteX20" fmla="*/ 38525 w 1581633"/>
              <a:gd name="connsiteY20" fmla="*/ 1375826 h 1390741"/>
              <a:gd name="connsiteX21" fmla="*/ 14815 w 1581633"/>
              <a:gd name="connsiteY21" fmla="*/ 1389498 h 1390741"/>
              <a:gd name="connsiteX22" fmla="*/ 1088 w 1581633"/>
              <a:gd name="connsiteY22" fmla="*/ 1365882 h 1390741"/>
              <a:gd name="connsiteX23" fmla="*/ 134614 w 1581633"/>
              <a:gd name="connsiteY23" fmla="*/ 1224184 h 1390741"/>
              <a:gd name="connsiteX24" fmla="*/ 960173 w 1581633"/>
              <a:gd name="connsiteY24" fmla="*/ 1081365 h 1390741"/>
              <a:gd name="connsiteX25" fmla="*/ 979397 w 1581633"/>
              <a:gd name="connsiteY25" fmla="*/ 1101730 h 1390741"/>
              <a:gd name="connsiteX26" fmla="*/ 979397 w 1581633"/>
              <a:gd name="connsiteY26" fmla="*/ 1165370 h 1390741"/>
              <a:gd name="connsiteX27" fmla="*/ 960173 w 1581633"/>
              <a:gd name="connsiteY27" fmla="*/ 1184462 h 1390741"/>
              <a:gd name="connsiteX28" fmla="*/ 942150 w 1581633"/>
              <a:gd name="connsiteY28" fmla="*/ 1165370 h 1390741"/>
              <a:gd name="connsiteX29" fmla="*/ 942150 w 1581633"/>
              <a:gd name="connsiteY29" fmla="*/ 1101730 h 1390741"/>
              <a:gd name="connsiteX30" fmla="*/ 960173 w 1581633"/>
              <a:gd name="connsiteY30" fmla="*/ 1081365 h 1390741"/>
              <a:gd name="connsiteX31" fmla="*/ 620805 w 1581633"/>
              <a:gd name="connsiteY31" fmla="*/ 1081365 h 1390741"/>
              <a:gd name="connsiteX32" fmla="*/ 638828 w 1581633"/>
              <a:gd name="connsiteY32" fmla="*/ 1101730 h 1390741"/>
              <a:gd name="connsiteX33" fmla="*/ 638828 w 1581633"/>
              <a:gd name="connsiteY33" fmla="*/ 1165370 h 1390741"/>
              <a:gd name="connsiteX34" fmla="*/ 620805 w 1581633"/>
              <a:gd name="connsiteY34" fmla="*/ 1184462 h 1390741"/>
              <a:gd name="connsiteX35" fmla="*/ 601581 w 1581633"/>
              <a:gd name="connsiteY35" fmla="*/ 1165370 h 1390741"/>
              <a:gd name="connsiteX36" fmla="*/ 601581 w 1581633"/>
              <a:gd name="connsiteY36" fmla="*/ 1101730 h 1390741"/>
              <a:gd name="connsiteX37" fmla="*/ 620805 w 1581633"/>
              <a:gd name="connsiteY37" fmla="*/ 1081365 h 1390741"/>
              <a:gd name="connsiteX38" fmla="*/ 1273226 w 1581633"/>
              <a:gd name="connsiteY38" fmla="*/ 932897 h 1390741"/>
              <a:gd name="connsiteX39" fmla="*/ 1156753 w 1581633"/>
              <a:gd name="connsiteY39" fmla="*/ 1047788 h 1390741"/>
              <a:gd name="connsiteX40" fmla="*/ 1273226 w 1581633"/>
              <a:gd name="connsiteY40" fmla="*/ 1162679 h 1390741"/>
              <a:gd name="connsiteX41" fmla="*/ 1389700 w 1581633"/>
              <a:gd name="connsiteY41" fmla="*/ 1047788 h 1390741"/>
              <a:gd name="connsiteX42" fmla="*/ 1273226 w 1581633"/>
              <a:gd name="connsiteY42" fmla="*/ 932897 h 1390741"/>
              <a:gd name="connsiteX43" fmla="*/ 307702 w 1581633"/>
              <a:gd name="connsiteY43" fmla="*/ 932897 h 1390741"/>
              <a:gd name="connsiteX44" fmla="*/ 191229 w 1581633"/>
              <a:gd name="connsiteY44" fmla="*/ 1047788 h 1390741"/>
              <a:gd name="connsiteX45" fmla="*/ 307702 w 1581633"/>
              <a:gd name="connsiteY45" fmla="*/ 1162679 h 1390741"/>
              <a:gd name="connsiteX46" fmla="*/ 424176 w 1581633"/>
              <a:gd name="connsiteY46" fmla="*/ 1047788 h 1390741"/>
              <a:gd name="connsiteX47" fmla="*/ 307702 w 1581633"/>
              <a:gd name="connsiteY47" fmla="*/ 932897 h 1390741"/>
              <a:gd name="connsiteX48" fmla="*/ 622429 w 1581633"/>
              <a:gd name="connsiteY48" fmla="*/ 911083 h 1390741"/>
              <a:gd name="connsiteX49" fmla="*/ 962254 w 1581633"/>
              <a:gd name="connsiteY49" fmla="*/ 911083 h 1390741"/>
              <a:gd name="connsiteX50" fmla="*/ 1095935 w 1581633"/>
              <a:gd name="connsiteY50" fmla="*/ 1054651 h 1390741"/>
              <a:gd name="connsiteX51" fmla="*/ 1119673 w 1581633"/>
              <a:gd name="connsiteY51" fmla="*/ 1158270 h 1390741"/>
              <a:gd name="connsiteX52" fmla="*/ 1104681 w 1581633"/>
              <a:gd name="connsiteY52" fmla="*/ 1181990 h 1390741"/>
              <a:gd name="connsiteX53" fmla="*/ 1080943 w 1581633"/>
              <a:gd name="connsiteY53" fmla="*/ 1167009 h 1390741"/>
              <a:gd name="connsiteX54" fmla="*/ 1058454 w 1581633"/>
              <a:gd name="connsiteY54" fmla="*/ 1064639 h 1390741"/>
              <a:gd name="connsiteX55" fmla="*/ 962254 w 1581633"/>
              <a:gd name="connsiteY55" fmla="*/ 949784 h 1390741"/>
              <a:gd name="connsiteX56" fmla="*/ 622429 w 1581633"/>
              <a:gd name="connsiteY56" fmla="*/ 949784 h 1390741"/>
              <a:gd name="connsiteX57" fmla="*/ 526228 w 1581633"/>
              <a:gd name="connsiteY57" fmla="*/ 1064639 h 1390741"/>
              <a:gd name="connsiteX58" fmla="*/ 499992 w 1581633"/>
              <a:gd name="connsiteY58" fmla="*/ 1167009 h 1390741"/>
              <a:gd name="connsiteX59" fmla="*/ 480002 w 1581633"/>
              <a:gd name="connsiteY59" fmla="*/ 1181990 h 1390741"/>
              <a:gd name="connsiteX60" fmla="*/ 476254 w 1581633"/>
              <a:gd name="connsiteY60" fmla="*/ 1181990 h 1390741"/>
              <a:gd name="connsiteX61" fmla="*/ 461262 w 1581633"/>
              <a:gd name="connsiteY61" fmla="*/ 1157022 h 1390741"/>
              <a:gd name="connsiteX62" fmla="*/ 488747 w 1581633"/>
              <a:gd name="connsiteY62" fmla="*/ 1054651 h 1390741"/>
              <a:gd name="connsiteX63" fmla="*/ 622429 w 1581633"/>
              <a:gd name="connsiteY63" fmla="*/ 911083 h 1390741"/>
              <a:gd name="connsiteX64" fmla="*/ 1273226 w 1581633"/>
              <a:gd name="connsiteY64" fmla="*/ 894600 h 1390741"/>
              <a:gd name="connsiteX65" fmla="*/ 1429777 w 1581633"/>
              <a:gd name="connsiteY65" fmla="*/ 1047788 h 1390741"/>
              <a:gd name="connsiteX66" fmla="*/ 1273226 w 1581633"/>
              <a:gd name="connsiteY66" fmla="*/ 1200976 h 1390741"/>
              <a:gd name="connsiteX67" fmla="*/ 1117928 w 1581633"/>
              <a:gd name="connsiteY67" fmla="*/ 1047788 h 1390741"/>
              <a:gd name="connsiteX68" fmla="*/ 1273226 w 1581633"/>
              <a:gd name="connsiteY68" fmla="*/ 894600 h 1390741"/>
              <a:gd name="connsiteX69" fmla="*/ 307702 w 1581633"/>
              <a:gd name="connsiteY69" fmla="*/ 894600 h 1390741"/>
              <a:gd name="connsiteX70" fmla="*/ 463000 w 1581633"/>
              <a:gd name="connsiteY70" fmla="*/ 1047788 h 1390741"/>
              <a:gd name="connsiteX71" fmla="*/ 307702 w 1581633"/>
              <a:gd name="connsiteY71" fmla="*/ 1200976 h 1390741"/>
              <a:gd name="connsiteX72" fmla="*/ 151152 w 1581633"/>
              <a:gd name="connsiteY72" fmla="*/ 1047788 h 1390741"/>
              <a:gd name="connsiteX73" fmla="*/ 307702 w 1581633"/>
              <a:gd name="connsiteY73" fmla="*/ 894600 h 1390741"/>
              <a:gd name="connsiteX74" fmla="*/ 463645 w 1581633"/>
              <a:gd name="connsiteY74" fmla="*/ 743185 h 1390741"/>
              <a:gd name="connsiteX75" fmla="*/ 486837 w 1581633"/>
              <a:gd name="connsiteY75" fmla="*/ 756320 h 1390741"/>
              <a:gd name="connsiteX76" fmla="*/ 474631 w 1581633"/>
              <a:gd name="connsiteY76" fmla="*/ 779008 h 1390741"/>
              <a:gd name="connsiteX77" fmla="*/ 419701 w 1581633"/>
              <a:gd name="connsiteY77" fmla="*/ 793338 h 1390741"/>
              <a:gd name="connsiteX78" fmla="*/ 414818 w 1581633"/>
              <a:gd name="connsiteY78" fmla="*/ 794532 h 1390741"/>
              <a:gd name="connsiteX79" fmla="*/ 395287 w 1581633"/>
              <a:gd name="connsiteY79" fmla="*/ 780203 h 1390741"/>
              <a:gd name="connsiteX80" fmla="*/ 409935 w 1581633"/>
              <a:gd name="connsiteY80" fmla="*/ 757514 h 1390741"/>
              <a:gd name="connsiteX81" fmla="*/ 486648 w 1581633"/>
              <a:gd name="connsiteY81" fmla="*/ 687106 h 1390741"/>
              <a:gd name="connsiteX82" fmla="*/ 510003 w 1581633"/>
              <a:gd name="connsiteY82" fmla="*/ 701990 h 1390741"/>
              <a:gd name="connsiteX83" fmla="*/ 496482 w 1581633"/>
              <a:gd name="connsiteY83" fmla="*/ 725557 h 1390741"/>
              <a:gd name="connsiteX84" fmla="*/ 366185 w 1581633"/>
              <a:gd name="connsiteY84" fmla="*/ 761527 h 1390741"/>
              <a:gd name="connsiteX85" fmla="*/ 360039 w 1581633"/>
              <a:gd name="connsiteY85" fmla="*/ 761527 h 1390741"/>
              <a:gd name="connsiteX86" fmla="*/ 341601 w 1581633"/>
              <a:gd name="connsiteY86" fmla="*/ 747883 h 1390741"/>
              <a:gd name="connsiteX87" fmla="*/ 355122 w 1581633"/>
              <a:gd name="connsiteY87" fmla="*/ 723076 h 1390741"/>
              <a:gd name="connsiteX88" fmla="*/ 1100032 w 1581633"/>
              <a:gd name="connsiteY88" fmla="*/ 660818 h 1390741"/>
              <a:gd name="connsiteX89" fmla="*/ 1171971 w 1581633"/>
              <a:gd name="connsiteY89" fmla="*/ 680153 h 1390741"/>
              <a:gd name="connsiteX90" fmla="*/ 1185615 w 1581633"/>
              <a:gd name="connsiteY90" fmla="*/ 703113 h 1390741"/>
              <a:gd name="connsiteX91" fmla="*/ 1167010 w 1581633"/>
              <a:gd name="connsiteY91" fmla="*/ 717614 h 1390741"/>
              <a:gd name="connsiteX92" fmla="*/ 1162049 w 1581633"/>
              <a:gd name="connsiteY92" fmla="*/ 716405 h 1390741"/>
              <a:gd name="connsiteX93" fmla="*/ 1090109 w 1581633"/>
              <a:gd name="connsiteY93" fmla="*/ 698279 h 1390741"/>
              <a:gd name="connsiteX94" fmla="*/ 1076466 w 1581633"/>
              <a:gd name="connsiteY94" fmla="*/ 674111 h 1390741"/>
              <a:gd name="connsiteX95" fmla="*/ 1100032 w 1581633"/>
              <a:gd name="connsiteY95" fmla="*/ 660818 h 1390741"/>
              <a:gd name="connsiteX96" fmla="*/ 473327 w 1581633"/>
              <a:gd name="connsiteY96" fmla="*/ 631996 h 1390741"/>
              <a:gd name="connsiteX97" fmla="*/ 345166 w 1581633"/>
              <a:gd name="connsiteY97" fmla="*/ 666727 h 1390741"/>
              <a:gd name="connsiteX98" fmla="*/ 348899 w 1581633"/>
              <a:gd name="connsiteY98" fmla="*/ 677890 h 1390741"/>
              <a:gd name="connsiteX99" fmla="*/ 475816 w 1581633"/>
              <a:gd name="connsiteY99" fmla="*/ 644400 h 1390741"/>
              <a:gd name="connsiteX100" fmla="*/ 789839 w 1581633"/>
              <a:gd name="connsiteY100" fmla="*/ 619796 h 1390741"/>
              <a:gd name="connsiteX101" fmla="*/ 673365 w 1581633"/>
              <a:gd name="connsiteY101" fmla="*/ 734687 h 1390741"/>
              <a:gd name="connsiteX102" fmla="*/ 789839 w 1581633"/>
              <a:gd name="connsiteY102" fmla="*/ 849578 h 1390741"/>
              <a:gd name="connsiteX103" fmla="*/ 906313 w 1581633"/>
              <a:gd name="connsiteY103" fmla="*/ 734687 h 1390741"/>
              <a:gd name="connsiteX104" fmla="*/ 789839 w 1581633"/>
              <a:gd name="connsiteY104" fmla="*/ 619796 h 1390741"/>
              <a:gd name="connsiteX105" fmla="*/ 1062773 w 1581633"/>
              <a:gd name="connsiteY105" fmla="*/ 589464 h 1390741"/>
              <a:gd name="connsiteX106" fmla="*/ 1232425 w 1581633"/>
              <a:gd name="connsiteY106" fmla="*/ 635266 h 1390741"/>
              <a:gd name="connsiteX107" fmla="*/ 1246046 w 1581633"/>
              <a:gd name="connsiteY107" fmla="*/ 660024 h 1390741"/>
              <a:gd name="connsiteX108" fmla="*/ 1226233 w 1581633"/>
              <a:gd name="connsiteY108" fmla="*/ 673640 h 1390741"/>
              <a:gd name="connsiteX109" fmla="*/ 1222518 w 1581633"/>
              <a:gd name="connsiteY109" fmla="*/ 673640 h 1390741"/>
              <a:gd name="connsiteX110" fmla="*/ 1052866 w 1581633"/>
              <a:gd name="connsiteY110" fmla="*/ 627839 h 1390741"/>
              <a:gd name="connsiteX111" fmla="*/ 1039245 w 1581633"/>
              <a:gd name="connsiteY111" fmla="*/ 604319 h 1390741"/>
              <a:gd name="connsiteX112" fmla="*/ 1062773 w 1581633"/>
              <a:gd name="connsiteY112" fmla="*/ 589464 h 1390741"/>
              <a:gd name="connsiteX113" fmla="*/ 789839 w 1581633"/>
              <a:gd name="connsiteY113" fmla="*/ 581499 h 1390741"/>
              <a:gd name="connsiteX114" fmla="*/ 946389 w 1581633"/>
              <a:gd name="connsiteY114" fmla="*/ 734687 h 1390741"/>
              <a:gd name="connsiteX115" fmla="*/ 789839 w 1581633"/>
              <a:gd name="connsiteY115" fmla="*/ 887875 h 1390741"/>
              <a:gd name="connsiteX116" fmla="*/ 634541 w 1581633"/>
              <a:gd name="connsiteY116" fmla="*/ 734687 h 1390741"/>
              <a:gd name="connsiteX117" fmla="*/ 789839 w 1581633"/>
              <a:gd name="connsiteY117" fmla="*/ 581499 h 1390741"/>
              <a:gd name="connsiteX118" fmla="*/ 1083809 w 1581633"/>
              <a:gd name="connsiteY118" fmla="*/ 508285 h 1390741"/>
              <a:gd name="connsiteX119" fmla="*/ 1077575 w 1581633"/>
              <a:gd name="connsiteY119" fmla="*/ 531858 h 1390741"/>
              <a:gd name="connsiteX120" fmla="*/ 1077575 w 1581633"/>
              <a:gd name="connsiteY120" fmla="*/ 533099 h 1390741"/>
              <a:gd name="connsiteX121" fmla="*/ 1078822 w 1581633"/>
              <a:gd name="connsiteY121" fmla="*/ 534339 h 1390741"/>
              <a:gd name="connsiteX122" fmla="*/ 1250871 w 1581633"/>
              <a:gd name="connsiteY122" fmla="*/ 579005 h 1390741"/>
              <a:gd name="connsiteX123" fmla="*/ 1252118 w 1581633"/>
              <a:gd name="connsiteY123" fmla="*/ 579005 h 1390741"/>
              <a:gd name="connsiteX124" fmla="*/ 1252118 w 1581633"/>
              <a:gd name="connsiteY124" fmla="*/ 577764 h 1390741"/>
              <a:gd name="connsiteX125" fmla="*/ 1258352 w 1581633"/>
              <a:gd name="connsiteY125" fmla="*/ 555431 h 1390741"/>
              <a:gd name="connsiteX126" fmla="*/ 344736 w 1581633"/>
              <a:gd name="connsiteY126" fmla="*/ 281312 h 1390741"/>
              <a:gd name="connsiteX127" fmla="*/ 442155 w 1581633"/>
              <a:gd name="connsiteY127" fmla="*/ 313581 h 1390741"/>
              <a:gd name="connsiteX128" fmla="*/ 445860 w 1581633"/>
              <a:gd name="connsiteY128" fmla="*/ 342109 h 1390741"/>
              <a:gd name="connsiteX129" fmla="*/ 431041 w 1581633"/>
              <a:gd name="connsiteY129" fmla="*/ 349551 h 1390741"/>
              <a:gd name="connsiteX130" fmla="*/ 418693 w 1581633"/>
              <a:gd name="connsiteY130" fmla="*/ 344590 h 1390741"/>
              <a:gd name="connsiteX131" fmla="*/ 321139 w 1581633"/>
              <a:gd name="connsiteY131" fmla="*/ 324744 h 1390741"/>
              <a:gd name="connsiteX132" fmla="*/ 296442 w 1581633"/>
              <a:gd name="connsiteY132" fmla="*/ 309860 h 1390741"/>
              <a:gd name="connsiteX133" fmla="*/ 310025 w 1581633"/>
              <a:gd name="connsiteY133" fmla="*/ 286293 h 1390741"/>
              <a:gd name="connsiteX134" fmla="*/ 344736 w 1581633"/>
              <a:gd name="connsiteY134" fmla="*/ 281312 h 1390741"/>
              <a:gd name="connsiteX135" fmla="*/ 351387 w 1581633"/>
              <a:gd name="connsiteY135" fmla="*/ 267330 h 1390741"/>
              <a:gd name="connsiteX136" fmla="*/ 299128 w 1581633"/>
              <a:gd name="connsiteY136" fmla="*/ 274772 h 1390741"/>
              <a:gd name="connsiteX137" fmla="*/ 185898 w 1581633"/>
              <a:gd name="connsiteY137" fmla="*/ 474470 h 1390741"/>
              <a:gd name="connsiteX138" fmla="*/ 305349 w 1581633"/>
              <a:gd name="connsiteY138" fmla="*/ 598507 h 1390741"/>
              <a:gd name="connsiteX139" fmla="*/ 335212 w 1581633"/>
              <a:gd name="connsiteY139" fmla="*/ 628275 h 1390741"/>
              <a:gd name="connsiteX140" fmla="*/ 463373 w 1581633"/>
              <a:gd name="connsiteY140" fmla="*/ 594786 h 1390741"/>
              <a:gd name="connsiteX141" fmla="*/ 462129 w 1581633"/>
              <a:gd name="connsiteY141" fmla="*/ 593545 h 1390741"/>
              <a:gd name="connsiteX142" fmla="*/ 473327 w 1581633"/>
              <a:gd name="connsiteY142" fmla="*/ 553854 h 1390741"/>
              <a:gd name="connsiteX143" fmla="*/ 515633 w 1581633"/>
              <a:gd name="connsiteY143" fmla="*/ 392606 h 1390741"/>
              <a:gd name="connsiteX144" fmla="*/ 433510 w 1581633"/>
              <a:gd name="connsiteY144" fmla="*/ 287176 h 1390741"/>
              <a:gd name="connsiteX145" fmla="*/ 351387 w 1581633"/>
              <a:gd name="connsiteY145" fmla="*/ 267330 h 1390741"/>
              <a:gd name="connsiteX146" fmla="*/ 371451 w 1581633"/>
              <a:gd name="connsiteY146" fmla="*/ 227793 h 1390741"/>
              <a:gd name="connsiteX147" fmla="*/ 452174 w 1581633"/>
              <a:gd name="connsiteY147" fmla="*/ 252446 h 1390741"/>
              <a:gd name="connsiteX148" fmla="*/ 554205 w 1581633"/>
              <a:gd name="connsiteY148" fmla="*/ 381443 h 1390741"/>
              <a:gd name="connsiteX149" fmla="*/ 500701 w 1581633"/>
              <a:gd name="connsiteY149" fmla="*/ 581142 h 1390741"/>
              <a:gd name="connsiteX150" fmla="*/ 500701 w 1581633"/>
              <a:gd name="connsiteY150" fmla="*/ 583622 h 1390741"/>
              <a:gd name="connsiteX151" fmla="*/ 514388 w 1581633"/>
              <a:gd name="connsiteY151" fmla="*/ 636958 h 1390741"/>
              <a:gd name="connsiteX152" fmla="*/ 489503 w 1581633"/>
              <a:gd name="connsiteY152" fmla="*/ 680371 h 1390741"/>
              <a:gd name="connsiteX153" fmla="*/ 355120 w 1581633"/>
              <a:gd name="connsiteY153" fmla="*/ 716342 h 1390741"/>
              <a:gd name="connsiteX154" fmla="*/ 346410 w 1581633"/>
              <a:gd name="connsiteY154" fmla="*/ 717582 h 1390741"/>
              <a:gd name="connsiteX155" fmla="*/ 311570 w 1581633"/>
              <a:gd name="connsiteY155" fmla="*/ 690294 h 1390741"/>
              <a:gd name="connsiteX156" fmla="*/ 297883 w 1581633"/>
              <a:gd name="connsiteY156" fmla="*/ 638198 h 1390741"/>
              <a:gd name="connsiteX157" fmla="*/ 295395 w 1581633"/>
              <a:gd name="connsiteY157" fmla="*/ 635717 h 1390741"/>
              <a:gd name="connsiteX158" fmla="*/ 147325 w 1581633"/>
              <a:gd name="connsiteY158" fmla="*/ 481913 h 1390741"/>
              <a:gd name="connsiteX159" fmla="*/ 287929 w 1581633"/>
              <a:gd name="connsiteY159" fmla="*/ 237561 h 1390741"/>
              <a:gd name="connsiteX160" fmla="*/ 371451 w 1581633"/>
              <a:gd name="connsiteY160" fmla="*/ 227793 h 1390741"/>
              <a:gd name="connsiteX161" fmla="*/ 1293832 w 1581633"/>
              <a:gd name="connsiteY161" fmla="*/ 78624 h 1390741"/>
              <a:gd name="connsiteX162" fmla="*/ 1421774 w 1581633"/>
              <a:gd name="connsiteY162" fmla="*/ 191637 h 1390741"/>
              <a:gd name="connsiteX163" fmla="*/ 1410485 w 1581633"/>
              <a:gd name="connsiteY163" fmla="*/ 216475 h 1390741"/>
              <a:gd name="connsiteX164" fmla="*/ 1402959 w 1581633"/>
              <a:gd name="connsiteY164" fmla="*/ 217717 h 1390741"/>
              <a:gd name="connsiteX165" fmla="*/ 1384144 w 1581633"/>
              <a:gd name="connsiteY165" fmla="*/ 205298 h 1390741"/>
              <a:gd name="connsiteX166" fmla="*/ 1282543 w 1581633"/>
              <a:gd name="connsiteY166" fmla="*/ 117123 h 1390741"/>
              <a:gd name="connsiteX167" fmla="*/ 1268745 w 1581633"/>
              <a:gd name="connsiteY167" fmla="*/ 92285 h 1390741"/>
              <a:gd name="connsiteX168" fmla="*/ 1293832 w 1581633"/>
              <a:gd name="connsiteY168" fmla="*/ 78624 h 1390741"/>
              <a:gd name="connsiteX169" fmla="*/ 1244637 w 1581633"/>
              <a:gd name="connsiteY169" fmla="*/ 39299 h 1390741"/>
              <a:gd name="connsiteX170" fmla="*/ 1028952 w 1581633"/>
              <a:gd name="connsiteY170" fmla="*/ 196868 h 1390741"/>
              <a:gd name="connsiteX171" fmla="*/ 1083809 w 1581633"/>
              <a:gd name="connsiteY171" fmla="*/ 418954 h 1390741"/>
              <a:gd name="connsiteX172" fmla="*/ 1096276 w 1581633"/>
              <a:gd name="connsiteY172" fmla="*/ 466101 h 1390741"/>
              <a:gd name="connsiteX173" fmla="*/ 1093783 w 1581633"/>
              <a:gd name="connsiteY173" fmla="*/ 472304 h 1390741"/>
              <a:gd name="connsiteX174" fmla="*/ 1268325 w 1581633"/>
              <a:gd name="connsiteY174" fmla="*/ 516969 h 1390741"/>
              <a:gd name="connsiteX175" fmla="*/ 1270819 w 1581633"/>
              <a:gd name="connsiteY175" fmla="*/ 510766 h 1390741"/>
              <a:gd name="connsiteX176" fmla="*/ 1304481 w 1581633"/>
              <a:gd name="connsiteY176" fmla="*/ 477267 h 1390741"/>
              <a:gd name="connsiteX177" fmla="*/ 1460323 w 1581633"/>
              <a:gd name="connsiteY177" fmla="*/ 320938 h 1390741"/>
              <a:gd name="connsiteX178" fmla="*/ 1435388 w 1581633"/>
              <a:gd name="connsiteY178" fmla="*/ 145999 h 1390741"/>
              <a:gd name="connsiteX179" fmla="*/ 1292013 w 1581633"/>
              <a:gd name="connsiteY179" fmla="*/ 44262 h 1390741"/>
              <a:gd name="connsiteX180" fmla="*/ 1244637 w 1581633"/>
              <a:gd name="connsiteY180" fmla="*/ 39299 h 1390741"/>
              <a:gd name="connsiteX181" fmla="*/ 1249598 w 1581633"/>
              <a:gd name="connsiteY181" fmla="*/ 45 h 1390741"/>
              <a:gd name="connsiteX182" fmla="*/ 1299494 w 1581633"/>
              <a:gd name="connsiteY182" fmla="*/ 5800 h 1390741"/>
              <a:gd name="connsiteX183" fmla="*/ 1469050 w 1581633"/>
              <a:gd name="connsiteY183" fmla="*/ 126148 h 1390741"/>
              <a:gd name="connsiteX184" fmla="*/ 1498971 w 1581633"/>
              <a:gd name="connsiteY184" fmla="*/ 330864 h 1390741"/>
              <a:gd name="connsiteX185" fmla="*/ 1315701 w 1581633"/>
              <a:gd name="connsiteY185" fmla="*/ 514488 h 1390741"/>
              <a:gd name="connsiteX186" fmla="*/ 1308221 w 1581633"/>
              <a:gd name="connsiteY186" fmla="*/ 521932 h 1390741"/>
              <a:gd name="connsiteX187" fmla="*/ 1290767 w 1581633"/>
              <a:gd name="connsiteY187" fmla="*/ 587690 h 1390741"/>
              <a:gd name="connsiteX188" fmla="*/ 1270819 w 1581633"/>
              <a:gd name="connsiteY188" fmla="*/ 613744 h 1390741"/>
              <a:gd name="connsiteX189" fmla="*/ 1250871 w 1581633"/>
              <a:gd name="connsiteY189" fmla="*/ 618707 h 1390741"/>
              <a:gd name="connsiteX190" fmla="*/ 1239651 w 1581633"/>
              <a:gd name="connsiteY190" fmla="*/ 617466 h 1390741"/>
              <a:gd name="connsiteX191" fmla="*/ 1068848 w 1581633"/>
              <a:gd name="connsiteY191" fmla="*/ 571560 h 1390741"/>
              <a:gd name="connsiteX192" fmla="*/ 1043913 w 1581633"/>
              <a:gd name="connsiteY192" fmla="*/ 552950 h 1390741"/>
              <a:gd name="connsiteX193" fmla="*/ 1038926 w 1581633"/>
              <a:gd name="connsiteY193" fmla="*/ 521932 h 1390741"/>
              <a:gd name="connsiteX194" fmla="*/ 1057627 w 1581633"/>
              <a:gd name="connsiteY194" fmla="*/ 454934 h 1390741"/>
              <a:gd name="connsiteX195" fmla="*/ 1055134 w 1581633"/>
              <a:gd name="connsiteY195" fmla="*/ 446249 h 1390741"/>
              <a:gd name="connsiteX196" fmla="*/ 991550 w 1581633"/>
              <a:gd name="connsiteY196" fmla="*/ 185702 h 1390741"/>
              <a:gd name="connsiteX197" fmla="*/ 1249598 w 1581633"/>
              <a:gd name="connsiteY197" fmla="*/ 45 h 1390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581633" h="1390741">
                <a:moveTo>
                  <a:pt x="1107162" y="1224184"/>
                </a:moveTo>
                <a:lnTo>
                  <a:pt x="1446033" y="1224184"/>
                </a:lnTo>
                <a:cubicBezTo>
                  <a:pt x="1528563" y="1224184"/>
                  <a:pt x="1549821" y="1255258"/>
                  <a:pt x="1581082" y="1365882"/>
                </a:cubicBezTo>
                <a:cubicBezTo>
                  <a:pt x="1583583" y="1375826"/>
                  <a:pt x="1577331" y="1387012"/>
                  <a:pt x="1567327" y="1389498"/>
                </a:cubicBezTo>
                <a:cubicBezTo>
                  <a:pt x="1566076" y="1390741"/>
                  <a:pt x="1563576" y="1390741"/>
                  <a:pt x="1561075" y="1390741"/>
                </a:cubicBezTo>
                <a:cubicBezTo>
                  <a:pt x="1553572" y="1390741"/>
                  <a:pt x="1546069" y="1385769"/>
                  <a:pt x="1542318" y="1375826"/>
                </a:cubicBezTo>
                <a:cubicBezTo>
                  <a:pt x="1509806" y="1262716"/>
                  <a:pt x="1496051" y="1262716"/>
                  <a:pt x="1446033" y="1262716"/>
                </a:cubicBezTo>
                <a:lnTo>
                  <a:pt x="1107162" y="1262716"/>
                </a:lnTo>
                <a:cubicBezTo>
                  <a:pt x="1057143" y="1262716"/>
                  <a:pt x="1042138" y="1262716"/>
                  <a:pt x="1009626" y="1375826"/>
                </a:cubicBezTo>
                <a:cubicBezTo>
                  <a:pt x="1005875" y="1387012"/>
                  <a:pt x="995871" y="1393227"/>
                  <a:pt x="985868" y="1389498"/>
                </a:cubicBezTo>
                <a:cubicBezTo>
                  <a:pt x="974614" y="1387012"/>
                  <a:pt x="969612" y="1375826"/>
                  <a:pt x="972113" y="1365882"/>
                </a:cubicBezTo>
                <a:cubicBezTo>
                  <a:pt x="1003374" y="1255258"/>
                  <a:pt x="1024632" y="1224184"/>
                  <a:pt x="1107162" y="1224184"/>
                </a:cubicBezTo>
                <a:close/>
                <a:moveTo>
                  <a:pt x="134614" y="1224184"/>
                </a:moveTo>
                <a:lnTo>
                  <a:pt x="474047" y="1224184"/>
                </a:lnTo>
                <a:cubicBezTo>
                  <a:pt x="555161" y="1224184"/>
                  <a:pt x="577623" y="1255258"/>
                  <a:pt x="608821" y="1365882"/>
                </a:cubicBezTo>
                <a:cubicBezTo>
                  <a:pt x="611317" y="1375826"/>
                  <a:pt x="605077" y="1387012"/>
                  <a:pt x="595094" y="1389498"/>
                </a:cubicBezTo>
                <a:cubicBezTo>
                  <a:pt x="592598" y="1390741"/>
                  <a:pt x="591350" y="1390741"/>
                  <a:pt x="590102" y="1390741"/>
                </a:cubicBezTo>
                <a:cubicBezTo>
                  <a:pt x="581367" y="1390741"/>
                  <a:pt x="573880" y="1385769"/>
                  <a:pt x="570136" y="1375826"/>
                </a:cubicBezTo>
                <a:cubicBezTo>
                  <a:pt x="538938" y="1262716"/>
                  <a:pt x="522715" y="1262716"/>
                  <a:pt x="474047" y="1262716"/>
                </a:cubicBezTo>
                <a:lnTo>
                  <a:pt x="134614" y="1262716"/>
                </a:lnTo>
                <a:cubicBezTo>
                  <a:pt x="85946" y="1262716"/>
                  <a:pt x="70971" y="1262716"/>
                  <a:pt x="38525" y="1375826"/>
                </a:cubicBezTo>
                <a:cubicBezTo>
                  <a:pt x="34781" y="1387012"/>
                  <a:pt x="24798" y="1393227"/>
                  <a:pt x="14815" y="1389498"/>
                </a:cubicBezTo>
                <a:cubicBezTo>
                  <a:pt x="3583" y="1387012"/>
                  <a:pt x="-2656" y="1375826"/>
                  <a:pt x="1088" y="1365882"/>
                </a:cubicBezTo>
                <a:cubicBezTo>
                  <a:pt x="32285" y="1255258"/>
                  <a:pt x="53500" y="1224184"/>
                  <a:pt x="134614" y="1224184"/>
                </a:cubicBezTo>
                <a:close/>
                <a:moveTo>
                  <a:pt x="960173" y="1081365"/>
                </a:moveTo>
                <a:cubicBezTo>
                  <a:pt x="970987" y="1081365"/>
                  <a:pt x="979397" y="1091548"/>
                  <a:pt x="979397" y="1101730"/>
                </a:cubicBezTo>
                <a:lnTo>
                  <a:pt x="979397" y="1165370"/>
                </a:lnTo>
                <a:cubicBezTo>
                  <a:pt x="979397" y="1175553"/>
                  <a:pt x="970987" y="1184462"/>
                  <a:pt x="960173" y="1184462"/>
                </a:cubicBezTo>
                <a:cubicBezTo>
                  <a:pt x="950561" y="1184462"/>
                  <a:pt x="942150" y="1175553"/>
                  <a:pt x="942150" y="1165370"/>
                </a:cubicBezTo>
                <a:lnTo>
                  <a:pt x="942150" y="1101730"/>
                </a:lnTo>
                <a:cubicBezTo>
                  <a:pt x="942150" y="1091548"/>
                  <a:pt x="950561" y="1081365"/>
                  <a:pt x="960173" y="1081365"/>
                </a:cubicBezTo>
                <a:close/>
                <a:moveTo>
                  <a:pt x="620805" y="1081365"/>
                </a:moveTo>
                <a:cubicBezTo>
                  <a:pt x="630418" y="1081365"/>
                  <a:pt x="638828" y="1091548"/>
                  <a:pt x="638828" y="1101730"/>
                </a:cubicBezTo>
                <a:lnTo>
                  <a:pt x="638828" y="1165370"/>
                </a:lnTo>
                <a:cubicBezTo>
                  <a:pt x="638828" y="1175553"/>
                  <a:pt x="630418" y="1184462"/>
                  <a:pt x="620805" y="1184462"/>
                </a:cubicBezTo>
                <a:cubicBezTo>
                  <a:pt x="608790" y="1184462"/>
                  <a:pt x="601581" y="1175553"/>
                  <a:pt x="601581" y="1165370"/>
                </a:cubicBezTo>
                <a:lnTo>
                  <a:pt x="601581" y="1101730"/>
                </a:lnTo>
                <a:cubicBezTo>
                  <a:pt x="601581" y="1091548"/>
                  <a:pt x="608790" y="1081365"/>
                  <a:pt x="620805" y="1081365"/>
                </a:cubicBezTo>
                <a:close/>
                <a:moveTo>
                  <a:pt x="1273226" y="932897"/>
                </a:moveTo>
                <a:cubicBezTo>
                  <a:pt x="1209354" y="932897"/>
                  <a:pt x="1156753" y="984783"/>
                  <a:pt x="1156753" y="1047788"/>
                </a:cubicBezTo>
                <a:cubicBezTo>
                  <a:pt x="1156753" y="1112028"/>
                  <a:pt x="1209354" y="1162679"/>
                  <a:pt x="1273226" y="1162679"/>
                </a:cubicBezTo>
                <a:cubicBezTo>
                  <a:pt x="1338351" y="1162679"/>
                  <a:pt x="1389700" y="1112028"/>
                  <a:pt x="1389700" y="1047788"/>
                </a:cubicBezTo>
                <a:cubicBezTo>
                  <a:pt x="1389700" y="984783"/>
                  <a:pt x="1338351" y="932897"/>
                  <a:pt x="1273226" y="932897"/>
                </a:cubicBezTo>
                <a:close/>
                <a:moveTo>
                  <a:pt x="307702" y="932897"/>
                </a:moveTo>
                <a:cubicBezTo>
                  <a:pt x="242577" y="932897"/>
                  <a:pt x="191229" y="984783"/>
                  <a:pt x="191229" y="1047788"/>
                </a:cubicBezTo>
                <a:cubicBezTo>
                  <a:pt x="191229" y="1112028"/>
                  <a:pt x="242577" y="1162679"/>
                  <a:pt x="307702" y="1162679"/>
                </a:cubicBezTo>
                <a:cubicBezTo>
                  <a:pt x="371575" y="1162679"/>
                  <a:pt x="424176" y="1112028"/>
                  <a:pt x="424176" y="1047788"/>
                </a:cubicBezTo>
                <a:cubicBezTo>
                  <a:pt x="424176" y="984783"/>
                  <a:pt x="371575" y="932897"/>
                  <a:pt x="307702" y="932897"/>
                </a:cubicBezTo>
                <a:close/>
                <a:moveTo>
                  <a:pt x="622429" y="911083"/>
                </a:moveTo>
                <a:lnTo>
                  <a:pt x="962254" y="911083"/>
                </a:lnTo>
                <a:cubicBezTo>
                  <a:pt x="1043462" y="911083"/>
                  <a:pt x="1064701" y="943542"/>
                  <a:pt x="1095935" y="1054651"/>
                </a:cubicBezTo>
                <a:lnTo>
                  <a:pt x="1119673" y="1158270"/>
                </a:lnTo>
                <a:cubicBezTo>
                  <a:pt x="1122172" y="1169506"/>
                  <a:pt x="1114676" y="1179493"/>
                  <a:pt x="1104681" y="1181990"/>
                </a:cubicBezTo>
                <a:cubicBezTo>
                  <a:pt x="1093437" y="1184487"/>
                  <a:pt x="1083442" y="1176996"/>
                  <a:pt x="1080943" y="1167009"/>
                </a:cubicBezTo>
                <a:lnTo>
                  <a:pt x="1058454" y="1064639"/>
                </a:lnTo>
                <a:cubicBezTo>
                  <a:pt x="1025971" y="949784"/>
                  <a:pt x="1012228" y="949784"/>
                  <a:pt x="962254" y="949784"/>
                </a:cubicBezTo>
                <a:lnTo>
                  <a:pt x="622429" y="949784"/>
                </a:lnTo>
                <a:cubicBezTo>
                  <a:pt x="573704" y="949784"/>
                  <a:pt x="558711" y="949784"/>
                  <a:pt x="526228" y="1064639"/>
                </a:cubicBezTo>
                <a:lnTo>
                  <a:pt x="499992" y="1167009"/>
                </a:lnTo>
                <a:cubicBezTo>
                  <a:pt x="497493" y="1176996"/>
                  <a:pt x="488747" y="1181990"/>
                  <a:pt x="480002" y="1181990"/>
                </a:cubicBezTo>
                <a:cubicBezTo>
                  <a:pt x="478753" y="1181990"/>
                  <a:pt x="477503" y="1181990"/>
                  <a:pt x="476254" y="1181990"/>
                </a:cubicBezTo>
                <a:cubicBezTo>
                  <a:pt x="465010" y="1178245"/>
                  <a:pt x="458763" y="1168257"/>
                  <a:pt x="461262" y="1157022"/>
                </a:cubicBezTo>
                <a:lnTo>
                  <a:pt x="488747" y="1054651"/>
                </a:lnTo>
                <a:cubicBezTo>
                  <a:pt x="519981" y="943542"/>
                  <a:pt x="541220" y="911083"/>
                  <a:pt x="622429" y="911083"/>
                </a:cubicBezTo>
                <a:close/>
                <a:moveTo>
                  <a:pt x="1273226" y="894600"/>
                </a:moveTo>
                <a:cubicBezTo>
                  <a:pt x="1359642" y="894600"/>
                  <a:pt x="1429777" y="963782"/>
                  <a:pt x="1429777" y="1047788"/>
                </a:cubicBezTo>
                <a:cubicBezTo>
                  <a:pt x="1429777" y="1133030"/>
                  <a:pt x="1359642" y="1200976"/>
                  <a:pt x="1273226" y="1200976"/>
                </a:cubicBezTo>
                <a:cubicBezTo>
                  <a:pt x="1188063" y="1200976"/>
                  <a:pt x="1117928" y="1133030"/>
                  <a:pt x="1117928" y="1047788"/>
                </a:cubicBezTo>
                <a:cubicBezTo>
                  <a:pt x="1117928" y="963782"/>
                  <a:pt x="1188063" y="894600"/>
                  <a:pt x="1273226" y="894600"/>
                </a:cubicBezTo>
                <a:close/>
                <a:moveTo>
                  <a:pt x="307702" y="894600"/>
                </a:moveTo>
                <a:cubicBezTo>
                  <a:pt x="392866" y="894600"/>
                  <a:pt x="463000" y="963782"/>
                  <a:pt x="463000" y="1047788"/>
                </a:cubicBezTo>
                <a:cubicBezTo>
                  <a:pt x="463000" y="1133030"/>
                  <a:pt x="392866" y="1200976"/>
                  <a:pt x="307702" y="1200976"/>
                </a:cubicBezTo>
                <a:cubicBezTo>
                  <a:pt x="221286" y="1200976"/>
                  <a:pt x="151152" y="1133030"/>
                  <a:pt x="151152" y="1047788"/>
                </a:cubicBezTo>
                <a:cubicBezTo>
                  <a:pt x="151152" y="963782"/>
                  <a:pt x="221286" y="894600"/>
                  <a:pt x="307702" y="894600"/>
                </a:cubicBezTo>
                <a:close/>
                <a:moveTo>
                  <a:pt x="463645" y="743185"/>
                </a:moveTo>
                <a:cubicBezTo>
                  <a:pt x="474631" y="740796"/>
                  <a:pt x="485617" y="745573"/>
                  <a:pt x="486837" y="756320"/>
                </a:cubicBezTo>
                <a:cubicBezTo>
                  <a:pt x="490499" y="765873"/>
                  <a:pt x="484396" y="776620"/>
                  <a:pt x="474631" y="779008"/>
                </a:cubicBezTo>
                <a:lnTo>
                  <a:pt x="419701" y="793338"/>
                </a:lnTo>
                <a:cubicBezTo>
                  <a:pt x="418480" y="793338"/>
                  <a:pt x="416039" y="794532"/>
                  <a:pt x="414818" y="794532"/>
                </a:cubicBezTo>
                <a:cubicBezTo>
                  <a:pt x="406273" y="794532"/>
                  <a:pt x="397729" y="788561"/>
                  <a:pt x="395287" y="780203"/>
                </a:cubicBezTo>
                <a:cubicBezTo>
                  <a:pt x="392846" y="770650"/>
                  <a:pt x="398949" y="759902"/>
                  <a:pt x="409935" y="757514"/>
                </a:cubicBezTo>
                <a:close/>
                <a:moveTo>
                  <a:pt x="486648" y="687106"/>
                </a:moveTo>
                <a:cubicBezTo>
                  <a:pt x="496482" y="685865"/>
                  <a:pt x="507545" y="690827"/>
                  <a:pt x="510003" y="701990"/>
                </a:cubicBezTo>
                <a:cubicBezTo>
                  <a:pt x="512462" y="711913"/>
                  <a:pt x="507545" y="723076"/>
                  <a:pt x="496482" y="725557"/>
                </a:cubicBezTo>
                <a:lnTo>
                  <a:pt x="366185" y="761527"/>
                </a:lnTo>
                <a:cubicBezTo>
                  <a:pt x="363726" y="761527"/>
                  <a:pt x="361268" y="761527"/>
                  <a:pt x="360039" y="761527"/>
                </a:cubicBezTo>
                <a:cubicBezTo>
                  <a:pt x="352663" y="761527"/>
                  <a:pt x="344059" y="755325"/>
                  <a:pt x="341601" y="747883"/>
                </a:cubicBezTo>
                <a:cubicBezTo>
                  <a:pt x="337913" y="736720"/>
                  <a:pt x="345288" y="726797"/>
                  <a:pt x="355122" y="723076"/>
                </a:cubicBezTo>
                <a:close/>
                <a:moveTo>
                  <a:pt x="1100032" y="660818"/>
                </a:moveTo>
                <a:lnTo>
                  <a:pt x="1171971" y="680153"/>
                </a:lnTo>
                <a:cubicBezTo>
                  <a:pt x="1181894" y="682570"/>
                  <a:pt x="1188096" y="693445"/>
                  <a:pt x="1185615" y="703113"/>
                </a:cubicBezTo>
                <a:cubicBezTo>
                  <a:pt x="1183134" y="711572"/>
                  <a:pt x="1175692" y="717614"/>
                  <a:pt x="1167010" y="717614"/>
                </a:cubicBezTo>
                <a:cubicBezTo>
                  <a:pt x="1164529" y="717614"/>
                  <a:pt x="1163289" y="716405"/>
                  <a:pt x="1162049" y="716405"/>
                </a:cubicBezTo>
                <a:lnTo>
                  <a:pt x="1090109" y="698279"/>
                </a:lnTo>
                <a:cubicBezTo>
                  <a:pt x="1080187" y="694654"/>
                  <a:pt x="1073985" y="684986"/>
                  <a:pt x="1076466" y="674111"/>
                </a:cubicBezTo>
                <a:cubicBezTo>
                  <a:pt x="1078946" y="664443"/>
                  <a:pt x="1090109" y="658401"/>
                  <a:pt x="1100032" y="660818"/>
                </a:cubicBezTo>
                <a:close/>
                <a:moveTo>
                  <a:pt x="473327" y="631996"/>
                </a:moveTo>
                <a:lnTo>
                  <a:pt x="345166" y="666727"/>
                </a:lnTo>
                <a:lnTo>
                  <a:pt x="348899" y="677890"/>
                </a:lnTo>
                <a:lnTo>
                  <a:pt x="475816" y="644400"/>
                </a:lnTo>
                <a:close/>
                <a:moveTo>
                  <a:pt x="789839" y="619796"/>
                </a:moveTo>
                <a:cubicBezTo>
                  <a:pt x="725966" y="619796"/>
                  <a:pt x="673365" y="671682"/>
                  <a:pt x="673365" y="734687"/>
                </a:cubicBezTo>
                <a:cubicBezTo>
                  <a:pt x="673365" y="797692"/>
                  <a:pt x="725966" y="849578"/>
                  <a:pt x="789839" y="849578"/>
                </a:cubicBezTo>
                <a:cubicBezTo>
                  <a:pt x="854964" y="849578"/>
                  <a:pt x="906313" y="797692"/>
                  <a:pt x="906313" y="734687"/>
                </a:cubicBezTo>
                <a:cubicBezTo>
                  <a:pt x="906313" y="671682"/>
                  <a:pt x="854964" y="619796"/>
                  <a:pt x="789839" y="619796"/>
                </a:cubicBezTo>
                <a:close/>
                <a:moveTo>
                  <a:pt x="1062773" y="589464"/>
                </a:moveTo>
                <a:lnTo>
                  <a:pt x="1232425" y="635266"/>
                </a:lnTo>
                <a:cubicBezTo>
                  <a:pt x="1242331" y="637742"/>
                  <a:pt x="1248523" y="648882"/>
                  <a:pt x="1246046" y="660024"/>
                </a:cubicBezTo>
                <a:cubicBezTo>
                  <a:pt x="1243569" y="667451"/>
                  <a:pt x="1236140" y="673640"/>
                  <a:pt x="1226233" y="673640"/>
                </a:cubicBezTo>
                <a:cubicBezTo>
                  <a:pt x="1224995" y="673640"/>
                  <a:pt x="1223756" y="673640"/>
                  <a:pt x="1222518" y="673640"/>
                </a:cubicBezTo>
                <a:lnTo>
                  <a:pt x="1052866" y="627839"/>
                </a:lnTo>
                <a:cubicBezTo>
                  <a:pt x="1041722" y="624125"/>
                  <a:pt x="1035530" y="614222"/>
                  <a:pt x="1039245" y="604319"/>
                </a:cubicBezTo>
                <a:cubicBezTo>
                  <a:pt x="1041722" y="593178"/>
                  <a:pt x="1051628" y="586989"/>
                  <a:pt x="1062773" y="589464"/>
                </a:cubicBezTo>
                <a:close/>
                <a:moveTo>
                  <a:pt x="789839" y="581499"/>
                </a:moveTo>
                <a:cubicBezTo>
                  <a:pt x="876255" y="581499"/>
                  <a:pt x="946389" y="650680"/>
                  <a:pt x="946389" y="734687"/>
                </a:cubicBezTo>
                <a:cubicBezTo>
                  <a:pt x="946389" y="819929"/>
                  <a:pt x="876255" y="887875"/>
                  <a:pt x="789839" y="887875"/>
                </a:cubicBezTo>
                <a:cubicBezTo>
                  <a:pt x="704675" y="887875"/>
                  <a:pt x="634541" y="819929"/>
                  <a:pt x="634541" y="734687"/>
                </a:cubicBezTo>
                <a:cubicBezTo>
                  <a:pt x="634541" y="650680"/>
                  <a:pt x="704675" y="581499"/>
                  <a:pt x="789839" y="581499"/>
                </a:cubicBezTo>
                <a:close/>
                <a:moveTo>
                  <a:pt x="1083809" y="508285"/>
                </a:moveTo>
                <a:lnTo>
                  <a:pt x="1077575" y="531858"/>
                </a:lnTo>
                <a:cubicBezTo>
                  <a:pt x="1077575" y="531858"/>
                  <a:pt x="1077575" y="531858"/>
                  <a:pt x="1077575" y="533099"/>
                </a:cubicBezTo>
                <a:cubicBezTo>
                  <a:pt x="1077575" y="533099"/>
                  <a:pt x="1077575" y="534339"/>
                  <a:pt x="1078822" y="534339"/>
                </a:cubicBezTo>
                <a:lnTo>
                  <a:pt x="1250871" y="579005"/>
                </a:lnTo>
                <a:cubicBezTo>
                  <a:pt x="1250871" y="580245"/>
                  <a:pt x="1250871" y="579005"/>
                  <a:pt x="1252118" y="579005"/>
                </a:cubicBezTo>
                <a:cubicBezTo>
                  <a:pt x="1252118" y="579005"/>
                  <a:pt x="1252118" y="579005"/>
                  <a:pt x="1252118" y="577764"/>
                </a:cubicBezTo>
                <a:lnTo>
                  <a:pt x="1258352" y="555431"/>
                </a:lnTo>
                <a:close/>
                <a:moveTo>
                  <a:pt x="344736" y="281312"/>
                </a:moveTo>
                <a:cubicBezTo>
                  <a:pt x="379640" y="280557"/>
                  <a:pt x="414371" y="292185"/>
                  <a:pt x="442155" y="313581"/>
                </a:cubicBezTo>
                <a:cubicBezTo>
                  <a:pt x="452034" y="321023"/>
                  <a:pt x="452034" y="333427"/>
                  <a:pt x="445860" y="342109"/>
                </a:cubicBezTo>
                <a:cubicBezTo>
                  <a:pt x="442155" y="347071"/>
                  <a:pt x="435981" y="349551"/>
                  <a:pt x="431041" y="349551"/>
                </a:cubicBezTo>
                <a:cubicBezTo>
                  <a:pt x="426102" y="349551"/>
                  <a:pt x="422397" y="347071"/>
                  <a:pt x="418693" y="344590"/>
                </a:cubicBezTo>
                <a:cubicBezTo>
                  <a:pt x="390291" y="322264"/>
                  <a:pt x="354480" y="314821"/>
                  <a:pt x="321139" y="324744"/>
                </a:cubicBezTo>
                <a:cubicBezTo>
                  <a:pt x="310025" y="327225"/>
                  <a:pt x="300146" y="321023"/>
                  <a:pt x="296442" y="309860"/>
                </a:cubicBezTo>
                <a:cubicBezTo>
                  <a:pt x="293972" y="299937"/>
                  <a:pt x="300146" y="290014"/>
                  <a:pt x="310025" y="286293"/>
                </a:cubicBezTo>
                <a:cubicBezTo>
                  <a:pt x="321448" y="283192"/>
                  <a:pt x="333102" y="281564"/>
                  <a:pt x="344736" y="281312"/>
                </a:cubicBezTo>
                <a:close/>
                <a:moveTo>
                  <a:pt x="351387" y="267330"/>
                </a:moveTo>
                <a:cubicBezTo>
                  <a:pt x="335212" y="267330"/>
                  <a:pt x="316548" y="268570"/>
                  <a:pt x="299128" y="274772"/>
                </a:cubicBezTo>
                <a:cubicBezTo>
                  <a:pt x="215761" y="302060"/>
                  <a:pt x="165989" y="388885"/>
                  <a:pt x="185898" y="474470"/>
                </a:cubicBezTo>
                <a:cubicBezTo>
                  <a:pt x="199585" y="532767"/>
                  <a:pt x="245623" y="581142"/>
                  <a:pt x="305349" y="598507"/>
                </a:cubicBezTo>
                <a:cubicBezTo>
                  <a:pt x="319036" y="602228"/>
                  <a:pt x="331479" y="613391"/>
                  <a:pt x="335212" y="628275"/>
                </a:cubicBezTo>
                <a:lnTo>
                  <a:pt x="463373" y="594786"/>
                </a:lnTo>
                <a:lnTo>
                  <a:pt x="462129" y="593545"/>
                </a:lnTo>
                <a:cubicBezTo>
                  <a:pt x="458396" y="579901"/>
                  <a:pt x="462129" y="563776"/>
                  <a:pt x="473327" y="553854"/>
                </a:cubicBezTo>
                <a:cubicBezTo>
                  <a:pt x="515633" y="510441"/>
                  <a:pt x="531808" y="450904"/>
                  <a:pt x="515633" y="392606"/>
                </a:cubicBezTo>
                <a:cubicBezTo>
                  <a:pt x="503190" y="346713"/>
                  <a:pt x="474571" y="309502"/>
                  <a:pt x="433510" y="287176"/>
                </a:cubicBezTo>
                <a:cubicBezTo>
                  <a:pt x="407380" y="273532"/>
                  <a:pt x="380006" y="267330"/>
                  <a:pt x="351387" y="267330"/>
                </a:cubicBezTo>
                <a:close/>
                <a:moveTo>
                  <a:pt x="371451" y="227793"/>
                </a:moveTo>
                <a:cubicBezTo>
                  <a:pt x="399292" y="230429"/>
                  <a:pt x="426667" y="238802"/>
                  <a:pt x="452174" y="252446"/>
                </a:cubicBezTo>
                <a:cubicBezTo>
                  <a:pt x="503190" y="280974"/>
                  <a:pt x="539274" y="326867"/>
                  <a:pt x="554205" y="381443"/>
                </a:cubicBezTo>
                <a:cubicBezTo>
                  <a:pt x="572870" y="452144"/>
                  <a:pt x="552961" y="527806"/>
                  <a:pt x="500701" y="581142"/>
                </a:cubicBezTo>
                <a:cubicBezTo>
                  <a:pt x="500701" y="581142"/>
                  <a:pt x="500701" y="582382"/>
                  <a:pt x="500701" y="583622"/>
                </a:cubicBezTo>
                <a:lnTo>
                  <a:pt x="514388" y="636958"/>
                </a:lnTo>
                <a:cubicBezTo>
                  <a:pt x="519365" y="655563"/>
                  <a:pt x="508167" y="675410"/>
                  <a:pt x="489503" y="680371"/>
                </a:cubicBezTo>
                <a:lnTo>
                  <a:pt x="355120" y="716342"/>
                </a:lnTo>
                <a:cubicBezTo>
                  <a:pt x="352632" y="716342"/>
                  <a:pt x="348899" y="717582"/>
                  <a:pt x="346410" y="717582"/>
                </a:cubicBezTo>
                <a:cubicBezTo>
                  <a:pt x="330235" y="717582"/>
                  <a:pt x="315303" y="706419"/>
                  <a:pt x="311570" y="690294"/>
                </a:cubicBezTo>
                <a:lnTo>
                  <a:pt x="297883" y="638198"/>
                </a:lnTo>
                <a:cubicBezTo>
                  <a:pt x="296639" y="636958"/>
                  <a:pt x="295395" y="636958"/>
                  <a:pt x="295395" y="635717"/>
                </a:cubicBezTo>
                <a:cubicBezTo>
                  <a:pt x="220738" y="614631"/>
                  <a:pt x="164745" y="556334"/>
                  <a:pt x="147325" y="481913"/>
                </a:cubicBezTo>
                <a:cubicBezTo>
                  <a:pt x="123684" y="377722"/>
                  <a:pt x="184654" y="269811"/>
                  <a:pt x="287929" y="237561"/>
                </a:cubicBezTo>
                <a:cubicBezTo>
                  <a:pt x="315303" y="228259"/>
                  <a:pt x="343611" y="225158"/>
                  <a:pt x="371451" y="227793"/>
                </a:cubicBezTo>
                <a:close/>
                <a:moveTo>
                  <a:pt x="1293832" y="78624"/>
                </a:moveTo>
                <a:cubicBezTo>
                  <a:pt x="1351531" y="93526"/>
                  <a:pt x="1399196" y="136993"/>
                  <a:pt x="1421774" y="191637"/>
                </a:cubicBezTo>
                <a:cubicBezTo>
                  <a:pt x="1424283" y="201572"/>
                  <a:pt x="1420520" y="212749"/>
                  <a:pt x="1410485" y="216475"/>
                </a:cubicBezTo>
                <a:cubicBezTo>
                  <a:pt x="1407977" y="217717"/>
                  <a:pt x="1405468" y="217717"/>
                  <a:pt x="1402959" y="217717"/>
                </a:cubicBezTo>
                <a:cubicBezTo>
                  <a:pt x="1395433" y="217717"/>
                  <a:pt x="1387907" y="213991"/>
                  <a:pt x="1384144" y="205298"/>
                </a:cubicBezTo>
                <a:cubicBezTo>
                  <a:pt x="1366583" y="161831"/>
                  <a:pt x="1330207" y="129542"/>
                  <a:pt x="1282543" y="117123"/>
                </a:cubicBezTo>
                <a:cubicBezTo>
                  <a:pt x="1272508" y="113397"/>
                  <a:pt x="1266236" y="103462"/>
                  <a:pt x="1268745" y="92285"/>
                </a:cubicBezTo>
                <a:cubicBezTo>
                  <a:pt x="1272508" y="82349"/>
                  <a:pt x="1282543" y="76140"/>
                  <a:pt x="1293832" y="78624"/>
                </a:cubicBezTo>
                <a:close/>
                <a:moveTo>
                  <a:pt x="1244637" y="39299"/>
                </a:moveTo>
                <a:cubicBezTo>
                  <a:pt x="1147392" y="39299"/>
                  <a:pt x="1057627" y="102575"/>
                  <a:pt x="1028952" y="196868"/>
                </a:cubicBezTo>
                <a:cubicBezTo>
                  <a:pt x="1005264" y="275032"/>
                  <a:pt x="1026459" y="360641"/>
                  <a:pt x="1083809" y="418954"/>
                </a:cubicBezTo>
                <a:cubicBezTo>
                  <a:pt x="1095029" y="431361"/>
                  <a:pt x="1100016" y="448731"/>
                  <a:pt x="1096276" y="466101"/>
                </a:cubicBezTo>
                <a:lnTo>
                  <a:pt x="1093783" y="472304"/>
                </a:lnTo>
                <a:lnTo>
                  <a:pt x="1268325" y="516969"/>
                </a:lnTo>
                <a:lnTo>
                  <a:pt x="1270819" y="510766"/>
                </a:lnTo>
                <a:cubicBezTo>
                  <a:pt x="1274559" y="494637"/>
                  <a:pt x="1288273" y="480989"/>
                  <a:pt x="1304481" y="477267"/>
                </a:cubicBezTo>
                <a:cubicBezTo>
                  <a:pt x="1380532" y="456175"/>
                  <a:pt x="1440375" y="396621"/>
                  <a:pt x="1460323" y="320938"/>
                </a:cubicBezTo>
                <a:cubicBezTo>
                  <a:pt x="1476530" y="261385"/>
                  <a:pt x="1467803" y="199350"/>
                  <a:pt x="1435388" y="145999"/>
                </a:cubicBezTo>
                <a:cubicBezTo>
                  <a:pt x="1404220" y="93890"/>
                  <a:pt x="1353103" y="57909"/>
                  <a:pt x="1292013" y="44262"/>
                </a:cubicBezTo>
                <a:cubicBezTo>
                  <a:pt x="1275806" y="40540"/>
                  <a:pt x="1259598" y="39299"/>
                  <a:pt x="1244637" y="39299"/>
                </a:cubicBezTo>
                <a:close/>
                <a:moveTo>
                  <a:pt x="1249598" y="45"/>
                </a:moveTo>
                <a:cubicBezTo>
                  <a:pt x="1266124" y="352"/>
                  <a:pt x="1282819" y="2233"/>
                  <a:pt x="1299494" y="5800"/>
                </a:cubicBezTo>
                <a:cubicBezTo>
                  <a:pt x="1370558" y="21929"/>
                  <a:pt x="1431648" y="64113"/>
                  <a:pt x="1469050" y="126148"/>
                </a:cubicBezTo>
                <a:cubicBezTo>
                  <a:pt x="1507699" y="188183"/>
                  <a:pt x="1517672" y="261385"/>
                  <a:pt x="1498971" y="330864"/>
                </a:cubicBezTo>
                <a:cubicBezTo>
                  <a:pt x="1474037" y="418954"/>
                  <a:pt x="1404220" y="488433"/>
                  <a:pt x="1315701" y="514488"/>
                </a:cubicBezTo>
                <a:cubicBezTo>
                  <a:pt x="1311961" y="514488"/>
                  <a:pt x="1309468" y="518210"/>
                  <a:pt x="1308221" y="521932"/>
                </a:cubicBezTo>
                <a:lnTo>
                  <a:pt x="1290767" y="587690"/>
                </a:lnTo>
                <a:cubicBezTo>
                  <a:pt x="1288273" y="598856"/>
                  <a:pt x="1280793" y="607541"/>
                  <a:pt x="1270819" y="613744"/>
                </a:cubicBezTo>
                <a:cubicBezTo>
                  <a:pt x="1264585" y="616226"/>
                  <a:pt x="1258352" y="618707"/>
                  <a:pt x="1250871" y="618707"/>
                </a:cubicBezTo>
                <a:cubicBezTo>
                  <a:pt x="1247131" y="618707"/>
                  <a:pt x="1243391" y="617466"/>
                  <a:pt x="1239651" y="617466"/>
                </a:cubicBezTo>
                <a:lnTo>
                  <a:pt x="1068848" y="571560"/>
                </a:lnTo>
                <a:cubicBezTo>
                  <a:pt x="1057627" y="569079"/>
                  <a:pt x="1048900" y="561635"/>
                  <a:pt x="1043913" y="552950"/>
                </a:cubicBezTo>
                <a:cubicBezTo>
                  <a:pt x="1037679" y="543024"/>
                  <a:pt x="1036432" y="531858"/>
                  <a:pt x="1038926" y="521932"/>
                </a:cubicBezTo>
                <a:lnTo>
                  <a:pt x="1057627" y="454934"/>
                </a:lnTo>
                <a:cubicBezTo>
                  <a:pt x="1057627" y="452453"/>
                  <a:pt x="1057627" y="448731"/>
                  <a:pt x="1055134" y="446249"/>
                </a:cubicBezTo>
                <a:cubicBezTo>
                  <a:pt x="987810" y="376770"/>
                  <a:pt x="964122" y="277514"/>
                  <a:pt x="991550" y="185702"/>
                </a:cubicBezTo>
                <a:cubicBezTo>
                  <a:pt x="1026459" y="72798"/>
                  <a:pt x="1133912" y="-2110"/>
                  <a:pt x="1249598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31197AB-DD2C-1ADF-9E37-B63582EB0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1934" y="3146111"/>
            <a:ext cx="605031" cy="784891"/>
          </a:xfrm>
          <a:custGeom>
            <a:avLst/>
            <a:gdLst>
              <a:gd name="connsiteX0" fmla="*/ 619606 w 1210062"/>
              <a:gd name="connsiteY0" fmla="*/ 1455653 h 1569781"/>
              <a:gd name="connsiteX1" fmla="*/ 638833 w 1210062"/>
              <a:gd name="connsiteY1" fmla="*/ 1475288 h 1569781"/>
              <a:gd name="connsiteX2" fmla="*/ 638833 w 1210062"/>
              <a:gd name="connsiteY2" fmla="*/ 1550146 h 1569781"/>
              <a:gd name="connsiteX3" fmla="*/ 619606 w 1210062"/>
              <a:gd name="connsiteY3" fmla="*/ 1569781 h 1569781"/>
              <a:gd name="connsiteX4" fmla="*/ 601581 w 1210062"/>
              <a:gd name="connsiteY4" fmla="*/ 1550146 h 1569781"/>
              <a:gd name="connsiteX5" fmla="*/ 601581 w 1210062"/>
              <a:gd name="connsiteY5" fmla="*/ 1475288 h 1569781"/>
              <a:gd name="connsiteX6" fmla="*/ 619606 w 1210062"/>
              <a:gd name="connsiteY6" fmla="*/ 1455653 h 1569781"/>
              <a:gd name="connsiteX7" fmla="*/ 191769 w 1210062"/>
              <a:gd name="connsiteY7" fmla="*/ 1455653 h 1569781"/>
              <a:gd name="connsiteX8" fmla="*/ 210413 w 1210062"/>
              <a:gd name="connsiteY8" fmla="*/ 1475288 h 1569781"/>
              <a:gd name="connsiteX9" fmla="*/ 210413 w 1210062"/>
              <a:gd name="connsiteY9" fmla="*/ 1550146 h 1569781"/>
              <a:gd name="connsiteX10" fmla="*/ 191769 w 1210062"/>
              <a:gd name="connsiteY10" fmla="*/ 1569781 h 1569781"/>
              <a:gd name="connsiteX11" fmla="*/ 173125 w 1210062"/>
              <a:gd name="connsiteY11" fmla="*/ 1550146 h 1569781"/>
              <a:gd name="connsiteX12" fmla="*/ 173125 w 1210062"/>
              <a:gd name="connsiteY12" fmla="*/ 1475288 h 1569781"/>
              <a:gd name="connsiteX13" fmla="*/ 191769 w 1210062"/>
              <a:gd name="connsiteY13" fmla="*/ 1455653 h 1569781"/>
              <a:gd name="connsiteX14" fmla="*/ 196971 w 1210062"/>
              <a:gd name="connsiteY14" fmla="*/ 1241426 h 1569781"/>
              <a:gd name="connsiteX15" fmla="*/ 619928 w 1210062"/>
              <a:gd name="connsiteY15" fmla="*/ 1241426 h 1569781"/>
              <a:gd name="connsiteX16" fmla="*/ 783372 w 1210062"/>
              <a:gd name="connsiteY16" fmla="*/ 1416789 h 1569781"/>
              <a:gd name="connsiteX17" fmla="*/ 812068 w 1210062"/>
              <a:gd name="connsiteY17" fmla="*/ 1544890 h 1569781"/>
              <a:gd name="connsiteX18" fmla="*/ 797096 w 1210062"/>
              <a:gd name="connsiteY18" fmla="*/ 1568521 h 1569781"/>
              <a:gd name="connsiteX19" fmla="*/ 773391 w 1210062"/>
              <a:gd name="connsiteY19" fmla="*/ 1553596 h 1569781"/>
              <a:gd name="connsiteX20" fmla="*/ 745942 w 1210062"/>
              <a:gd name="connsiteY20" fmla="*/ 1425495 h 1569781"/>
              <a:gd name="connsiteX21" fmla="*/ 619928 w 1210062"/>
              <a:gd name="connsiteY21" fmla="*/ 1281225 h 1569781"/>
              <a:gd name="connsiteX22" fmla="*/ 196971 w 1210062"/>
              <a:gd name="connsiteY22" fmla="*/ 1281225 h 1569781"/>
              <a:gd name="connsiteX23" fmla="*/ 70957 w 1210062"/>
              <a:gd name="connsiteY23" fmla="*/ 1426738 h 1569781"/>
              <a:gd name="connsiteX24" fmla="*/ 38518 w 1210062"/>
              <a:gd name="connsiteY24" fmla="*/ 1554840 h 1569781"/>
              <a:gd name="connsiteX25" fmla="*/ 19803 w 1210062"/>
              <a:gd name="connsiteY25" fmla="*/ 1568521 h 1569781"/>
              <a:gd name="connsiteX26" fmla="*/ 14812 w 1210062"/>
              <a:gd name="connsiteY26" fmla="*/ 1568521 h 1569781"/>
              <a:gd name="connsiteX27" fmla="*/ 1088 w 1210062"/>
              <a:gd name="connsiteY27" fmla="*/ 1544890 h 1569781"/>
              <a:gd name="connsiteX28" fmla="*/ 33527 w 1210062"/>
              <a:gd name="connsiteY28" fmla="*/ 1416789 h 1569781"/>
              <a:gd name="connsiteX29" fmla="*/ 196971 w 1210062"/>
              <a:gd name="connsiteY29" fmla="*/ 1241426 h 1569781"/>
              <a:gd name="connsiteX30" fmla="*/ 405330 w 1210062"/>
              <a:gd name="connsiteY30" fmla="*/ 869211 h 1569781"/>
              <a:gd name="connsiteX31" fmla="*/ 256963 w 1210062"/>
              <a:gd name="connsiteY31" fmla="*/ 1018335 h 1569781"/>
              <a:gd name="connsiteX32" fmla="*/ 405330 w 1210062"/>
              <a:gd name="connsiteY32" fmla="*/ 1167458 h 1569781"/>
              <a:gd name="connsiteX33" fmla="*/ 554944 w 1210062"/>
              <a:gd name="connsiteY33" fmla="*/ 1018335 h 1569781"/>
              <a:gd name="connsiteX34" fmla="*/ 405330 w 1210062"/>
              <a:gd name="connsiteY34" fmla="*/ 869211 h 1569781"/>
              <a:gd name="connsiteX35" fmla="*/ 659259 w 1210062"/>
              <a:gd name="connsiteY35" fmla="*/ 857897 h 1569781"/>
              <a:gd name="connsiteX36" fmla="*/ 639624 w 1210062"/>
              <a:gd name="connsiteY36" fmla="*/ 878250 h 1569781"/>
              <a:gd name="connsiteX37" fmla="*/ 659259 w 1210062"/>
              <a:gd name="connsiteY37" fmla="*/ 898604 h 1569781"/>
              <a:gd name="connsiteX38" fmla="*/ 677666 w 1210062"/>
              <a:gd name="connsiteY38" fmla="*/ 878250 h 1569781"/>
              <a:gd name="connsiteX39" fmla="*/ 659259 w 1210062"/>
              <a:gd name="connsiteY39" fmla="*/ 857897 h 1569781"/>
              <a:gd name="connsiteX40" fmla="*/ 405330 w 1210062"/>
              <a:gd name="connsiteY40" fmla="*/ 829445 h 1569781"/>
              <a:gd name="connsiteX41" fmla="*/ 594841 w 1210062"/>
              <a:gd name="connsiteY41" fmla="*/ 1018335 h 1569781"/>
              <a:gd name="connsiteX42" fmla="*/ 405330 w 1210062"/>
              <a:gd name="connsiteY42" fmla="*/ 1207225 h 1569781"/>
              <a:gd name="connsiteX43" fmla="*/ 217066 w 1210062"/>
              <a:gd name="connsiteY43" fmla="*/ 1018335 h 1569781"/>
              <a:gd name="connsiteX44" fmla="*/ 405330 w 1210062"/>
              <a:gd name="connsiteY44" fmla="*/ 829445 h 1569781"/>
              <a:gd name="connsiteX45" fmla="*/ 659259 w 1210062"/>
              <a:gd name="connsiteY45" fmla="*/ 818462 h 1569781"/>
              <a:gd name="connsiteX46" fmla="*/ 715709 w 1210062"/>
              <a:gd name="connsiteY46" fmla="*/ 878250 h 1569781"/>
              <a:gd name="connsiteX47" fmla="*/ 659259 w 1210062"/>
              <a:gd name="connsiteY47" fmla="*/ 938038 h 1569781"/>
              <a:gd name="connsiteX48" fmla="*/ 601581 w 1210062"/>
              <a:gd name="connsiteY48" fmla="*/ 878250 h 1569781"/>
              <a:gd name="connsiteX49" fmla="*/ 659259 w 1210062"/>
              <a:gd name="connsiteY49" fmla="*/ 818462 h 1569781"/>
              <a:gd name="connsiteX50" fmla="*/ 657140 w 1210062"/>
              <a:gd name="connsiteY50" fmla="*/ 633486 h 1569781"/>
              <a:gd name="connsiteX51" fmla="*/ 593394 w 1210062"/>
              <a:gd name="connsiteY51" fmla="*/ 697616 h 1569781"/>
              <a:gd name="connsiteX52" fmla="*/ 657140 w 1210062"/>
              <a:gd name="connsiteY52" fmla="*/ 761745 h 1569781"/>
              <a:gd name="connsiteX53" fmla="*/ 720885 w 1210062"/>
              <a:gd name="connsiteY53" fmla="*/ 697616 h 1569781"/>
              <a:gd name="connsiteX54" fmla="*/ 657140 w 1210062"/>
              <a:gd name="connsiteY54" fmla="*/ 633486 h 1569781"/>
              <a:gd name="connsiteX55" fmla="*/ 657140 w 1210062"/>
              <a:gd name="connsiteY55" fmla="*/ 593248 h 1569781"/>
              <a:gd name="connsiteX56" fmla="*/ 759632 w 1210062"/>
              <a:gd name="connsiteY56" fmla="*/ 697616 h 1569781"/>
              <a:gd name="connsiteX57" fmla="*/ 657140 w 1210062"/>
              <a:gd name="connsiteY57" fmla="*/ 800726 h 1569781"/>
              <a:gd name="connsiteX58" fmla="*/ 552147 w 1210062"/>
              <a:gd name="connsiteY58" fmla="*/ 697616 h 1569781"/>
              <a:gd name="connsiteX59" fmla="*/ 657140 w 1210062"/>
              <a:gd name="connsiteY59" fmla="*/ 593248 h 1569781"/>
              <a:gd name="connsiteX60" fmla="*/ 885542 w 1210062"/>
              <a:gd name="connsiteY60" fmla="*/ 38748 h 1569781"/>
              <a:gd name="connsiteX61" fmla="*/ 775705 w 1210062"/>
              <a:gd name="connsiteY61" fmla="*/ 84994 h 1569781"/>
              <a:gd name="connsiteX62" fmla="*/ 749494 w 1210062"/>
              <a:gd name="connsiteY62" fmla="*/ 87494 h 1569781"/>
              <a:gd name="connsiteX63" fmla="*/ 662123 w 1210062"/>
              <a:gd name="connsiteY63" fmla="*/ 58746 h 1569781"/>
              <a:gd name="connsiteX64" fmla="*/ 562271 w 1210062"/>
              <a:gd name="connsiteY64" fmla="*/ 96243 h 1569781"/>
              <a:gd name="connsiteX65" fmla="*/ 536060 w 1210062"/>
              <a:gd name="connsiteY65" fmla="*/ 94994 h 1569781"/>
              <a:gd name="connsiteX66" fmla="*/ 431215 w 1210062"/>
              <a:gd name="connsiteY66" fmla="*/ 53746 h 1569781"/>
              <a:gd name="connsiteX67" fmla="*/ 333859 w 1210062"/>
              <a:gd name="connsiteY67" fmla="*/ 88744 h 1569781"/>
              <a:gd name="connsiteX68" fmla="*/ 312641 w 1210062"/>
              <a:gd name="connsiteY68" fmla="*/ 91244 h 1569781"/>
              <a:gd name="connsiteX69" fmla="*/ 242744 w 1210062"/>
              <a:gd name="connsiteY69" fmla="*/ 74995 h 1569781"/>
              <a:gd name="connsiteX70" fmla="*/ 216533 w 1210062"/>
              <a:gd name="connsiteY70" fmla="*/ 77495 h 1569781"/>
              <a:gd name="connsiteX71" fmla="*/ 90470 w 1210062"/>
              <a:gd name="connsiteY71" fmla="*/ 209985 h 1569781"/>
              <a:gd name="connsiteX72" fmla="*/ 112936 w 1210062"/>
              <a:gd name="connsiteY72" fmla="*/ 311228 h 1569781"/>
              <a:gd name="connsiteX73" fmla="*/ 116681 w 1210062"/>
              <a:gd name="connsiteY73" fmla="*/ 321228 h 1569781"/>
              <a:gd name="connsiteX74" fmla="*/ 116681 w 1210062"/>
              <a:gd name="connsiteY74" fmla="*/ 328727 h 1569781"/>
              <a:gd name="connsiteX75" fmla="*/ 175344 w 1210062"/>
              <a:gd name="connsiteY75" fmla="*/ 468717 h 1569781"/>
              <a:gd name="connsiteX76" fmla="*/ 200307 w 1210062"/>
              <a:gd name="connsiteY76" fmla="*/ 488716 h 1569781"/>
              <a:gd name="connsiteX77" fmla="*/ 311393 w 1210062"/>
              <a:gd name="connsiteY77" fmla="*/ 523713 h 1569781"/>
              <a:gd name="connsiteX78" fmla="*/ 376296 w 1210062"/>
              <a:gd name="connsiteY78" fmla="*/ 523713 h 1569781"/>
              <a:gd name="connsiteX79" fmla="*/ 391274 w 1210062"/>
              <a:gd name="connsiteY79" fmla="*/ 529963 h 1569781"/>
              <a:gd name="connsiteX80" fmla="*/ 508601 w 1210062"/>
              <a:gd name="connsiteY80" fmla="*/ 584959 h 1569781"/>
              <a:gd name="connsiteX81" fmla="*/ 618438 w 1210062"/>
              <a:gd name="connsiteY81" fmla="*/ 539962 h 1569781"/>
              <a:gd name="connsiteX82" fmla="*/ 659627 w 1210062"/>
              <a:gd name="connsiteY82" fmla="*/ 523713 h 1569781"/>
              <a:gd name="connsiteX83" fmla="*/ 695823 w 1210062"/>
              <a:gd name="connsiteY83" fmla="*/ 536213 h 1569781"/>
              <a:gd name="connsiteX84" fmla="*/ 793179 w 1210062"/>
              <a:gd name="connsiteY84" fmla="*/ 569960 h 1569781"/>
              <a:gd name="connsiteX85" fmla="*/ 866820 w 1210062"/>
              <a:gd name="connsiteY85" fmla="*/ 552461 h 1569781"/>
              <a:gd name="connsiteX86" fmla="*/ 917994 w 1210062"/>
              <a:gd name="connsiteY86" fmla="*/ 547462 h 1569781"/>
              <a:gd name="connsiteX87" fmla="*/ 966672 w 1210062"/>
              <a:gd name="connsiteY87" fmla="*/ 556211 h 1569781"/>
              <a:gd name="connsiteX88" fmla="*/ 1120195 w 1210062"/>
              <a:gd name="connsiteY88" fmla="*/ 402472 h 1569781"/>
              <a:gd name="connsiteX89" fmla="*/ 1120195 w 1210062"/>
              <a:gd name="connsiteY89" fmla="*/ 397472 h 1569781"/>
              <a:gd name="connsiteX90" fmla="*/ 1120195 w 1210062"/>
              <a:gd name="connsiteY90" fmla="*/ 394972 h 1569781"/>
              <a:gd name="connsiteX91" fmla="*/ 1126436 w 1210062"/>
              <a:gd name="connsiteY91" fmla="*/ 379974 h 1569781"/>
              <a:gd name="connsiteX92" fmla="*/ 1171369 w 1210062"/>
              <a:gd name="connsiteY92" fmla="*/ 269981 h 1569781"/>
              <a:gd name="connsiteX93" fmla="*/ 1029080 w 1210062"/>
              <a:gd name="connsiteY93" fmla="*/ 116242 h 1569781"/>
              <a:gd name="connsiteX94" fmla="*/ 1014102 w 1210062"/>
              <a:gd name="connsiteY94" fmla="*/ 108743 h 1569781"/>
              <a:gd name="connsiteX95" fmla="*/ 885542 w 1210062"/>
              <a:gd name="connsiteY95" fmla="*/ 38748 h 1569781"/>
              <a:gd name="connsiteX96" fmla="*/ 885542 w 1210062"/>
              <a:gd name="connsiteY96" fmla="*/ 0 h 1569781"/>
              <a:gd name="connsiteX97" fmla="*/ 1041562 w 1210062"/>
              <a:gd name="connsiteY97" fmla="*/ 78745 h 1569781"/>
              <a:gd name="connsiteX98" fmla="*/ 1210062 w 1210062"/>
              <a:gd name="connsiteY98" fmla="*/ 269981 h 1569781"/>
              <a:gd name="connsiteX99" fmla="*/ 1158888 w 1210062"/>
              <a:gd name="connsiteY99" fmla="*/ 401222 h 1569781"/>
              <a:gd name="connsiteX100" fmla="*/ 1158888 w 1210062"/>
              <a:gd name="connsiteY100" fmla="*/ 402472 h 1569781"/>
              <a:gd name="connsiteX101" fmla="*/ 966672 w 1210062"/>
              <a:gd name="connsiteY101" fmla="*/ 594958 h 1569781"/>
              <a:gd name="connsiteX102" fmla="*/ 904265 w 1210062"/>
              <a:gd name="connsiteY102" fmla="*/ 583709 h 1569781"/>
              <a:gd name="connsiteX103" fmla="*/ 885542 w 1210062"/>
              <a:gd name="connsiteY103" fmla="*/ 586209 h 1569781"/>
              <a:gd name="connsiteX104" fmla="*/ 793179 w 1210062"/>
              <a:gd name="connsiteY104" fmla="*/ 608707 h 1569781"/>
              <a:gd name="connsiteX105" fmla="*/ 670860 w 1210062"/>
              <a:gd name="connsiteY105" fmla="*/ 566210 h 1569781"/>
              <a:gd name="connsiteX106" fmla="*/ 647145 w 1210062"/>
              <a:gd name="connsiteY106" fmla="*/ 567460 h 1569781"/>
              <a:gd name="connsiteX107" fmla="*/ 508601 w 1210062"/>
              <a:gd name="connsiteY107" fmla="*/ 624956 h 1569781"/>
              <a:gd name="connsiteX108" fmla="*/ 366311 w 1210062"/>
              <a:gd name="connsiteY108" fmla="*/ 562461 h 1569781"/>
              <a:gd name="connsiteX109" fmla="*/ 311393 w 1210062"/>
              <a:gd name="connsiteY109" fmla="*/ 562461 h 1569781"/>
              <a:gd name="connsiteX110" fmla="*/ 179088 w 1210062"/>
              <a:gd name="connsiteY110" fmla="*/ 522464 h 1569781"/>
              <a:gd name="connsiteX111" fmla="*/ 147885 w 1210062"/>
              <a:gd name="connsiteY111" fmla="*/ 496215 h 1569781"/>
              <a:gd name="connsiteX112" fmla="*/ 76740 w 1210062"/>
              <a:gd name="connsiteY112" fmla="*/ 328727 h 1569781"/>
              <a:gd name="connsiteX113" fmla="*/ 76740 w 1210062"/>
              <a:gd name="connsiteY113" fmla="*/ 327477 h 1569781"/>
              <a:gd name="connsiteX114" fmla="*/ 51777 w 1210062"/>
              <a:gd name="connsiteY114" fmla="*/ 204986 h 1569781"/>
              <a:gd name="connsiteX115" fmla="*/ 210292 w 1210062"/>
              <a:gd name="connsiteY115" fmla="*/ 37498 h 1569781"/>
              <a:gd name="connsiteX116" fmla="*/ 318881 w 1210062"/>
              <a:gd name="connsiteY116" fmla="*/ 51247 h 1569781"/>
              <a:gd name="connsiteX117" fmla="*/ 431215 w 1210062"/>
              <a:gd name="connsiteY117" fmla="*/ 13749 h 1569781"/>
              <a:gd name="connsiteX118" fmla="*/ 549790 w 1210062"/>
              <a:gd name="connsiteY118" fmla="*/ 56246 h 1569781"/>
              <a:gd name="connsiteX119" fmla="*/ 662123 w 1210062"/>
              <a:gd name="connsiteY119" fmla="*/ 19999 h 1569781"/>
              <a:gd name="connsiteX120" fmla="*/ 758231 w 1210062"/>
              <a:gd name="connsiteY120" fmla="*/ 47497 h 1569781"/>
              <a:gd name="connsiteX121" fmla="*/ 885542 w 1210062"/>
              <a:gd name="connsiteY121" fmla="*/ 0 h 156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0062" h="1569781">
                <a:moveTo>
                  <a:pt x="619606" y="1455653"/>
                </a:moveTo>
                <a:cubicBezTo>
                  <a:pt x="630421" y="1455653"/>
                  <a:pt x="638833" y="1464244"/>
                  <a:pt x="638833" y="1475288"/>
                </a:cubicBezTo>
                <a:lnTo>
                  <a:pt x="638833" y="1550146"/>
                </a:lnTo>
                <a:cubicBezTo>
                  <a:pt x="638833" y="1561191"/>
                  <a:pt x="630421" y="1569781"/>
                  <a:pt x="619606" y="1569781"/>
                </a:cubicBezTo>
                <a:cubicBezTo>
                  <a:pt x="609993" y="1569781"/>
                  <a:pt x="601581" y="1561191"/>
                  <a:pt x="601581" y="1550146"/>
                </a:cubicBezTo>
                <a:lnTo>
                  <a:pt x="601581" y="1475288"/>
                </a:lnTo>
                <a:cubicBezTo>
                  <a:pt x="601581" y="1464244"/>
                  <a:pt x="609993" y="1455653"/>
                  <a:pt x="619606" y="1455653"/>
                </a:cubicBezTo>
                <a:close/>
                <a:moveTo>
                  <a:pt x="191769" y="1455653"/>
                </a:moveTo>
                <a:cubicBezTo>
                  <a:pt x="201091" y="1455653"/>
                  <a:pt x="210413" y="1464244"/>
                  <a:pt x="210413" y="1475288"/>
                </a:cubicBezTo>
                <a:lnTo>
                  <a:pt x="210413" y="1550146"/>
                </a:lnTo>
                <a:cubicBezTo>
                  <a:pt x="210413" y="1561191"/>
                  <a:pt x="201091" y="1569781"/>
                  <a:pt x="191769" y="1569781"/>
                </a:cubicBezTo>
                <a:cubicBezTo>
                  <a:pt x="181282" y="1569781"/>
                  <a:pt x="173125" y="1561191"/>
                  <a:pt x="173125" y="1550146"/>
                </a:cubicBezTo>
                <a:lnTo>
                  <a:pt x="173125" y="1475288"/>
                </a:lnTo>
                <a:cubicBezTo>
                  <a:pt x="173125" y="1464244"/>
                  <a:pt x="181282" y="1455653"/>
                  <a:pt x="191769" y="1455653"/>
                </a:cubicBezTo>
                <a:close/>
                <a:moveTo>
                  <a:pt x="196971" y="1241426"/>
                </a:moveTo>
                <a:lnTo>
                  <a:pt x="619928" y="1241426"/>
                </a:lnTo>
                <a:cubicBezTo>
                  <a:pt x="714751" y="1241426"/>
                  <a:pt x="742199" y="1270031"/>
                  <a:pt x="783372" y="1416789"/>
                </a:cubicBezTo>
                <a:lnTo>
                  <a:pt x="812068" y="1544890"/>
                </a:lnTo>
                <a:cubicBezTo>
                  <a:pt x="814564" y="1556084"/>
                  <a:pt x="807078" y="1566033"/>
                  <a:pt x="797096" y="1568521"/>
                </a:cubicBezTo>
                <a:cubicBezTo>
                  <a:pt x="785867" y="1569765"/>
                  <a:pt x="775886" y="1563546"/>
                  <a:pt x="773391" y="1553596"/>
                </a:cubicBezTo>
                <a:lnTo>
                  <a:pt x="745942" y="1425495"/>
                </a:lnTo>
                <a:cubicBezTo>
                  <a:pt x="706017" y="1286200"/>
                  <a:pt x="686054" y="1281225"/>
                  <a:pt x="619928" y="1281225"/>
                </a:cubicBezTo>
                <a:lnTo>
                  <a:pt x="196971" y="1281225"/>
                </a:lnTo>
                <a:cubicBezTo>
                  <a:pt x="129597" y="1281225"/>
                  <a:pt x="110882" y="1286200"/>
                  <a:pt x="70957" y="1426738"/>
                </a:cubicBezTo>
                <a:lnTo>
                  <a:pt x="38518" y="1554840"/>
                </a:lnTo>
                <a:cubicBezTo>
                  <a:pt x="36022" y="1562302"/>
                  <a:pt x="28536" y="1568521"/>
                  <a:pt x="19803" y="1568521"/>
                </a:cubicBezTo>
                <a:cubicBezTo>
                  <a:pt x="17307" y="1568521"/>
                  <a:pt x="16060" y="1568521"/>
                  <a:pt x="14812" y="1568521"/>
                </a:cubicBezTo>
                <a:cubicBezTo>
                  <a:pt x="3583" y="1566033"/>
                  <a:pt x="-2655" y="1554840"/>
                  <a:pt x="1088" y="1544890"/>
                </a:cubicBezTo>
                <a:lnTo>
                  <a:pt x="33527" y="1416789"/>
                </a:lnTo>
                <a:cubicBezTo>
                  <a:pt x="74700" y="1270031"/>
                  <a:pt x="102149" y="1241426"/>
                  <a:pt x="196971" y="1241426"/>
                </a:cubicBezTo>
                <a:close/>
                <a:moveTo>
                  <a:pt x="405330" y="869211"/>
                </a:moveTo>
                <a:cubicBezTo>
                  <a:pt x="324290" y="869211"/>
                  <a:pt x="256963" y="936317"/>
                  <a:pt x="256963" y="1018335"/>
                </a:cubicBezTo>
                <a:cubicBezTo>
                  <a:pt x="256963" y="1100353"/>
                  <a:pt x="324290" y="1167458"/>
                  <a:pt x="405330" y="1167458"/>
                </a:cubicBezTo>
                <a:cubicBezTo>
                  <a:pt x="488865" y="1167458"/>
                  <a:pt x="554944" y="1100353"/>
                  <a:pt x="554944" y="1018335"/>
                </a:cubicBezTo>
                <a:cubicBezTo>
                  <a:pt x="554944" y="936317"/>
                  <a:pt x="488865" y="869211"/>
                  <a:pt x="405330" y="869211"/>
                </a:cubicBezTo>
                <a:close/>
                <a:moveTo>
                  <a:pt x="659259" y="857897"/>
                </a:moveTo>
                <a:cubicBezTo>
                  <a:pt x="648214" y="857897"/>
                  <a:pt x="639624" y="866801"/>
                  <a:pt x="639624" y="878250"/>
                </a:cubicBezTo>
                <a:cubicBezTo>
                  <a:pt x="639624" y="888427"/>
                  <a:pt x="648214" y="898604"/>
                  <a:pt x="659259" y="898604"/>
                </a:cubicBezTo>
                <a:cubicBezTo>
                  <a:pt x="669076" y="898604"/>
                  <a:pt x="677666" y="888427"/>
                  <a:pt x="677666" y="878250"/>
                </a:cubicBezTo>
                <a:cubicBezTo>
                  <a:pt x="677666" y="866801"/>
                  <a:pt x="669076" y="857897"/>
                  <a:pt x="659259" y="857897"/>
                </a:cubicBezTo>
                <a:close/>
                <a:moveTo>
                  <a:pt x="405330" y="829445"/>
                </a:moveTo>
                <a:cubicBezTo>
                  <a:pt x="510060" y="829445"/>
                  <a:pt x="594841" y="913949"/>
                  <a:pt x="594841" y="1018335"/>
                </a:cubicBezTo>
                <a:cubicBezTo>
                  <a:pt x="594841" y="1122721"/>
                  <a:pt x="510060" y="1207225"/>
                  <a:pt x="405330" y="1207225"/>
                </a:cubicBezTo>
                <a:cubicBezTo>
                  <a:pt x="301847" y="1207225"/>
                  <a:pt x="217066" y="1122721"/>
                  <a:pt x="217066" y="1018335"/>
                </a:cubicBezTo>
                <a:cubicBezTo>
                  <a:pt x="217066" y="913949"/>
                  <a:pt x="301847" y="829445"/>
                  <a:pt x="405330" y="829445"/>
                </a:cubicBezTo>
                <a:close/>
                <a:moveTo>
                  <a:pt x="659259" y="818462"/>
                </a:moveTo>
                <a:cubicBezTo>
                  <a:pt x="689938" y="818462"/>
                  <a:pt x="715709" y="845176"/>
                  <a:pt x="715709" y="878250"/>
                </a:cubicBezTo>
                <a:cubicBezTo>
                  <a:pt x="715709" y="911324"/>
                  <a:pt x="689938" y="938038"/>
                  <a:pt x="659259" y="938038"/>
                </a:cubicBezTo>
                <a:cubicBezTo>
                  <a:pt x="626125" y="938038"/>
                  <a:pt x="601581" y="911324"/>
                  <a:pt x="601581" y="878250"/>
                </a:cubicBezTo>
                <a:cubicBezTo>
                  <a:pt x="601581" y="845176"/>
                  <a:pt x="626125" y="818462"/>
                  <a:pt x="659259" y="818462"/>
                </a:cubicBezTo>
                <a:close/>
                <a:moveTo>
                  <a:pt x="657140" y="633486"/>
                </a:moveTo>
                <a:cubicBezTo>
                  <a:pt x="620892" y="633486"/>
                  <a:pt x="593394" y="662407"/>
                  <a:pt x="593394" y="697616"/>
                </a:cubicBezTo>
                <a:cubicBezTo>
                  <a:pt x="593394" y="732824"/>
                  <a:pt x="620892" y="761745"/>
                  <a:pt x="657140" y="761745"/>
                </a:cubicBezTo>
                <a:cubicBezTo>
                  <a:pt x="692137" y="761745"/>
                  <a:pt x="720885" y="732824"/>
                  <a:pt x="720885" y="697616"/>
                </a:cubicBezTo>
                <a:cubicBezTo>
                  <a:pt x="720885" y="662407"/>
                  <a:pt x="692137" y="633486"/>
                  <a:pt x="657140" y="633486"/>
                </a:cubicBezTo>
                <a:close/>
                <a:moveTo>
                  <a:pt x="657140" y="593248"/>
                </a:moveTo>
                <a:cubicBezTo>
                  <a:pt x="713386" y="593248"/>
                  <a:pt x="759632" y="639774"/>
                  <a:pt x="759632" y="697616"/>
                </a:cubicBezTo>
                <a:cubicBezTo>
                  <a:pt x="759632" y="755458"/>
                  <a:pt x="713386" y="800726"/>
                  <a:pt x="657140" y="800726"/>
                </a:cubicBezTo>
                <a:cubicBezTo>
                  <a:pt x="599644" y="800726"/>
                  <a:pt x="552147" y="755458"/>
                  <a:pt x="552147" y="697616"/>
                </a:cubicBezTo>
                <a:cubicBezTo>
                  <a:pt x="552147" y="639774"/>
                  <a:pt x="599644" y="593248"/>
                  <a:pt x="657140" y="593248"/>
                </a:cubicBezTo>
                <a:close/>
                <a:moveTo>
                  <a:pt x="885542" y="38748"/>
                </a:moveTo>
                <a:cubicBezTo>
                  <a:pt x="843105" y="38748"/>
                  <a:pt x="804413" y="56246"/>
                  <a:pt x="775705" y="84994"/>
                </a:cubicBezTo>
                <a:cubicBezTo>
                  <a:pt x="768216" y="92494"/>
                  <a:pt x="758231" y="93744"/>
                  <a:pt x="749494" y="87494"/>
                </a:cubicBezTo>
                <a:cubicBezTo>
                  <a:pt x="723283" y="69995"/>
                  <a:pt x="693327" y="58746"/>
                  <a:pt x="662123" y="58746"/>
                </a:cubicBezTo>
                <a:cubicBezTo>
                  <a:pt x="625927" y="58746"/>
                  <a:pt x="589730" y="72495"/>
                  <a:pt x="562271" y="96243"/>
                </a:cubicBezTo>
                <a:cubicBezTo>
                  <a:pt x="554782" y="102493"/>
                  <a:pt x="543549" y="102493"/>
                  <a:pt x="536060" y="94994"/>
                </a:cubicBezTo>
                <a:cubicBezTo>
                  <a:pt x="507352" y="68745"/>
                  <a:pt x="469908" y="53746"/>
                  <a:pt x="431215" y="53746"/>
                </a:cubicBezTo>
                <a:cubicBezTo>
                  <a:pt x="395019" y="53746"/>
                  <a:pt x="361319" y="66246"/>
                  <a:pt x="333859" y="88744"/>
                </a:cubicBezTo>
                <a:cubicBezTo>
                  <a:pt x="327618" y="93744"/>
                  <a:pt x="318881" y="94994"/>
                  <a:pt x="312641" y="91244"/>
                </a:cubicBezTo>
                <a:cubicBezTo>
                  <a:pt x="290174" y="79995"/>
                  <a:pt x="267707" y="74995"/>
                  <a:pt x="242744" y="74995"/>
                </a:cubicBezTo>
                <a:cubicBezTo>
                  <a:pt x="234007" y="74995"/>
                  <a:pt x="225270" y="74995"/>
                  <a:pt x="216533" y="77495"/>
                </a:cubicBezTo>
                <a:cubicBezTo>
                  <a:pt x="150381" y="87494"/>
                  <a:pt x="97958" y="142490"/>
                  <a:pt x="90470" y="209985"/>
                </a:cubicBezTo>
                <a:cubicBezTo>
                  <a:pt x="86725" y="246233"/>
                  <a:pt x="94214" y="281230"/>
                  <a:pt x="112936" y="311228"/>
                </a:cubicBezTo>
                <a:cubicBezTo>
                  <a:pt x="115433" y="313728"/>
                  <a:pt x="116681" y="317478"/>
                  <a:pt x="116681" y="321228"/>
                </a:cubicBezTo>
                <a:lnTo>
                  <a:pt x="116681" y="328727"/>
                </a:lnTo>
                <a:cubicBezTo>
                  <a:pt x="116681" y="381223"/>
                  <a:pt x="136651" y="431220"/>
                  <a:pt x="175344" y="468717"/>
                </a:cubicBezTo>
                <a:cubicBezTo>
                  <a:pt x="182833" y="476217"/>
                  <a:pt x="190322" y="482466"/>
                  <a:pt x="200307" y="488716"/>
                </a:cubicBezTo>
                <a:cubicBezTo>
                  <a:pt x="232759" y="511214"/>
                  <a:pt x="271452" y="523713"/>
                  <a:pt x="311393" y="523713"/>
                </a:cubicBezTo>
                <a:lnTo>
                  <a:pt x="376296" y="523713"/>
                </a:lnTo>
                <a:cubicBezTo>
                  <a:pt x="381289" y="523713"/>
                  <a:pt x="387530" y="524963"/>
                  <a:pt x="391274" y="529963"/>
                </a:cubicBezTo>
                <a:cubicBezTo>
                  <a:pt x="419982" y="566210"/>
                  <a:pt x="463667" y="584959"/>
                  <a:pt x="508601" y="584959"/>
                </a:cubicBezTo>
                <a:cubicBezTo>
                  <a:pt x="549790" y="584959"/>
                  <a:pt x="589730" y="569960"/>
                  <a:pt x="618438" y="539962"/>
                </a:cubicBezTo>
                <a:cubicBezTo>
                  <a:pt x="628423" y="529963"/>
                  <a:pt x="644649" y="523713"/>
                  <a:pt x="659627" y="523713"/>
                </a:cubicBezTo>
                <a:cubicBezTo>
                  <a:pt x="672108" y="523713"/>
                  <a:pt x="685838" y="527463"/>
                  <a:pt x="695823" y="536213"/>
                </a:cubicBezTo>
                <a:cubicBezTo>
                  <a:pt x="723283" y="558711"/>
                  <a:pt x="756983" y="569960"/>
                  <a:pt x="793179" y="569960"/>
                </a:cubicBezTo>
                <a:cubicBezTo>
                  <a:pt x="819390" y="569960"/>
                  <a:pt x="844353" y="564961"/>
                  <a:pt x="866820" y="552461"/>
                </a:cubicBezTo>
                <a:cubicBezTo>
                  <a:pt x="883046" y="543712"/>
                  <a:pt x="900520" y="542462"/>
                  <a:pt x="917994" y="547462"/>
                </a:cubicBezTo>
                <a:cubicBezTo>
                  <a:pt x="934220" y="553711"/>
                  <a:pt x="949198" y="556211"/>
                  <a:pt x="966672" y="556211"/>
                </a:cubicBezTo>
                <a:cubicBezTo>
                  <a:pt x="1051547" y="556211"/>
                  <a:pt x="1120195" y="487466"/>
                  <a:pt x="1120195" y="402472"/>
                </a:cubicBezTo>
                <a:cubicBezTo>
                  <a:pt x="1120195" y="401222"/>
                  <a:pt x="1120195" y="399972"/>
                  <a:pt x="1120195" y="397472"/>
                </a:cubicBezTo>
                <a:lnTo>
                  <a:pt x="1120195" y="394972"/>
                </a:lnTo>
                <a:cubicBezTo>
                  <a:pt x="1120195" y="388723"/>
                  <a:pt x="1122691" y="383723"/>
                  <a:pt x="1126436" y="379974"/>
                </a:cubicBezTo>
                <a:cubicBezTo>
                  <a:pt x="1155143" y="351226"/>
                  <a:pt x="1171369" y="311228"/>
                  <a:pt x="1171369" y="269981"/>
                </a:cubicBezTo>
                <a:cubicBezTo>
                  <a:pt x="1171369" y="191237"/>
                  <a:pt x="1108961" y="122492"/>
                  <a:pt x="1029080" y="116242"/>
                </a:cubicBezTo>
                <a:cubicBezTo>
                  <a:pt x="1022839" y="116242"/>
                  <a:pt x="1017847" y="113742"/>
                  <a:pt x="1014102" y="108743"/>
                </a:cubicBezTo>
                <a:cubicBezTo>
                  <a:pt x="985395" y="64996"/>
                  <a:pt x="936717" y="38748"/>
                  <a:pt x="885542" y="38748"/>
                </a:cubicBezTo>
                <a:close/>
                <a:moveTo>
                  <a:pt x="885542" y="0"/>
                </a:moveTo>
                <a:cubicBezTo>
                  <a:pt x="947950" y="0"/>
                  <a:pt x="1005365" y="28748"/>
                  <a:pt x="1041562" y="78745"/>
                </a:cubicBezTo>
                <a:cubicBezTo>
                  <a:pt x="1136421" y="91244"/>
                  <a:pt x="1210062" y="173738"/>
                  <a:pt x="1210062" y="269981"/>
                </a:cubicBezTo>
                <a:cubicBezTo>
                  <a:pt x="1210062" y="318728"/>
                  <a:pt x="1192588" y="364975"/>
                  <a:pt x="1158888" y="401222"/>
                </a:cubicBezTo>
                <a:cubicBezTo>
                  <a:pt x="1158888" y="401222"/>
                  <a:pt x="1158888" y="401222"/>
                  <a:pt x="1158888" y="402472"/>
                </a:cubicBezTo>
                <a:cubicBezTo>
                  <a:pt x="1158888" y="508714"/>
                  <a:pt x="1072765" y="594958"/>
                  <a:pt x="966672" y="594958"/>
                </a:cubicBezTo>
                <a:cubicBezTo>
                  <a:pt x="945454" y="594958"/>
                  <a:pt x="924235" y="591209"/>
                  <a:pt x="904265" y="583709"/>
                </a:cubicBezTo>
                <a:cubicBezTo>
                  <a:pt x="898024" y="581209"/>
                  <a:pt x="891783" y="582459"/>
                  <a:pt x="885542" y="586209"/>
                </a:cubicBezTo>
                <a:cubicBezTo>
                  <a:pt x="856835" y="601208"/>
                  <a:pt x="825631" y="608707"/>
                  <a:pt x="793179" y="608707"/>
                </a:cubicBezTo>
                <a:cubicBezTo>
                  <a:pt x="749494" y="608707"/>
                  <a:pt x="705809" y="593709"/>
                  <a:pt x="670860" y="566210"/>
                </a:cubicBezTo>
                <a:cubicBezTo>
                  <a:pt x="664620" y="561211"/>
                  <a:pt x="652138" y="561211"/>
                  <a:pt x="647145" y="567460"/>
                </a:cubicBezTo>
                <a:cubicBezTo>
                  <a:pt x="609701" y="603708"/>
                  <a:pt x="561023" y="624956"/>
                  <a:pt x="508601" y="624956"/>
                </a:cubicBezTo>
                <a:cubicBezTo>
                  <a:pt x="454930" y="624956"/>
                  <a:pt x="403756" y="601208"/>
                  <a:pt x="366311" y="562461"/>
                </a:cubicBezTo>
                <a:lnTo>
                  <a:pt x="311393" y="562461"/>
                </a:lnTo>
                <a:cubicBezTo>
                  <a:pt x="262715" y="562461"/>
                  <a:pt x="217781" y="548712"/>
                  <a:pt x="179088" y="522464"/>
                </a:cubicBezTo>
                <a:cubicBezTo>
                  <a:pt x="167855" y="514964"/>
                  <a:pt x="156622" y="506215"/>
                  <a:pt x="147885" y="496215"/>
                </a:cubicBezTo>
                <a:cubicBezTo>
                  <a:pt x="101703" y="451219"/>
                  <a:pt x="76740" y="392473"/>
                  <a:pt x="76740" y="328727"/>
                </a:cubicBezTo>
                <a:lnTo>
                  <a:pt x="76740" y="327477"/>
                </a:lnTo>
                <a:cubicBezTo>
                  <a:pt x="55521" y="289980"/>
                  <a:pt x="46784" y="248733"/>
                  <a:pt x="51777" y="204986"/>
                </a:cubicBezTo>
                <a:cubicBezTo>
                  <a:pt x="61762" y="121242"/>
                  <a:pt x="126666" y="52497"/>
                  <a:pt x="210292" y="37498"/>
                </a:cubicBezTo>
                <a:cubicBezTo>
                  <a:pt x="247737" y="32498"/>
                  <a:pt x="285181" y="36248"/>
                  <a:pt x="318881" y="51247"/>
                </a:cubicBezTo>
                <a:cubicBezTo>
                  <a:pt x="351333" y="27498"/>
                  <a:pt x="391274" y="13749"/>
                  <a:pt x="431215" y="13749"/>
                </a:cubicBezTo>
                <a:cubicBezTo>
                  <a:pt x="474900" y="13749"/>
                  <a:pt x="517338" y="28748"/>
                  <a:pt x="549790" y="56246"/>
                </a:cubicBezTo>
                <a:cubicBezTo>
                  <a:pt x="582242" y="32498"/>
                  <a:pt x="620934" y="19999"/>
                  <a:pt x="662123" y="19999"/>
                </a:cubicBezTo>
                <a:cubicBezTo>
                  <a:pt x="695823" y="19999"/>
                  <a:pt x="729523" y="29998"/>
                  <a:pt x="758231" y="47497"/>
                </a:cubicBezTo>
                <a:cubicBezTo>
                  <a:pt x="793179" y="16249"/>
                  <a:pt x="838113" y="0"/>
                  <a:pt x="88554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E5107C58-D502-0504-E558-F552DBB32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3810" y="3143363"/>
            <a:ext cx="837060" cy="789821"/>
          </a:xfrm>
          <a:custGeom>
            <a:avLst/>
            <a:gdLst>
              <a:gd name="connsiteX0" fmla="*/ 1436686 w 1674120"/>
              <a:gd name="connsiteY0" fmla="*/ 1366695 h 1579642"/>
              <a:gd name="connsiteX1" fmla="*/ 1410539 w 1674120"/>
              <a:gd name="connsiteY1" fmla="*/ 1370428 h 1579642"/>
              <a:gd name="connsiteX2" fmla="*/ 1136619 w 1674120"/>
              <a:gd name="connsiteY2" fmla="*/ 1370428 h 1579642"/>
              <a:gd name="connsiteX3" fmla="*/ 1150315 w 1674120"/>
              <a:gd name="connsiteY3" fmla="*/ 1469990 h 1579642"/>
              <a:gd name="connsiteX4" fmla="*/ 1379412 w 1674120"/>
              <a:gd name="connsiteY4" fmla="*/ 1469990 h 1579642"/>
              <a:gd name="connsiteX5" fmla="*/ 1436686 w 1674120"/>
              <a:gd name="connsiteY5" fmla="*/ 1426432 h 1579642"/>
              <a:gd name="connsiteX6" fmla="*/ 216496 w 1674120"/>
              <a:gd name="connsiteY6" fmla="*/ 1366695 h 1579642"/>
              <a:gd name="connsiteX7" fmla="*/ 216496 w 1674120"/>
              <a:gd name="connsiteY7" fmla="*/ 1426432 h 1579642"/>
              <a:gd name="connsiteX8" fmla="*/ 272525 w 1674120"/>
              <a:gd name="connsiteY8" fmla="*/ 1469990 h 1579642"/>
              <a:gd name="connsiteX9" fmla="*/ 512828 w 1674120"/>
              <a:gd name="connsiteY9" fmla="*/ 1469990 h 1579642"/>
              <a:gd name="connsiteX10" fmla="*/ 530259 w 1674120"/>
              <a:gd name="connsiteY10" fmla="*/ 1370428 h 1579642"/>
              <a:gd name="connsiteX11" fmla="*/ 242643 w 1674120"/>
              <a:gd name="connsiteY11" fmla="*/ 1370428 h 1579642"/>
              <a:gd name="connsiteX12" fmla="*/ 216496 w 1674120"/>
              <a:gd name="connsiteY12" fmla="*/ 1366695 h 1579642"/>
              <a:gd name="connsiteX13" fmla="*/ 825458 w 1674120"/>
              <a:gd name="connsiteY13" fmla="*/ 880082 h 1579642"/>
              <a:gd name="connsiteX14" fmla="*/ 719706 w 1674120"/>
              <a:gd name="connsiteY14" fmla="*/ 985384 h 1579642"/>
              <a:gd name="connsiteX15" fmla="*/ 825458 w 1674120"/>
              <a:gd name="connsiteY15" fmla="*/ 1091925 h 1579642"/>
              <a:gd name="connsiteX16" fmla="*/ 931210 w 1674120"/>
              <a:gd name="connsiteY16" fmla="*/ 985384 h 1579642"/>
              <a:gd name="connsiteX17" fmla="*/ 825458 w 1674120"/>
              <a:gd name="connsiteY17" fmla="*/ 880082 h 1579642"/>
              <a:gd name="connsiteX18" fmla="*/ 825458 w 1674120"/>
              <a:gd name="connsiteY18" fmla="*/ 840439 h 1579642"/>
              <a:gd name="connsiteX19" fmla="*/ 971023 w 1674120"/>
              <a:gd name="connsiteY19" fmla="*/ 985384 h 1579642"/>
              <a:gd name="connsiteX20" fmla="*/ 825458 w 1674120"/>
              <a:gd name="connsiteY20" fmla="*/ 1130329 h 1579642"/>
              <a:gd name="connsiteX21" fmla="*/ 681137 w 1674120"/>
              <a:gd name="connsiteY21" fmla="*/ 985384 h 1579642"/>
              <a:gd name="connsiteX22" fmla="*/ 825458 w 1674120"/>
              <a:gd name="connsiteY22" fmla="*/ 840439 h 1579642"/>
              <a:gd name="connsiteX23" fmla="*/ 800295 w 1674120"/>
              <a:gd name="connsiteY23" fmla="*/ 686631 h 1579642"/>
              <a:gd name="connsiteX24" fmla="*/ 857338 w 1674120"/>
              <a:gd name="connsiteY24" fmla="*/ 686631 h 1579642"/>
              <a:gd name="connsiteX25" fmla="*/ 877619 w 1674120"/>
              <a:gd name="connsiteY25" fmla="*/ 705273 h 1579642"/>
              <a:gd name="connsiteX26" fmla="*/ 857338 w 1674120"/>
              <a:gd name="connsiteY26" fmla="*/ 723915 h 1579642"/>
              <a:gd name="connsiteX27" fmla="*/ 800295 w 1674120"/>
              <a:gd name="connsiteY27" fmla="*/ 723915 h 1579642"/>
              <a:gd name="connsiteX28" fmla="*/ 780013 w 1674120"/>
              <a:gd name="connsiteY28" fmla="*/ 705273 h 1579642"/>
              <a:gd name="connsiteX29" fmla="*/ 800295 w 1674120"/>
              <a:gd name="connsiteY29" fmla="*/ 686631 h 1579642"/>
              <a:gd name="connsiteX30" fmla="*/ 760256 w 1674120"/>
              <a:gd name="connsiteY30" fmla="*/ 637193 h 1579642"/>
              <a:gd name="connsiteX31" fmla="*/ 898634 w 1674120"/>
              <a:gd name="connsiteY31" fmla="*/ 637193 h 1579642"/>
              <a:gd name="connsiteX32" fmla="*/ 916087 w 1674120"/>
              <a:gd name="connsiteY32" fmla="*/ 656420 h 1579642"/>
              <a:gd name="connsiteX33" fmla="*/ 898634 w 1674120"/>
              <a:gd name="connsiteY33" fmla="*/ 674445 h 1579642"/>
              <a:gd name="connsiteX34" fmla="*/ 760256 w 1674120"/>
              <a:gd name="connsiteY34" fmla="*/ 674445 h 1579642"/>
              <a:gd name="connsiteX35" fmla="*/ 741556 w 1674120"/>
              <a:gd name="connsiteY35" fmla="*/ 656420 h 1579642"/>
              <a:gd name="connsiteX36" fmla="*/ 760256 w 1674120"/>
              <a:gd name="connsiteY36" fmla="*/ 637193 h 1579642"/>
              <a:gd name="connsiteX37" fmla="*/ 758111 w 1674120"/>
              <a:gd name="connsiteY37" fmla="*/ 582649 h 1579642"/>
              <a:gd name="connsiteX38" fmla="*/ 758111 w 1674120"/>
              <a:gd name="connsiteY38" fmla="*/ 593850 h 1579642"/>
              <a:gd name="connsiteX39" fmla="*/ 891336 w 1674120"/>
              <a:gd name="connsiteY39" fmla="*/ 593850 h 1579642"/>
              <a:gd name="connsiteX40" fmla="*/ 891336 w 1674120"/>
              <a:gd name="connsiteY40" fmla="*/ 582649 h 1579642"/>
              <a:gd name="connsiteX41" fmla="*/ 1010122 w 1674120"/>
              <a:gd name="connsiteY41" fmla="*/ 529165 h 1579642"/>
              <a:gd name="connsiteX42" fmla="*/ 1023954 w 1674120"/>
              <a:gd name="connsiteY42" fmla="*/ 534658 h 1579642"/>
              <a:gd name="connsiteX43" fmla="*/ 1084310 w 1674120"/>
              <a:gd name="connsiteY43" fmla="*/ 592030 h 1579642"/>
              <a:gd name="connsiteX44" fmla="*/ 1084310 w 1674120"/>
              <a:gd name="connsiteY44" fmla="*/ 618884 h 1579642"/>
              <a:gd name="connsiteX45" fmla="*/ 1070478 w 1674120"/>
              <a:gd name="connsiteY45" fmla="*/ 624988 h 1579642"/>
              <a:gd name="connsiteX46" fmla="*/ 1056647 w 1674120"/>
              <a:gd name="connsiteY46" fmla="*/ 618884 h 1579642"/>
              <a:gd name="connsiteX47" fmla="*/ 996291 w 1674120"/>
              <a:gd name="connsiteY47" fmla="*/ 561513 h 1579642"/>
              <a:gd name="connsiteX48" fmla="*/ 996291 w 1674120"/>
              <a:gd name="connsiteY48" fmla="*/ 534658 h 1579642"/>
              <a:gd name="connsiteX49" fmla="*/ 1010122 w 1674120"/>
              <a:gd name="connsiteY49" fmla="*/ 529165 h 1579642"/>
              <a:gd name="connsiteX50" fmla="*/ 647787 w 1674120"/>
              <a:gd name="connsiteY50" fmla="*/ 529165 h 1579642"/>
              <a:gd name="connsiteX51" fmla="*/ 661455 w 1674120"/>
              <a:gd name="connsiteY51" fmla="*/ 534658 h 1579642"/>
              <a:gd name="connsiteX52" fmla="*/ 661455 w 1674120"/>
              <a:gd name="connsiteY52" fmla="*/ 561513 h 1579642"/>
              <a:gd name="connsiteX53" fmla="*/ 601815 w 1674120"/>
              <a:gd name="connsiteY53" fmla="*/ 618884 h 1579642"/>
              <a:gd name="connsiteX54" fmla="*/ 588147 w 1674120"/>
              <a:gd name="connsiteY54" fmla="*/ 624988 h 1579642"/>
              <a:gd name="connsiteX55" fmla="*/ 573237 w 1674120"/>
              <a:gd name="connsiteY55" fmla="*/ 618884 h 1579642"/>
              <a:gd name="connsiteX56" fmla="*/ 573237 w 1674120"/>
              <a:gd name="connsiteY56" fmla="*/ 592030 h 1579642"/>
              <a:gd name="connsiteX57" fmla="*/ 634119 w 1674120"/>
              <a:gd name="connsiteY57" fmla="*/ 534658 h 1579642"/>
              <a:gd name="connsiteX58" fmla="*/ 647787 w 1674120"/>
              <a:gd name="connsiteY58" fmla="*/ 529165 h 1579642"/>
              <a:gd name="connsiteX59" fmla="*/ 428162 w 1674120"/>
              <a:gd name="connsiteY59" fmla="*/ 495533 h 1579642"/>
              <a:gd name="connsiteX60" fmla="*/ 402015 w 1674120"/>
              <a:gd name="connsiteY60" fmla="*/ 511712 h 1579642"/>
              <a:gd name="connsiteX61" fmla="*/ 370887 w 1674120"/>
              <a:gd name="connsiteY61" fmla="*/ 668521 h 1579642"/>
              <a:gd name="connsiteX62" fmla="*/ 416956 w 1674120"/>
              <a:gd name="connsiteY62" fmla="*/ 712079 h 1579642"/>
              <a:gd name="connsiteX63" fmla="*/ 446838 w 1674120"/>
              <a:gd name="connsiteY63" fmla="*/ 723280 h 1579642"/>
              <a:gd name="connsiteX64" fmla="*/ 617416 w 1674120"/>
              <a:gd name="connsiteY64" fmla="*/ 723280 h 1579642"/>
              <a:gd name="connsiteX65" fmla="*/ 705817 w 1674120"/>
              <a:gd name="connsiteY65" fmla="*/ 800440 h 1579642"/>
              <a:gd name="connsiteX66" fmla="*/ 683406 w 1674120"/>
              <a:gd name="connsiteY66" fmla="*/ 866399 h 1579642"/>
              <a:gd name="connsiteX67" fmla="*/ 621151 w 1674120"/>
              <a:gd name="connsiteY67" fmla="*/ 893779 h 1579642"/>
              <a:gd name="connsiteX68" fmla="*/ 393299 w 1674120"/>
              <a:gd name="connsiteY68" fmla="*/ 893779 h 1579642"/>
              <a:gd name="connsiteX69" fmla="*/ 336025 w 1674120"/>
              <a:gd name="connsiteY69" fmla="*/ 870133 h 1579642"/>
              <a:gd name="connsiteX70" fmla="*/ 323574 w 1674120"/>
              <a:gd name="connsiteY70" fmla="*/ 858932 h 1579642"/>
              <a:gd name="connsiteX71" fmla="*/ 216496 w 1674120"/>
              <a:gd name="connsiteY71" fmla="*/ 1311936 h 1579642"/>
              <a:gd name="connsiteX72" fmla="*/ 220231 w 1674120"/>
              <a:gd name="connsiteY72" fmla="*/ 1321892 h 1579642"/>
              <a:gd name="connsiteX73" fmla="*/ 242643 w 1674120"/>
              <a:gd name="connsiteY73" fmla="*/ 1331848 h 1579642"/>
              <a:gd name="connsiteX74" fmla="*/ 536485 w 1674120"/>
              <a:gd name="connsiteY74" fmla="*/ 1331848 h 1579642"/>
              <a:gd name="connsiteX75" fmla="*/ 547691 w 1674120"/>
              <a:gd name="connsiteY75" fmla="*/ 1260911 h 1579642"/>
              <a:gd name="connsiteX76" fmla="*/ 646053 w 1674120"/>
              <a:gd name="connsiteY76" fmla="*/ 1163839 h 1579642"/>
              <a:gd name="connsiteX77" fmla="*/ 1022071 w 1674120"/>
              <a:gd name="connsiteY77" fmla="*/ 1163839 h 1579642"/>
              <a:gd name="connsiteX78" fmla="*/ 1120433 w 1674120"/>
              <a:gd name="connsiteY78" fmla="*/ 1260911 h 1579642"/>
              <a:gd name="connsiteX79" fmla="*/ 1130393 w 1674120"/>
              <a:gd name="connsiteY79" fmla="*/ 1331848 h 1579642"/>
              <a:gd name="connsiteX80" fmla="*/ 1410539 w 1674120"/>
              <a:gd name="connsiteY80" fmla="*/ 1331848 h 1579642"/>
              <a:gd name="connsiteX81" fmla="*/ 1432951 w 1674120"/>
              <a:gd name="connsiteY81" fmla="*/ 1321892 h 1579642"/>
              <a:gd name="connsiteX82" fmla="*/ 1436686 w 1674120"/>
              <a:gd name="connsiteY82" fmla="*/ 1311936 h 1579642"/>
              <a:gd name="connsiteX83" fmla="*/ 1332098 w 1674120"/>
              <a:gd name="connsiteY83" fmla="*/ 863910 h 1579642"/>
              <a:gd name="connsiteX84" fmla="*/ 1325873 w 1674120"/>
              <a:gd name="connsiteY84" fmla="*/ 870133 h 1579642"/>
              <a:gd name="connsiteX85" fmla="*/ 1269844 w 1674120"/>
              <a:gd name="connsiteY85" fmla="*/ 893779 h 1579642"/>
              <a:gd name="connsiteX86" fmla="*/ 1040747 w 1674120"/>
              <a:gd name="connsiteY86" fmla="*/ 893779 h 1579642"/>
              <a:gd name="connsiteX87" fmla="*/ 978492 w 1674120"/>
              <a:gd name="connsiteY87" fmla="*/ 866399 h 1579642"/>
              <a:gd name="connsiteX88" fmla="*/ 956081 w 1674120"/>
              <a:gd name="connsiteY88" fmla="*/ 800440 h 1579642"/>
              <a:gd name="connsiteX89" fmla="*/ 1044482 w 1674120"/>
              <a:gd name="connsiteY89" fmla="*/ 723280 h 1579642"/>
              <a:gd name="connsiteX90" fmla="*/ 1215060 w 1674120"/>
              <a:gd name="connsiteY90" fmla="*/ 723280 h 1579642"/>
              <a:gd name="connsiteX91" fmla="*/ 1243697 w 1674120"/>
              <a:gd name="connsiteY91" fmla="*/ 712079 h 1579642"/>
              <a:gd name="connsiteX92" fmla="*/ 1282295 w 1674120"/>
              <a:gd name="connsiteY92" fmla="*/ 675988 h 1579642"/>
              <a:gd name="connsiteX93" fmla="*/ 1249922 w 1674120"/>
              <a:gd name="connsiteY93" fmla="*/ 510468 h 1579642"/>
              <a:gd name="connsiteX94" fmla="*/ 1225021 w 1674120"/>
              <a:gd name="connsiteY94" fmla="*/ 495533 h 1579642"/>
              <a:gd name="connsiteX95" fmla="*/ 983473 w 1674120"/>
              <a:gd name="connsiteY95" fmla="*/ 495533 h 1579642"/>
              <a:gd name="connsiteX96" fmla="*/ 929934 w 1674120"/>
              <a:gd name="connsiteY96" fmla="*/ 540336 h 1579642"/>
              <a:gd name="connsiteX97" fmla="*/ 928689 w 1674120"/>
              <a:gd name="connsiteY97" fmla="*/ 544069 h 1579642"/>
              <a:gd name="connsiteX98" fmla="*/ 928689 w 1674120"/>
              <a:gd name="connsiteY98" fmla="*/ 596339 h 1579642"/>
              <a:gd name="connsiteX99" fmla="*/ 893826 w 1674120"/>
              <a:gd name="connsiteY99" fmla="*/ 633675 h 1579642"/>
              <a:gd name="connsiteX100" fmla="*/ 755621 w 1674120"/>
              <a:gd name="connsiteY100" fmla="*/ 633675 h 1579642"/>
              <a:gd name="connsiteX101" fmla="*/ 719513 w 1674120"/>
              <a:gd name="connsiteY101" fmla="*/ 596339 h 1579642"/>
              <a:gd name="connsiteX102" fmla="*/ 719513 w 1674120"/>
              <a:gd name="connsiteY102" fmla="*/ 544069 h 1579642"/>
              <a:gd name="connsiteX103" fmla="*/ 718268 w 1674120"/>
              <a:gd name="connsiteY103" fmla="*/ 540336 h 1579642"/>
              <a:gd name="connsiteX104" fmla="*/ 664729 w 1674120"/>
              <a:gd name="connsiteY104" fmla="*/ 495533 h 1579642"/>
              <a:gd name="connsiteX105" fmla="*/ 1090094 w 1674120"/>
              <a:gd name="connsiteY105" fmla="*/ 346063 h 1579642"/>
              <a:gd name="connsiteX106" fmla="*/ 1176007 w 1674120"/>
              <a:gd name="connsiteY106" fmla="*/ 346063 h 1579642"/>
              <a:gd name="connsiteX107" fmla="*/ 1196222 w 1674120"/>
              <a:gd name="connsiteY107" fmla="*/ 364086 h 1579642"/>
              <a:gd name="connsiteX108" fmla="*/ 1176007 w 1674120"/>
              <a:gd name="connsiteY108" fmla="*/ 383311 h 1579642"/>
              <a:gd name="connsiteX109" fmla="*/ 1090094 w 1674120"/>
              <a:gd name="connsiteY109" fmla="*/ 383311 h 1579642"/>
              <a:gd name="connsiteX110" fmla="*/ 1071143 w 1674120"/>
              <a:gd name="connsiteY110" fmla="*/ 364086 h 1579642"/>
              <a:gd name="connsiteX111" fmla="*/ 1090094 w 1674120"/>
              <a:gd name="connsiteY111" fmla="*/ 346063 h 1579642"/>
              <a:gd name="connsiteX112" fmla="*/ 486921 w 1674120"/>
              <a:gd name="connsiteY112" fmla="*/ 346063 h 1579642"/>
              <a:gd name="connsiteX113" fmla="*/ 571983 w 1674120"/>
              <a:gd name="connsiteY113" fmla="*/ 346063 h 1579642"/>
              <a:gd name="connsiteX114" fmla="*/ 591997 w 1674120"/>
              <a:gd name="connsiteY114" fmla="*/ 364086 h 1579642"/>
              <a:gd name="connsiteX115" fmla="*/ 571983 w 1674120"/>
              <a:gd name="connsiteY115" fmla="*/ 383311 h 1579642"/>
              <a:gd name="connsiteX116" fmla="*/ 486921 w 1674120"/>
              <a:gd name="connsiteY116" fmla="*/ 383311 h 1579642"/>
              <a:gd name="connsiteX117" fmla="*/ 466906 w 1674120"/>
              <a:gd name="connsiteY117" fmla="*/ 364086 h 1579642"/>
              <a:gd name="connsiteX118" fmla="*/ 486921 w 1674120"/>
              <a:gd name="connsiteY118" fmla="*/ 346063 h 1579642"/>
              <a:gd name="connsiteX119" fmla="*/ 1525808 w 1674120"/>
              <a:gd name="connsiteY119" fmla="*/ 275845 h 1579642"/>
              <a:gd name="connsiteX120" fmla="*/ 1418973 w 1674120"/>
              <a:gd name="connsiteY120" fmla="*/ 381147 h 1579642"/>
              <a:gd name="connsiteX121" fmla="*/ 1525808 w 1674120"/>
              <a:gd name="connsiteY121" fmla="*/ 487688 h 1579642"/>
              <a:gd name="connsiteX122" fmla="*/ 1633900 w 1674120"/>
              <a:gd name="connsiteY122" fmla="*/ 381147 h 1579642"/>
              <a:gd name="connsiteX123" fmla="*/ 1525808 w 1674120"/>
              <a:gd name="connsiteY123" fmla="*/ 275845 h 1579642"/>
              <a:gd name="connsiteX124" fmla="*/ 144946 w 1674120"/>
              <a:gd name="connsiteY124" fmla="*/ 275845 h 1579642"/>
              <a:gd name="connsiteX125" fmla="*/ 38404 w 1674120"/>
              <a:gd name="connsiteY125" fmla="*/ 381147 h 1579642"/>
              <a:gd name="connsiteX126" fmla="*/ 144946 w 1674120"/>
              <a:gd name="connsiteY126" fmla="*/ 487688 h 1579642"/>
              <a:gd name="connsiteX127" fmla="*/ 251487 w 1674120"/>
              <a:gd name="connsiteY127" fmla="*/ 381147 h 1579642"/>
              <a:gd name="connsiteX128" fmla="*/ 144946 w 1674120"/>
              <a:gd name="connsiteY128" fmla="*/ 275845 h 1579642"/>
              <a:gd name="connsiteX129" fmla="*/ 1525808 w 1674120"/>
              <a:gd name="connsiteY129" fmla="*/ 236202 h 1579642"/>
              <a:gd name="connsiteX130" fmla="*/ 1674120 w 1674120"/>
              <a:gd name="connsiteY130" fmla="*/ 381147 h 1579642"/>
              <a:gd name="connsiteX131" fmla="*/ 1525808 w 1674120"/>
              <a:gd name="connsiteY131" fmla="*/ 526092 h 1579642"/>
              <a:gd name="connsiteX132" fmla="*/ 1378753 w 1674120"/>
              <a:gd name="connsiteY132" fmla="*/ 381147 h 1579642"/>
              <a:gd name="connsiteX133" fmla="*/ 1525808 w 1674120"/>
              <a:gd name="connsiteY133" fmla="*/ 236202 h 1579642"/>
              <a:gd name="connsiteX134" fmla="*/ 144946 w 1674120"/>
              <a:gd name="connsiteY134" fmla="*/ 236202 h 1579642"/>
              <a:gd name="connsiteX135" fmla="*/ 289891 w 1674120"/>
              <a:gd name="connsiteY135" fmla="*/ 381147 h 1579642"/>
              <a:gd name="connsiteX136" fmla="*/ 144946 w 1674120"/>
              <a:gd name="connsiteY136" fmla="*/ 526092 h 1579642"/>
              <a:gd name="connsiteX137" fmla="*/ 0 w 1674120"/>
              <a:gd name="connsiteY137" fmla="*/ 381147 h 1579642"/>
              <a:gd name="connsiteX138" fmla="*/ 144946 w 1674120"/>
              <a:gd name="connsiteY138" fmla="*/ 236202 h 1579642"/>
              <a:gd name="connsiteX139" fmla="*/ 827416 w 1674120"/>
              <a:gd name="connsiteY139" fmla="*/ 208734 h 1579642"/>
              <a:gd name="connsiteX140" fmla="*/ 947065 w 1674120"/>
              <a:gd name="connsiteY140" fmla="*/ 269744 h 1579642"/>
              <a:gd name="connsiteX141" fmla="*/ 943326 w 1674120"/>
              <a:gd name="connsiteY141" fmla="*/ 297137 h 1579642"/>
              <a:gd name="connsiteX142" fmla="*/ 932109 w 1674120"/>
              <a:gd name="connsiteY142" fmla="*/ 300872 h 1579642"/>
              <a:gd name="connsiteX143" fmla="*/ 915906 w 1674120"/>
              <a:gd name="connsiteY143" fmla="*/ 293401 h 1579642"/>
              <a:gd name="connsiteX144" fmla="*/ 827416 w 1674120"/>
              <a:gd name="connsiteY144" fmla="*/ 247333 h 1579642"/>
              <a:gd name="connsiteX145" fmla="*/ 807475 w 1674120"/>
              <a:gd name="connsiteY145" fmla="*/ 227411 h 1579642"/>
              <a:gd name="connsiteX146" fmla="*/ 827416 w 1674120"/>
              <a:gd name="connsiteY146" fmla="*/ 208734 h 1579642"/>
              <a:gd name="connsiteX147" fmla="*/ 816630 w 1674120"/>
              <a:gd name="connsiteY147" fmla="*/ 190627 h 1579642"/>
              <a:gd name="connsiteX148" fmla="*/ 654768 w 1674120"/>
              <a:gd name="connsiteY148" fmla="*/ 354903 h 1579642"/>
              <a:gd name="connsiteX149" fmla="*/ 738190 w 1674120"/>
              <a:gd name="connsiteY149" fmla="*/ 506734 h 1579642"/>
              <a:gd name="connsiteX150" fmla="*/ 758111 w 1674120"/>
              <a:gd name="connsiteY150" fmla="*/ 544069 h 1579642"/>
              <a:gd name="connsiteX151" fmla="*/ 891336 w 1674120"/>
              <a:gd name="connsiteY151" fmla="*/ 544069 h 1579642"/>
              <a:gd name="connsiteX152" fmla="*/ 910012 w 1674120"/>
              <a:gd name="connsiteY152" fmla="*/ 506734 h 1579642"/>
              <a:gd name="connsiteX153" fmla="*/ 993433 w 1674120"/>
              <a:gd name="connsiteY153" fmla="*/ 361126 h 1579642"/>
              <a:gd name="connsiteX154" fmla="*/ 941139 w 1674120"/>
              <a:gd name="connsiteY154" fmla="*/ 236674 h 1579642"/>
              <a:gd name="connsiteX155" fmla="*/ 816630 w 1674120"/>
              <a:gd name="connsiteY155" fmla="*/ 190627 h 1579642"/>
              <a:gd name="connsiteX156" fmla="*/ 814140 w 1674120"/>
              <a:gd name="connsiteY156" fmla="*/ 150802 h 1579642"/>
              <a:gd name="connsiteX157" fmla="*/ 968532 w 1674120"/>
              <a:gd name="connsiteY157" fmla="*/ 209295 h 1579642"/>
              <a:gd name="connsiteX158" fmla="*/ 1033276 w 1674120"/>
              <a:gd name="connsiteY158" fmla="*/ 361126 h 1579642"/>
              <a:gd name="connsiteX159" fmla="*/ 1009620 w 1674120"/>
              <a:gd name="connsiteY159" fmla="*/ 455709 h 1579642"/>
              <a:gd name="connsiteX160" fmla="*/ 1225021 w 1674120"/>
              <a:gd name="connsiteY160" fmla="*/ 455709 h 1579642"/>
              <a:gd name="connsiteX161" fmla="*/ 1288520 w 1674120"/>
              <a:gd name="connsiteY161" fmla="*/ 501756 h 1579642"/>
              <a:gd name="connsiteX162" fmla="*/ 1317157 w 1674120"/>
              <a:gd name="connsiteY162" fmla="*/ 644875 h 1579642"/>
              <a:gd name="connsiteX163" fmla="*/ 1394353 w 1674120"/>
              <a:gd name="connsiteY163" fmla="*/ 572693 h 1579642"/>
              <a:gd name="connsiteX164" fmla="*/ 1452872 w 1674120"/>
              <a:gd name="connsiteY164" fmla="*/ 550292 h 1579642"/>
              <a:gd name="connsiteX165" fmla="*/ 1525088 w 1674120"/>
              <a:gd name="connsiteY165" fmla="*/ 550292 h 1579642"/>
              <a:gd name="connsiteX166" fmla="*/ 1624695 w 1674120"/>
              <a:gd name="connsiteY166" fmla="*/ 648609 h 1579642"/>
              <a:gd name="connsiteX167" fmla="*/ 1624695 w 1674120"/>
              <a:gd name="connsiteY167" fmla="*/ 1070500 h 1579642"/>
              <a:gd name="connsiteX168" fmla="*/ 1604773 w 1674120"/>
              <a:gd name="connsiteY168" fmla="*/ 1090412 h 1579642"/>
              <a:gd name="connsiteX169" fmla="*/ 1584852 w 1674120"/>
              <a:gd name="connsiteY169" fmla="*/ 1070500 h 1579642"/>
              <a:gd name="connsiteX170" fmla="*/ 1584852 w 1674120"/>
              <a:gd name="connsiteY170" fmla="*/ 648609 h 1579642"/>
              <a:gd name="connsiteX171" fmla="*/ 1525088 w 1674120"/>
              <a:gd name="connsiteY171" fmla="*/ 588872 h 1579642"/>
              <a:gd name="connsiteX172" fmla="*/ 1452872 w 1674120"/>
              <a:gd name="connsiteY172" fmla="*/ 588872 h 1579642"/>
              <a:gd name="connsiteX173" fmla="*/ 1420500 w 1674120"/>
              <a:gd name="connsiteY173" fmla="*/ 601317 h 1579642"/>
              <a:gd name="connsiteX174" fmla="*/ 1272334 w 1674120"/>
              <a:gd name="connsiteY174" fmla="*/ 739459 h 1579642"/>
              <a:gd name="connsiteX175" fmla="*/ 1215060 w 1674120"/>
              <a:gd name="connsiteY175" fmla="*/ 763104 h 1579642"/>
              <a:gd name="connsiteX176" fmla="*/ 1044482 w 1674120"/>
              <a:gd name="connsiteY176" fmla="*/ 763104 h 1579642"/>
              <a:gd name="connsiteX177" fmla="*/ 995924 w 1674120"/>
              <a:gd name="connsiteY177" fmla="*/ 804173 h 1579642"/>
              <a:gd name="connsiteX178" fmla="*/ 1007129 w 1674120"/>
              <a:gd name="connsiteY178" fmla="*/ 839020 h 1579642"/>
              <a:gd name="connsiteX179" fmla="*/ 1040747 w 1674120"/>
              <a:gd name="connsiteY179" fmla="*/ 855199 h 1579642"/>
              <a:gd name="connsiteX180" fmla="*/ 1269844 w 1674120"/>
              <a:gd name="connsiteY180" fmla="*/ 855199 h 1579642"/>
              <a:gd name="connsiteX181" fmla="*/ 1298481 w 1674120"/>
              <a:gd name="connsiteY181" fmla="*/ 842753 h 1579642"/>
              <a:gd name="connsiteX182" fmla="*/ 1487735 w 1674120"/>
              <a:gd name="connsiteY182" fmla="*/ 653587 h 1579642"/>
              <a:gd name="connsiteX183" fmla="*/ 1515127 w 1674120"/>
              <a:gd name="connsiteY183" fmla="*/ 653587 h 1579642"/>
              <a:gd name="connsiteX184" fmla="*/ 1515127 w 1674120"/>
              <a:gd name="connsiteY184" fmla="*/ 680966 h 1579642"/>
              <a:gd name="connsiteX185" fmla="*/ 1415519 w 1674120"/>
              <a:gd name="connsiteY185" fmla="*/ 780528 h 1579642"/>
              <a:gd name="connsiteX186" fmla="*/ 1415519 w 1674120"/>
              <a:gd name="connsiteY186" fmla="*/ 781772 h 1579642"/>
              <a:gd name="connsiteX187" fmla="*/ 1384392 w 1674120"/>
              <a:gd name="connsiteY187" fmla="*/ 904979 h 1579642"/>
              <a:gd name="connsiteX188" fmla="*/ 1381902 w 1674120"/>
              <a:gd name="connsiteY188" fmla="*/ 909957 h 1579642"/>
              <a:gd name="connsiteX189" fmla="*/ 1474039 w 1674120"/>
              <a:gd name="connsiteY189" fmla="*/ 1301980 h 1579642"/>
              <a:gd name="connsiteX190" fmla="*/ 1475284 w 1674120"/>
              <a:gd name="connsiteY190" fmla="*/ 1318159 h 1579642"/>
              <a:gd name="connsiteX191" fmla="*/ 1475284 w 1674120"/>
              <a:gd name="connsiteY191" fmla="*/ 1323137 h 1579642"/>
              <a:gd name="connsiteX192" fmla="*/ 1475284 w 1674120"/>
              <a:gd name="connsiteY192" fmla="*/ 1426432 h 1579642"/>
              <a:gd name="connsiteX193" fmla="*/ 1379412 w 1674120"/>
              <a:gd name="connsiteY193" fmla="*/ 1509814 h 1579642"/>
              <a:gd name="connsiteX194" fmla="*/ 1156540 w 1674120"/>
              <a:gd name="connsiteY194" fmla="*/ 1509814 h 1579642"/>
              <a:gd name="connsiteX195" fmla="*/ 1161521 w 1674120"/>
              <a:gd name="connsiteY195" fmla="*/ 1557106 h 1579642"/>
              <a:gd name="connsiteX196" fmla="*/ 1145335 w 1674120"/>
              <a:gd name="connsiteY196" fmla="*/ 1579507 h 1579642"/>
              <a:gd name="connsiteX197" fmla="*/ 1122923 w 1674120"/>
              <a:gd name="connsiteY197" fmla="*/ 1562084 h 1579642"/>
              <a:gd name="connsiteX198" fmla="*/ 1081835 w 1674120"/>
              <a:gd name="connsiteY198" fmla="*/ 1265889 h 1579642"/>
              <a:gd name="connsiteX199" fmla="*/ 1022071 w 1674120"/>
              <a:gd name="connsiteY199" fmla="*/ 1203663 h 1579642"/>
              <a:gd name="connsiteX200" fmla="*/ 646053 w 1674120"/>
              <a:gd name="connsiteY200" fmla="*/ 1203663 h 1579642"/>
              <a:gd name="connsiteX201" fmla="*/ 586288 w 1674120"/>
              <a:gd name="connsiteY201" fmla="*/ 1268378 h 1579642"/>
              <a:gd name="connsiteX202" fmla="*/ 571347 w 1674120"/>
              <a:gd name="connsiteY202" fmla="*/ 1354250 h 1579642"/>
              <a:gd name="connsiteX203" fmla="*/ 571347 w 1674120"/>
              <a:gd name="connsiteY203" fmla="*/ 1355494 h 1579642"/>
              <a:gd name="connsiteX204" fmla="*/ 537730 w 1674120"/>
              <a:gd name="connsiteY204" fmla="*/ 1563328 h 1579642"/>
              <a:gd name="connsiteX205" fmla="*/ 517808 w 1674120"/>
              <a:gd name="connsiteY205" fmla="*/ 1579507 h 1579642"/>
              <a:gd name="connsiteX206" fmla="*/ 514073 w 1674120"/>
              <a:gd name="connsiteY206" fmla="*/ 1579507 h 1579642"/>
              <a:gd name="connsiteX207" fmla="*/ 497887 w 1674120"/>
              <a:gd name="connsiteY207" fmla="*/ 1555861 h 1579642"/>
              <a:gd name="connsiteX208" fmla="*/ 506603 w 1674120"/>
              <a:gd name="connsiteY208" fmla="*/ 1509814 h 1579642"/>
              <a:gd name="connsiteX209" fmla="*/ 272525 w 1674120"/>
              <a:gd name="connsiteY209" fmla="*/ 1509814 h 1579642"/>
              <a:gd name="connsiteX210" fmla="*/ 176653 w 1674120"/>
              <a:gd name="connsiteY210" fmla="*/ 1426432 h 1579642"/>
              <a:gd name="connsiteX211" fmla="*/ 176653 w 1674120"/>
              <a:gd name="connsiteY211" fmla="*/ 1323137 h 1579642"/>
              <a:gd name="connsiteX212" fmla="*/ 177898 w 1674120"/>
              <a:gd name="connsiteY212" fmla="*/ 1318159 h 1579642"/>
              <a:gd name="connsiteX213" fmla="*/ 179143 w 1674120"/>
              <a:gd name="connsiteY213" fmla="*/ 1301980 h 1579642"/>
              <a:gd name="connsiteX214" fmla="*/ 275015 w 1674120"/>
              <a:gd name="connsiteY214" fmla="*/ 896268 h 1579642"/>
              <a:gd name="connsiteX215" fmla="*/ 247623 w 1674120"/>
              <a:gd name="connsiteY215" fmla="*/ 781772 h 1579642"/>
              <a:gd name="connsiteX216" fmla="*/ 246378 w 1674120"/>
              <a:gd name="connsiteY216" fmla="*/ 780528 h 1579642"/>
              <a:gd name="connsiteX217" fmla="*/ 146771 w 1674120"/>
              <a:gd name="connsiteY217" fmla="*/ 680966 h 1579642"/>
              <a:gd name="connsiteX218" fmla="*/ 146771 w 1674120"/>
              <a:gd name="connsiteY218" fmla="*/ 653587 h 1579642"/>
              <a:gd name="connsiteX219" fmla="*/ 175408 w 1674120"/>
              <a:gd name="connsiteY219" fmla="*/ 653587 h 1579642"/>
              <a:gd name="connsiteX220" fmla="*/ 363417 w 1674120"/>
              <a:gd name="connsiteY220" fmla="*/ 842753 h 1579642"/>
              <a:gd name="connsiteX221" fmla="*/ 393299 w 1674120"/>
              <a:gd name="connsiteY221" fmla="*/ 855199 h 1579642"/>
              <a:gd name="connsiteX222" fmla="*/ 621151 w 1674120"/>
              <a:gd name="connsiteY222" fmla="*/ 855199 h 1579642"/>
              <a:gd name="connsiteX223" fmla="*/ 654768 w 1674120"/>
              <a:gd name="connsiteY223" fmla="*/ 839020 h 1579642"/>
              <a:gd name="connsiteX224" fmla="*/ 667219 w 1674120"/>
              <a:gd name="connsiteY224" fmla="*/ 804173 h 1579642"/>
              <a:gd name="connsiteX225" fmla="*/ 617416 w 1674120"/>
              <a:gd name="connsiteY225" fmla="*/ 763104 h 1579642"/>
              <a:gd name="connsiteX226" fmla="*/ 446838 w 1674120"/>
              <a:gd name="connsiteY226" fmla="*/ 763104 h 1579642"/>
              <a:gd name="connsiteX227" fmla="*/ 389564 w 1674120"/>
              <a:gd name="connsiteY227" fmla="*/ 739459 h 1579642"/>
              <a:gd name="connsiteX228" fmla="*/ 241398 w 1674120"/>
              <a:gd name="connsiteY228" fmla="*/ 601317 h 1579642"/>
              <a:gd name="connsiteX229" fmla="*/ 209026 w 1674120"/>
              <a:gd name="connsiteY229" fmla="*/ 588872 h 1579642"/>
              <a:gd name="connsiteX230" fmla="*/ 136810 w 1674120"/>
              <a:gd name="connsiteY230" fmla="*/ 588872 h 1579642"/>
              <a:gd name="connsiteX231" fmla="*/ 77046 w 1674120"/>
              <a:gd name="connsiteY231" fmla="*/ 648609 h 1579642"/>
              <a:gd name="connsiteX232" fmla="*/ 77046 w 1674120"/>
              <a:gd name="connsiteY232" fmla="*/ 1070500 h 1579642"/>
              <a:gd name="connsiteX233" fmla="*/ 58369 w 1674120"/>
              <a:gd name="connsiteY233" fmla="*/ 1090412 h 1579642"/>
              <a:gd name="connsiteX234" fmla="*/ 38448 w 1674120"/>
              <a:gd name="connsiteY234" fmla="*/ 1070500 h 1579642"/>
              <a:gd name="connsiteX235" fmla="*/ 38448 w 1674120"/>
              <a:gd name="connsiteY235" fmla="*/ 648609 h 1579642"/>
              <a:gd name="connsiteX236" fmla="*/ 136810 w 1674120"/>
              <a:gd name="connsiteY236" fmla="*/ 550292 h 1579642"/>
              <a:gd name="connsiteX237" fmla="*/ 209026 w 1674120"/>
              <a:gd name="connsiteY237" fmla="*/ 550292 h 1579642"/>
              <a:gd name="connsiteX238" fmla="*/ 268790 w 1674120"/>
              <a:gd name="connsiteY238" fmla="*/ 572693 h 1579642"/>
              <a:gd name="connsiteX239" fmla="*/ 337270 w 1674120"/>
              <a:gd name="connsiteY239" fmla="*/ 637408 h 1579642"/>
              <a:gd name="connsiteX240" fmla="*/ 363417 w 1674120"/>
              <a:gd name="connsiteY240" fmla="*/ 503000 h 1579642"/>
              <a:gd name="connsiteX241" fmla="*/ 428162 w 1674120"/>
              <a:gd name="connsiteY241" fmla="*/ 455709 h 1579642"/>
              <a:gd name="connsiteX242" fmla="*/ 638582 w 1674120"/>
              <a:gd name="connsiteY242" fmla="*/ 455709 h 1579642"/>
              <a:gd name="connsiteX243" fmla="*/ 616171 w 1674120"/>
              <a:gd name="connsiteY243" fmla="*/ 353658 h 1579642"/>
              <a:gd name="connsiteX244" fmla="*/ 814140 w 1674120"/>
              <a:gd name="connsiteY244" fmla="*/ 150802 h 1579642"/>
              <a:gd name="connsiteX245" fmla="*/ 1070479 w 1674120"/>
              <a:gd name="connsiteY245" fmla="*/ 100762 h 1579642"/>
              <a:gd name="connsiteX246" fmla="*/ 1084310 w 1674120"/>
              <a:gd name="connsiteY246" fmla="*/ 106420 h 1579642"/>
              <a:gd name="connsiteX247" fmla="*/ 1084310 w 1674120"/>
              <a:gd name="connsiteY247" fmla="*/ 135342 h 1579642"/>
              <a:gd name="connsiteX248" fmla="*/ 1023954 w 1674120"/>
              <a:gd name="connsiteY248" fmla="*/ 195700 h 1579642"/>
              <a:gd name="connsiteX249" fmla="*/ 1010122 w 1674120"/>
              <a:gd name="connsiteY249" fmla="*/ 201988 h 1579642"/>
              <a:gd name="connsiteX250" fmla="*/ 996291 w 1674120"/>
              <a:gd name="connsiteY250" fmla="*/ 195700 h 1579642"/>
              <a:gd name="connsiteX251" fmla="*/ 996291 w 1674120"/>
              <a:gd name="connsiteY251" fmla="*/ 168036 h 1579642"/>
              <a:gd name="connsiteX252" fmla="*/ 1056647 w 1674120"/>
              <a:gd name="connsiteY252" fmla="*/ 106420 h 1579642"/>
              <a:gd name="connsiteX253" fmla="*/ 1070479 w 1674120"/>
              <a:gd name="connsiteY253" fmla="*/ 100762 h 1579642"/>
              <a:gd name="connsiteX254" fmla="*/ 587526 w 1674120"/>
              <a:gd name="connsiteY254" fmla="*/ 100762 h 1579642"/>
              <a:gd name="connsiteX255" fmla="*/ 601815 w 1674120"/>
              <a:gd name="connsiteY255" fmla="*/ 106420 h 1579642"/>
              <a:gd name="connsiteX256" fmla="*/ 661455 w 1674120"/>
              <a:gd name="connsiteY256" fmla="*/ 168036 h 1579642"/>
              <a:gd name="connsiteX257" fmla="*/ 661455 w 1674120"/>
              <a:gd name="connsiteY257" fmla="*/ 195700 h 1579642"/>
              <a:gd name="connsiteX258" fmla="*/ 647787 w 1674120"/>
              <a:gd name="connsiteY258" fmla="*/ 201988 h 1579642"/>
              <a:gd name="connsiteX259" fmla="*/ 634119 w 1674120"/>
              <a:gd name="connsiteY259" fmla="*/ 195700 h 1579642"/>
              <a:gd name="connsiteX260" fmla="*/ 573237 w 1674120"/>
              <a:gd name="connsiteY260" fmla="*/ 135342 h 1579642"/>
              <a:gd name="connsiteX261" fmla="*/ 573237 w 1674120"/>
              <a:gd name="connsiteY261" fmla="*/ 106420 h 1579642"/>
              <a:gd name="connsiteX262" fmla="*/ 587526 w 1674120"/>
              <a:gd name="connsiteY262" fmla="*/ 100762 h 1579642"/>
              <a:gd name="connsiteX263" fmla="*/ 832195 w 1674120"/>
              <a:gd name="connsiteY263" fmla="*/ 0 h 1579642"/>
              <a:gd name="connsiteX264" fmla="*/ 850217 w 1674120"/>
              <a:gd name="connsiteY264" fmla="*/ 20014 h 1579642"/>
              <a:gd name="connsiteX265" fmla="*/ 850217 w 1674120"/>
              <a:gd name="connsiteY265" fmla="*/ 105077 h 1579642"/>
              <a:gd name="connsiteX266" fmla="*/ 832195 w 1674120"/>
              <a:gd name="connsiteY266" fmla="*/ 125091 h 1579642"/>
              <a:gd name="connsiteX267" fmla="*/ 812970 w 1674120"/>
              <a:gd name="connsiteY267" fmla="*/ 105077 h 1579642"/>
              <a:gd name="connsiteX268" fmla="*/ 812970 w 1674120"/>
              <a:gd name="connsiteY268" fmla="*/ 20014 h 1579642"/>
              <a:gd name="connsiteX269" fmla="*/ 832195 w 1674120"/>
              <a:gd name="connsiteY269" fmla="*/ 0 h 157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</a:cxnLst>
            <a:rect l="l" t="t" r="r" b="b"/>
            <a:pathLst>
              <a:path w="1674120" h="1579642">
                <a:moveTo>
                  <a:pt x="1436686" y="1366695"/>
                </a:moveTo>
                <a:cubicBezTo>
                  <a:pt x="1429215" y="1369184"/>
                  <a:pt x="1419255" y="1370428"/>
                  <a:pt x="1410539" y="1370428"/>
                </a:cubicBezTo>
                <a:lnTo>
                  <a:pt x="1136619" y="1370428"/>
                </a:lnTo>
                <a:lnTo>
                  <a:pt x="1150315" y="1469990"/>
                </a:lnTo>
                <a:lnTo>
                  <a:pt x="1379412" y="1469990"/>
                </a:lnTo>
                <a:cubicBezTo>
                  <a:pt x="1410539" y="1469990"/>
                  <a:pt x="1436686" y="1450077"/>
                  <a:pt x="1436686" y="1426432"/>
                </a:cubicBezTo>
                <a:close/>
                <a:moveTo>
                  <a:pt x="216496" y="1366695"/>
                </a:moveTo>
                <a:lnTo>
                  <a:pt x="216496" y="1426432"/>
                </a:lnTo>
                <a:cubicBezTo>
                  <a:pt x="216496" y="1450077"/>
                  <a:pt x="241398" y="1469990"/>
                  <a:pt x="272525" y="1469990"/>
                </a:cubicBezTo>
                <a:lnTo>
                  <a:pt x="512828" y="1469990"/>
                </a:lnTo>
                <a:lnTo>
                  <a:pt x="530259" y="1370428"/>
                </a:lnTo>
                <a:lnTo>
                  <a:pt x="242643" y="1370428"/>
                </a:lnTo>
                <a:cubicBezTo>
                  <a:pt x="233927" y="1370428"/>
                  <a:pt x="223967" y="1369184"/>
                  <a:pt x="216496" y="1366695"/>
                </a:cubicBezTo>
                <a:close/>
                <a:moveTo>
                  <a:pt x="825458" y="880082"/>
                </a:moveTo>
                <a:cubicBezTo>
                  <a:pt x="766983" y="880082"/>
                  <a:pt x="719706" y="927159"/>
                  <a:pt x="719706" y="985384"/>
                </a:cubicBezTo>
                <a:cubicBezTo>
                  <a:pt x="719706" y="1044849"/>
                  <a:pt x="766983" y="1091925"/>
                  <a:pt x="825458" y="1091925"/>
                </a:cubicBezTo>
                <a:cubicBezTo>
                  <a:pt x="883933" y="1091925"/>
                  <a:pt x="931210" y="1044849"/>
                  <a:pt x="931210" y="985384"/>
                </a:cubicBezTo>
                <a:cubicBezTo>
                  <a:pt x="931210" y="927159"/>
                  <a:pt x="883933" y="880082"/>
                  <a:pt x="825458" y="880082"/>
                </a:cubicBezTo>
                <a:close/>
                <a:moveTo>
                  <a:pt x="825458" y="840439"/>
                </a:moveTo>
                <a:cubicBezTo>
                  <a:pt x="905083" y="840439"/>
                  <a:pt x="971023" y="904859"/>
                  <a:pt x="971023" y="985384"/>
                </a:cubicBezTo>
                <a:cubicBezTo>
                  <a:pt x="971023" y="1065909"/>
                  <a:pt x="905083" y="1130329"/>
                  <a:pt x="825458" y="1130329"/>
                </a:cubicBezTo>
                <a:cubicBezTo>
                  <a:pt x="745833" y="1130329"/>
                  <a:pt x="681137" y="1065909"/>
                  <a:pt x="681137" y="985384"/>
                </a:cubicBezTo>
                <a:cubicBezTo>
                  <a:pt x="681137" y="904859"/>
                  <a:pt x="745833" y="840439"/>
                  <a:pt x="825458" y="840439"/>
                </a:cubicBezTo>
                <a:close/>
                <a:moveTo>
                  <a:pt x="800295" y="686631"/>
                </a:moveTo>
                <a:lnTo>
                  <a:pt x="857338" y="686631"/>
                </a:lnTo>
                <a:cubicBezTo>
                  <a:pt x="870014" y="686631"/>
                  <a:pt x="877619" y="694787"/>
                  <a:pt x="877619" y="705273"/>
                </a:cubicBezTo>
                <a:cubicBezTo>
                  <a:pt x="877619" y="715759"/>
                  <a:pt x="870014" y="723915"/>
                  <a:pt x="857338" y="723915"/>
                </a:cubicBezTo>
                <a:lnTo>
                  <a:pt x="800295" y="723915"/>
                </a:lnTo>
                <a:cubicBezTo>
                  <a:pt x="787619" y="723915"/>
                  <a:pt x="780013" y="715759"/>
                  <a:pt x="780013" y="705273"/>
                </a:cubicBezTo>
                <a:cubicBezTo>
                  <a:pt x="780013" y="694787"/>
                  <a:pt x="787619" y="686631"/>
                  <a:pt x="800295" y="686631"/>
                </a:cubicBezTo>
                <a:close/>
                <a:moveTo>
                  <a:pt x="760256" y="637193"/>
                </a:moveTo>
                <a:lnTo>
                  <a:pt x="898634" y="637193"/>
                </a:lnTo>
                <a:cubicBezTo>
                  <a:pt x="907361" y="637193"/>
                  <a:pt x="916087" y="645605"/>
                  <a:pt x="916087" y="656420"/>
                </a:cubicBezTo>
                <a:cubicBezTo>
                  <a:pt x="916087" y="666033"/>
                  <a:pt x="907361" y="674445"/>
                  <a:pt x="898634" y="674445"/>
                </a:cubicBezTo>
                <a:lnTo>
                  <a:pt x="760256" y="674445"/>
                </a:lnTo>
                <a:cubicBezTo>
                  <a:pt x="750283" y="674445"/>
                  <a:pt x="741556" y="666033"/>
                  <a:pt x="741556" y="656420"/>
                </a:cubicBezTo>
                <a:cubicBezTo>
                  <a:pt x="741556" y="645605"/>
                  <a:pt x="750283" y="637193"/>
                  <a:pt x="760256" y="637193"/>
                </a:cubicBezTo>
                <a:close/>
                <a:moveTo>
                  <a:pt x="758111" y="582649"/>
                </a:moveTo>
                <a:lnTo>
                  <a:pt x="758111" y="593850"/>
                </a:lnTo>
                <a:lnTo>
                  <a:pt x="891336" y="593850"/>
                </a:lnTo>
                <a:lnTo>
                  <a:pt x="891336" y="582649"/>
                </a:lnTo>
                <a:close/>
                <a:moveTo>
                  <a:pt x="1010122" y="529165"/>
                </a:moveTo>
                <a:cubicBezTo>
                  <a:pt x="1015152" y="529165"/>
                  <a:pt x="1020181" y="530996"/>
                  <a:pt x="1023954" y="534658"/>
                </a:cubicBezTo>
                <a:lnTo>
                  <a:pt x="1084310" y="592030"/>
                </a:lnTo>
                <a:cubicBezTo>
                  <a:pt x="1091855" y="599354"/>
                  <a:pt x="1091855" y="611560"/>
                  <a:pt x="1084310" y="618884"/>
                </a:cubicBezTo>
                <a:cubicBezTo>
                  <a:pt x="1080538" y="622546"/>
                  <a:pt x="1075508" y="624988"/>
                  <a:pt x="1070478" y="624988"/>
                </a:cubicBezTo>
                <a:cubicBezTo>
                  <a:pt x="1065449" y="624988"/>
                  <a:pt x="1060419" y="622546"/>
                  <a:pt x="1056647" y="618884"/>
                </a:cubicBezTo>
                <a:lnTo>
                  <a:pt x="996291" y="561513"/>
                </a:lnTo>
                <a:cubicBezTo>
                  <a:pt x="988746" y="554189"/>
                  <a:pt x="988746" y="541982"/>
                  <a:pt x="996291" y="534658"/>
                </a:cubicBezTo>
                <a:cubicBezTo>
                  <a:pt x="1000063" y="530996"/>
                  <a:pt x="1005092" y="529165"/>
                  <a:pt x="1010122" y="529165"/>
                </a:cubicBezTo>
                <a:close/>
                <a:moveTo>
                  <a:pt x="647787" y="529165"/>
                </a:moveTo>
                <a:cubicBezTo>
                  <a:pt x="652757" y="529165"/>
                  <a:pt x="657727" y="530996"/>
                  <a:pt x="661455" y="534658"/>
                </a:cubicBezTo>
                <a:cubicBezTo>
                  <a:pt x="668909" y="541982"/>
                  <a:pt x="668909" y="554189"/>
                  <a:pt x="661455" y="561513"/>
                </a:cubicBezTo>
                <a:lnTo>
                  <a:pt x="601815" y="618884"/>
                </a:lnTo>
                <a:cubicBezTo>
                  <a:pt x="598087" y="622546"/>
                  <a:pt x="593117" y="624988"/>
                  <a:pt x="588147" y="624988"/>
                </a:cubicBezTo>
                <a:cubicBezTo>
                  <a:pt x="583177" y="624988"/>
                  <a:pt x="578207" y="622546"/>
                  <a:pt x="573237" y="618884"/>
                </a:cubicBezTo>
                <a:cubicBezTo>
                  <a:pt x="565782" y="611560"/>
                  <a:pt x="565782" y="599354"/>
                  <a:pt x="573237" y="592030"/>
                </a:cubicBezTo>
                <a:lnTo>
                  <a:pt x="634119" y="534658"/>
                </a:lnTo>
                <a:cubicBezTo>
                  <a:pt x="637847" y="530996"/>
                  <a:pt x="642817" y="529165"/>
                  <a:pt x="647787" y="529165"/>
                </a:cubicBezTo>
                <a:close/>
                <a:moveTo>
                  <a:pt x="428162" y="495533"/>
                </a:moveTo>
                <a:cubicBezTo>
                  <a:pt x="415711" y="495533"/>
                  <a:pt x="404505" y="503000"/>
                  <a:pt x="402015" y="511712"/>
                </a:cubicBezTo>
                <a:lnTo>
                  <a:pt x="370887" y="668521"/>
                </a:lnTo>
                <a:lnTo>
                  <a:pt x="416956" y="712079"/>
                </a:lnTo>
                <a:cubicBezTo>
                  <a:pt x="425672" y="719546"/>
                  <a:pt x="435632" y="723280"/>
                  <a:pt x="446838" y="723280"/>
                </a:cubicBezTo>
                <a:lnTo>
                  <a:pt x="617416" y="723280"/>
                </a:lnTo>
                <a:cubicBezTo>
                  <a:pt x="663484" y="723280"/>
                  <a:pt x="700837" y="758126"/>
                  <a:pt x="705817" y="800440"/>
                </a:cubicBezTo>
                <a:cubicBezTo>
                  <a:pt x="708307" y="824086"/>
                  <a:pt x="699592" y="847731"/>
                  <a:pt x="683406" y="866399"/>
                </a:cubicBezTo>
                <a:cubicBezTo>
                  <a:pt x="667219" y="883822"/>
                  <a:pt x="644808" y="893779"/>
                  <a:pt x="621151" y="893779"/>
                </a:cubicBezTo>
                <a:lnTo>
                  <a:pt x="393299" y="893779"/>
                </a:lnTo>
                <a:cubicBezTo>
                  <a:pt x="370887" y="893779"/>
                  <a:pt x="350966" y="885067"/>
                  <a:pt x="336025" y="870133"/>
                </a:cubicBezTo>
                <a:lnTo>
                  <a:pt x="323574" y="858932"/>
                </a:lnTo>
                <a:lnTo>
                  <a:pt x="216496" y="1311936"/>
                </a:lnTo>
                <a:cubicBezTo>
                  <a:pt x="216496" y="1314425"/>
                  <a:pt x="216496" y="1318159"/>
                  <a:pt x="220231" y="1321892"/>
                </a:cubicBezTo>
                <a:cubicBezTo>
                  <a:pt x="223967" y="1328115"/>
                  <a:pt x="233927" y="1331848"/>
                  <a:pt x="242643" y="1331848"/>
                </a:cubicBezTo>
                <a:lnTo>
                  <a:pt x="536485" y="1331848"/>
                </a:lnTo>
                <a:lnTo>
                  <a:pt x="547691" y="1260911"/>
                </a:lnTo>
                <a:cubicBezTo>
                  <a:pt x="561387" y="1198685"/>
                  <a:pt x="597494" y="1163839"/>
                  <a:pt x="646053" y="1163839"/>
                </a:cubicBezTo>
                <a:lnTo>
                  <a:pt x="1022071" y="1163839"/>
                </a:lnTo>
                <a:cubicBezTo>
                  <a:pt x="1073119" y="1163839"/>
                  <a:pt x="1112962" y="1203663"/>
                  <a:pt x="1120433" y="1260911"/>
                </a:cubicBezTo>
                <a:lnTo>
                  <a:pt x="1130393" y="1331848"/>
                </a:lnTo>
                <a:lnTo>
                  <a:pt x="1410539" y="1331848"/>
                </a:lnTo>
                <a:cubicBezTo>
                  <a:pt x="1419255" y="1331848"/>
                  <a:pt x="1429215" y="1328115"/>
                  <a:pt x="1432951" y="1321892"/>
                </a:cubicBezTo>
                <a:cubicBezTo>
                  <a:pt x="1436686" y="1318159"/>
                  <a:pt x="1436686" y="1314425"/>
                  <a:pt x="1436686" y="1311936"/>
                </a:cubicBezTo>
                <a:lnTo>
                  <a:pt x="1332098" y="863910"/>
                </a:lnTo>
                <a:lnTo>
                  <a:pt x="1325873" y="870133"/>
                </a:lnTo>
                <a:cubicBezTo>
                  <a:pt x="1310932" y="885067"/>
                  <a:pt x="1291010" y="893779"/>
                  <a:pt x="1269844" y="893779"/>
                </a:cubicBezTo>
                <a:lnTo>
                  <a:pt x="1040747" y="893779"/>
                </a:lnTo>
                <a:cubicBezTo>
                  <a:pt x="1017090" y="893779"/>
                  <a:pt x="994679" y="883822"/>
                  <a:pt x="978492" y="866399"/>
                </a:cubicBezTo>
                <a:cubicBezTo>
                  <a:pt x="962306" y="847731"/>
                  <a:pt x="953590" y="824086"/>
                  <a:pt x="956081" y="800440"/>
                </a:cubicBezTo>
                <a:cubicBezTo>
                  <a:pt x="961061" y="758126"/>
                  <a:pt x="999659" y="723280"/>
                  <a:pt x="1044482" y="723280"/>
                </a:cubicBezTo>
                <a:lnTo>
                  <a:pt x="1215060" y="723280"/>
                </a:lnTo>
                <a:cubicBezTo>
                  <a:pt x="1226265" y="723280"/>
                  <a:pt x="1236226" y="719546"/>
                  <a:pt x="1243697" y="712079"/>
                </a:cubicBezTo>
                <a:lnTo>
                  <a:pt x="1282295" y="675988"/>
                </a:lnTo>
                <a:lnTo>
                  <a:pt x="1249922" y="510468"/>
                </a:lnTo>
                <a:cubicBezTo>
                  <a:pt x="1248677" y="503000"/>
                  <a:pt x="1237471" y="495533"/>
                  <a:pt x="1225021" y="495533"/>
                </a:cubicBezTo>
                <a:lnTo>
                  <a:pt x="983473" y="495533"/>
                </a:lnTo>
                <a:cubicBezTo>
                  <a:pt x="968532" y="512957"/>
                  <a:pt x="951100" y="527891"/>
                  <a:pt x="929934" y="540336"/>
                </a:cubicBezTo>
                <a:cubicBezTo>
                  <a:pt x="929934" y="540336"/>
                  <a:pt x="928689" y="541580"/>
                  <a:pt x="928689" y="544069"/>
                </a:cubicBezTo>
                <a:lnTo>
                  <a:pt x="928689" y="596339"/>
                </a:lnTo>
                <a:cubicBezTo>
                  <a:pt x="928689" y="616251"/>
                  <a:pt x="912502" y="633675"/>
                  <a:pt x="893826" y="633675"/>
                </a:cubicBezTo>
                <a:lnTo>
                  <a:pt x="755621" y="633675"/>
                </a:lnTo>
                <a:cubicBezTo>
                  <a:pt x="735699" y="633675"/>
                  <a:pt x="719513" y="616251"/>
                  <a:pt x="719513" y="596339"/>
                </a:cubicBezTo>
                <a:lnTo>
                  <a:pt x="719513" y="544069"/>
                </a:lnTo>
                <a:cubicBezTo>
                  <a:pt x="719513" y="541580"/>
                  <a:pt x="718268" y="541580"/>
                  <a:pt x="718268" y="540336"/>
                </a:cubicBezTo>
                <a:cubicBezTo>
                  <a:pt x="697102" y="527891"/>
                  <a:pt x="679670" y="512957"/>
                  <a:pt x="664729" y="495533"/>
                </a:cubicBezTo>
                <a:close/>
                <a:moveTo>
                  <a:pt x="1090094" y="346063"/>
                </a:moveTo>
                <a:lnTo>
                  <a:pt x="1176007" y="346063"/>
                </a:lnTo>
                <a:cubicBezTo>
                  <a:pt x="1187378" y="346063"/>
                  <a:pt x="1196222" y="354474"/>
                  <a:pt x="1196222" y="364086"/>
                </a:cubicBezTo>
                <a:cubicBezTo>
                  <a:pt x="1196222" y="374900"/>
                  <a:pt x="1187378" y="383311"/>
                  <a:pt x="1176007" y="383311"/>
                </a:cubicBezTo>
                <a:lnTo>
                  <a:pt x="1090094" y="383311"/>
                </a:lnTo>
                <a:cubicBezTo>
                  <a:pt x="1079987" y="383311"/>
                  <a:pt x="1071143" y="374900"/>
                  <a:pt x="1071143" y="364086"/>
                </a:cubicBezTo>
                <a:cubicBezTo>
                  <a:pt x="1071143" y="354474"/>
                  <a:pt x="1079987" y="346063"/>
                  <a:pt x="1090094" y="346063"/>
                </a:cubicBezTo>
                <a:close/>
                <a:moveTo>
                  <a:pt x="486921" y="346063"/>
                </a:moveTo>
                <a:lnTo>
                  <a:pt x="571983" y="346063"/>
                </a:lnTo>
                <a:cubicBezTo>
                  <a:pt x="581990" y="346063"/>
                  <a:pt x="591997" y="354474"/>
                  <a:pt x="591997" y="364086"/>
                </a:cubicBezTo>
                <a:cubicBezTo>
                  <a:pt x="591997" y="374900"/>
                  <a:pt x="581990" y="383311"/>
                  <a:pt x="571983" y="383311"/>
                </a:cubicBezTo>
                <a:lnTo>
                  <a:pt x="486921" y="383311"/>
                </a:lnTo>
                <a:cubicBezTo>
                  <a:pt x="475662" y="383311"/>
                  <a:pt x="466906" y="374900"/>
                  <a:pt x="466906" y="364086"/>
                </a:cubicBezTo>
                <a:cubicBezTo>
                  <a:pt x="466906" y="354474"/>
                  <a:pt x="475662" y="346063"/>
                  <a:pt x="486921" y="346063"/>
                </a:cubicBezTo>
                <a:close/>
                <a:moveTo>
                  <a:pt x="1525808" y="275845"/>
                </a:moveTo>
                <a:cubicBezTo>
                  <a:pt x="1466735" y="275845"/>
                  <a:pt x="1418973" y="322922"/>
                  <a:pt x="1418973" y="381147"/>
                </a:cubicBezTo>
                <a:cubicBezTo>
                  <a:pt x="1418973" y="439373"/>
                  <a:pt x="1466735" y="487688"/>
                  <a:pt x="1525808" y="487688"/>
                </a:cubicBezTo>
                <a:cubicBezTo>
                  <a:pt x="1584882" y="487688"/>
                  <a:pt x="1633900" y="439373"/>
                  <a:pt x="1633900" y="381147"/>
                </a:cubicBezTo>
                <a:cubicBezTo>
                  <a:pt x="1633900" y="322922"/>
                  <a:pt x="1584882" y="275845"/>
                  <a:pt x="1525808" y="275845"/>
                </a:cubicBezTo>
                <a:close/>
                <a:moveTo>
                  <a:pt x="144946" y="275845"/>
                </a:moveTo>
                <a:cubicBezTo>
                  <a:pt x="86720" y="275845"/>
                  <a:pt x="38404" y="322922"/>
                  <a:pt x="38404" y="381147"/>
                </a:cubicBezTo>
                <a:cubicBezTo>
                  <a:pt x="38404" y="439373"/>
                  <a:pt x="86720" y="487688"/>
                  <a:pt x="144946" y="487688"/>
                </a:cubicBezTo>
                <a:cubicBezTo>
                  <a:pt x="203172" y="487688"/>
                  <a:pt x="251487" y="439373"/>
                  <a:pt x="251487" y="381147"/>
                </a:cubicBezTo>
                <a:cubicBezTo>
                  <a:pt x="251487" y="322922"/>
                  <a:pt x="203172" y="275845"/>
                  <a:pt x="144946" y="275845"/>
                </a:cubicBezTo>
                <a:close/>
                <a:moveTo>
                  <a:pt x="1525808" y="236202"/>
                </a:moveTo>
                <a:cubicBezTo>
                  <a:pt x="1607505" y="236202"/>
                  <a:pt x="1674120" y="300622"/>
                  <a:pt x="1674120" y="381147"/>
                </a:cubicBezTo>
                <a:cubicBezTo>
                  <a:pt x="1674120" y="460434"/>
                  <a:pt x="1607505" y="526092"/>
                  <a:pt x="1525808" y="526092"/>
                </a:cubicBezTo>
                <a:cubicBezTo>
                  <a:pt x="1445368" y="526092"/>
                  <a:pt x="1378753" y="460434"/>
                  <a:pt x="1378753" y="381147"/>
                </a:cubicBezTo>
                <a:cubicBezTo>
                  <a:pt x="1378753" y="300622"/>
                  <a:pt x="1445368" y="236202"/>
                  <a:pt x="1525808" y="236202"/>
                </a:cubicBezTo>
                <a:close/>
                <a:moveTo>
                  <a:pt x="144946" y="236202"/>
                </a:moveTo>
                <a:cubicBezTo>
                  <a:pt x="224232" y="236202"/>
                  <a:pt x="289891" y="300622"/>
                  <a:pt x="289891" y="381147"/>
                </a:cubicBezTo>
                <a:cubicBezTo>
                  <a:pt x="289891" y="460434"/>
                  <a:pt x="224232" y="526092"/>
                  <a:pt x="144946" y="526092"/>
                </a:cubicBezTo>
                <a:cubicBezTo>
                  <a:pt x="64420" y="526092"/>
                  <a:pt x="0" y="460434"/>
                  <a:pt x="0" y="381147"/>
                </a:cubicBezTo>
                <a:cubicBezTo>
                  <a:pt x="0" y="300622"/>
                  <a:pt x="64420" y="236202"/>
                  <a:pt x="144946" y="236202"/>
                </a:cubicBezTo>
                <a:close/>
                <a:moveTo>
                  <a:pt x="827416" y="208734"/>
                </a:moveTo>
                <a:cubicBezTo>
                  <a:pt x="874777" y="208734"/>
                  <a:pt x="918399" y="231146"/>
                  <a:pt x="947065" y="269744"/>
                </a:cubicBezTo>
                <a:cubicBezTo>
                  <a:pt x="954543" y="277215"/>
                  <a:pt x="952050" y="290911"/>
                  <a:pt x="943326" y="297137"/>
                </a:cubicBezTo>
                <a:cubicBezTo>
                  <a:pt x="939587" y="298382"/>
                  <a:pt x="935848" y="300872"/>
                  <a:pt x="932109" y="300872"/>
                </a:cubicBezTo>
                <a:cubicBezTo>
                  <a:pt x="925877" y="300872"/>
                  <a:pt x="919645" y="298382"/>
                  <a:pt x="915906" y="293401"/>
                </a:cubicBezTo>
                <a:cubicBezTo>
                  <a:pt x="895965" y="263519"/>
                  <a:pt x="863560" y="247333"/>
                  <a:pt x="827416" y="247333"/>
                </a:cubicBezTo>
                <a:cubicBezTo>
                  <a:pt x="816199" y="247333"/>
                  <a:pt x="807475" y="238617"/>
                  <a:pt x="807475" y="227411"/>
                </a:cubicBezTo>
                <a:cubicBezTo>
                  <a:pt x="807475" y="217450"/>
                  <a:pt x="816199" y="208734"/>
                  <a:pt x="827416" y="208734"/>
                </a:cubicBezTo>
                <a:close/>
                <a:moveTo>
                  <a:pt x="816630" y="190627"/>
                </a:moveTo>
                <a:cubicBezTo>
                  <a:pt x="728229" y="194360"/>
                  <a:pt x="657259" y="266542"/>
                  <a:pt x="654768" y="354903"/>
                </a:cubicBezTo>
                <a:cubicBezTo>
                  <a:pt x="652278" y="417129"/>
                  <a:pt x="684651" y="475621"/>
                  <a:pt x="738190" y="506734"/>
                </a:cubicBezTo>
                <a:cubicBezTo>
                  <a:pt x="750641" y="514201"/>
                  <a:pt x="758111" y="527891"/>
                  <a:pt x="758111" y="544069"/>
                </a:cubicBezTo>
                <a:lnTo>
                  <a:pt x="891336" y="544069"/>
                </a:lnTo>
                <a:cubicBezTo>
                  <a:pt x="891336" y="527891"/>
                  <a:pt x="897561" y="514201"/>
                  <a:pt x="910012" y="506734"/>
                </a:cubicBezTo>
                <a:cubicBezTo>
                  <a:pt x="962306" y="475621"/>
                  <a:pt x="993433" y="420862"/>
                  <a:pt x="993433" y="361126"/>
                </a:cubicBezTo>
                <a:cubicBezTo>
                  <a:pt x="993433" y="313834"/>
                  <a:pt x="974757" y="270276"/>
                  <a:pt x="941139" y="236674"/>
                </a:cubicBezTo>
                <a:cubicBezTo>
                  <a:pt x="907522" y="205561"/>
                  <a:pt x="863944" y="188138"/>
                  <a:pt x="816630" y="190627"/>
                </a:cubicBezTo>
                <a:close/>
                <a:moveTo>
                  <a:pt x="814140" y="150802"/>
                </a:moveTo>
                <a:cubicBezTo>
                  <a:pt x="872659" y="148313"/>
                  <a:pt x="926198" y="169470"/>
                  <a:pt x="968532" y="209295"/>
                </a:cubicBezTo>
                <a:cubicBezTo>
                  <a:pt x="1009620" y="249119"/>
                  <a:pt x="1033276" y="302633"/>
                  <a:pt x="1033276" y="361126"/>
                </a:cubicBezTo>
                <a:cubicBezTo>
                  <a:pt x="1033276" y="394728"/>
                  <a:pt x="1024561" y="427085"/>
                  <a:pt x="1009620" y="455709"/>
                </a:cubicBezTo>
                <a:lnTo>
                  <a:pt x="1225021" y="455709"/>
                </a:lnTo>
                <a:cubicBezTo>
                  <a:pt x="1256148" y="455709"/>
                  <a:pt x="1282295" y="475621"/>
                  <a:pt x="1288520" y="501756"/>
                </a:cubicBezTo>
                <a:lnTo>
                  <a:pt x="1317157" y="644875"/>
                </a:lnTo>
                <a:lnTo>
                  <a:pt x="1394353" y="572693"/>
                </a:lnTo>
                <a:cubicBezTo>
                  <a:pt x="1410539" y="559004"/>
                  <a:pt x="1430461" y="550292"/>
                  <a:pt x="1452872" y="550292"/>
                </a:cubicBezTo>
                <a:lnTo>
                  <a:pt x="1525088" y="550292"/>
                </a:lnTo>
                <a:cubicBezTo>
                  <a:pt x="1579872" y="550292"/>
                  <a:pt x="1624695" y="593850"/>
                  <a:pt x="1624695" y="648609"/>
                </a:cubicBezTo>
                <a:lnTo>
                  <a:pt x="1624695" y="1070500"/>
                </a:lnTo>
                <a:cubicBezTo>
                  <a:pt x="1624695" y="1080456"/>
                  <a:pt x="1615979" y="1090412"/>
                  <a:pt x="1604773" y="1090412"/>
                </a:cubicBezTo>
                <a:cubicBezTo>
                  <a:pt x="1593568" y="1090412"/>
                  <a:pt x="1584852" y="1080456"/>
                  <a:pt x="1584852" y="1070500"/>
                </a:cubicBezTo>
                <a:lnTo>
                  <a:pt x="1584852" y="648609"/>
                </a:lnTo>
                <a:cubicBezTo>
                  <a:pt x="1584852" y="616251"/>
                  <a:pt x="1558705" y="588872"/>
                  <a:pt x="1525088" y="588872"/>
                </a:cubicBezTo>
                <a:lnTo>
                  <a:pt x="1452872" y="588872"/>
                </a:lnTo>
                <a:cubicBezTo>
                  <a:pt x="1440421" y="588872"/>
                  <a:pt x="1429215" y="592606"/>
                  <a:pt x="1420500" y="601317"/>
                </a:cubicBezTo>
                <a:lnTo>
                  <a:pt x="1272334" y="739459"/>
                </a:lnTo>
                <a:cubicBezTo>
                  <a:pt x="1257393" y="754393"/>
                  <a:pt x="1236226" y="763104"/>
                  <a:pt x="1215060" y="763104"/>
                </a:cubicBezTo>
                <a:lnTo>
                  <a:pt x="1044482" y="763104"/>
                </a:lnTo>
                <a:cubicBezTo>
                  <a:pt x="1018335" y="763104"/>
                  <a:pt x="997169" y="781772"/>
                  <a:pt x="995924" y="804173"/>
                </a:cubicBezTo>
                <a:cubicBezTo>
                  <a:pt x="994679" y="817863"/>
                  <a:pt x="998414" y="829064"/>
                  <a:pt x="1007129" y="839020"/>
                </a:cubicBezTo>
                <a:cubicBezTo>
                  <a:pt x="1015845" y="848976"/>
                  <a:pt x="1028296" y="855199"/>
                  <a:pt x="1040747" y="855199"/>
                </a:cubicBezTo>
                <a:lnTo>
                  <a:pt x="1269844" y="855199"/>
                </a:lnTo>
                <a:cubicBezTo>
                  <a:pt x="1279805" y="855199"/>
                  <a:pt x="1291010" y="850221"/>
                  <a:pt x="1298481" y="842753"/>
                </a:cubicBezTo>
                <a:lnTo>
                  <a:pt x="1487735" y="653587"/>
                </a:lnTo>
                <a:cubicBezTo>
                  <a:pt x="1495205" y="646120"/>
                  <a:pt x="1507656" y="646120"/>
                  <a:pt x="1515127" y="653587"/>
                </a:cubicBezTo>
                <a:cubicBezTo>
                  <a:pt x="1522597" y="661054"/>
                  <a:pt x="1522597" y="673499"/>
                  <a:pt x="1515127" y="680966"/>
                </a:cubicBezTo>
                <a:lnTo>
                  <a:pt x="1415519" y="780528"/>
                </a:lnTo>
                <a:cubicBezTo>
                  <a:pt x="1415519" y="781772"/>
                  <a:pt x="1415519" y="781772"/>
                  <a:pt x="1415519" y="781772"/>
                </a:cubicBezTo>
                <a:lnTo>
                  <a:pt x="1384392" y="904979"/>
                </a:lnTo>
                <a:cubicBezTo>
                  <a:pt x="1383147" y="907468"/>
                  <a:pt x="1383147" y="908713"/>
                  <a:pt x="1381902" y="909957"/>
                </a:cubicBezTo>
                <a:lnTo>
                  <a:pt x="1474039" y="1301980"/>
                </a:lnTo>
                <a:cubicBezTo>
                  <a:pt x="1475284" y="1306958"/>
                  <a:pt x="1475284" y="1313181"/>
                  <a:pt x="1475284" y="1318159"/>
                </a:cubicBezTo>
                <a:cubicBezTo>
                  <a:pt x="1475284" y="1319403"/>
                  <a:pt x="1475284" y="1320648"/>
                  <a:pt x="1475284" y="1323137"/>
                </a:cubicBezTo>
                <a:lnTo>
                  <a:pt x="1475284" y="1426432"/>
                </a:lnTo>
                <a:cubicBezTo>
                  <a:pt x="1475284" y="1472479"/>
                  <a:pt x="1431706" y="1509814"/>
                  <a:pt x="1379412" y="1509814"/>
                </a:cubicBezTo>
                <a:lnTo>
                  <a:pt x="1156540" y="1509814"/>
                </a:lnTo>
                <a:lnTo>
                  <a:pt x="1161521" y="1557106"/>
                </a:lnTo>
                <a:cubicBezTo>
                  <a:pt x="1164011" y="1568307"/>
                  <a:pt x="1156540" y="1577018"/>
                  <a:pt x="1145335" y="1579507"/>
                </a:cubicBezTo>
                <a:cubicBezTo>
                  <a:pt x="1134129" y="1580752"/>
                  <a:pt x="1124168" y="1573285"/>
                  <a:pt x="1122923" y="1562084"/>
                </a:cubicBezTo>
                <a:lnTo>
                  <a:pt x="1081835" y="1265889"/>
                </a:lnTo>
                <a:cubicBezTo>
                  <a:pt x="1078100" y="1237265"/>
                  <a:pt x="1059423" y="1203663"/>
                  <a:pt x="1022071" y="1203663"/>
                </a:cubicBezTo>
                <a:lnTo>
                  <a:pt x="646053" y="1203663"/>
                </a:lnTo>
                <a:cubicBezTo>
                  <a:pt x="608700" y="1203663"/>
                  <a:pt x="592514" y="1238510"/>
                  <a:pt x="586288" y="1268378"/>
                </a:cubicBezTo>
                <a:lnTo>
                  <a:pt x="571347" y="1354250"/>
                </a:lnTo>
                <a:cubicBezTo>
                  <a:pt x="571347" y="1355494"/>
                  <a:pt x="571347" y="1355494"/>
                  <a:pt x="571347" y="1355494"/>
                </a:cubicBezTo>
                <a:lnTo>
                  <a:pt x="537730" y="1563328"/>
                </a:lnTo>
                <a:cubicBezTo>
                  <a:pt x="536485" y="1572040"/>
                  <a:pt x="527769" y="1579507"/>
                  <a:pt x="517808" y="1579507"/>
                </a:cubicBezTo>
                <a:cubicBezTo>
                  <a:pt x="516563" y="1579507"/>
                  <a:pt x="516563" y="1579507"/>
                  <a:pt x="514073" y="1579507"/>
                </a:cubicBezTo>
                <a:cubicBezTo>
                  <a:pt x="504112" y="1577018"/>
                  <a:pt x="496642" y="1567062"/>
                  <a:pt x="497887" y="1555861"/>
                </a:cubicBezTo>
                <a:lnTo>
                  <a:pt x="506603" y="1509814"/>
                </a:lnTo>
                <a:lnTo>
                  <a:pt x="272525" y="1509814"/>
                </a:lnTo>
                <a:cubicBezTo>
                  <a:pt x="220231" y="1509814"/>
                  <a:pt x="176653" y="1472479"/>
                  <a:pt x="176653" y="1426432"/>
                </a:cubicBezTo>
                <a:lnTo>
                  <a:pt x="176653" y="1323137"/>
                </a:lnTo>
                <a:cubicBezTo>
                  <a:pt x="176653" y="1320648"/>
                  <a:pt x="177898" y="1319403"/>
                  <a:pt x="177898" y="1318159"/>
                </a:cubicBezTo>
                <a:cubicBezTo>
                  <a:pt x="176653" y="1313181"/>
                  <a:pt x="176653" y="1306958"/>
                  <a:pt x="179143" y="1301980"/>
                </a:cubicBezTo>
                <a:lnTo>
                  <a:pt x="275015" y="896268"/>
                </a:lnTo>
                <a:lnTo>
                  <a:pt x="247623" y="781772"/>
                </a:lnTo>
                <a:cubicBezTo>
                  <a:pt x="247623" y="781772"/>
                  <a:pt x="247623" y="781772"/>
                  <a:pt x="246378" y="780528"/>
                </a:cubicBezTo>
                <a:lnTo>
                  <a:pt x="146771" y="680966"/>
                </a:lnTo>
                <a:cubicBezTo>
                  <a:pt x="139300" y="673499"/>
                  <a:pt x="139300" y="661054"/>
                  <a:pt x="146771" y="653587"/>
                </a:cubicBezTo>
                <a:cubicBezTo>
                  <a:pt x="154242" y="646120"/>
                  <a:pt x="166692" y="646120"/>
                  <a:pt x="175408" y="653587"/>
                </a:cubicBezTo>
                <a:lnTo>
                  <a:pt x="363417" y="842753"/>
                </a:lnTo>
                <a:cubicBezTo>
                  <a:pt x="370887" y="850221"/>
                  <a:pt x="382093" y="855199"/>
                  <a:pt x="393299" y="855199"/>
                </a:cubicBezTo>
                <a:lnTo>
                  <a:pt x="621151" y="855199"/>
                </a:lnTo>
                <a:cubicBezTo>
                  <a:pt x="633602" y="855199"/>
                  <a:pt x="646053" y="848976"/>
                  <a:pt x="654768" y="839020"/>
                </a:cubicBezTo>
                <a:cubicBezTo>
                  <a:pt x="663484" y="829064"/>
                  <a:pt x="667219" y="817863"/>
                  <a:pt x="667219" y="804173"/>
                </a:cubicBezTo>
                <a:cubicBezTo>
                  <a:pt x="664729" y="781772"/>
                  <a:pt x="643563" y="763104"/>
                  <a:pt x="617416" y="763104"/>
                </a:cubicBezTo>
                <a:lnTo>
                  <a:pt x="446838" y="763104"/>
                </a:lnTo>
                <a:cubicBezTo>
                  <a:pt x="425672" y="763104"/>
                  <a:pt x="404505" y="754393"/>
                  <a:pt x="389564" y="739459"/>
                </a:cubicBezTo>
                <a:lnTo>
                  <a:pt x="241398" y="601317"/>
                </a:lnTo>
                <a:cubicBezTo>
                  <a:pt x="232682" y="592606"/>
                  <a:pt x="221476" y="588872"/>
                  <a:pt x="209026" y="588872"/>
                </a:cubicBezTo>
                <a:lnTo>
                  <a:pt x="136810" y="588872"/>
                </a:lnTo>
                <a:cubicBezTo>
                  <a:pt x="104438" y="588872"/>
                  <a:pt x="77046" y="616251"/>
                  <a:pt x="77046" y="648609"/>
                </a:cubicBezTo>
                <a:lnTo>
                  <a:pt x="77046" y="1070500"/>
                </a:lnTo>
                <a:cubicBezTo>
                  <a:pt x="77046" y="1080456"/>
                  <a:pt x="68330" y="1090412"/>
                  <a:pt x="58369" y="1090412"/>
                </a:cubicBezTo>
                <a:cubicBezTo>
                  <a:pt x="45919" y="1090412"/>
                  <a:pt x="38448" y="1080456"/>
                  <a:pt x="38448" y="1070500"/>
                </a:cubicBezTo>
                <a:lnTo>
                  <a:pt x="38448" y="648609"/>
                </a:lnTo>
                <a:cubicBezTo>
                  <a:pt x="38448" y="593850"/>
                  <a:pt x="82026" y="550292"/>
                  <a:pt x="136810" y="550292"/>
                </a:cubicBezTo>
                <a:lnTo>
                  <a:pt x="209026" y="550292"/>
                </a:lnTo>
                <a:cubicBezTo>
                  <a:pt x="231437" y="550292"/>
                  <a:pt x="252604" y="559004"/>
                  <a:pt x="268790" y="572693"/>
                </a:cubicBezTo>
                <a:lnTo>
                  <a:pt x="337270" y="637408"/>
                </a:lnTo>
                <a:lnTo>
                  <a:pt x="363417" y="503000"/>
                </a:lnTo>
                <a:cubicBezTo>
                  <a:pt x="370887" y="475621"/>
                  <a:pt x="397034" y="455709"/>
                  <a:pt x="428162" y="455709"/>
                </a:cubicBezTo>
                <a:lnTo>
                  <a:pt x="638582" y="455709"/>
                </a:lnTo>
                <a:cubicBezTo>
                  <a:pt x="622396" y="425840"/>
                  <a:pt x="613680" y="389749"/>
                  <a:pt x="616171" y="353658"/>
                </a:cubicBezTo>
                <a:cubicBezTo>
                  <a:pt x="618661" y="245386"/>
                  <a:pt x="705817" y="155780"/>
                  <a:pt x="814140" y="150802"/>
                </a:cubicBezTo>
                <a:close/>
                <a:moveTo>
                  <a:pt x="1070479" y="100762"/>
                </a:moveTo>
                <a:cubicBezTo>
                  <a:pt x="1075508" y="100762"/>
                  <a:pt x="1080538" y="102648"/>
                  <a:pt x="1084310" y="106420"/>
                </a:cubicBezTo>
                <a:cubicBezTo>
                  <a:pt x="1091855" y="113965"/>
                  <a:pt x="1091855" y="127797"/>
                  <a:pt x="1084310" y="135342"/>
                </a:cubicBezTo>
                <a:lnTo>
                  <a:pt x="1023954" y="195700"/>
                </a:lnTo>
                <a:cubicBezTo>
                  <a:pt x="1020182" y="199473"/>
                  <a:pt x="1015152" y="201988"/>
                  <a:pt x="1010122" y="201988"/>
                </a:cubicBezTo>
                <a:cubicBezTo>
                  <a:pt x="1005092" y="201988"/>
                  <a:pt x="1000063" y="199473"/>
                  <a:pt x="996291" y="195700"/>
                </a:cubicBezTo>
                <a:cubicBezTo>
                  <a:pt x="988746" y="188156"/>
                  <a:pt x="988746" y="175581"/>
                  <a:pt x="996291" y="168036"/>
                </a:cubicBezTo>
                <a:lnTo>
                  <a:pt x="1056647" y="106420"/>
                </a:lnTo>
                <a:cubicBezTo>
                  <a:pt x="1060419" y="102648"/>
                  <a:pt x="1065449" y="100762"/>
                  <a:pt x="1070479" y="100762"/>
                </a:cubicBezTo>
                <a:close/>
                <a:moveTo>
                  <a:pt x="587526" y="100762"/>
                </a:moveTo>
                <a:cubicBezTo>
                  <a:pt x="592806" y="100762"/>
                  <a:pt x="598087" y="102648"/>
                  <a:pt x="601815" y="106420"/>
                </a:cubicBezTo>
                <a:lnTo>
                  <a:pt x="661455" y="168036"/>
                </a:lnTo>
                <a:cubicBezTo>
                  <a:pt x="668909" y="175581"/>
                  <a:pt x="668909" y="188156"/>
                  <a:pt x="661455" y="195700"/>
                </a:cubicBezTo>
                <a:cubicBezTo>
                  <a:pt x="657727" y="199473"/>
                  <a:pt x="652757" y="201988"/>
                  <a:pt x="647787" y="201988"/>
                </a:cubicBezTo>
                <a:cubicBezTo>
                  <a:pt x="641575" y="201988"/>
                  <a:pt x="637847" y="199473"/>
                  <a:pt x="634119" y="195700"/>
                </a:cubicBezTo>
                <a:lnTo>
                  <a:pt x="573237" y="135342"/>
                </a:lnTo>
                <a:cubicBezTo>
                  <a:pt x="565782" y="127797"/>
                  <a:pt x="565782" y="113965"/>
                  <a:pt x="573237" y="106420"/>
                </a:cubicBezTo>
                <a:cubicBezTo>
                  <a:pt x="576965" y="102648"/>
                  <a:pt x="582245" y="100762"/>
                  <a:pt x="587526" y="100762"/>
                </a:cubicBezTo>
                <a:close/>
                <a:moveTo>
                  <a:pt x="832195" y="0"/>
                </a:moveTo>
                <a:cubicBezTo>
                  <a:pt x="841807" y="0"/>
                  <a:pt x="850217" y="8756"/>
                  <a:pt x="850217" y="20014"/>
                </a:cubicBezTo>
                <a:lnTo>
                  <a:pt x="850217" y="105077"/>
                </a:lnTo>
                <a:cubicBezTo>
                  <a:pt x="850217" y="115084"/>
                  <a:pt x="841807" y="125091"/>
                  <a:pt x="832195" y="125091"/>
                </a:cubicBezTo>
                <a:cubicBezTo>
                  <a:pt x="821381" y="125091"/>
                  <a:pt x="812970" y="115084"/>
                  <a:pt x="812970" y="105077"/>
                </a:cubicBezTo>
                <a:lnTo>
                  <a:pt x="812970" y="20014"/>
                </a:lnTo>
                <a:cubicBezTo>
                  <a:pt x="812970" y="8756"/>
                  <a:pt x="821381" y="0"/>
                  <a:pt x="8321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CFF07919-5749-4FD2-AE4E-E854D71CD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6075" y="3206533"/>
            <a:ext cx="744161" cy="664038"/>
          </a:xfrm>
          <a:custGeom>
            <a:avLst/>
            <a:gdLst>
              <a:gd name="connsiteX0" fmla="*/ 1139693 w 1488322"/>
              <a:gd name="connsiteY0" fmla="*/ 900862 h 1328076"/>
              <a:gd name="connsiteX1" fmla="*/ 1158337 w 1488322"/>
              <a:gd name="connsiteY1" fmla="*/ 920907 h 1328076"/>
              <a:gd name="connsiteX2" fmla="*/ 1158337 w 1488322"/>
              <a:gd name="connsiteY2" fmla="*/ 1309275 h 1328076"/>
              <a:gd name="connsiteX3" fmla="*/ 1139693 w 1488322"/>
              <a:gd name="connsiteY3" fmla="*/ 1328067 h 1328076"/>
              <a:gd name="connsiteX4" fmla="*/ 1121050 w 1488322"/>
              <a:gd name="connsiteY4" fmla="*/ 1309275 h 1328076"/>
              <a:gd name="connsiteX5" fmla="*/ 1121050 w 1488322"/>
              <a:gd name="connsiteY5" fmla="*/ 920907 h 1328076"/>
              <a:gd name="connsiteX6" fmla="*/ 1139693 w 1488322"/>
              <a:gd name="connsiteY6" fmla="*/ 900862 h 1328076"/>
              <a:gd name="connsiteX7" fmla="*/ 342581 w 1488322"/>
              <a:gd name="connsiteY7" fmla="*/ 900862 h 1328076"/>
              <a:gd name="connsiteX8" fmla="*/ 361805 w 1488322"/>
              <a:gd name="connsiteY8" fmla="*/ 920907 h 1328076"/>
              <a:gd name="connsiteX9" fmla="*/ 361805 w 1488322"/>
              <a:gd name="connsiteY9" fmla="*/ 1309275 h 1328076"/>
              <a:gd name="connsiteX10" fmla="*/ 342581 w 1488322"/>
              <a:gd name="connsiteY10" fmla="*/ 1328067 h 1328076"/>
              <a:gd name="connsiteX11" fmla="*/ 324558 w 1488322"/>
              <a:gd name="connsiteY11" fmla="*/ 1309275 h 1328076"/>
              <a:gd name="connsiteX12" fmla="*/ 324558 w 1488322"/>
              <a:gd name="connsiteY12" fmla="*/ 920907 h 1328076"/>
              <a:gd name="connsiteX13" fmla="*/ 342581 w 1488322"/>
              <a:gd name="connsiteY13" fmla="*/ 900862 h 1328076"/>
              <a:gd name="connsiteX14" fmla="*/ 804527 w 1488322"/>
              <a:gd name="connsiteY14" fmla="*/ 580034 h 1328076"/>
              <a:gd name="connsiteX15" fmla="*/ 817336 w 1488322"/>
              <a:gd name="connsiteY15" fmla="*/ 587963 h 1328076"/>
              <a:gd name="connsiteX16" fmla="*/ 901064 w 1488322"/>
              <a:gd name="connsiteY16" fmla="*/ 698669 h 1328076"/>
              <a:gd name="connsiteX17" fmla="*/ 901064 w 1488322"/>
              <a:gd name="connsiteY17" fmla="*/ 748424 h 1328076"/>
              <a:gd name="connsiteX18" fmla="*/ 817336 w 1488322"/>
              <a:gd name="connsiteY18" fmla="*/ 861617 h 1328076"/>
              <a:gd name="connsiteX19" fmla="*/ 802340 w 1488322"/>
              <a:gd name="connsiteY19" fmla="*/ 869080 h 1328076"/>
              <a:gd name="connsiteX20" fmla="*/ 789844 w 1488322"/>
              <a:gd name="connsiteY20" fmla="*/ 865349 h 1328076"/>
              <a:gd name="connsiteX21" fmla="*/ 786095 w 1488322"/>
              <a:gd name="connsiteY21" fmla="*/ 837983 h 1328076"/>
              <a:gd name="connsiteX22" fmla="*/ 854826 w 1488322"/>
              <a:gd name="connsiteY22" fmla="*/ 744692 h 1328076"/>
              <a:gd name="connsiteX23" fmla="*/ 544909 w 1488322"/>
              <a:gd name="connsiteY23" fmla="*/ 744692 h 1328076"/>
              <a:gd name="connsiteX24" fmla="*/ 544909 w 1488322"/>
              <a:gd name="connsiteY24" fmla="*/ 1308170 h 1328076"/>
              <a:gd name="connsiteX25" fmla="*/ 526165 w 1488322"/>
              <a:gd name="connsiteY25" fmla="*/ 1328072 h 1328076"/>
              <a:gd name="connsiteX26" fmla="*/ 506170 w 1488322"/>
              <a:gd name="connsiteY26" fmla="*/ 1308170 h 1328076"/>
              <a:gd name="connsiteX27" fmla="*/ 506170 w 1488322"/>
              <a:gd name="connsiteY27" fmla="*/ 744692 h 1328076"/>
              <a:gd name="connsiteX28" fmla="*/ 432440 w 1488322"/>
              <a:gd name="connsiteY28" fmla="*/ 744692 h 1328076"/>
              <a:gd name="connsiteX29" fmla="*/ 412445 w 1488322"/>
              <a:gd name="connsiteY29" fmla="*/ 724790 h 1328076"/>
              <a:gd name="connsiteX30" fmla="*/ 432440 w 1488322"/>
              <a:gd name="connsiteY30" fmla="*/ 704888 h 1328076"/>
              <a:gd name="connsiteX31" fmla="*/ 524915 w 1488322"/>
              <a:gd name="connsiteY31" fmla="*/ 704888 h 1328076"/>
              <a:gd name="connsiteX32" fmla="*/ 526165 w 1488322"/>
              <a:gd name="connsiteY32" fmla="*/ 704888 h 1328076"/>
              <a:gd name="connsiteX33" fmla="*/ 854826 w 1488322"/>
              <a:gd name="connsiteY33" fmla="*/ 704888 h 1328076"/>
              <a:gd name="connsiteX34" fmla="*/ 786095 w 1488322"/>
              <a:gd name="connsiteY34" fmla="*/ 611597 h 1328076"/>
              <a:gd name="connsiteX35" fmla="*/ 789844 w 1488322"/>
              <a:gd name="connsiteY35" fmla="*/ 584232 h 1328076"/>
              <a:gd name="connsiteX36" fmla="*/ 804527 w 1488322"/>
              <a:gd name="connsiteY36" fmla="*/ 580034 h 1328076"/>
              <a:gd name="connsiteX37" fmla="*/ 963737 w 1488322"/>
              <a:gd name="connsiteY37" fmla="*/ 499866 h 1328076"/>
              <a:gd name="connsiteX38" fmla="*/ 983576 w 1488322"/>
              <a:gd name="connsiteY38" fmla="*/ 518605 h 1328076"/>
              <a:gd name="connsiteX39" fmla="*/ 983576 w 1488322"/>
              <a:gd name="connsiteY39" fmla="*/ 1080769 h 1328076"/>
              <a:gd name="connsiteX40" fmla="*/ 1051773 w 1488322"/>
              <a:gd name="connsiteY40" fmla="*/ 1080769 h 1328076"/>
              <a:gd name="connsiteX41" fmla="*/ 1070372 w 1488322"/>
              <a:gd name="connsiteY41" fmla="*/ 1100757 h 1328076"/>
              <a:gd name="connsiteX42" fmla="*/ 1051773 w 1488322"/>
              <a:gd name="connsiteY42" fmla="*/ 1120746 h 1328076"/>
              <a:gd name="connsiteX43" fmla="*/ 964977 w 1488322"/>
              <a:gd name="connsiteY43" fmla="*/ 1120746 h 1328076"/>
              <a:gd name="connsiteX44" fmla="*/ 963737 w 1488322"/>
              <a:gd name="connsiteY44" fmla="*/ 1120746 h 1328076"/>
              <a:gd name="connsiteX45" fmla="*/ 616554 w 1488322"/>
              <a:gd name="connsiteY45" fmla="*/ 1120746 h 1328076"/>
              <a:gd name="connsiteX46" fmla="*/ 684751 w 1488322"/>
              <a:gd name="connsiteY46" fmla="*/ 1214440 h 1328076"/>
              <a:gd name="connsiteX47" fmla="*/ 681031 w 1488322"/>
              <a:gd name="connsiteY47" fmla="*/ 1241923 h 1328076"/>
              <a:gd name="connsiteX48" fmla="*/ 668632 w 1488322"/>
              <a:gd name="connsiteY48" fmla="*/ 1245671 h 1328076"/>
              <a:gd name="connsiteX49" fmla="*/ 653752 w 1488322"/>
              <a:gd name="connsiteY49" fmla="*/ 1238175 h 1328076"/>
              <a:gd name="connsiteX50" fmla="*/ 571916 w 1488322"/>
              <a:gd name="connsiteY50" fmla="*/ 1126992 h 1328076"/>
              <a:gd name="connsiteX51" fmla="*/ 571916 w 1488322"/>
              <a:gd name="connsiteY51" fmla="*/ 1077022 h 1328076"/>
              <a:gd name="connsiteX52" fmla="*/ 653752 w 1488322"/>
              <a:gd name="connsiteY52" fmla="*/ 963340 h 1328076"/>
              <a:gd name="connsiteX53" fmla="*/ 681031 w 1488322"/>
              <a:gd name="connsiteY53" fmla="*/ 959592 h 1328076"/>
              <a:gd name="connsiteX54" fmla="*/ 684751 w 1488322"/>
              <a:gd name="connsiteY54" fmla="*/ 987075 h 1328076"/>
              <a:gd name="connsiteX55" fmla="*/ 616554 w 1488322"/>
              <a:gd name="connsiteY55" fmla="*/ 1080769 h 1328076"/>
              <a:gd name="connsiteX56" fmla="*/ 945138 w 1488322"/>
              <a:gd name="connsiteY56" fmla="*/ 1080769 h 1328076"/>
              <a:gd name="connsiteX57" fmla="*/ 945138 w 1488322"/>
              <a:gd name="connsiteY57" fmla="*/ 518605 h 1328076"/>
              <a:gd name="connsiteX58" fmla="*/ 963737 w 1488322"/>
              <a:gd name="connsiteY58" fmla="*/ 499866 h 1328076"/>
              <a:gd name="connsiteX59" fmla="*/ 964920 w 1488322"/>
              <a:gd name="connsiteY59" fmla="*/ 390007 h 1328076"/>
              <a:gd name="connsiteX60" fmla="*/ 1263317 w 1488322"/>
              <a:gd name="connsiteY60" fmla="*/ 390007 h 1328076"/>
              <a:gd name="connsiteX61" fmla="*/ 1264561 w 1488322"/>
              <a:gd name="connsiteY61" fmla="*/ 390007 h 1328076"/>
              <a:gd name="connsiteX62" fmla="*/ 1315537 w 1488322"/>
              <a:gd name="connsiteY62" fmla="*/ 390007 h 1328076"/>
              <a:gd name="connsiteX63" fmla="*/ 1453547 w 1488322"/>
              <a:gd name="connsiteY63" fmla="*/ 535570 h 1328076"/>
              <a:gd name="connsiteX64" fmla="*/ 1485873 w 1488322"/>
              <a:gd name="connsiteY64" fmla="*/ 684864 h 1328076"/>
              <a:gd name="connsiteX65" fmla="*/ 1461007 w 1488322"/>
              <a:gd name="connsiteY65" fmla="*/ 768221 h 1328076"/>
              <a:gd name="connsiteX66" fmla="*/ 1335431 w 1488322"/>
              <a:gd name="connsiteY66" fmla="*/ 883924 h 1328076"/>
              <a:gd name="connsiteX67" fmla="*/ 1335431 w 1488322"/>
              <a:gd name="connsiteY67" fmla="*/ 1308170 h 1328076"/>
              <a:gd name="connsiteX68" fmla="*/ 1315537 w 1488322"/>
              <a:gd name="connsiteY68" fmla="*/ 1328076 h 1328076"/>
              <a:gd name="connsiteX69" fmla="*/ 1296887 w 1488322"/>
              <a:gd name="connsiteY69" fmla="*/ 1308170 h 1328076"/>
              <a:gd name="connsiteX70" fmla="*/ 1296887 w 1488322"/>
              <a:gd name="connsiteY70" fmla="*/ 519396 h 1328076"/>
              <a:gd name="connsiteX71" fmla="*/ 1315537 w 1488322"/>
              <a:gd name="connsiteY71" fmla="*/ 500734 h 1328076"/>
              <a:gd name="connsiteX72" fmla="*/ 1335431 w 1488322"/>
              <a:gd name="connsiteY72" fmla="*/ 519396 h 1328076"/>
              <a:gd name="connsiteX73" fmla="*/ 1335431 w 1488322"/>
              <a:gd name="connsiteY73" fmla="*/ 635100 h 1328076"/>
              <a:gd name="connsiteX74" fmla="*/ 1352837 w 1488322"/>
              <a:gd name="connsiteY74" fmla="*/ 618926 h 1328076"/>
              <a:gd name="connsiteX75" fmla="*/ 1380191 w 1488322"/>
              <a:gd name="connsiteY75" fmla="*/ 618926 h 1328076"/>
              <a:gd name="connsiteX76" fmla="*/ 1380191 w 1488322"/>
              <a:gd name="connsiteY76" fmla="*/ 646297 h 1328076"/>
              <a:gd name="connsiteX77" fmla="*/ 1335431 w 1488322"/>
              <a:gd name="connsiteY77" fmla="*/ 691085 h 1328076"/>
              <a:gd name="connsiteX78" fmla="*/ 1335431 w 1488322"/>
              <a:gd name="connsiteY78" fmla="*/ 830427 h 1328076"/>
              <a:gd name="connsiteX79" fmla="*/ 1433653 w 1488322"/>
              <a:gd name="connsiteY79" fmla="*/ 739606 h 1328076"/>
              <a:gd name="connsiteX80" fmla="*/ 1448573 w 1488322"/>
              <a:gd name="connsiteY80" fmla="*/ 693573 h 1328076"/>
              <a:gd name="connsiteX81" fmla="*/ 1416247 w 1488322"/>
              <a:gd name="connsiteY81" fmla="*/ 545523 h 1328076"/>
              <a:gd name="connsiteX82" fmla="*/ 1315537 w 1488322"/>
              <a:gd name="connsiteY82" fmla="*/ 428575 h 1328076"/>
              <a:gd name="connsiteX83" fmla="*/ 1264561 w 1488322"/>
              <a:gd name="connsiteY83" fmla="*/ 428575 h 1328076"/>
              <a:gd name="connsiteX84" fmla="*/ 1263317 w 1488322"/>
              <a:gd name="connsiteY84" fmla="*/ 428575 h 1328076"/>
              <a:gd name="connsiteX85" fmla="*/ 964920 w 1488322"/>
              <a:gd name="connsiteY85" fmla="*/ 428575 h 1328076"/>
              <a:gd name="connsiteX86" fmla="*/ 864210 w 1488322"/>
              <a:gd name="connsiteY86" fmla="*/ 546767 h 1328076"/>
              <a:gd name="connsiteX87" fmla="*/ 845561 w 1488322"/>
              <a:gd name="connsiteY87" fmla="*/ 560452 h 1328076"/>
              <a:gd name="connsiteX88" fmla="*/ 840587 w 1488322"/>
              <a:gd name="connsiteY88" fmla="*/ 560452 h 1328076"/>
              <a:gd name="connsiteX89" fmla="*/ 826911 w 1488322"/>
              <a:gd name="connsiteY89" fmla="*/ 535570 h 1328076"/>
              <a:gd name="connsiteX90" fmla="*/ 964920 w 1488322"/>
              <a:gd name="connsiteY90" fmla="*/ 390007 h 1328076"/>
              <a:gd name="connsiteX91" fmla="*/ 172770 w 1488322"/>
              <a:gd name="connsiteY91" fmla="*/ 390007 h 1328076"/>
              <a:gd name="connsiteX92" fmla="*/ 472412 w 1488322"/>
              <a:gd name="connsiteY92" fmla="*/ 390007 h 1328076"/>
              <a:gd name="connsiteX93" fmla="*/ 523388 w 1488322"/>
              <a:gd name="connsiteY93" fmla="*/ 390007 h 1328076"/>
              <a:gd name="connsiteX94" fmla="*/ 661397 w 1488322"/>
              <a:gd name="connsiteY94" fmla="*/ 535570 h 1328076"/>
              <a:gd name="connsiteX95" fmla="*/ 647720 w 1488322"/>
              <a:gd name="connsiteY95" fmla="*/ 560452 h 1328076"/>
              <a:gd name="connsiteX96" fmla="*/ 642747 w 1488322"/>
              <a:gd name="connsiteY96" fmla="*/ 560452 h 1328076"/>
              <a:gd name="connsiteX97" fmla="*/ 624097 w 1488322"/>
              <a:gd name="connsiteY97" fmla="*/ 546767 h 1328076"/>
              <a:gd name="connsiteX98" fmla="*/ 523388 w 1488322"/>
              <a:gd name="connsiteY98" fmla="*/ 428575 h 1328076"/>
              <a:gd name="connsiteX99" fmla="*/ 472412 w 1488322"/>
              <a:gd name="connsiteY99" fmla="*/ 428575 h 1328076"/>
              <a:gd name="connsiteX100" fmla="*/ 172770 w 1488322"/>
              <a:gd name="connsiteY100" fmla="*/ 428575 h 1328076"/>
              <a:gd name="connsiteX101" fmla="*/ 73304 w 1488322"/>
              <a:gd name="connsiteY101" fmla="*/ 546767 h 1328076"/>
              <a:gd name="connsiteX102" fmla="*/ 39735 w 1488322"/>
              <a:gd name="connsiteY102" fmla="*/ 693573 h 1328076"/>
              <a:gd name="connsiteX103" fmla="*/ 54655 w 1488322"/>
              <a:gd name="connsiteY103" fmla="*/ 739606 h 1328076"/>
              <a:gd name="connsiteX104" fmla="*/ 152877 w 1488322"/>
              <a:gd name="connsiteY104" fmla="*/ 830427 h 1328076"/>
              <a:gd name="connsiteX105" fmla="*/ 152877 w 1488322"/>
              <a:gd name="connsiteY105" fmla="*/ 692329 h 1328076"/>
              <a:gd name="connsiteX106" fmla="*/ 106874 w 1488322"/>
              <a:gd name="connsiteY106" fmla="*/ 646297 h 1328076"/>
              <a:gd name="connsiteX107" fmla="*/ 106874 w 1488322"/>
              <a:gd name="connsiteY107" fmla="*/ 618926 h 1328076"/>
              <a:gd name="connsiteX108" fmla="*/ 134227 w 1488322"/>
              <a:gd name="connsiteY108" fmla="*/ 618926 h 1328076"/>
              <a:gd name="connsiteX109" fmla="*/ 152877 w 1488322"/>
              <a:gd name="connsiteY109" fmla="*/ 636344 h 1328076"/>
              <a:gd name="connsiteX110" fmla="*/ 152877 w 1488322"/>
              <a:gd name="connsiteY110" fmla="*/ 519396 h 1328076"/>
              <a:gd name="connsiteX111" fmla="*/ 171527 w 1488322"/>
              <a:gd name="connsiteY111" fmla="*/ 500734 h 1328076"/>
              <a:gd name="connsiteX112" fmla="*/ 191420 w 1488322"/>
              <a:gd name="connsiteY112" fmla="*/ 519396 h 1328076"/>
              <a:gd name="connsiteX113" fmla="*/ 191420 w 1488322"/>
              <a:gd name="connsiteY113" fmla="*/ 1308170 h 1328076"/>
              <a:gd name="connsiteX114" fmla="*/ 171527 w 1488322"/>
              <a:gd name="connsiteY114" fmla="*/ 1328076 h 1328076"/>
              <a:gd name="connsiteX115" fmla="*/ 152877 w 1488322"/>
              <a:gd name="connsiteY115" fmla="*/ 1308170 h 1328076"/>
              <a:gd name="connsiteX116" fmla="*/ 152877 w 1488322"/>
              <a:gd name="connsiteY116" fmla="*/ 883924 h 1328076"/>
              <a:gd name="connsiteX117" fmla="*/ 28545 w 1488322"/>
              <a:gd name="connsiteY117" fmla="*/ 768221 h 1328076"/>
              <a:gd name="connsiteX118" fmla="*/ 2435 w 1488322"/>
              <a:gd name="connsiteY118" fmla="*/ 684864 h 1328076"/>
              <a:gd name="connsiteX119" fmla="*/ 34761 w 1488322"/>
              <a:gd name="connsiteY119" fmla="*/ 536814 h 1328076"/>
              <a:gd name="connsiteX120" fmla="*/ 172770 w 1488322"/>
              <a:gd name="connsiteY120" fmla="*/ 390007 h 1328076"/>
              <a:gd name="connsiteX121" fmla="*/ 1139021 w 1488322"/>
              <a:gd name="connsiteY121" fmla="*/ 38941 h 1328076"/>
              <a:gd name="connsiteX122" fmla="*/ 1018428 w 1488322"/>
              <a:gd name="connsiteY122" fmla="*/ 160788 h 1328076"/>
              <a:gd name="connsiteX123" fmla="*/ 1139021 w 1488322"/>
              <a:gd name="connsiteY123" fmla="*/ 282635 h 1328076"/>
              <a:gd name="connsiteX124" fmla="*/ 1260869 w 1488322"/>
              <a:gd name="connsiteY124" fmla="*/ 160788 h 1328076"/>
              <a:gd name="connsiteX125" fmla="*/ 1139021 w 1488322"/>
              <a:gd name="connsiteY125" fmla="*/ 38941 h 1328076"/>
              <a:gd name="connsiteX126" fmla="*/ 348021 w 1488322"/>
              <a:gd name="connsiteY126" fmla="*/ 38941 h 1328076"/>
              <a:gd name="connsiteX127" fmla="*/ 226172 w 1488322"/>
              <a:gd name="connsiteY127" fmla="*/ 160788 h 1328076"/>
              <a:gd name="connsiteX128" fmla="*/ 348021 w 1488322"/>
              <a:gd name="connsiteY128" fmla="*/ 282635 h 1328076"/>
              <a:gd name="connsiteX129" fmla="*/ 469869 w 1488322"/>
              <a:gd name="connsiteY129" fmla="*/ 160788 h 1328076"/>
              <a:gd name="connsiteX130" fmla="*/ 348021 w 1488322"/>
              <a:gd name="connsiteY130" fmla="*/ 38941 h 1328076"/>
              <a:gd name="connsiteX131" fmla="*/ 1139021 w 1488322"/>
              <a:gd name="connsiteY131" fmla="*/ 0 h 1328076"/>
              <a:gd name="connsiteX132" fmla="*/ 1301067 w 1488322"/>
              <a:gd name="connsiteY132" fmla="*/ 160788 h 1328076"/>
              <a:gd name="connsiteX133" fmla="*/ 1139021 w 1488322"/>
              <a:gd name="connsiteY133" fmla="*/ 322832 h 1328076"/>
              <a:gd name="connsiteX134" fmla="*/ 978231 w 1488322"/>
              <a:gd name="connsiteY134" fmla="*/ 160788 h 1328076"/>
              <a:gd name="connsiteX135" fmla="*/ 1139021 w 1488322"/>
              <a:gd name="connsiteY135" fmla="*/ 0 h 1328076"/>
              <a:gd name="connsiteX136" fmla="*/ 348021 w 1488322"/>
              <a:gd name="connsiteY136" fmla="*/ 0 h 1328076"/>
              <a:gd name="connsiteX137" fmla="*/ 510067 w 1488322"/>
              <a:gd name="connsiteY137" fmla="*/ 160788 h 1328076"/>
              <a:gd name="connsiteX138" fmla="*/ 348021 w 1488322"/>
              <a:gd name="connsiteY138" fmla="*/ 322832 h 1328076"/>
              <a:gd name="connsiteX139" fmla="*/ 187231 w 1488322"/>
              <a:gd name="connsiteY139" fmla="*/ 160788 h 1328076"/>
              <a:gd name="connsiteX140" fmla="*/ 348021 w 1488322"/>
              <a:gd name="connsiteY140" fmla="*/ 0 h 132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1488322" h="1328076">
                <a:moveTo>
                  <a:pt x="1139693" y="900862"/>
                </a:moveTo>
                <a:cubicBezTo>
                  <a:pt x="1150181" y="900862"/>
                  <a:pt x="1158337" y="909632"/>
                  <a:pt x="1158337" y="920907"/>
                </a:cubicBezTo>
                <a:lnTo>
                  <a:pt x="1158337" y="1309275"/>
                </a:lnTo>
                <a:cubicBezTo>
                  <a:pt x="1158337" y="1319298"/>
                  <a:pt x="1150181" y="1328067"/>
                  <a:pt x="1139693" y="1328067"/>
                </a:cubicBezTo>
                <a:cubicBezTo>
                  <a:pt x="1130371" y="1328067"/>
                  <a:pt x="1121050" y="1319298"/>
                  <a:pt x="1121050" y="1309275"/>
                </a:cubicBezTo>
                <a:lnTo>
                  <a:pt x="1121050" y="920907"/>
                </a:lnTo>
                <a:cubicBezTo>
                  <a:pt x="1121050" y="909632"/>
                  <a:pt x="1130371" y="900862"/>
                  <a:pt x="1139693" y="900862"/>
                </a:cubicBezTo>
                <a:close/>
                <a:moveTo>
                  <a:pt x="342581" y="900862"/>
                </a:moveTo>
                <a:cubicBezTo>
                  <a:pt x="353395" y="900862"/>
                  <a:pt x="361805" y="909632"/>
                  <a:pt x="361805" y="920907"/>
                </a:cubicBezTo>
                <a:lnTo>
                  <a:pt x="361805" y="1309275"/>
                </a:lnTo>
                <a:cubicBezTo>
                  <a:pt x="361805" y="1319298"/>
                  <a:pt x="353395" y="1328067"/>
                  <a:pt x="342581" y="1328067"/>
                </a:cubicBezTo>
                <a:cubicBezTo>
                  <a:pt x="332969" y="1328067"/>
                  <a:pt x="324558" y="1319298"/>
                  <a:pt x="324558" y="1309275"/>
                </a:cubicBezTo>
                <a:lnTo>
                  <a:pt x="324558" y="920907"/>
                </a:lnTo>
                <a:cubicBezTo>
                  <a:pt x="324558" y="909632"/>
                  <a:pt x="332969" y="900862"/>
                  <a:pt x="342581" y="900862"/>
                </a:cubicBezTo>
                <a:close/>
                <a:moveTo>
                  <a:pt x="804527" y="580034"/>
                </a:moveTo>
                <a:cubicBezTo>
                  <a:pt x="809526" y="580811"/>
                  <a:pt x="814212" y="583610"/>
                  <a:pt x="817336" y="587963"/>
                </a:cubicBezTo>
                <a:lnTo>
                  <a:pt x="901064" y="698669"/>
                </a:lnTo>
                <a:cubicBezTo>
                  <a:pt x="911061" y="714839"/>
                  <a:pt x="911061" y="734741"/>
                  <a:pt x="901064" y="748424"/>
                </a:cubicBezTo>
                <a:lnTo>
                  <a:pt x="817336" y="861617"/>
                </a:lnTo>
                <a:cubicBezTo>
                  <a:pt x="813587" y="865349"/>
                  <a:pt x="808589" y="869080"/>
                  <a:pt x="802340" y="869080"/>
                </a:cubicBezTo>
                <a:cubicBezTo>
                  <a:pt x="797342" y="869080"/>
                  <a:pt x="794843" y="867836"/>
                  <a:pt x="789844" y="865349"/>
                </a:cubicBezTo>
                <a:cubicBezTo>
                  <a:pt x="782346" y="859129"/>
                  <a:pt x="779847" y="846690"/>
                  <a:pt x="786095" y="837983"/>
                </a:cubicBezTo>
                <a:lnTo>
                  <a:pt x="854826" y="744692"/>
                </a:lnTo>
                <a:lnTo>
                  <a:pt x="544909" y="744692"/>
                </a:lnTo>
                <a:lnTo>
                  <a:pt x="544909" y="1308170"/>
                </a:lnTo>
                <a:cubicBezTo>
                  <a:pt x="544909" y="1319365"/>
                  <a:pt x="536162" y="1328072"/>
                  <a:pt x="526165" y="1328072"/>
                </a:cubicBezTo>
                <a:cubicBezTo>
                  <a:pt x="514918" y="1328072"/>
                  <a:pt x="506170" y="1319365"/>
                  <a:pt x="506170" y="1308170"/>
                </a:cubicBezTo>
                <a:lnTo>
                  <a:pt x="506170" y="744692"/>
                </a:lnTo>
                <a:lnTo>
                  <a:pt x="432440" y="744692"/>
                </a:lnTo>
                <a:cubicBezTo>
                  <a:pt x="422442" y="744692"/>
                  <a:pt x="412445" y="734741"/>
                  <a:pt x="412445" y="724790"/>
                </a:cubicBezTo>
                <a:cubicBezTo>
                  <a:pt x="412445" y="713595"/>
                  <a:pt x="422442" y="704888"/>
                  <a:pt x="432440" y="704888"/>
                </a:cubicBezTo>
                <a:lnTo>
                  <a:pt x="524915" y="704888"/>
                </a:lnTo>
                <a:cubicBezTo>
                  <a:pt x="524915" y="704888"/>
                  <a:pt x="524915" y="704888"/>
                  <a:pt x="526165" y="704888"/>
                </a:cubicBezTo>
                <a:lnTo>
                  <a:pt x="854826" y="704888"/>
                </a:lnTo>
                <a:lnTo>
                  <a:pt x="786095" y="611597"/>
                </a:lnTo>
                <a:cubicBezTo>
                  <a:pt x="779847" y="601646"/>
                  <a:pt x="782346" y="590451"/>
                  <a:pt x="789844" y="584232"/>
                </a:cubicBezTo>
                <a:cubicBezTo>
                  <a:pt x="794217" y="580500"/>
                  <a:pt x="799528" y="579256"/>
                  <a:pt x="804527" y="580034"/>
                </a:cubicBezTo>
                <a:close/>
                <a:moveTo>
                  <a:pt x="963737" y="499866"/>
                </a:moveTo>
                <a:cubicBezTo>
                  <a:pt x="974897" y="499866"/>
                  <a:pt x="983576" y="508611"/>
                  <a:pt x="983576" y="518605"/>
                </a:cubicBezTo>
                <a:lnTo>
                  <a:pt x="983576" y="1080769"/>
                </a:lnTo>
                <a:lnTo>
                  <a:pt x="1051773" y="1080769"/>
                </a:lnTo>
                <a:cubicBezTo>
                  <a:pt x="1061693" y="1080769"/>
                  <a:pt x="1070372" y="1090763"/>
                  <a:pt x="1070372" y="1100757"/>
                </a:cubicBezTo>
                <a:cubicBezTo>
                  <a:pt x="1070372" y="1112001"/>
                  <a:pt x="1061693" y="1120746"/>
                  <a:pt x="1051773" y="1120746"/>
                </a:cubicBezTo>
                <a:lnTo>
                  <a:pt x="964977" y="1120746"/>
                </a:lnTo>
                <a:cubicBezTo>
                  <a:pt x="964977" y="1120746"/>
                  <a:pt x="964977" y="1120746"/>
                  <a:pt x="963737" y="1120746"/>
                </a:cubicBezTo>
                <a:lnTo>
                  <a:pt x="616554" y="1120746"/>
                </a:lnTo>
                <a:lnTo>
                  <a:pt x="684751" y="1214440"/>
                </a:lnTo>
                <a:cubicBezTo>
                  <a:pt x="690951" y="1224434"/>
                  <a:pt x="689711" y="1235677"/>
                  <a:pt x="681031" y="1241923"/>
                </a:cubicBezTo>
                <a:cubicBezTo>
                  <a:pt x="677311" y="1245671"/>
                  <a:pt x="673591" y="1245671"/>
                  <a:pt x="668632" y="1245671"/>
                </a:cubicBezTo>
                <a:cubicBezTo>
                  <a:pt x="663672" y="1245671"/>
                  <a:pt x="657472" y="1244422"/>
                  <a:pt x="653752" y="1238175"/>
                </a:cubicBezTo>
                <a:lnTo>
                  <a:pt x="571916" y="1126992"/>
                </a:lnTo>
                <a:cubicBezTo>
                  <a:pt x="560757" y="1110752"/>
                  <a:pt x="560757" y="1090763"/>
                  <a:pt x="571916" y="1077022"/>
                </a:cubicBezTo>
                <a:lnTo>
                  <a:pt x="653752" y="963340"/>
                </a:lnTo>
                <a:cubicBezTo>
                  <a:pt x="659952" y="954595"/>
                  <a:pt x="672352" y="953346"/>
                  <a:pt x="681031" y="959592"/>
                </a:cubicBezTo>
                <a:cubicBezTo>
                  <a:pt x="689711" y="965838"/>
                  <a:pt x="690951" y="978331"/>
                  <a:pt x="684751" y="987075"/>
                </a:cubicBezTo>
                <a:lnTo>
                  <a:pt x="616554" y="1080769"/>
                </a:lnTo>
                <a:lnTo>
                  <a:pt x="945138" y="1080769"/>
                </a:lnTo>
                <a:lnTo>
                  <a:pt x="945138" y="518605"/>
                </a:lnTo>
                <a:cubicBezTo>
                  <a:pt x="945138" y="508611"/>
                  <a:pt x="953818" y="499866"/>
                  <a:pt x="963737" y="499866"/>
                </a:cubicBezTo>
                <a:close/>
                <a:moveTo>
                  <a:pt x="964920" y="390007"/>
                </a:moveTo>
                <a:lnTo>
                  <a:pt x="1263317" y="390007"/>
                </a:lnTo>
                <a:lnTo>
                  <a:pt x="1264561" y="390007"/>
                </a:lnTo>
                <a:lnTo>
                  <a:pt x="1315537" y="390007"/>
                </a:lnTo>
                <a:cubicBezTo>
                  <a:pt x="1395109" y="390007"/>
                  <a:pt x="1419977" y="416133"/>
                  <a:pt x="1453547" y="535570"/>
                </a:cubicBezTo>
                <a:lnTo>
                  <a:pt x="1485873" y="684864"/>
                </a:lnTo>
                <a:cubicBezTo>
                  <a:pt x="1493333" y="714723"/>
                  <a:pt x="1483387" y="747071"/>
                  <a:pt x="1461007" y="768221"/>
                </a:cubicBezTo>
                <a:lnTo>
                  <a:pt x="1335431" y="883924"/>
                </a:lnTo>
                <a:lnTo>
                  <a:pt x="1335431" y="1308170"/>
                </a:lnTo>
                <a:cubicBezTo>
                  <a:pt x="1335431" y="1319367"/>
                  <a:pt x="1327971" y="1328076"/>
                  <a:pt x="1315537" y="1328076"/>
                </a:cubicBezTo>
                <a:cubicBezTo>
                  <a:pt x="1305591" y="1328076"/>
                  <a:pt x="1296887" y="1319367"/>
                  <a:pt x="1296887" y="1308170"/>
                </a:cubicBezTo>
                <a:lnTo>
                  <a:pt x="1296887" y="519396"/>
                </a:lnTo>
                <a:cubicBezTo>
                  <a:pt x="1296887" y="509443"/>
                  <a:pt x="1305591" y="500734"/>
                  <a:pt x="1315537" y="500734"/>
                </a:cubicBezTo>
                <a:cubicBezTo>
                  <a:pt x="1327971" y="500734"/>
                  <a:pt x="1335431" y="509443"/>
                  <a:pt x="1335431" y="519396"/>
                </a:cubicBezTo>
                <a:lnTo>
                  <a:pt x="1335431" y="635100"/>
                </a:lnTo>
                <a:lnTo>
                  <a:pt x="1352837" y="618926"/>
                </a:lnTo>
                <a:cubicBezTo>
                  <a:pt x="1360297" y="611461"/>
                  <a:pt x="1372731" y="611461"/>
                  <a:pt x="1380191" y="618926"/>
                </a:cubicBezTo>
                <a:cubicBezTo>
                  <a:pt x="1387651" y="626391"/>
                  <a:pt x="1387651" y="638832"/>
                  <a:pt x="1380191" y="646297"/>
                </a:cubicBezTo>
                <a:lnTo>
                  <a:pt x="1335431" y="691085"/>
                </a:lnTo>
                <a:lnTo>
                  <a:pt x="1335431" y="830427"/>
                </a:lnTo>
                <a:lnTo>
                  <a:pt x="1433653" y="739606"/>
                </a:lnTo>
                <a:cubicBezTo>
                  <a:pt x="1447329" y="728409"/>
                  <a:pt x="1452303" y="709747"/>
                  <a:pt x="1448573" y="693573"/>
                </a:cubicBezTo>
                <a:lnTo>
                  <a:pt x="1416247" y="545523"/>
                </a:lnTo>
                <a:cubicBezTo>
                  <a:pt x="1383921" y="433551"/>
                  <a:pt x="1369001" y="428575"/>
                  <a:pt x="1315537" y="428575"/>
                </a:cubicBezTo>
                <a:lnTo>
                  <a:pt x="1264561" y="428575"/>
                </a:lnTo>
                <a:lnTo>
                  <a:pt x="1263317" y="428575"/>
                </a:lnTo>
                <a:lnTo>
                  <a:pt x="964920" y="428575"/>
                </a:lnTo>
                <a:cubicBezTo>
                  <a:pt x="910213" y="428575"/>
                  <a:pt x="897780" y="433551"/>
                  <a:pt x="864210" y="546767"/>
                </a:cubicBezTo>
                <a:cubicBezTo>
                  <a:pt x="861724" y="555476"/>
                  <a:pt x="854264" y="560452"/>
                  <a:pt x="845561" y="560452"/>
                </a:cubicBezTo>
                <a:cubicBezTo>
                  <a:pt x="844317" y="560452"/>
                  <a:pt x="843074" y="560452"/>
                  <a:pt x="840587" y="560452"/>
                </a:cubicBezTo>
                <a:cubicBezTo>
                  <a:pt x="830641" y="556720"/>
                  <a:pt x="824424" y="546767"/>
                  <a:pt x="826911" y="535570"/>
                </a:cubicBezTo>
                <a:cubicBezTo>
                  <a:pt x="861724" y="416133"/>
                  <a:pt x="885347" y="390007"/>
                  <a:pt x="964920" y="390007"/>
                </a:cubicBezTo>
                <a:close/>
                <a:moveTo>
                  <a:pt x="172770" y="390007"/>
                </a:moveTo>
                <a:lnTo>
                  <a:pt x="472412" y="390007"/>
                </a:lnTo>
                <a:lnTo>
                  <a:pt x="523388" y="390007"/>
                </a:lnTo>
                <a:cubicBezTo>
                  <a:pt x="602961" y="390007"/>
                  <a:pt x="627827" y="416133"/>
                  <a:pt x="661397" y="535570"/>
                </a:cubicBezTo>
                <a:cubicBezTo>
                  <a:pt x="663884" y="546767"/>
                  <a:pt x="657667" y="556720"/>
                  <a:pt x="647720" y="560452"/>
                </a:cubicBezTo>
                <a:cubicBezTo>
                  <a:pt x="646477" y="560452"/>
                  <a:pt x="643991" y="560452"/>
                  <a:pt x="642747" y="560452"/>
                </a:cubicBezTo>
                <a:cubicBezTo>
                  <a:pt x="634044" y="560452"/>
                  <a:pt x="626584" y="555476"/>
                  <a:pt x="624097" y="546767"/>
                </a:cubicBezTo>
                <a:cubicBezTo>
                  <a:pt x="591771" y="433551"/>
                  <a:pt x="578094" y="428575"/>
                  <a:pt x="523388" y="428575"/>
                </a:cubicBezTo>
                <a:lnTo>
                  <a:pt x="472412" y="428575"/>
                </a:lnTo>
                <a:lnTo>
                  <a:pt x="172770" y="428575"/>
                </a:lnTo>
                <a:cubicBezTo>
                  <a:pt x="119307" y="428575"/>
                  <a:pt x="104388" y="433551"/>
                  <a:pt x="73304" y="546767"/>
                </a:cubicBezTo>
                <a:lnTo>
                  <a:pt x="39735" y="693573"/>
                </a:lnTo>
                <a:cubicBezTo>
                  <a:pt x="36005" y="709747"/>
                  <a:pt x="42221" y="728409"/>
                  <a:pt x="54655" y="739606"/>
                </a:cubicBezTo>
                <a:lnTo>
                  <a:pt x="152877" y="830427"/>
                </a:lnTo>
                <a:lnTo>
                  <a:pt x="152877" y="692329"/>
                </a:lnTo>
                <a:lnTo>
                  <a:pt x="106874" y="646297"/>
                </a:lnTo>
                <a:cubicBezTo>
                  <a:pt x="99414" y="638832"/>
                  <a:pt x="99414" y="626391"/>
                  <a:pt x="106874" y="618926"/>
                </a:cubicBezTo>
                <a:cubicBezTo>
                  <a:pt x="114334" y="611461"/>
                  <a:pt x="126767" y="611461"/>
                  <a:pt x="134227" y="618926"/>
                </a:cubicBezTo>
                <a:lnTo>
                  <a:pt x="152877" y="636344"/>
                </a:lnTo>
                <a:lnTo>
                  <a:pt x="152877" y="519396"/>
                </a:lnTo>
                <a:cubicBezTo>
                  <a:pt x="152877" y="509443"/>
                  <a:pt x="160337" y="500734"/>
                  <a:pt x="171527" y="500734"/>
                </a:cubicBezTo>
                <a:cubicBezTo>
                  <a:pt x="182717" y="500734"/>
                  <a:pt x="191420" y="509443"/>
                  <a:pt x="191420" y="519396"/>
                </a:cubicBezTo>
                <a:lnTo>
                  <a:pt x="191420" y="1308170"/>
                </a:lnTo>
                <a:cubicBezTo>
                  <a:pt x="191420" y="1319367"/>
                  <a:pt x="182717" y="1328076"/>
                  <a:pt x="171527" y="1328076"/>
                </a:cubicBezTo>
                <a:cubicBezTo>
                  <a:pt x="160337" y="1328076"/>
                  <a:pt x="152877" y="1319367"/>
                  <a:pt x="152877" y="1308170"/>
                </a:cubicBezTo>
                <a:lnTo>
                  <a:pt x="152877" y="883924"/>
                </a:lnTo>
                <a:lnTo>
                  <a:pt x="28545" y="768221"/>
                </a:lnTo>
                <a:cubicBezTo>
                  <a:pt x="4922" y="747071"/>
                  <a:pt x="-5025" y="714723"/>
                  <a:pt x="2435" y="684864"/>
                </a:cubicBezTo>
                <a:lnTo>
                  <a:pt x="34761" y="536814"/>
                </a:lnTo>
                <a:cubicBezTo>
                  <a:pt x="69574" y="416133"/>
                  <a:pt x="93198" y="390007"/>
                  <a:pt x="172770" y="390007"/>
                </a:cubicBezTo>
                <a:close/>
                <a:moveTo>
                  <a:pt x="1139021" y="38941"/>
                </a:moveTo>
                <a:cubicBezTo>
                  <a:pt x="1072444" y="38941"/>
                  <a:pt x="1018428" y="94211"/>
                  <a:pt x="1018428" y="160788"/>
                </a:cubicBezTo>
                <a:cubicBezTo>
                  <a:pt x="1018428" y="227364"/>
                  <a:pt x="1072444" y="282635"/>
                  <a:pt x="1139021" y="282635"/>
                </a:cubicBezTo>
                <a:cubicBezTo>
                  <a:pt x="1206855" y="282635"/>
                  <a:pt x="1260869" y="227364"/>
                  <a:pt x="1260869" y="160788"/>
                </a:cubicBezTo>
                <a:cubicBezTo>
                  <a:pt x="1260869" y="94211"/>
                  <a:pt x="1206855" y="38941"/>
                  <a:pt x="1139021" y="38941"/>
                </a:cubicBezTo>
                <a:close/>
                <a:moveTo>
                  <a:pt x="348021" y="38941"/>
                </a:moveTo>
                <a:cubicBezTo>
                  <a:pt x="281444" y="38941"/>
                  <a:pt x="226172" y="94211"/>
                  <a:pt x="226172" y="160788"/>
                </a:cubicBezTo>
                <a:cubicBezTo>
                  <a:pt x="226172" y="227364"/>
                  <a:pt x="281444" y="282635"/>
                  <a:pt x="348021" y="282635"/>
                </a:cubicBezTo>
                <a:cubicBezTo>
                  <a:pt x="415854" y="282635"/>
                  <a:pt x="469869" y="227364"/>
                  <a:pt x="469869" y="160788"/>
                </a:cubicBezTo>
                <a:cubicBezTo>
                  <a:pt x="469869" y="94211"/>
                  <a:pt x="415854" y="38941"/>
                  <a:pt x="348021" y="38941"/>
                </a:cubicBezTo>
                <a:close/>
                <a:moveTo>
                  <a:pt x="1139021" y="0"/>
                </a:moveTo>
                <a:cubicBezTo>
                  <a:pt x="1228209" y="0"/>
                  <a:pt x="1301067" y="71601"/>
                  <a:pt x="1301067" y="160788"/>
                </a:cubicBezTo>
                <a:cubicBezTo>
                  <a:pt x="1301067" y="249975"/>
                  <a:pt x="1228209" y="322832"/>
                  <a:pt x="1139021" y="322832"/>
                </a:cubicBezTo>
                <a:cubicBezTo>
                  <a:pt x="1049833" y="322832"/>
                  <a:pt x="978231" y="249975"/>
                  <a:pt x="978231" y="160788"/>
                </a:cubicBezTo>
                <a:cubicBezTo>
                  <a:pt x="978231" y="71601"/>
                  <a:pt x="1049833" y="0"/>
                  <a:pt x="1139021" y="0"/>
                </a:cubicBezTo>
                <a:close/>
                <a:moveTo>
                  <a:pt x="348021" y="0"/>
                </a:moveTo>
                <a:cubicBezTo>
                  <a:pt x="437209" y="0"/>
                  <a:pt x="510067" y="71601"/>
                  <a:pt x="510067" y="160788"/>
                </a:cubicBezTo>
                <a:cubicBezTo>
                  <a:pt x="510067" y="249975"/>
                  <a:pt x="437209" y="322832"/>
                  <a:pt x="348021" y="322832"/>
                </a:cubicBezTo>
                <a:cubicBezTo>
                  <a:pt x="260089" y="322832"/>
                  <a:pt x="187231" y="249975"/>
                  <a:pt x="187231" y="160788"/>
                </a:cubicBezTo>
                <a:cubicBezTo>
                  <a:pt x="187231" y="71601"/>
                  <a:pt x="260089" y="0"/>
                  <a:pt x="34802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E683821C-C95E-188B-BC6D-68CC7FA30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1116" y="3184562"/>
            <a:ext cx="788087" cy="707967"/>
          </a:xfrm>
          <a:custGeom>
            <a:avLst/>
            <a:gdLst>
              <a:gd name="connsiteX0" fmla="*/ 956596 w 1576173"/>
              <a:gd name="connsiteY0" fmla="*/ 1312836 h 1415933"/>
              <a:gd name="connsiteX1" fmla="*/ 974618 w 1576173"/>
              <a:gd name="connsiteY1" fmla="*/ 1333201 h 1415933"/>
              <a:gd name="connsiteX2" fmla="*/ 974618 w 1576173"/>
              <a:gd name="connsiteY2" fmla="*/ 1395569 h 1415933"/>
              <a:gd name="connsiteX3" fmla="*/ 956596 w 1576173"/>
              <a:gd name="connsiteY3" fmla="*/ 1415933 h 1415933"/>
              <a:gd name="connsiteX4" fmla="*/ 937372 w 1576173"/>
              <a:gd name="connsiteY4" fmla="*/ 1395569 h 1415933"/>
              <a:gd name="connsiteX5" fmla="*/ 937372 w 1576173"/>
              <a:gd name="connsiteY5" fmla="*/ 1333201 h 1415933"/>
              <a:gd name="connsiteX6" fmla="*/ 956596 w 1576173"/>
              <a:gd name="connsiteY6" fmla="*/ 1312836 h 1415933"/>
              <a:gd name="connsiteX7" fmla="*/ 615446 w 1576173"/>
              <a:gd name="connsiteY7" fmla="*/ 1312836 h 1415933"/>
              <a:gd name="connsiteX8" fmla="*/ 634088 w 1576173"/>
              <a:gd name="connsiteY8" fmla="*/ 1333201 h 1415933"/>
              <a:gd name="connsiteX9" fmla="*/ 634088 w 1576173"/>
              <a:gd name="connsiteY9" fmla="*/ 1395569 h 1415933"/>
              <a:gd name="connsiteX10" fmla="*/ 615446 w 1576173"/>
              <a:gd name="connsiteY10" fmla="*/ 1415933 h 1415933"/>
              <a:gd name="connsiteX11" fmla="*/ 596804 w 1576173"/>
              <a:gd name="connsiteY11" fmla="*/ 1395569 h 1415933"/>
              <a:gd name="connsiteX12" fmla="*/ 596804 w 1576173"/>
              <a:gd name="connsiteY12" fmla="*/ 1333201 h 1415933"/>
              <a:gd name="connsiteX13" fmla="*/ 615446 w 1576173"/>
              <a:gd name="connsiteY13" fmla="*/ 1312836 h 1415933"/>
              <a:gd name="connsiteX14" fmla="*/ 134974 w 1576173"/>
              <a:gd name="connsiteY14" fmla="*/ 999732 h 1415933"/>
              <a:gd name="connsiteX15" fmla="*/ 473530 w 1576173"/>
              <a:gd name="connsiteY15" fmla="*/ 999732 h 1415933"/>
              <a:gd name="connsiteX16" fmla="*/ 606710 w 1576173"/>
              <a:gd name="connsiteY16" fmla="*/ 1142617 h 1415933"/>
              <a:gd name="connsiteX17" fmla="*/ 607956 w 1576173"/>
              <a:gd name="connsiteY17" fmla="*/ 1145102 h 1415933"/>
              <a:gd name="connsiteX18" fmla="*/ 617914 w 1576173"/>
              <a:gd name="connsiteY18" fmla="*/ 1145102 h 1415933"/>
              <a:gd name="connsiteX19" fmla="*/ 955224 w 1576173"/>
              <a:gd name="connsiteY19" fmla="*/ 1145102 h 1415933"/>
              <a:gd name="connsiteX20" fmla="*/ 968914 w 1576173"/>
              <a:gd name="connsiteY20" fmla="*/ 1145102 h 1415933"/>
              <a:gd name="connsiteX21" fmla="*/ 968914 w 1576173"/>
              <a:gd name="connsiteY21" fmla="*/ 1142617 h 1415933"/>
              <a:gd name="connsiteX22" fmla="*/ 1103340 w 1576173"/>
              <a:gd name="connsiteY22" fmla="*/ 999732 h 1415933"/>
              <a:gd name="connsiteX23" fmla="*/ 1441896 w 1576173"/>
              <a:gd name="connsiteY23" fmla="*/ 999732 h 1415933"/>
              <a:gd name="connsiteX24" fmla="*/ 1575078 w 1576173"/>
              <a:gd name="connsiteY24" fmla="*/ 1142617 h 1415933"/>
              <a:gd name="connsiteX25" fmla="*/ 1562630 w 1576173"/>
              <a:gd name="connsiteY25" fmla="*/ 1166224 h 1415933"/>
              <a:gd name="connsiteX26" fmla="*/ 1537736 w 1576173"/>
              <a:gd name="connsiteY26" fmla="*/ 1152557 h 1415933"/>
              <a:gd name="connsiteX27" fmla="*/ 1441896 w 1576173"/>
              <a:gd name="connsiteY27" fmla="*/ 1038249 h 1415933"/>
              <a:gd name="connsiteX28" fmla="*/ 1103340 w 1576173"/>
              <a:gd name="connsiteY28" fmla="*/ 1038249 h 1415933"/>
              <a:gd name="connsiteX29" fmla="*/ 1007500 w 1576173"/>
              <a:gd name="connsiteY29" fmla="*/ 1152557 h 1415933"/>
              <a:gd name="connsiteX30" fmla="*/ 1089650 w 1576173"/>
              <a:gd name="connsiteY30" fmla="*/ 1287987 h 1415933"/>
              <a:gd name="connsiteX31" fmla="*/ 1112054 w 1576173"/>
              <a:gd name="connsiteY31" fmla="*/ 1391112 h 1415933"/>
              <a:gd name="connsiteX32" fmla="*/ 1098362 w 1576173"/>
              <a:gd name="connsiteY32" fmla="*/ 1414719 h 1415933"/>
              <a:gd name="connsiteX33" fmla="*/ 1074714 w 1576173"/>
              <a:gd name="connsiteY33" fmla="*/ 1399810 h 1415933"/>
              <a:gd name="connsiteX34" fmla="*/ 1052308 w 1576173"/>
              <a:gd name="connsiteY34" fmla="*/ 1297927 h 1415933"/>
              <a:gd name="connsiteX35" fmla="*/ 955224 w 1576173"/>
              <a:gd name="connsiteY35" fmla="*/ 1183619 h 1415933"/>
              <a:gd name="connsiteX36" fmla="*/ 617914 w 1576173"/>
              <a:gd name="connsiteY36" fmla="*/ 1183619 h 1415933"/>
              <a:gd name="connsiteX37" fmla="*/ 522072 w 1576173"/>
              <a:gd name="connsiteY37" fmla="*/ 1297927 h 1415933"/>
              <a:gd name="connsiteX38" fmla="*/ 494690 w 1576173"/>
              <a:gd name="connsiteY38" fmla="*/ 1399810 h 1415933"/>
              <a:gd name="connsiteX39" fmla="*/ 477264 w 1576173"/>
              <a:gd name="connsiteY39" fmla="*/ 1414719 h 1415933"/>
              <a:gd name="connsiteX40" fmla="*/ 471040 w 1576173"/>
              <a:gd name="connsiteY40" fmla="*/ 1413477 h 1415933"/>
              <a:gd name="connsiteX41" fmla="*/ 457348 w 1576173"/>
              <a:gd name="connsiteY41" fmla="*/ 1389870 h 1415933"/>
              <a:gd name="connsiteX42" fmla="*/ 483486 w 1576173"/>
              <a:gd name="connsiteY42" fmla="*/ 1287987 h 1415933"/>
              <a:gd name="connsiteX43" fmla="*/ 569370 w 1576173"/>
              <a:gd name="connsiteY43" fmla="*/ 1151314 h 1415933"/>
              <a:gd name="connsiteX44" fmla="*/ 473530 w 1576173"/>
              <a:gd name="connsiteY44" fmla="*/ 1038249 h 1415933"/>
              <a:gd name="connsiteX45" fmla="*/ 134974 w 1576173"/>
              <a:gd name="connsiteY45" fmla="*/ 1038249 h 1415933"/>
              <a:gd name="connsiteX46" fmla="*/ 39134 w 1576173"/>
              <a:gd name="connsiteY46" fmla="*/ 1152557 h 1415933"/>
              <a:gd name="connsiteX47" fmla="*/ 14240 w 1576173"/>
              <a:gd name="connsiteY47" fmla="*/ 1166224 h 1415933"/>
              <a:gd name="connsiteX48" fmla="*/ 548 w 1576173"/>
              <a:gd name="connsiteY48" fmla="*/ 1142617 h 1415933"/>
              <a:gd name="connsiteX49" fmla="*/ 134974 w 1576173"/>
              <a:gd name="connsiteY49" fmla="*/ 999732 h 1415933"/>
              <a:gd name="connsiteX50" fmla="*/ 782948 w 1576173"/>
              <a:gd name="connsiteY50" fmla="*/ 851266 h 1415933"/>
              <a:gd name="connsiteX51" fmla="*/ 668056 w 1576173"/>
              <a:gd name="connsiteY51" fmla="*/ 966157 h 1415933"/>
              <a:gd name="connsiteX52" fmla="*/ 782948 w 1576173"/>
              <a:gd name="connsiteY52" fmla="*/ 1081048 h 1415933"/>
              <a:gd name="connsiteX53" fmla="*/ 897838 w 1576173"/>
              <a:gd name="connsiteY53" fmla="*/ 966157 h 1415933"/>
              <a:gd name="connsiteX54" fmla="*/ 782948 w 1576173"/>
              <a:gd name="connsiteY54" fmla="*/ 851266 h 1415933"/>
              <a:gd name="connsiteX55" fmla="*/ 782948 w 1576173"/>
              <a:gd name="connsiteY55" fmla="*/ 812969 h 1415933"/>
              <a:gd name="connsiteX56" fmla="*/ 936136 w 1576173"/>
              <a:gd name="connsiteY56" fmla="*/ 966157 h 1415933"/>
              <a:gd name="connsiteX57" fmla="*/ 782948 w 1576173"/>
              <a:gd name="connsiteY57" fmla="*/ 1119345 h 1415933"/>
              <a:gd name="connsiteX58" fmla="*/ 629760 w 1576173"/>
              <a:gd name="connsiteY58" fmla="*/ 966157 h 1415933"/>
              <a:gd name="connsiteX59" fmla="*/ 782948 w 1576173"/>
              <a:gd name="connsiteY59" fmla="*/ 812969 h 1415933"/>
              <a:gd name="connsiteX60" fmla="*/ 1275192 w 1576173"/>
              <a:gd name="connsiteY60" fmla="*/ 708447 h 1415933"/>
              <a:gd name="connsiteX61" fmla="*/ 1158718 w 1576173"/>
              <a:gd name="connsiteY61" fmla="*/ 823338 h 1415933"/>
              <a:gd name="connsiteX62" fmla="*/ 1275192 w 1576173"/>
              <a:gd name="connsiteY62" fmla="*/ 938229 h 1415933"/>
              <a:gd name="connsiteX63" fmla="*/ 1391668 w 1576173"/>
              <a:gd name="connsiteY63" fmla="*/ 823338 h 1415933"/>
              <a:gd name="connsiteX64" fmla="*/ 1275192 w 1576173"/>
              <a:gd name="connsiteY64" fmla="*/ 708447 h 1415933"/>
              <a:gd name="connsiteX65" fmla="*/ 302926 w 1576173"/>
              <a:gd name="connsiteY65" fmla="*/ 708447 h 1415933"/>
              <a:gd name="connsiteX66" fmla="*/ 186452 w 1576173"/>
              <a:gd name="connsiteY66" fmla="*/ 823338 h 1415933"/>
              <a:gd name="connsiteX67" fmla="*/ 302926 w 1576173"/>
              <a:gd name="connsiteY67" fmla="*/ 938229 h 1415933"/>
              <a:gd name="connsiteX68" fmla="*/ 419400 w 1576173"/>
              <a:gd name="connsiteY68" fmla="*/ 823338 h 1415933"/>
              <a:gd name="connsiteX69" fmla="*/ 302926 w 1576173"/>
              <a:gd name="connsiteY69" fmla="*/ 708447 h 1415933"/>
              <a:gd name="connsiteX70" fmla="*/ 1275192 w 1576173"/>
              <a:gd name="connsiteY70" fmla="*/ 670150 h 1415933"/>
              <a:gd name="connsiteX71" fmla="*/ 1430492 w 1576173"/>
              <a:gd name="connsiteY71" fmla="*/ 823338 h 1415933"/>
              <a:gd name="connsiteX72" fmla="*/ 1275192 w 1576173"/>
              <a:gd name="connsiteY72" fmla="*/ 976526 h 1415933"/>
              <a:gd name="connsiteX73" fmla="*/ 1118640 w 1576173"/>
              <a:gd name="connsiteY73" fmla="*/ 823338 h 1415933"/>
              <a:gd name="connsiteX74" fmla="*/ 1275192 w 1576173"/>
              <a:gd name="connsiteY74" fmla="*/ 670150 h 1415933"/>
              <a:gd name="connsiteX75" fmla="*/ 302926 w 1576173"/>
              <a:gd name="connsiteY75" fmla="*/ 670150 h 1415933"/>
              <a:gd name="connsiteX76" fmla="*/ 458224 w 1576173"/>
              <a:gd name="connsiteY76" fmla="*/ 823338 h 1415933"/>
              <a:gd name="connsiteX77" fmla="*/ 302926 w 1576173"/>
              <a:gd name="connsiteY77" fmla="*/ 976526 h 1415933"/>
              <a:gd name="connsiteX78" fmla="*/ 146376 w 1576173"/>
              <a:gd name="connsiteY78" fmla="*/ 823338 h 1415933"/>
              <a:gd name="connsiteX79" fmla="*/ 302926 w 1576173"/>
              <a:gd name="connsiteY79" fmla="*/ 670150 h 1415933"/>
              <a:gd name="connsiteX80" fmla="*/ 854562 w 1576173"/>
              <a:gd name="connsiteY80" fmla="*/ 39877 h 1415933"/>
              <a:gd name="connsiteX81" fmla="*/ 811068 w 1576173"/>
              <a:gd name="connsiteY81" fmla="*/ 83492 h 1415933"/>
              <a:gd name="connsiteX82" fmla="*/ 811068 w 1576173"/>
              <a:gd name="connsiteY82" fmla="*/ 206861 h 1415933"/>
              <a:gd name="connsiteX83" fmla="*/ 791184 w 1576173"/>
              <a:gd name="connsiteY83" fmla="*/ 206861 h 1415933"/>
              <a:gd name="connsiteX84" fmla="*/ 706682 w 1576173"/>
              <a:gd name="connsiteY84" fmla="*/ 291599 h 1415933"/>
              <a:gd name="connsiteX85" fmla="*/ 791184 w 1576173"/>
              <a:gd name="connsiteY85" fmla="*/ 376338 h 1415933"/>
              <a:gd name="connsiteX86" fmla="*/ 811068 w 1576173"/>
              <a:gd name="connsiteY86" fmla="*/ 376338 h 1415933"/>
              <a:gd name="connsiteX87" fmla="*/ 811068 w 1576173"/>
              <a:gd name="connsiteY87" fmla="*/ 498460 h 1415933"/>
              <a:gd name="connsiteX88" fmla="*/ 854562 w 1576173"/>
              <a:gd name="connsiteY88" fmla="*/ 542076 h 1415933"/>
              <a:gd name="connsiteX89" fmla="*/ 940308 w 1576173"/>
              <a:gd name="connsiteY89" fmla="*/ 542076 h 1415933"/>
              <a:gd name="connsiteX90" fmla="*/ 1062090 w 1576173"/>
              <a:gd name="connsiteY90" fmla="*/ 438645 h 1415933"/>
              <a:gd name="connsiteX91" fmla="*/ 1183874 w 1576173"/>
              <a:gd name="connsiteY91" fmla="*/ 542076 h 1415933"/>
              <a:gd name="connsiteX92" fmla="*/ 1275834 w 1576173"/>
              <a:gd name="connsiteY92" fmla="*/ 542076 h 1415933"/>
              <a:gd name="connsiteX93" fmla="*/ 1320570 w 1576173"/>
              <a:gd name="connsiteY93" fmla="*/ 498460 h 1415933"/>
              <a:gd name="connsiteX94" fmla="*/ 1320570 w 1576173"/>
              <a:gd name="connsiteY94" fmla="*/ 153277 h 1415933"/>
              <a:gd name="connsiteX95" fmla="*/ 1206242 w 1576173"/>
              <a:gd name="connsiteY95" fmla="*/ 39877 h 1415933"/>
              <a:gd name="connsiteX96" fmla="*/ 376126 w 1576173"/>
              <a:gd name="connsiteY96" fmla="*/ 39877 h 1415933"/>
              <a:gd name="connsiteX97" fmla="*/ 261800 w 1576173"/>
              <a:gd name="connsiteY97" fmla="*/ 153277 h 1415933"/>
              <a:gd name="connsiteX98" fmla="*/ 261800 w 1576173"/>
              <a:gd name="connsiteY98" fmla="*/ 498460 h 1415933"/>
              <a:gd name="connsiteX99" fmla="*/ 306536 w 1576173"/>
              <a:gd name="connsiteY99" fmla="*/ 542076 h 1415933"/>
              <a:gd name="connsiteX100" fmla="*/ 399738 w 1576173"/>
              <a:gd name="connsiteY100" fmla="*/ 542076 h 1415933"/>
              <a:gd name="connsiteX101" fmla="*/ 433290 w 1576173"/>
              <a:gd name="connsiteY101" fmla="*/ 570737 h 1415933"/>
              <a:gd name="connsiteX102" fmla="*/ 516550 w 1576173"/>
              <a:gd name="connsiteY102" fmla="*/ 646752 h 1415933"/>
              <a:gd name="connsiteX103" fmla="*/ 601054 w 1576173"/>
              <a:gd name="connsiteY103" fmla="*/ 570737 h 1415933"/>
              <a:gd name="connsiteX104" fmla="*/ 633364 w 1576173"/>
              <a:gd name="connsiteY104" fmla="*/ 542076 h 1415933"/>
              <a:gd name="connsiteX105" fmla="*/ 726564 w 1576173"/>
              <a:gd name="connsiteY105" fmla="*/ 542076 h 1415933"/>
              <a:gd name="connsiteX106" fmla="*/ 772544 w 1576173"/>
              <a:gd name="connsiteY106" fmla="*/ 498460 h 1415933"/>
              <a:gd name="connsiteX107" fmla="*/ 772544 w 1576173"/>
              <a:gd name="connsiteY107" fmla="*/ 413722 h 1415933"/>
              <a:gd name="connsiteX108" fmla="*/ 668158 w 1576173"/>
              <a:gd name="connsiteY108" fmla="*/ 291599 h 1415933"/>
              <a:gd name="connsiteX109" fmla="*/ 772544 w 1576173"/>
              <a:gd name="connsiteY109" fmla="*/ 169477 h 1415933"/>
              <a:gd name="connsiteX110" fmla="*/ 772544 w 1576173"/>
              <a:gd name="connsiteY110" fmla="*/ 83492 h 1415933"/>
              <a:gd name="connsiteX111" fmla="*/ 726564 w 1576173"/>
              <a:gd name="connsiteY111" fmla="*/ 39877 h 1415933"/>
              <a:gd name="connsiteX112" fmla="*/ 376126 w 1576173"/>
              <a:gd name="connsiteY112" fmla="*/ 0 h 1415933"/>
              <a:gd name="connsiteX113" fmla="*/ 726564 w 1576173"/>
              <a:gd name="connsiteY113" fmla="*/ 0 h 1415933"/>
              <a:gd name="connsiteX114" fmla="*/ 791184 w 1576173"/>
              <a:gd name="connsiteY114" fmla="*/ 29908 h 1415933"/>
              <a:gd name="connsiteX115" fmla="*/ 854562 w 1576173"/>
              <a:gd name="connsiteY115" fmla="*/ 0 h 1415933"/>
              <a:gd name="connsiteX116" fmla="*/ 1206242 w 1576173"/>
              <a:gd name="connsiteY116" fmla="*/ 0 h 1415933"/>
              <a:gd name="connsiteX117" fmla="*/ 1359094 w 1576173"/>
              <a:gd name="connsiteY117" fmla="*/ 153277 h 1415933"/>
              <a:gd name="connsiteX118" fmla="*/ 1359094 w 1576173"/>
              <a:gd name="connsiteY118" fmla="*/ 498460 h 1415933"/>
              <a:gd name="connsiteX119" fmla="*/ 1275834 w 1576173"/>
              <a:gd name="connsiteY119" fmla="*/ 581953 h 1415933"/>
              <a:gd name="connsiteX120" fmla="*/ 1178904 w 1576173"/>
              <a:gd name="connsiteY120" fmla="*/ 581953 h 1415933"/>
              <a:gd name="connsiteX121" fmla="*/ 1145350 w 1576173"/>
              <a:gd name="connsiteY121" fmla="*/ 552045 h 1415933"/>
              <a:gd name="connsiteX122" fmla="*/ 1062090 w 1576173"/>
              <a:gd name="connsiteY122" fmla="*/ 477276 h 1415933"/>
              <a:gd name="connsiteX123" fmla="*/ 977588 w 1576173"/>
              <a:gd name="connsiteY123" fmla="*/ 552045 h 1415933"/>
              <a:gd name="connsiteX124" fmla="*/ 946520 w 1576173"/>
              <a:gd name="connsiteY124" fmla="*/ 581953 h 1415933"/>
              <a:gd name="connsiteX125" fmla="*/ 854562 w 1576173"/>
              <a:gd name="connsiteY125" fmla="*/ 581953 h 1415933"/>
              <a:gd name="connsiteX126" fmla="*/ 791184 w 1576173"/>
              <a:gd name="connsiteY126" fmla="*/ 550799 h 1415933"/>
              <a:gd name="connsiteX127" fmla="*/ 726564 w 1576173"/>
              <a:gd name="connsiteY127" fmla="*/ 581953 h 1415933"/>
              <a:gd name="connsiteX128" fmla="*/ 639576 w 1576173"/>
              <a:gd name="connsiteY128" fmla="*/ 581953 h 1415933"/>
              <a:gd name="connsiteX129" fmla="*/ 516550 w 1576173"/>
              <a:gd name="connsiteY129" fmla="*/ 685383 h 1415933"/>
              <a:gd name="connsiteX130" fmla="*/ 394768 w 1576173"/>
              <a:gd name="connsiteY130" fmla="*/ 581953 h 1415933"/>
              <a:gd name="connsiteX131" fmla="*/ 306536 w 1576173"/>
              <a:gd name="connsiteY131" fmla="*/ 581953 h 1415933"/>
              <a:gd name="connsiteX132" fmla="*/ 223276 w 1576173"/>
              <a:gd name="connsiteY132" fmla="*/ 498460 h 1415933"/>
              <a:gd name="connsiteX133" fmla="*/ 223276 w 1576173"/>
              <a:gd name="connsiteY133" fmla="*/ 153277 h 1415933"/>
              <a:gd name="connsiteX134" fmla="*/ 376126 w 1576173"/>
              <a:gd name="connsiteY134" fmla="*/ 0 h 141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576173" h="1415933">
                <a:moveTo>
                  <a:pt x="956596" y="1312836"/>
                </a:moveTo>
                <a:cubicBezTo>
                  <a:pt x="966208" y="1312836"/>
                  <a:pt x="974618" y="1321746"/>
                  <a:pt x="974618" y="1333201"/>
                </a:cubicBezTo>
                <a:lnTo>
                  <a:pt x="974618" y="1395569"/>
                </a:lnTo>
                <a:cubicBezTo>
                  <a:pt x="974618" y="1407024"/>
                  <a:pt x="966208" y="1415933"/>
                  <a:pt x="956596" y="1415933"/>
                </a:cubicBezTo>
                <a:cubicBezTo>
                  <a:pt x="944580" y="1415933"/>
                  <a:pt x="937372" y="1407024"/>
                  <a:pt x="937372" y="1395569"/>
                </a:cubicBezTo>
                <a:lnTo>
                  <a:pt x="937372" y="1333201"/>
                </a:lnTo>
                <a:cubicBezTo>
                  <a:pt x="937372" y="1321746"/>
                  <a:pt x="944580" y="1312836"/>
                  <a:pt x="956596" y="1312836"/>
                </a:cubicBezTo>
                <a:close/>
                <a:moveTo>
                  <a:pt x="615446" y="1312836"/>
                </a:moveTo>
                <a:cubicBezTo>
                  <a:pt x="625932" y="1312836"/>
                  <a:pt x="634088" y="1321746"/>
                  <a:pt x="634088" y="1333201"/>
                </a:cubicBezTo>
                <a:lnTo>
                  <a:pt x="634088" y="1395569"/>
                </a:lnTo>
                <a:cubicBezTo>
                  <a:pt x="634088" y="1407024"/>
                  <a:pt x="625932" y="1415933"/>
                  <a:pt x="615446" y="1415933"/>
                </a:cubicBezTo>
                <a:cubicBezTo>
                  <a:pt x="606124" y="1415933"/>
                  <a:pt x="596804" y="1407024"/>
                  <a:pt x="596804" y="1395569"/>
                </a:cubicBezTo>
                <a:lnTo>
                  <a:pt x="596804" y="1333201"/>
                </a:lnTo>
                <a:cubicBezTo>
                  <a:pt x="596804" y="1321746"/>
                  <a:pt x="606124" y="1312836"/>
                  <a:pt x="615446" y="1312836"/>
                </a:cubicBezTo>
                <a:close/>
                <a:moveTo>
                  <a:pt x="134974" y="999732"/>
                </a:moveTo>
                <a:lnTo>
                  <a:pt x="473530" y="999732"/>
                </a:lnTo>
                <a:cubicBezTo>
                  <a:pt x="554434" y="999732"/>
                  <a:pt x="575594" y="1032037"/>
                  <a:pt x="606710" y="1142617"/>
                </a:cubicBezTo>
                <a:cubicBezTo>
                  <a:pt x="607956" y="1143859"/>
                  <a:pt x="607956" y="1145102"/>
                  <a:pt x="607956" y="1145102"/>
                </a:cubicBezTo>
                <a:cubicBezTo>
                  <a:pt x="610444" y="1145102"/>
                  <a:pt x="614180" y="1145102"/>
                  <a:pt x="617914" y="1145102"/>
                </a:cubicBezTo>
                <a:lnTo>
                  <a:pt x="955224" y="1145102"/>
                </a:lnTo>
                <a:cubicBezTo>
                  <a:pt x="960202" y="1145102"/>
                  <a:pt x="965180" y="1145102"/>
                  <a:pt x="968914" y="1145102"/>
                </a:cubicBezTo>
                <a:cubicBezTo>
                  <a:pt x="968914" y="1145102"/>
                  <a:pt x="968914" y="1143859"/>
                  <a:pt x="968914" y="1142617"/>
                </a:cubicBezTo>
                <a:cubicBezTo>
                  <a:pt x="1000032" y="1032037"/>
                  <a:pt x="1022436" y="999732"/>
                  <a:pt x="1103340" y="999732"/>
                </a:cubicBezTo>
                <a:lnTo>
                  <a:pt x="1441896" y="999732"/>
                </a:lnTo>
                <a:cubicBezTo>
                  <a:pt x="1522800" y="999732"/>
                  <a:pt x="1543960" y="1032037"/>
                  <a:pt x="1575078" y="1142617"/>
                </a:cubicBezTo>
                <a:cubicBezTo>
                  <a:pt x="1578812" y="1152557"/>
                  <a:pt x="1572588" y="1163739"/>
                  <a:pt x="1562630" y="1166224"/>
                </a:cubicBezTo>
                <a:cubicBezTo>
                  <a:pt x="1551428" y="1169951"/>
                  <a:pt x="1541470" y="1163739"/>
                  <a:pt x="1537736" y="1152557"/>
                </a:cubicBezTo>
                <a:cubicBezTo>
                  <a:pt x="1506620" y="1038249"/>
                  <a:pt x="1490438" y="1038249"/>
                  <a:pt x="1441896" y="1038249"/>
                </a:cubicBezTo>
                <a:lnTo>
                  <a:pt x="1103340" y="1038249"/>
                </a:lnTo>
                <a:cubicBezTo>
                  <a:pt x="1054798" y="1038249"/>
                  <a:pt x="1038618" y="1038249"/>
                  <a:pt x="1007500" y="1152557"/>
                </a:cubicBezTo>
                <a:cubicBezTo>
                  <a:pt x="1048574" y="1166224"/>
                  <a:pt x="1067244" y="1205983"/>
                  <a:pt x="1089650" y="1287987"/>
                </a:cubicBezTo>
                <a:lnTo>
                  <a:pt x="1112054" y="1391112"/>
                </a:lnTo>
                <a:cubicBezTo>
                  <a:pt x="1114544" y="1401052"/>
                  <a:pt x="1108320" y="1412234"/>
                  <a:pt x="1098362" y="1414719"/>
                </a:cubicBezTo>
                <a:cubicBezTo>
                  <a:pt x="1087160" y="1415962"/>
                  <a:pt x="1077202" y="1409749"/>
                  <a:pt x="1074714" y="1399810"/>
                </a:cubicBezTo>
                <a:lnTo>
                  <a:pt x="1052308" y="1297927"/>
                </a:lnTo>
                <a:cubicBezTo>
                  <a:pt x="1019946" y="1183619"/>
                  <a:pt x="1005010" y="1183619"/>
                  <a:pt x="955224" y="1183619"/>
                </a:cubicBezTo>
                <a:lnTo>
                  <a:pt x="617914" y="1183619"/>
                </a:lnTo>
                <a:cubicBezTo>
                  <a:pt x="569370" y="1183619"/>
                  <a:pt x="553190" y="1183619"/>
                  <a:pt x="522072" y="1297927"/>
                </a:cubicBezTo>
                <a:lnTo>
                  <a:pt x="494690" y="1399810"/>
                </a:lnTo>
                <a:cubicBezTo>
                  <a:pt x="493444" y="1408507"/>
                  <a:pt x="485976" y="1414719"/>
                  <a:pt x="477264" y="1414719"/>
                </a:cubicBezTo>
                <a:cubicBezTo>
                  <a:pt x="474774" y="1414719"/>
                  <a:pt x="473530" y="1414719"/>
                  <a:pt x="471040" y="1413477"/>
                </a:cubicBezTo>
                <a:cubicBezTo>
                  <a:pt x="461082" y="1410992"/>
                  <a:pt x="454860" y="1401052"/>
                  <a:pt x="457348" y="1389870"/>
                </a:cubicBezTo>
                <a:lnTo>
                  <a:pt x="483486" y="1287987"/>
                </a:lnTo>
                <a:cubicBezTo>
                  <a:pt x="507136" y="1203498"/>
                  <a:pt x="525806" y="1164982"/>
                  <a:pt x="569370" y="1151314"/>
                </a:cubicBezTo>
                <a:cubicBezTo>
                  <a:pt x="537008" y="1038249"/>
                  <a:pt x="522072" y="1038249"/>
                  <a:pt x="473530" y="1038249"/>
                </a:cubicBezTo>
                <a:lnTo>
                  <a:pt x="134974" y="1038249"/>
                </a:lnTo>
                <a:cubicBezTo>
                  <a:pt x="86432" y="1038249"/>
                  <a:pt x="71496" y="1038249"/>
                  <a:pt x="39134" y="1152557"/>
                </a:cubicBezTo>
                <a:cubicBezTo>
                  <a:pt x="36644" y="1163739"/>
                  <a:pt x="25442" y="1169951"/>
                  <a:pt x="14240" y="1166224"/>
                </a:cubicBezTo>
                <a:cubicBezTo>
                  <a:pt x="4282" y="1163739"/>
                  <a:pt x="-1940" y="1152557"/>
                  <a:pt x="548" y="1142617"/>
                </a:cubicBezTo>
                <a:cubicBezTo>
                  <a:pt x="31666" y="1032037"/>
                  <a:pt x="54070" y="999732"/>
                  <a:pt x="134974" y="999732"/>
                </a:cubicBezTo>
                <a:close/>
                <a:moveTo>
                  <a:pt x="782948" y="851266"/>
                </a:moveTo>
                <a:cubicBezTo>
                  <a:pt x="719944" y="851266"/>
                  <a:pt x="668056" y="903152"/>
                  <a:pt x="668056" y="966157"/>
                </a:cubicBezTo>
                <a:cubicBezTo>
                  <a:pt x="668056" y="1029162"/>
                  <a:pt x="719944" y="1081048"/>
                  <a:pt x="782948" y="1081048"/>
                </a:cubicBezTo>
                <a:cubicBezTo>
                  <a:pt x="847188" y="1081048"/>
                  <a:pt x="897838" y="1029162"/>
                  <a:pt x="897838" y="966157"/>
                </a:cubicBezTo>
                <a:cubicBezTo>
                  <a:pt x="897838" y="903152"/>
                  <a:pt x="847188" y="851266"/>
                  <a:pt x="782948" y="851266"/>
                </a:cubicBezTo>
                <a:close/>
                <a:moveTo>
                  <a:pt x="782948" y="812969"/>
                </a:moveTo>
                <a:cubicBezTo>
                  <a:pt x="868190" y="812969"/>
                  <a:pt x="936136" y="882151"/>
                  <a:pt x="936136" y="966157"/>
                </a:cubicBezTo>
                <a:cubicBezTo>
                  <a:pt x="936136" y="1050163"/>
                  <a:pt x="868190" y="1119345"/>
                  <a:pt x="782948" y="1119345"/>
                </a:cubicBezTo>
                <a:cubicBezTo>
                  <a:pt x="698942" y="1119345"/>
                  <a:pt x="629760" y="1050163"/>
                  <a:pt x="629760" y="966157"/>
                </a:cubicBezTo>
                <a:cubicBezTo>
                  <a:pt x="629760" y="882151"/>
                  <a:pt x="698942" y="812969"/>
                  <a:pt x="782948" y="812969"/>
                </a:cubicBezTo>
                <a:close/>
                <a:moveTo>
                  <a:pt x="1275192" y="708447"/>
                </a:moveTo>
                <a:cubicBezTo>
                  <a:pt x="1210066" y="708447"/>
                  <a:pt x="1158718" y="760333"/>
                  <a:pt x="1158718" y="823338"/>
                </a:cubicBezTo>
                <a:cubicBezTo>
                  <a:pt x="1158718" y="886343"/>
                  <a:pt x="1210066" y="938229"/>
                  <a:pt x="1275192" y="938229"/>
                </a:cubicBezTo>
                <a:cubicBezTo>
                  <a:pt x="1339066" y="938229"/>
                  <a:pt x="1391668" y="886343"/>
                  <a:pt x="1391668" y="823338"/>
                </a:cubicBezTo>
                <a:cubicBezTo>
                  <a:pt x="1391668" y="760333"/>
                  <a:pt x="1339066" y="708447"/>
                  <a:pt x="1275192" y="708447"/>
                </a:cubicBezTo>
                <a:close/>
                <a:moveTo>
                  <a:pt x="302926" y="708447"/>
                </a:moveTo>
                <a:cubicBezTo>
                  <a:pt x="237800" y="708447"/>
                  <a:pt x="186452" y="760333"/>
                  <a:pt x="186452" y="823338"/>
                </a:cubicBezTo>
                <a:cubicBezTo>
                  <a:pt x="186452" y="886343"/>
                  <a:pt x="237800" y="938229"/>
                  <a:pt x="302926" y="938229"/>
                </a:cubicBezTo>
                <a:cubicBezTo>
                  <a:pt x="366798" y="938229"/>
                  <a:pt x="419400" y="886343"/>
                  <a:pt x="419400" y="823338"/>
                </a:cubicBezTo>
                <a:cubicBezTo>
                  <a:pt x="419400" y="760333"/>
                  <a:pt x="366798" y="708447"/>
                  <a:pt x="302926" y="708447"/>
                </a:cubicBezTo>
                <a:close/>
                <a:moveTo>
                  <a:pt x="1275192" y="670150"/>
                </a:moveTo>
                <a:cubicBezTo>
                  <a:pt x="1360358" y="670150"/>
                  <a:pt x="1430492" y="739332"/>
                  <a:pt x="1430492" y="823338"/>
                </a:cubicBezTo>
                <a:cubicBezTo>
                  <a:pt x="1430492" y="908580"/>
                  <a:pt x="1360358" y="976526"/>
                  <a:pt x="1275192" y="976526"/>
                </a:cubicBezTo>
                <a:cubicBezTo>
                  <a:pt x="1188776" y="976526"/>
                  <a:pt x="1118640" y="908580"/>
                  <a:pt x="1118640" y="823338"/>
                </a:cubicBezTo>
                <a:cubicBezTo>
                  <a:pt x="1118640" y="739332"/>
                  <a:pt x="1188776" y="670150"/>
                  <a:pt x="1275192" y="670150"/>
                </a:cubicBezTo>
                <a:close/>
                <a:moveTo>
                  <a:pt x="302926" y="670150"/>
                </a:moveTo>
                <a:cubicBezTo>
                  <a:pt x="388088" y="670150"/>
                  <a:pt x="458224" y="739332"/>
                  <a:pt x="458224" y="823338"/>
                </a:cubicBezTo>
                <a:cubicBezTo>
                  <a:pt x="458224" y="908580"/>
                  <a:pt x="388088" y="976526"/>
                  <a:pt x="302926" y="976526"/>
                </a:cubicBezTo>
                <a:cubicBezTo>
                  <a:pt x="216510" y="976526"/>
                  <a:pt x="146376" y="908580"/>
                  <a:pt x="146376" y="823338"/>
                </a:cubicBezTo>
                <a:cubicBezTo>
                  <a:pt x="146376" y="739332"/>
                  <a:pt x="216510" y="670150"/>
                  <a:pt x="302926" y="670150"/>
                </a:cubicBezTo>
                <a:close/>
                <a:moveTo>
                  <a:pt x="854562" y="39877"/>
                </a:moveTo>
                <a:cubicBezTo>
                  <a:pt x="830950" y="39877"/>
                  <a:pt x="811068" y="58569"/>
                  <a:pt x="811068" y="83492"/>
                </a:cubicBezTo>
                <a:lnTo>
                  <a:pt x="811068" y="206861"/>
                </a:lnTo>
                <a:lnTo>
                  <a:pt x="791184" y="206861"/>
                </a:lnTo>
                <a:cubicBezTo>
                  <a:pt x="745206" y="206861"/>
                  <a:pt x="706682" y="244246"/>
                  <a:pt x="706682" y="291599"/>
                </a:cubicBezTo>
                <a:cubicBezTo>
                  <a:pt x="706682" y="337707"/>
                  <a:pt x="745206" y="376338"/>
                  <a:pt x="791184" y="376338"/>
                </a:cubicBezTo>
                <a:lnTo>
                  <a:pt x="811068" y="376338"/>
                </a:lnTo>
                <a:lnTo>
                  <a:pt x="811068" y="498460"/>
                </a:lnTo>
                <a:cubicBezTo>
                  <a:pt x="811068" y="522137"/>
                  <a:pt x="830950" y="542076"/>
                  <a:pt x="854562" y="542076"/>
                </a:cubicBezTo>
                <a:lnTo>
                  <a:pt x="940308" y="542076"/>
                </a:lnTo>
                <a:cubicBezTo>
                  <a:pt x="949006" y="483507"/>
                  <a:pt x="1001200" y="438645"/>
                  <a:pt x="1062090" y="438645"/>
                </a:cubicBezTo>
                <a:cubicBezTo>
                  <a:pt x="1122982" y="438645"/>
                  <a:pt x="1175176" y="483507"/>
                  <a:pt x="1183874" y="542076"/>
                </a:cubicBezTo>
                <a:lnTo>
                  <a:pt x="1275834" y="542076"/>
                </a:lnTo>
                <a:cubicBezTo>
                  <a:pt x="1300688" y="542076"/>
                  <a:pt x="1320570" y="522137"/>
                  <a:pt x="1320570" y="498460"/>
                </a:cubicBezTo>
                <a:lnTo>
                  <a:pt x="1320570" y="153277"/>
                </a:lnTo>
                <a:cubicBezTo>
                  <a:pt x="1320570" y="90969"/>
                  <a:pt x="1268378" y="39877"/>
                  <a:pt x="1206242" y="39877"/>
                </a:cubicBezTo>
                <a:close/>
                <a:moveTo>
                  <a:pt x="376126" y="39877"/>
                </a:moveTo>
                <a:cubicBezTo>
                  <a:pt x="312750" y="39877"/>
                  <a:pt x="261800" y="90969"/>
                  <a:pt x="261800" y="153277"/>
                </a:cubicBezTo>
                <a:lnTo>
                  <a:pt x="261800" y="498460"/>
                </a:lnTo>
                <a:cubicBezTo>
                  <a:pt x="261800" y="522137"/>
                  <a:pt x="281682" y="542076"/>
                  <a:pt x="306536" y="542076"/>
                </a:cubicBezTo>
                <a:lnTo>
                  <a:pt x="399738" y="542076"/>
                </a:lnTo>
                <a:cubicBezTo>
                  <a:pt x="417136" y="542076"/>
                  <a:pt x="430804" y="554537"/>
                  <a:pt x="433290" y="570737"/>
                </a:cubicBezTo>
                <a:cubicBezTo>
                  <a:pt x="438262" y="613106"/>
                  <a:pt x="473056" y="646752"/>
                  <a:pt x="516550" y="646752"/>
                </a:cubicBezTo>
                <a:cubicBezTo>
                  <a:pt x="561288" y="646752"/>
                  <a:pt x="596082" y="613106"/>
                  <a:pt x="601054" y="570737"/>
                </a:cubicBezTo>
                <a:cubicBezTo>
                  <a:pt x="602296" y="554537"/>
                  <a:pt x="615966" y="542076"/>
                  <a:pt x="633364" y="542076"/>
                </a:cubicBezTo>
                <a:lnTo>
                  <a:pt x="726564" y="542076"/>
                </a:lnTo>
                <a:cubicBezTo>
                  <a:pt x="752662" y="542076"/>
                  <a:pt x="772544" y="522137"/>
                  <a:pt x="772544" y="498460"/>
                </a:cubicBezTo>
                <a:lnTo>
                  <a:pt x="772544" y="413722"/>
                </a:lnTo>
                <a:cubicBezTo>
                  <a:pt x="712896" y="404999"/>
                  <a:pt x="668158" y="352661"/>
                  <a:pt x="668158" y="291599"/>
                </a:cubicBezTo>
                <a:cubicBezTo>
                  <a:pt x="668158" y="229292"/>
                  <a:pt x="712896" y="178200"/>
                  <a:pt x="772544" y="169477"/>
                </a:cubicBezTo>
                <a:lnTo>
                  <a:pt x="772544" y="83492"/>
                </a:lnTo>
                <a:cubicBezTo>
                  <a:pt x="772544" y="58569"/>
                  <a:pt x="752662" y="39877"/>
                  <a:pt x="726564" y="39877"/>
                </a:cubicBezTo>
                <a:close/>
                <a:moveTo>
                  <a:pt x="376126" y="0"/>
                </a:moveTo>
                <a:lnTo>
                  <a:pt x="726564" y="0"/>
                </a:lnTo>
                <a:cubicBezTo>
                  <a:pt x="752662" y="0"/>
                  <a:pt x="776272" y="12462"/>
                  <a:pt x="791184" y="29908"/>
                </a:cubicBezTo>
                <a:cubicBezTo>
                  <a:pt x="806096" y="12462"/>
                  <a:pt x="829708" y="0"/>
                  <a:pt x="854562" y="0"/>
                </a:cubicBezTo>
                <a:lnTo>
                  <a:pt x="1206242" y="0"/>
                </a:lnTo>
                <a:cubicBezTo>
                  <a:pt x="1290746" y="0"/>
                  <a:pt x="1359094" y="69785"/>
                  <a:pt x="1359094" y="153277"/>
                </a:cubicBezTo>
                <a:lnTo>
                  <a:pt x="1359094" y="498460"/>
                </a:lnTo>
                <a:cubicBezTo>
                  <a:pt x="1359094" y="543322"/>
                  <a:pt x="1321812" y="581953"/>
                  <a:pt x="1275834" y="581953"/>
                </a:cubicBezTo>
                <a:lnTo>
                  <a:pt x="1178904" y="581953"/>
                </a:lnTo>
                <a:cubicBezTo>
                  <a:pt x="1161506" y="581953"/>
                  <a:pt x="1147836" y="568245"/>
                  <a:pt x="1145350" y="552045"/>
                </a:cubicBezTo>
                <a:cubicBezTo>
                  <a:pt x="1141622" y="508430"/>
                  <a:pt x="1105584" y="477276"/>
                  <a:pt x="1062090" y="477276"/>
                </a:cubicBezTo>
                <a:cubicBezTo>
                  <a:pt x="1018596" y="477276"/>
                  <a:pt x="982558" y="508430"/>
                  <a:pt x="977588" y="552045"/>
                </a:cubicBezTo>
                <a:cubicBezTo>
                  <a:pt x="976346" y="568245"/>
                  <a:pt x="962676" y="581953"/>
                  <a:pt x="946520" y="581953"/>
                </a:cubicBezTo>
                <a:lnTo>
                  <a:pt x="854562" y="581953"/>
                </a:lnTo>
                <a:cubicBezTo>
                  <a:pt x="829708" y="581953"/>
                  <a:pt x="806096" y="569491"/>
                  <a:pt x="791184" y="550799"/>
                </a:cubicBezTo>
                <a:cubicBezTo>
                  <a:pt x="776272" y="569491"/>
                  <a:pt x="752662" y="581953"/>
                  <a:pt x="726564" y="581953"/>
                </a:cubicBezTo>
                <a:lnTo>
                  <a:pt x="639576" y="581953"/>
                </a:lnTo>
                <a:cubicBezTo>
                  <a:pt x="629636" y="640522"/>
                  <a:pt x="577442" y="685383"/>
                  <a:pt x="516550" y="685383"/>
                </a:cubicBezTo>
                <a:cubicBezTo>
                  <a:pt x="455658" y="685383"/>
                  <a:pt x="404708" y="640522"/>
                  <a:pt x="394768" y="581953"/>
                </a:cubicBezTo>
                <a:lnTo>
                  <a:pt x="306536" y="581953"/>
                </a:lnTo>
                <a:cubicBezTo>
                  <a:pt x="260556" y="581953"/>
                  <a:pt x="223276" y="543322"/>
                  <a:pt x="223276" y="498460"/>
                </a:cubicBezTo>
                <a:lnTo>
                  <a:pt x="223276" y="153277"/>
                </a:lnTo>
                <a:cubicBezTo>
                  <a:pt x="223276" y="69785"/>
                  <a:pt x="291624" y="0"/>
                  <a:pt x="3761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3CC8D9-C1B3-B589-8D45-39923611D8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343425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C757E45-D13D-E75E-AB96-B8C461F885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C757E45-D13D-E75E-AB96-B8C461F885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C8CD69B-294E-B7BA-6359-BE93FA9AF7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2EECFB8-70DB-5BB3-91AC-ACD0141D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Tre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1F1371D-24D3-3168-39CD-F05AFB9C3B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4AD409EA-7050-E9A1-F999-7397C6AA7D3F}"/>
              </a:ext>
            </a:extLst>
          </p:cNvPr>
          <p:cNvSpPr/>
          <p:nvPr/>
        </p:nvSpPr>
        <p:spPr>
          <a:xfrm>
            <a:off x="6228556" y="4319587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89EFD188-A4F9-5510-0749-DD034B9063D9}"/>
              </a:ext>
            </a:extLst>
          </p:cNvPr>
          <p:cNvSpPr/>
          <p:nvPr/>
        </p:nvSpPr>
        <p:spPr>
          <a:xfrm>
            <a:off x="3963193" y="4319587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687398FB-3F0A-7CDF-3607-CA0557E39C30}"/>
              </a:ext>
            </a:extLst>
          </p:cNvPr>
          <p:cNvSpPr/>
          <p:nvPr/>
        </p:nvSpPr>
        <p:spPr>
          <a:xfrm>
            <a:off x="5095874" y="1539876"/>
            <a:ext cx="1997074" cy="19970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D55C5406-3DB7-45A8-1750-32016FADA807}"/>
              </a:ext>
            </a:extLst>
          </p:cNvPr>
          <p:cNvSpPr/>
          <p:nvPr/>
        </p:nvSpPr>
        <p:spPr>
          <a:xfrm>
            <a:off x="7742470" y="2625726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3F969C12-D839-6AF0-C703-44FACE04DC59}"/>
              </a:ext>
            </a:extLst>
          </p:cNvPr>
          <p:cNvSpPr/>
          <p:nvPr/>
        </p:nvSpPr>
        <p:spPr>
          <a:xfrm>
            <a:off x="2449278" y="2625726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D5A3CFE5-E755-4E90-11B8-C99E8557910F}"/>
              </a:ext>
            </a:extLst>
          </p:cNvPr>
          <p:cNvCxnSpPr>
            <a:cxnSpLocks/>
          </p:cNvCxnSpPr>
          <p:nvPr/>
        </p:nvCxnSpPr>
        <p:spPr>
          <a:xfrm flipV="1">
            <a:off x="4349750" y="2908300"/>
            <a:ext cx="819150" cy="3048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8F7604A4-4AA9-C247-E54E-022AAFB326F2}"/>
              </a:ext>
            </a:extLst>
          </p:cNvPr>
          <p:cNvCxnSpPr>
            <a:cxnSpLocks/>
          </p:cNvCxnSpPr>
          <p:nvPr/>
        </p:nvCxnSpPr>
        <p:spPr>
          <a:xfrm>
            <a:off x="7010634" y="2908300"/>
            <a:ext cx="819150" cy="3048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A1F2B2FC-5292-34AB-B539-E9204D85F6D8}"/>
              </a:ext>
            </a:extLst>
          </p:cNvPr>
          <p:cNvCxnSpPr>
            <a:cxnSpLocks/>
          </p:cNvCxnSpPr>
          <p:nvPr/>
        </p:nvCxnSpPr>
        <p:spPr>
          <a:xfrm>
            <a:off x="6572250" y="3405188"/>
            <a:ext cx="384725" cy="947737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39F517B3-6C11-853A-92D6-795B10D5972E}"/>
              </a:ext>
            </a:extLst>
          </p:cNvPr>
          <p:cNvCxnSpPr>
            <a:cxnSpLocks/>
          </p:cNvCxnSpPr>
          <p:nvPr/>
        </p:nvCxnSpPr>
        <p:spPr>
          <a:xfrm flipH="1">
            <a:off x="5231847" y="3405188"/>
            <a:ext cx="384725" cy="947737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4">
            <a:extLst>
              <a:ext uri="{FF2B5EF4-FFF2-40B4-BE49-F238E27FC236}">
                <a16:creationId xmlns:a16="http://schemas.microsoft.com/office/drawing/2014/main" id="{04F40F6D-B400-77DA-1147-C4BA10B4CA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718" y="1678735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FF791DC9-FD25-684C-A38C-2AD870132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55BFB06-73BE-B793-0AA0-FBA27FCFC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ABB9D8F4-B1D4-37C5-0460-62E4F7A65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3E3202FA-C054-ECA6-DF02-643B28FA8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9" name="Group 4">
            <a:extLst>
              <a:ext uri="{FF2B5EF4-FFF2-40B4-BE49-F238E27FC236}">
                <a16:creationId xmlns:a16="http://schemas.microsoft.com/office/drawing/2014/main" id="{7548F02A-4DBF-4CD5-7984-A09EC4AF20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99107" y="2777049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8BEC21FE-1086-3994-DC82-F361981DB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75CE3700-78D0-FD35-94F5-E64C0A485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08" name="Freeform 7">
              <a:extLst>
                <a:ext uri="{FF2B5EF4-FFF2-40B4-BE49-F238E27FC236}">
                  <a16:creationId xmlns:a16="http://schemas.microsoft.com/office/drawing/2014/main" id="{E8C3038D-772C-F39F-65A6-616009472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09" name="Freeform 8">
              <a:extLst>
                <a:ext uri="{FF2B5EF4-FFF2-40B4-BE49-F238E27FC236}">
                  <a16:creationId xmlns:a16="http://schemas.microsoft.com/office/drawing/2014/main" id="{59C8FA1A-3A9C-F786-882D-C8BBBF8AB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411" name="Group 4">
            <a:extLst>
              <a:ext uri="{FF2B5EF4-FFF2-40B4-BE49-F238E27FC236}">
                <a16:creationId xmlns:a16="http://schemas.microsoft.com/office/drawing/2014/main" id="{7CF17B80-3B09-D01E-4B98-EF9DF8013F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05915" y="2777049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7412" name="Freeform 5">
              <a:extLst>
                <a:ext uri="{FF2B5EF4-FFF2-40B4-BE49-F238E27FC236}">
                  <a16:creationId xmlns:a16="http://schemas.microsoft.com/office/drawing/2014/main" id="{78AC5F48-2FF4-9C7F-0166-0E015E81D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3" name="Freeform 6">
              <a:extLst>
                <a:ext uri="{FF2B5EF4-FFF2-40B4-BE49-F238E27FC236}">
                  <a16:creationId xmlns:a16="http://schemas.microsoft.com/office/drawing/2014/main" id="{97BD7226-99BA-6A68-41C5-A538C769D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4" name="Freeform 7">
              <a:extLst>
                <a:ext uri="{FF2B5EF4-FFF2-40B4-BE49-F238E27FC236}">
                  <a16:creationId xmlns:a16="http://schemas.microsoft.com/office/drawing/2014/main" id="{00E61E94-18F0-CF7E-915C-FBD51AB36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5" name="Freeform 8">
              <a:extLst>
                <a:ext uri="{FF2B5EF4-FFF2-40B4-BE49-F238E27FC236}">
                  <a16:creationId xmlns:a16="http://schemas.microsoft.com/office/drawing/2014/main" id="{34946354-8696-3D5F-8FAF-CA8EF6C30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416" name="Group 4">
            <a:extLst>
              <a:ext uri="{FF2B5EF4-FFF2-40B4-BE49-F238E27FC236}">
                <a16:creationId xmlns:a16="http://schemas.microsoft.com/office/drawing/2014/main" id="{A69AACC6-E005-FD4A-0196-0513E5483C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19830" y="444831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7417" name="Freeform 5">
              <a:extLst>
                <a:ext uri="{FF2B5EF4-FFF2-40B4-BE49-F238E27FC236}">
                  <a16:creationId xmlns:a16="http://schemas.microsoft.com/office/drawing/2014/main" id="{616F6FC3-E02B-D119-F2A1-396337BA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8" name="Freeform 6">
              <a:extLst>
                <a:ext uri="{FF2B5EF4-FFF2-40B4-BE49-F238E27FC236}">
                  <a16:creationId xmlns:a16="http://schemas.microsoft.com/office/drawing/2014/main" id="{84CFCB8F-235C-CF38-5530-2E3F2FC10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9" name="Freeform 7">
              <a:extLst>
                <a:ext uri="{FF2B5EF4-FFF2-40B4-BE49-F238E27FC236}">
                  <a16:creationId xmlns:a16="http://schemas.microsoft.com/office/drawing/2014/main" id="{2A54CC7D-B067-470B-2DF0-0F0A28700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0" name="Freeform 8">
              <a:extLst>
                <a:ext uri="{FF2B5EF4-FFF2-40B4-BE49-F238E27FC236}">
                  <a16:creationId xmlns:a16="http://schemas.microsoft.com/office/drawing/2014/main" id="{52B8D51C-8E7D-2D2D-F327-5E0E8E85C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421" name="Group 4">
            <a:extLst>
              <a:ext uri="{FF2B5EF4-FFF2-40B4-BE49-F238E27FC236}">
                <a16:creationId xmlns:a16="http://schemas.microsoft.com/office/drawing/2014/main" id="{F5D312A3-B2BD-B4A6-4EB5-FD6E460072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5193" y="444831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7422" name="Freeform 5">
              <a:extLst>
                <a:ext uri="{FF2B5EF4-FFF2-40B4-BE49-F238E27FC236}">
                  <a16:creationId xmlns:a16="http://schemas.microsoft.com/office/drawing/2014/main" id="{5D9CFAD0-972A-3516-9B03-D5B0915691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3" name="Freeform 6">
              <a:extLst>
                <a:ext uri="{FF2B5EF4-FFF2-40B4-BE49-F238E27FC236}">
                  <a16:creationId xmlns:a16="http://schemas.microsoft.com/office/drawing/2014/main" id="{B42D9C4F-2B8C-7540-44F5-E78AE7ADA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4" name="Freeform 7">
              <a:extLst>
                <a:ext uri="{FF2B5EF4-FFF2-40B4-BE49-F238E27FC236}">
                  <a16:creationId xmlns:a16="http://schemas.microsoft.com/office/drawing/2014/main" id="{591F427C-6893-F1D5-EB59-D56153D55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5" name="Freeform 8">
              <a:extLst>
                <a:ext uri="{FF2B5EF4-FFF2-40B4-BE49-F238E27FC236}">
                  <a16:creationId xmlns:a16="http://schemas.microsoft.com/office/drawing/2014/main" id="{092A3A42-FBD6-10E4-CCF5-4E6E2598C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63543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A16D33-1190-5DB5-08F3-0399679EE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217817"/>
              </p:ext>
            </p:extLst>
          </p:nvPr>
        </p:nvGraphicFramePr>
        <p:xfrm>
          <a:off x="794" y="1240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A16D33-1190-5DB5-08F3-0399679EE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1240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4CA70C0-8031-E172-E1AD-BF0EF34F3C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52700A8-660A-F586-10BD-6E98A70E5067}"/>
              </a:ext>
            </a:extLst>
          </p:cNvPr>
          <p:cNvSpPr/>
          <p:nvPr/>
        </p:nvSpPr>
        <p:spPr>
          <a:xfrm>
            <a:off x="371474" y="2596823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075FF24-D446-25CC-309C-03DE941F5AB2}"/>
              </a:ext>
            </a:extLst>
          </p:cNvPr>
          <p:cNvSpPr/>
          <p:nvPr/>
        </p:nvSpPr>
        <p:spPr>
          <a:xfrm>
            <a:off x="2693223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BFABEEF-52CE-9798-B1AD-5C51EBB42DB1}"/>
              </a:ext>
            </a:extLst>
          </p:cNvPr>
          <p:cNvSpPr/>
          <p:nvPr/>
        </p:nvSpPr>
        <p:spPr>
          <a:xfrm>
            <a:off x="5014973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6C06375-344D-2E69-541E-D0DAFD2A5F84}"/>
              </a:ext>
            </a:extLst>
          </p:cNvPr>
          <p:cNvSpPr/>
          <p:nvPr/>
        </p:nvSpPr>
        <p:spPr>
          <a:xfrm>
            <a:off x="7336721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D6B27D7-72D6-CD3E-6259-A7935906CBC2}"/>
              </a:ext>
            </a:extLst>
          </p:cNvPr>
          <p:cNvSpPr/>
          <p:nvPr/>
        </p:nvSpPr>
        <p:spPr>
          <a:xfrm>
            <a:off x="9658470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12823E32-CBEB-1C1C-89CA-0F3D604B35AD}"/>
              </a:ext>
            </a:extLst>
          </p:cNvPr>
          <p:cNvSpPr txBox="1">
            <a:spLocks/>
          </p:cNvSpPr>
          <p:nvPr/>
        </p:nvSpPr>
        <p:spPr>
          <a:xfrm>
            <a:off x="2808806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F617DB71-7C52-88BD-DFFA-D6BC5B3A06D1}"/>
              </a:ext>
            </a:extLst>
          </p:cNvPr>
          <p:cNvSpPr txBox="1">
            <a:spLocks/>
          </p:cNvSpPr>
          <p:nvPr/>
        </p:nvSpPr>
        <p:spPr>
          <a:xfrm>
            <a:off x="5130555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DF02FC3-427A-798E-CDCD-1980D9E1E0CD}"/>
              </a:ext>
            </a:extLst>
          </p:cNvPr>
          <p:cNvSpPr txBox="1">
            <a:spLocks/>
          </p:cNvSpPr>
          <p:nvPr/>
        </p:nvSpPr>
        <p:spPr>
          <a:xfrm>
            <a:off x="7452304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864D93BA-916F-7CFC-0808-7D466BD60414}"/>
              </a:ext>
            </a:extLst>
          </p:cNvPr>
          <p:cNvSpPr txBox="1">
            <a:spLocks/>
          </p:cNvSpPr>
          <p:nvPr/>
        </p:nvSpPr>
        <p:spPr>
          <a:xfrm>
            <a:off x="9774054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2DAE4432-678E-8484-326C-B7DF8A4E2E81}"/>
              </a:ext>
            </a:extLst>
          </p:cNvPr>
          <p:cNvSpPr txBox="1">
            <a:spLocks/>
          </p:cNvSpPr>
          <p:nvPr/>
        </p:nvSpPr>
        <p:spPr>
          <a:xfrm>
            <a:off x="487057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4000" b="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4572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2pPr>
            <a:lvl3pPr marL="9144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3pPr>
            <a:lvl4pPr marL="13716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4pPr>
            <a:lvl5pPr marL="18288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36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5pPr>
            <a:lvl6pPr marL="22226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Graphik Light" panose="020B0403030202060203" pitchFamily="34" charset="0"/>
                <a:ea typeface="+mn-ea"/>
                <a:cs typeface="+mn-cs"/>
              </a:defRPr>
            </a:lvl9pPr>
          </a:lstStyle>
          <a:p>
            <a:pPr defTabSz="228554"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4E5F80-75D4-AE57-B41C-80E5453C4D17}"/>
              </a:ext>
            </a:extLst>
          </p:cNvPr>
          <p:cNvSpPr/>
          <p:nvPr/>
        </p:nvSpPr>
        <p:spPr>
          <a:xfrm>
            <a:off x="1608958" y="2415078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D3D2154-677E-D0BF-D2BC-E73D844F14C4}"/>
              </a:ext>
            </a:extLst>
          </p:cNvPr>
          <p:cNvGrpSpPr>
            <a:grpSpLocks noChangeAspect="1"/>
          </p:cNvGrpSpPr>
          <p:nvPr/>
        </p:nvGrpSpPr>
        <p:grpSpPr>
          <a:xfrm>
            <a:off x="1837719" y="2643840"/>
            <a:ext cx="457522" cy="457522"/>
            <a:chOff x="1146176" y="2373313"/>
            <a:chExt cx="692150" cy="692150"/>
          </a:xfrm>
          <a:solidFill>
            <a:schemeClr val="bg1"/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8298DACD-6161-81C9-A591-29B43FFF7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2747963"/>
              <a:ext cx="319088" cy="317500"/>
            </a:xfrm>
            <a:custGeom>
              <a:avLst/>
              <a:gdLst>
                <a:gd name="T0" fmla="*/ 114 w 133"/>
                <a:gd name="T1" fmla="*/ 132 h 132"/>
                <a:gd name="T2" fmla="*/ 111 w 133"/>
                <a:gd name="T3" fmla="*/ 131 h 132"/>
                <a:gd name="T4" fmla="*/ 66 w 133"/>
                <a:gd name="T5" fmla="*/ 103 h 132"/>
                <a:gd name="T6" fmla="*/ 22 w 133"/>
                <a:gd name="T7" fmla="*/ 131 h 132"/>
                <a:gd name="T8" fmla="*/ 14 w 133"/>
                <a:gd name="T9" fmla="*/ 130 h 132"/>
                <a:gd name="T10" fmla="*/ 13 w 133"/>
                <a:gd name="T11" fmla="*/ 123 h 132"/>
                <a:gd name="T12" fmla="*/ 35 w 133"/>
                <a:gd name="T13" fmla="*/ 79 h 132"/>
                <a:gd name="T14" fmla="*/ 2 w 133"/>
                <a:gd name="T15" fmla="*/ 46 h 132"/>
                <a:gd name="T16" fmla="*/ 1 w 133"/>
                <a:gd name="T17" fmla="*/ 40 h 132"/>
                <a:gd name="T18" fmla="*/ 6 w 133"/>
                <a:gd name="T19" fmla="*/ 36 h 132"/>
                <a:gd name="T20" fmla="*/ 45 w 133"/>
                <a:gd name="T21" fmla="*/ 36 h 132"/>
                <a:gd name="T22" fmla="*/ 61 w 133"/>
                <a:gd name="T23" fmla="*/ 3 h 132"/>
                <a:gd name="T24" fmla="*/ 66 w 133"/>
                <a:gd name="T25" fmla="*/ 0 h 132"/>
                <a:gd name="T26" fmla="*/ 66 w 133"/>
                <a:gd name="T27" fmla="*/ 0 h 132"/>
                <a:gd name="T28" fmla="*/ 72 w 133"/>
                <a:gd name="T29" fmla="*/ 3 h 132"/>
                <a:gd name="T30" fmla="*/ 88 w 133"/>
                <a:gd name="T31" fmla="*/ 36 h 132"/>
                <a:gd name="T32" fmla="*/ 126 w 133"/>
                <a:gd name="T33" fmla="*/ 36 h 132"/>
                <a:gd name="T34" fmla="*/ 132 w 133"/>
                <a:gd name="T35" fmla="*/ 40 h 132"/>
                <a:gd name="T36" fmla="*/ 131 w 133"/>
                <a:gd name="T37" fmla="*/ 46 h 132"/>
                <a:gd name="T38" fmla="*/ 98 w 133"/>
                <a:gd name="T39" fmla="*/ 79 h 132"/>
                <a:gd name="T40" fmla="*/ 120 w 133"/>
                <a:gd name="T41" fmla="*/ 123 h 132"/>
                <a:gd name="T42" fmla="*/ 119 w 133"/>
                <a:gd name="T43" fmla="*/ 130 h 132"/>
                <a:gd name="T44" fmla="*/ 114 w 133"/>
                <a:gd name="T45" fmla="*/ 132 h 132"/>
                <a:gd name="T46" fmla="*/ 66 w 133"/>
                <a:gd name="T47" fmla="*/ 90 h 132"/>
                <a:gd name="T48" fmla="*/ 69 w 133"/>
                <a:gd name="T49" fmla="*/ 91 h 132"/>
                <a:gd name="T50" fmla="*/ 100 w 133"/>
                <a:gd name="T51" fmla="*/ 110 h 132"/>
                <a:gd name="T52" fmla="*/ 85 w 133"/>
                <a:gd name="T53" fmla="*/ 81 h 132"/>
                <a:gd name="T54" fmla="*/ 86 w 133"/>
                <a:gd name="T55" fmla="*/ 74 h 132"/>
                <a:gd name="T56" fmla="*/ 112 w 133"/>
                <a:gd name="T57" fmla="*/ 48 h 132"/>
                <a:gd name="T58" fmla="*/ 84 w 133"/>
                <a:gd name="T59" fmla="*/ 48 h 132"/>
                <a:gd name="T60" fmla="*/ 79 w 133"/>
                <a:gd name="T61" fmla="*/ 45 h 132"/>
                <a:gd name="T62" fmla="*/ 66 w 133"/>
                <a:gd name="T63" fmla="*/ 19 h 132"/>
                <a:gd name="T64" fmla="*/ 54 w 133"/>
                <a:gd name="T65" fmla="*/ 45 h 132"/>
                <a:gd name="T66" fmla="*/ 48 w 133"/>
                <a:gd name="T67" fmla="*/ 48 h 132"/>
                <a:gd name="T68" fmla="*/ 21 w 133"/>
                <a:gd name="T69" fmla="*/ 48 h 132"/>
                <a:gd name="T70" fmla="*/ 47 w 133"/>
                <a:gd name="T71" fmla="*/ 74 h 132"/>
                <a:gd name="T72" fmla="*/ 48 w 133"/>
                <a:gd name="T73" fmla="*/ 81 h 132"/>
                <a:gd name="T74" fmla="*/ 33 w 133"/>
                <a:gd name="T75" fmla="*/ 110 h 132"/>
                <a:gd name="T76" fmla="*/ 63 w 133"/>
                <a:gd name="T77" fmla="*/ 91 h 132"/>
                <a:gd name="T78" fmla="*/ 66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14" y="132"/>
                  </a:moveTo>
                  <a:cubicBezTo>
                    <a:pt x="113" y="132"/>
                    <a:pt x="112" y="132"/>
                    <a:pt x="111" y="131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19" y="132"/>
                    <a:pt x="16" y="132"/>
                    <a:pt x="14" y="130"/>
                  </a:cubicBezTo>
                  <a:cubicBezTo>
                    <a:pt x="12" y="129"/>
                    <a:pt x="12" y="126"/>
                    <a:pt x="13" y="12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5"/>
                    <a:pt x="0" y="42"/>
                    <a:pt x="1" y="40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9" y="36"/>
                    <a:pt x="131" y="37"/>
                    <a:pt x="132" y="40"/>
                  </a:cubicBezTo>
                  <a:cubicBezTo>
                    <a:pt x="133" y="42"/>
                    <a:pt x="132" y="45"/>
                    <a:pt x="131" y="46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6"/>
                    <a:pt x="121" y="129"/>
                    <a:pt x="119" y="130"/>
                  </a:cubicBezTo>
                  <a:cubicBezTo>
                    <a:pt x="117" y="131"/>
                    <a:pt x="116" y="132"/>
                    <a:pt x="114" y="132"/>
                  </a:cubicBezTo>
                  <a:close/>
                  <a:moveTo>
                    <a:pt x="66" y="90"/>
                  </a:moveTo>
                  <a:cubicBezTo>
                    <a:pt x="67" y="90"/>
                    <a:pt x="69" y="90"/>
                    <a:pt x="69" y="91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4" y="78"/>
                    <a:pt x="84" y="75"/>
                    <a:pt x="86" y="74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7"/>
                    <a:pt x="79" y="4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3" y="47"/>
                    <a:pt x="51" y="48"/>
                    <a:pt x="48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9" y="78"/>
                    <a:pt x="48" y="81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5" y="90"/>
                    <a:pt x="6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8ABC41A5-8232-7DA2-D92B-3CB18FFDC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2378075"/>
              <a:ext cx="155575" cy="327025"/>
            </a:xfrm>
            <a:custGeom>
              <a:avLst/>
              <a:gdLst>
                <a:gd name="T0" fmla="*/ 65 w 65"/>
                <a:gd name="T1" fmla="*/ 136 h 136"/>
                <a:gd name="T2" fmla="*/ 53 w 65"/>
                <a:gd name="T3" fmla="*/ 136 h 136"/>
                <a:gd name="T4" fmla="*/ 0 w 65"/>
                <a:gd name="T5" fmla="*/ 8 h 136"/>
                <a:gd name="T6" fmla="*/ 9 w 65"/>
                <a:gd name="T7" fmla="*/ 0 h 136"/>
                <a:gd name="T8" fmla="*/ 65 w 65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6">
                  <a:moveTo>
                    <a:pt x="65" y="136"/>
                  </a:moveTo>
                  <a:cubicBezTo>
                    <a:pt x="53" y="136"/>
                    <a:pt x="53" y="136"/>
                    <a:pt x="53" y="136"/>
                  </a:cubicBezTo>
                  <a:cubicBezTo>
                    <a:pt x="53" y="90"/>
                    <a:pt x="35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6" y="40"/>
                    <a:pt x="65" y="8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7DC01825-CEAF-F139-5636-2D396578D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863850"/>
              <a:ext cx="317500" cy="28575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9" name="Rectangle 8">
              <a:extLst>
                <a:ext uri="{FF2B5EF4-FFF2-40B4-BE49-F238E27FC236}">
                  <a16:creationId xmlns:a16="http://schemas.microsoft.com/office/drawing/2014/main" id="{20F49F65-D9FC-D93B-8A7F-A139D6764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2517775"/>
              <a:ext cx="5524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C602E220-9A4D-61F6-FFA9-0A3535ADB9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176" y="2373313"/>
              <a:ext cx="692150" cy="692150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5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3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0"/>
                    <a:pt x="136" y="0"/>
                    <a:pt x="136" y="0"/>
                  </a:cubicBezTo>
                  <a:cubicBezTo>
                    <a:pt x="137" y="0"/>
                    <a:pt x="138" y="0"/>
                    <a:pt x="138" y="0"/>
                  </a:cubicBezTo>
                  <a:cubicBezTo>
                    <a:pt x="140" y="0"/>
                    <a:pt x="143" y="0"/>
                    <a:pt x="145" y="0"/>
                  </a:cubicBezTo>
                  <a:cubicBezTo>
                    <a:pt x="220" y="0"/>
                    <a:pt x="282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4" y="283"/>
                    <a:pt x="143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5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2"/>
                    <a:pt x="139" y="12"/>
                  </a:cubicBezTo>
                  <a:cubicBezTo>
                    <a:pt x="139" y="12"/>
                    <a:pt x="139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3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AD1123D4-4FEF-59D6-B257-C9ECFCEC605E}"/>
              </a:ext>
            </a:extLst>
          </p:cNvPr>
          <p:cNvSpPr/>
          <p:nvPr/>
        </p:nvSpPr>
        <p:spPr>
          <a:xfrm>
            <a:off x="3930707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132F4D8-42A3-8688-DEF3-631F95A5386E}"/>
              </a:ext>
            </a:extLst>
          </p:cNvPr>
          <p:cNvSpPr/>
          <p:nvPr/>
        </p:nvSpPr>
        <p:spPr>
          <a:xfrm>
            <a:off x="6252457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822F2EA1-C458-E95C-D0EA-D8D456514882}"/>
              </a:ext>
            </a:extLst>
          </p:cNvPr>
          <p:cNvSpPr/>
          <p:nvPr/>
        </p:nvSpPr>
        <p:spPr>
          <a:xfrm>
            <a:off x="8574205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363359B-BF88-81D7-E856-DA32FC37525A}"/>
              </a:ext>
            </a:extLst>
          </p:cNvPr>
          <p:cNvSpPr/>
          <p:nvPr/>
        </p:nvSpPr>
        <p:spPr>
          <a:xfrm>
            <a:off x="10895955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EAD0068-5855-C6B5-E3C1-5F0F7BC01D62}"/>
              </a:ext>
            </a:extLst>
          </p:cNvPr>
          <p:cNvGrpSpPr>
            <a:grpSpLocks noChangeAspect="1"/>
          </p:cNvGrpSpPr>
          <p:nvPr/>
        </p:nvGrpSpPr>
        <p:grpSpPr>
          <a:xfrm>
            <a:off x="4158942" y="2643840"/>
            <a:ext cx="458577" cy="457522"/>
            <a:chOff x="4786313" y="2373313"/>
            <a:chExt cx="692150" cy="690562"/>
          </a:xfrm>
          <a:solidFill>
            <a:schemeClr val="bg1"/>
          </a:solidFill>
        </p:grpSpPr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6704FE65-E30A-262C-16BC-66B99C719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0" y="2459038"/>
              <a:ext cx="231775" cy="23018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F9975067-CF29-29C1-AED2-656182012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373313"/>
              <a:ext cx="425450" cy="635000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E6D07C2E-3D79-15B4-B327-C716BDC8E9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927350"/>
              <a:ext cx="692150" cy="136525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AC030E0-9A81-F8B2-4C8D-E62783B71EAA}"/>
              </a:ext>
            </a:extLst>
          </p:cNvPr>
          <p:cNvGrpSpPr>
            <a:grpSpLocks noChangeAspect="1"/>
          </p:cNvGrpSpPr>
          <p:nvPr/>
        </p:nvGrpSpPr>
        <p:grpSpPr>
          <a:xfrm>
            <a:off x="6470771" y="2643840"/>
            <a:ext cx="478416" cy="457522"/>
            <a:chOff x="4443413" y="4208463"/>
            <a:chExt cx="690563" cy="660400"/>
          </a:xfrm>
          <a:solidFill>
            <a:schemeClr val="bg1"/>
          </a:solidFill>
        </p:grpSpPr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948F8C5F-8EF8-001A-1F44-98BDB30A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3413" y="4668838"/>
              <a:ext cx="144463" cy="200025"/>
            </a:xfrm>
            <a:custGeom>
              <a:avLst/>
              <a:gdLst>
                <a:gd name="T0" fmla="*/ 54 w 60"/>
                <a:gd name="T1" fmla="*/ 84 h 84"/>
                <a:gd name="T2" fmla="*/ 6 w 60"/>
                <a:gd name="T3" fmla="*/ 84 h 84"/>
                <a:gd name="T4" fmla="*/ 0 w 60"/>
                <a:gd name="T5" fmla="*/ 78 h 84"/>
                <a:gd name="T6" fmla="*/ 0 w 60"/>
                <a:gd name="T7" fmla="*/ 6 h 84"/>
                <a:gd name="T8" fmla="*/ 6 w 60"/>
                <a:gd name="T9" fmla="*/ 0 h 84"/>
                <a:gd name="T10" fmla="*/ 54 w 60"/>
                <a:gd name="T11" fmla="*/ 0 h 84"/>
                <a:gd name="T12" fmla="*/ 60 w 60"/>
                <a:gd name="T13" fmla="*/ 6 h 84"/>
                <a:gd name="T14" fmla="*/ 60 w 60"/>
                <a:gd name="T15" fmla="*/ 78 h 84"/>
                <a:gd name="T16" fmla="*/ 54 w 60"/>
                <a:gd name="T17" fmla="*/ 84 h 84"/>
                <a:gd name="T18" fmla="*/ 12 w 60"/>
                <a:gd name="T19" fmla="*/ 72 h 84"/>
                <a:gd name="T20" fmla="*/ 48 w 60"/>
                <a:gd name="T21" fmla="*/ 72 h 84"/>
                <a:gd name="T22" fmla="*/ 48 w 60"/>
                <a:gd name="T23" fmla="*/ 12 h 84"/>
                <a:gd name="T24" fmla="*/ 12 w 60"/>
                <a:gd name="T25" fmla="*/ 12 h 84"/>
                <a:gd name="T26" fmla="*/ 12 w 60"/>
                <a:gd name="T27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4">
                  <a:moveTo>
                    <a:pt x="5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81"/>
                    <a:pt x="58" y="84"/>
                    <a:pt x="54" y="84"/>
                  </a:cubicBezTo>
                  <a:close/>
                  <a:moveTo>
                    <a:pt x="12" y="72"/>
                  </a:moveTo>
                  <a:cubicBezTo>
                    <a:pt x="48" y="72"/>
                    <a:pt x="48" y="72"/>
                    <a:pt x="48" y="7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F7F2394B-F496-552A-839A-7E5E0D528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4754563"/>
              <a:ext cx="458788" cy="85725"/>
            </a:xfrm>
            <a:custGeom>
              <a:avLst/>
              <a:gdLst>
                <a:gd name="T0" fmla="*/ 186 w 192"/>
                <a:gd name="T1" fmla="*/ 36 h 36"/>
                <a:gd name="T2" fmla="*/ 6 w 192"/>
                <a:gd name="T3" fmla="*/ 36 h 36"/>
                <a:gd name="T4" fmla="*/ 0 w 192"/>
                <a:gd name="T5" fmla="*/ 30 h 36"/>
                <a:gd name="T6" fmla="*/ 6 w 192"/>
                <a:gd name="T7" fmla="*/ 24 h 36"/>
                <a:gd name="T8" fmla="*/ 176 w 192"/>
                <a:gd name="T9" fmla="*/ 24 h 36"/>
                <a:gd name="T10" fmla="*/ 96 w 192"/>
                <a:gd name="T11" fmla="*/ 12 h 36"/>
                <a:gd name="T12" fmla="*/ 36 w 192"/>
                <a:gd name="T13" fmla="*/ 12 h 36"/>
                <a:gd name="T14" fmla="*/ 30 w 192"/>
                <a:gd name="T15" fmla="*/ 6 h 36"/>
                <a:gd name="T16" fmla="*/ 36 w 192"/>
                <a:gd name="T17" fmla="*/ 0 h 36"/>
                <a:gd name="T18" fmla="*/ 96 w 192"/>
                <a:gd name="T19" fmla="*/ 0 h 36"/>
                <a:gd name="T20" fmla="*/ 192 w 192"/>
                <a:gd name="T21" fmla="*/ 30 h 36"/>
                <a:gd name="T22" fmla="*/ 186 w 192"/>
                <a:gd name="T2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36">
                  <a:moveTo>
                    <a:pt x="18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26"/>
                    <a:pt x="3" y="24"/>
                    <a:pt x="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67" y="17"/>
                    <a:pt x="141" y="12"/>
                    <a:pt x="9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3" y="12"/>
                    <a:pt x="30" y="9"/>
                    <a:pt x="30" y="6"/>
                  </a:cubicBezTo>
                  <a:cubicBezTo>
                    <a:pt x="30" y="2"/>
                    <a:pt x="33" y="0"/>
                    <a:pt x="3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61" y="0"/>
                    <a:pt x="192" y="10"/>
                    <a:pt x="192" y="30"/>
                  </a:cubicBezTo>
                  <a:cubicBezTo>
                    <a:pt x="192" y="33"/>
                    <a:pt x="190" y="36"/>
                    <a:pt x="18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EB401B1F-8E8B-C132-BCA0-27BC1CE9C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588" y="4697413"/>
              <a:ext cx="195263" cy="80962"/>
            </a:xfrm>
            <a:custGeom>
              <a:avLst/>
              <a:gdLst>
                <a:gd name="T0" fmla="*/ 74 w 82"/>
                <a:gd name="T1" fmla="*/ 34 h 34"/>
                <a:gd name="T2" fmla="*/ 72 w 82"/>
                <a:gd name="T3" fmla="*/ 32 h 34"/>
                <a:gd name="T4" fmla="*/ 30 w 82"/>
                <a:gd name="T5" fmla="*/ 12 h 34"/>
                <a:gd name="T6" fmla="*/ 0 w 82"/>
                <a:gd name="T7" fmla="*/ 12 h 34"/>
                <a:gd name="T8" fmla="*/ 0 w 82"/>
                <a:gd name="T9" fmla="*/ 0 h 34"/>
                <a:gd name="T10" fmla="*/ 30 w 82"/>
                <a:gd name="T11" fmla="*/ 0 h 34"/>
                <a:gd name="T12" fmla="*/ 81 w 82"/>
                <a:gd name="T13" fmla="*/ 23 h 34"/>
                <a:gd name="T14" fmla="*/ 82 w 82"/>
                <a:gd name="T15" fmla="*/ 25 h 34"/>
                <a:gd name="T16" fmla="*/ 74 w 8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34">
                  <a:moveTo>
                    <a:pt x="74" y="34"/>
                  </a:moveTo>
                  <a:cubicBezTo>
                    <a:pt x="73" y="33"/>
                    <a:pt x="73" y="33"/>
                    <a:pt x="72" y="32"/>
                  </a:cubicBezTo>
                  <a:cubicBezTo>
                    <a:pt x="65" y="25"/>
                    <a:pt x="53" y="12"/>
                    <a:pt x="3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58" y="0"/>
                    <a:pt x="73" y="16"/>
                    <a:pt x="81" y="23"/>
                  </a:cubicBezTo>
                  <a:cubicBezTo>
                    <a:pt x="81" y="24"/>
                    <a:pt x="82" y="25"/>
                    <a:pt x="82" y="25"/>
                  </a:cubicBezTo>
                  <a:lnTo>
                    <a:pt x="74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3" name="Oval 53">
              <a:extLst>
                <a:ext uri="{FF2B5EF4-FFF2-40B4-BE49-F238E27FC236}">
                  <a16:creationId xmlns:a16="http://schemas.microsoft.com/office/drawing/2014/main" id="{EF92DFFE-DA69-E166-E09C-91D8C04E2F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563" y="4783138"/>
              <a:ext cx="28575" cy="28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5C913C24-E58D-192D-5471-1C9675609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1988" y="4552950"/>
              <a:ext cx="635000" cy="85725"/>
            </a:xfrm>
            <a:custGeom>
              <a:avLst/>
              <a:gdLst>
                <a:gd name="T0" fmla="*/ 234 w 265"/>
                <a:gd name="T1" fmla="*/ 36 h 36"/>
                <a:gd name="T2" fmla="*/ 30 w 265"/>
                <a:gd name="T3" fmla="*/ 36 h 36"/>
                <a:gd name="T4" fmla="*/ 26 w 265"/>
                <a:gd name="T5" fmla="*/ 34 h 36"/>
                <a:gd name="T6" fmla="*/ 2 w 265"/>
                <a:gd name="T7" fmla="*/ 10 h 36"/>
                <a:gd name="T8" fmla="*/ 1 w 265"/>
                <a:gd name="T9" fmla="*/ 3 h 36"/>
                <a:gd name="T10" fmla="*/ 6 w 265"/>
                <a:gd name="T11" fmla="*/ 0 h 36"/>
                <a:gd name="T12" fmla="*/ 258 w 265"/>
                <a:gd name="T13" fmla="*/ 0 h 36"/>
                <a:gd name="T14" fmla="*/ 264 w 265"/>
                <a:gd name="T15" fmla="*/ 3 h 36"/>
                <a:gd name="T16" fmla="*/ 262 w 265"/>
                <a:gd name="T17" fmla="*/ 10 h 36"/>
                <a:gd name="T18" fmla="*/ 238 w 265"/>
                <a:gd name="T19" fmla="*/ 34 h 36"/>
                <a:gd name="T20" fmla="*/ 234 w 265"/>
                <a:gd name="T21" fmla="*/ 36 h 36"/>
                <a:gd name="T22" fmla="*/ 33 w 265"/>
                <a:gd name="T23" fmla="*/ 24 h 36"/>
                <a:gd name="T24" fmla="*/ 232 w 265"/>
                <a:gd name="T25" fmla="*/ 24 h 36"/>
                <a:gd name="T26" fmla="*/ 244 w 265"/>
                <a:gd name="T27" fmla="*/ 12 h 36"/>
                <a:gd name="T28" fmla="*/ 21 w 265"/>
                <a:gd name="T29" fmla="*/ 12 h 36"/>
                <a:gd name="T30" fmla="*/ 33 w 265"/>
                <a:gd name="T31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5" h="36">
                  <a:moveTo>
                    <a:pt x="234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29" y="36"/>
                    <a:pt x="27" y="35"/>
                    <a:pt x="26" y="3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6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3" y="1"/>
                    <a:pt x="264" y="3"/>
                  </a:cubicBezTo>
                  <a:cubicBezTo>
                    <a:pt x="265" y="6"/>
                    <a:pt x="264" y="8"/>
                    <a:pt x="262" y="10"/>
                  </a:cubicBezTo>
                  <a:cubicBezTo>
                    <a:pt x="238" y="34"/>
                    <a:pt x="238" y="34"/>
                    <a:pt x="238" y="34"/>
                  </a:cubicBezTo>
                  <a:cubicBezTo>
                    <a:pt x="237" y="35"/>
                    <a:pt x="236" y="36"/>
                    <a:pt x="234" y="36"/>
                  </a:cubicBezTo>
                  <a:close/>
                  <a:moveTo>
                    <a:pt x="33" y="24"/>
                  </a:moveTo>
                  <a:cubicBezTo>
                    <a:pt x="232" y="24"/>
                    <a:pt x="232" y="24"/>
                    <a:pt x="232" y="24"/>
                  </a:cubicBezTo>
                  <a:cubicBezTo>
                    <a:pt x="244" y="12"/>
                    <a:pt x="244" y="12"/>
                    <a:pt x="244" y="12"/>
                  </a:cubicBezTo>
                  <a:cubicBezTo>
                    <a:pt x="21" y="12"/>
                    <a:pt x="21" y="12"/>
                    <a:pt x="21" y="12"/>
                  </a:cubicBezTo>
                  <a:lnTo>
                    <a:pt x="3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F6EE2CD9-C67C-2C77-0EE2-1A9D1F06F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4552950"/>
              <a:ext cx="690563" cy="28575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9BC84384-8AD3-9733-CAD8-F24903AA0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0750" y="4208463"/>
              <a:ext cx="115888" cy="11430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AED4DD0B-2E2A-549A-70AB-BDC729314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4850" y="4294188"/>
              <a:ext cx="547688" cy="287337"/>
            </a:xfrm>
            <a:custGeom>
              <a:avLst/>
              <a:gdLst>
                <a:gd name="T0" fmla="*/ 222 w 228"/>
                <a:gd name="T1" fmla="*/ 120 h 120"/>
                <a:gd name="T2" fmla="*/ 216 w 228"/>
                <a:gd name="T3" fmla="*/ 114 h 120"/>
                <a:gd name="T4" fmla="*/ 114 w 228"/>
                <a:gd name="T5" fmla="*/ 12 h 120"/>
                <a:gd name="T6" fmla="*/ 12 w 228"/>
                <a:gd name="T7" fmla="*/ 114 h 120"/>
                <a:gd name="T8" fmla="*/ 6 w 228"/>
                <a:gd name="T9" fmla="*/ 120 h 120"/>
                <a:gd name="T10" fmla="*/ 0 w 228"/>
                <a:gd name="T11" fmla="*/ 114 h 120"/>
                <a:gd name="T12" fmla="*/ 114 w 228"/>
                <a:gd name="T13" fmla="*/ 0 h 120"/>
                <a:gd name="T14" fmla="*/ 228 w 228"/>
                <a:gd name="T15" fmla="*/ 114 h 120"/>
                <a:gd name="T16" fmla="*/ 222 w 228"/>
                <a:gd name="T1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120">
                  <a:moveTo>
                    <a:pt x="222" y="120"/>
                  </a:moveTo>
                  <a:cubicBezTo>
                    <a:pt x="219" y="120"/>
                    <a:pt x="216" y="117"/>
                    <a:pt x="216" y="114"/>
                  </a:cubicBezTo>
                  <a:cubicBezTo>
                    <a:pt x="216" y="57"/>
                    <a:pt x="170" y="12"/>
                    <a:pt x="114" y="12"/>
                  </a:cubicBezTo>
                  <a:cubicBezTo>
                    <a:pt x="58" y="12"/>
                    <a:pt x="12" y="57"/>
                    <a:pt x="12" y="114"/>
                  </a:cubicBezTo>
                  <a:cubicBezTo>
                    <a:pt x="12" y="117"/>
                    <a:pt x="10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17"/>
                    <a:pt x="226" y="120"/>
                    <a:pt x="22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D45D3CDC-352C-45DA-F63E-B6F33BED6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0" y="4365625"/>
              <a:ext cx="187325" cy="115887"/>
            </a:xfrm>
            <a:custGeom>
              <a:avLst/>
              <a:gdLst>
                <a:gd name="T0" fmla="*/ 6 w 78"/>
                <a:gd name="T1" fmla="*/ 48 h 48"/>
                <a:gd name="T2" fmla="*/ 3 w 78"/>
                <a:gd name="T3" fmla="*/ 47 h 48"/>
                <a:gd name="T4" fmla="*/ 1 w 78"/>
                <a:gd name="T5" fmla="*/ 38 h 48"/>
                <a:gd name="T6" fmla="*/ 72 w 78"/>
                <a:gd name="T7" fmla="*/ 0 h 48"/>
                <a:gd name="T8" fmla="*/ 78 w 78"/>
                <a:gd name="T9" fmla="*/ 6 h 48"/>
                <a:gd name="T10" fmla="*/ 72 w 78"/>
                <a:gd name="T11" fmla="*/ 12 h 48"/>
                <a:gd name="T12" fmla="*/ 12 w 78"/>
                <a:gd name="T13" fmla="*/ 45 h 48"/>
                <a:gd name="T14" fmla="*/ 6 w 78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48">
                  <a:moveTo>
                    <a:pt x="6" y="48"/>
                  </a:moveTo>
                  <a:cubicBezTo>
                    <a:pt x="5" y="48"/>
                    <a:pt x="4" y="47"/>
                    <a:pt x="3" y="47"/>
                  </a:cubicBezTo>
                  <a:cubicBezTo>
                    <a:pt x="0" y="45"/>
                    <a:pt x="0" y="41"/>
                    <a:pt x="1" y="38"/>
                  </a:cubicBezTo>
                  <a:cubicBezTo>
                    <a:pt x="17" y="14"/>
                    <a:pt x="43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ubicBezTo>
                    <a:pt x="48" y="12"/>
                    <a:pt x="25" y="24"/>
                    <a:pt x="12" y="45"/>
                  </a:cubicBezTo>
                  <a:cubicBezTo>
                    <a:pt x="10" y="47"/>
                    <a:pt x="8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984D4EA-D173-1A94-7884-6ABC67F9DB10}"/>
              </a:ext>
            </a:extLst>
          </p:cNvPr>
          <p:cNvGrpSpPr>
            <a:grpSpLocks noChangeAspect="1"/>
          </p:cNvGrpSpPr>
          <p:nvPr/>
        </p:nvGrpSpPr>
        <p:grpSpPr>
          <a:xfrm>
            <a:off x="11107165" y="2643840"/>
            <a:ext cx="492624" cy="457522"/>
            <a:chOff x="4575176" y="4965701"/>
            <a:chExt cx="690563" cy="641350"/>
          </a:xfrm>
          <a:solidFill>
            <a:schemeClr val="bg1"/>
          </a:solidFill>
        </p:grpSpPr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CEB74E45-C216-9D6F-B5E9-4461CAE0F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5176" y="4965701"/>
              <a:ext cx="690563" cy="641350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0 h 267"/>
                <a:gd name="T18" fmla="*/ 19 w 288"/>
                <a:gd name="T19" fmla="*/ 266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3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6"/>
                    <a:pt x="12" y="265"/>
                  </a:cubicBezTo>
                  <a:cubicBezTo>
                    <a:pt x="10" y="263"/>
                    <a:pt x="10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8"/>
                    <a:pt x="0" y="149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0"/>
                  </a:cubicBezTo>
                  <a:cubicBezTo>
                    <a:pt x="19" y="266"/>
                    <a:pt x="19" y="266"/>
                    <a:pt x="19" y="266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3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7" y="225"/>
                    <a:pt x="276" y="177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DA1CEB25-079C-EB90-A447-C2E629107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5102226"/>
              <a:ext cx="28575" cy="201613"/>
            </a:xfrm>
            <a:custGeom>
              <a:avLst/>
              <a:gdLst>
                <a:gd name="T0" fmla="*/ 6 w 12"/>
                <a:gd name="T1" fmla="*/ 84 h 84"/>
                <a:gd name="T2" fmla="*/ 0 w 12"/>
                <a:gd name="T3" fmla="*/ 78 h 84"/>
                <a:gd name="T4" fmla="*/ 0 w 12"/>
                <a:gd name="T5" fmla="*/ 6 h 84"/>
                <a:gd name="T6" fmla="*/ 6 w 12"/>
                <a:gd name="T7" fmla="*/ 0 h 84"/>
                <a:gd name="T8" fmla="*/ 12 w 12"/>
                <a:gd name="T9" fmla="*/ 6 h 84"/>
                <a:gd name="T10" fmla="*/ 12 w 12"/>
                <a:gd name="T11" fmla="*/ 78 h 84"/>
                <a:gd name="T12" fmla="*/ 6 w 12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4">
                  <a:moveTo>
                    <a:pt x="6" y="84"/>
                  </a:move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1"/>
                    <a:pt x="9" y="84"/>
                    <a:pt x="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267CA9AB-804F-E272-726E-FA5F61BC5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801" y="5326063"/>
              <a:ext cx="58738" cy="57150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80" name="Grupo 79">
            <a:extLst>
              <a:ext uri="{FF2B5EF4-FFF2-40B4-BE49-F238E27FC236}">
                <a16:creationId xmlns:a16="http://schemas.microsoft.com/office/drawing/2014/main" id="{F7AB3272-B80D-63A8-41EE-F46D51996D25}"/>
              </a:ext>
            </a:extLst>
          </p:cNvPr>
          <p:cNvGrpSpPr/>
          <p:nvPr/>
        </p:nvGrpSpPr>
        <p:grpSpPr>
          <a:xfrm>
            <a:off x="8751780" y="2630262"/>
            <a:ext cx="562467" cy="484674"/>
            <a:chOff x="3396568" y="5931108"/>
            <a:chExt cx="574701" cy="495216"/>
          </a:xfrm>
          <a:solidFill>
            <a:schemeClr val="bg1"/>
          </a:solidFill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F7B88F9-1360-8702-9F40-85D0A8C439A9}"/>
                </a:ext>
              </a:extLst>
            </p:cNvPr>
            <p:cNvSpPr/>
            <p:nvPr/>
          </p:nvSpPr>
          <p:spPr>
            <a:xfrm>
              <a:off x="3396568" y="5931108"/>
              <a:ext cx="574701" cy="495216"/>
            </a:xfrm>
            <a:custGeom>
              <a:avLst/>
              <a:gdLst>
                <a:gd name="connsiteX0" fmla="*/ 4745757 w 4827993"/>
                <a:gd name="connsiteY0" fmla="*/ 3606155 h 4160250"/>
                <a:gd name="connsiteX1" fmla="*/ 576386 w 4827993"/>
                <a:gd name="connsiteY1" fmla="*/ 3606155 h 4160250"/>
                <a:gd name="connsiteX2" fmla="*/ 576386 w 4827993"/>
                <a:gd name="connsiteY2" fmla="*/ 82319 h 4160250"/>
                <a:gd name="connsiteX3" fmla="*/ 494106 w 4827993"/>
                <a:gd name="connsiteY3" fmla="*/ 0 h 4160250"/>
                <a:gd name="connsiteX4" fmla="*/ 411788 w 4827993"/>
                <a:gd name="connsiteY4" fmla="*/ 82319 h 4160250"/>
                <a:gd name="connsiteX5" fmla="*/ 411788 w 4827993"/>
                <a:gd name="connsiteY5" fmla="*/ 890387 h 4160250"/>
                <a:gd name="connsiteX6" fmla="*/ 82280 w 4827993"/>
                <a:gd name="connsiteY6" fmla="*/ 890387 h 4160250"/>
                <a:gd name="connsiteX7" fmla="*/ 0 w 4827993"/>
                <a:gd name="connsiteY7" fmla="*/ 972705 h 4160250"/>
                <a:gd name="connsiteX8" fmla="*/ 82280 w 4827993"/>
                <a:gd name="connsiteY8" fmla="*/ 1054986 h 4160250"/>
                <a:gd name="connsiteX9" fmla="*/ 411788 w 4827993"/>
                <a:gd name="connsiteY9" fmla="*/ 1054986 h 4160250"/>
                <a:gd name="connsiteX10" fmla="*/ 411788 w 4827993"/>
                <a:gd name="connsiteY10" fmla="*/ 2014302 h 4160250"/>
                <a:gd name="connsiteX11" fmla="*/ 82280 w 4827993"/>
                <a:gd name="connsiteY11" fmla="*/ 2014302 h 4160250"/>
                <a:gd name="connsiteX12" fmla="*/ 0 w 4827993"/>
                <a:gd name="connsiteY12" fmla="*/ 2096583 h 4160250"/>
                <a:gd name="connsiteX13" fmla="*/ 82280 w 4827993"/>
                <a:gd name="connsiteY13" fmla="*/ 2178863 h 4160250"/>
                <a:gd name="connsiteX14" fmla="*/ 411788 w 4827993"/>
                <a:gd name="connsiteY14" fmla="*/ 2178863 h 4160250"/>
                <a:gd name="connsiteX15" fmla="*/ 411788 w 4827993"/>
                <a:gd name="connsiteY15" fmla="*/ 3138601 h 4160250"/>
                <a:gd name="connsiteX16" fmla="*/ 82280 w 4827993"/>
                <a:gd name="connsiteY16" fmla="*/ 3138601 h 4160250"/>
                <a:gd name="connsiteX17" fmla="*/ 0 w 4827993"/>
                <a:gd name="connsiteY17" fmla="*/ 3220920 h 4160250"/>
                <a:gd name="connsiteX18" fmla="*/ 82280 w 4827993"/>
                <a:gd name="connsiteY18" fmla="*/ 3303200 h 4160250"/>
                <a:gd name="connsiteX19" fmla="*/ 411788 w 4827993"/>
                <a:gd name="connsiteY19" fmla="*/ 3303200 h 4160250"/>
                <a:gd name="connsiteX20" fmla="*/ 411788 w 4827993"/>
                <a:gd name="connsiteY20" fmla="*/ 3688424 h 4160250"/>
                <a:gd name="connsiteX21" fmla="*/ 494106 w 4827993"/>
                <a:gd name="connsiteY21" fmla="*/ 3770704 h 4160250"/>
                <a:gd name="connsiteX22" fmla="*/ 923799 w 4827993"/>
                <a:gd name="connsiteY22" fmla="*/ 3770704 h 4160250"/>
                <a:gd name="connsiteX23" fmla="*/ 923799 w 4827993"/>
                <a:gd name="connsiteY23" fmla="*/ 4077933 h 4160250"/>
                <a:gd name="connsiteX24" fmla="*/ 1006079 w 4827993"/>
                <a:gd name="connsiteY24" fmla="*/ 4160251 h 4160250"/>
                <a:gd name="connsiteX25" fmla="*/ 1088360 w 4827993"/>
                <a:gd name="connsiteY25" fmla="*/ 4077933 h 4160250"/>
                <a:gd name="connsiteX26" fmla="*/ 1088360 w 4827993"/>
                <a:gd name="connsiteY26" fmla="*/ 3770704 h 4160250"/>
                <a:gd name="connsiteX27" fmla="*/ 1981124 w 4827993"/>
                <a:gd name="connsiteY27" fmla="*/ 3770704 h 4160250"/>
                <a:gd name="connsiteX28" fmla="*/ 1981124 w 4827993"/>
                <a:gd name="connsiteY28" fmla="*/ 4077933 h 4160250"/>
                <a:gd name="connsiteX29" fmla="*/ 2063405 w 4827993"/>
                <a:gd name="connsiteY29" fmla="*/ 4160251 h 4160250"/>
                <a:gd name="connsiteX30" fmla="*/ 2145723 w 4827993"/>
                <a:gd name="connsiteY30" fmla="*/ 4077933 h 4160250"/>
                <a:gd name="connsiteX31" fmla="*/ 2145723 w 4827993"/>
                <a:gd name="connsiteY31" fmla="*/ 3770704 h 4160250"/>
                <a:gd name="connsiteX32" fmla="*/ 3038449 w 4827993"/>
                <a:gd name="connsiteY32" fmla="*/ 3770704 h 4160250"/>
                <a:gd name="connsiteX33" fmla="*/ 3038449 w 4827993"/>
                <a:gd name="connsiteY33" fmla="*/ 4077933 h 4160250"/>
                <a:gd name="connsiteX34" fmla="*/ 3120767 w 4827993"/>
                <a:gd name="connsiteY34" fmla="*/ 4160251 h 4160250"/>
                <a:gd name="connsiteX35" fmla="*/ 3203048 w 4827993"/>
                <a:gd name="connsiteY35" fmla="*/ 4077933 h 4160250"/>
                <a:gd name="connsiteX36" fmla="*/ 3203048 w 4827993"/>
                <a:gd name="connsiteY36" fmla="*/ 3770704 h 4160250"/>
                <a:gd name="connsiteX37" fmla="*/ 4095812 w 4827993"/>
                <a:gd name="connsiteY37" fmla="*/ 3770704 h 4160250"/>
                <a:gd name="connsiteX38" fmla="*/ 4095812 w 4827993"/>
                <a:gd name="connsiteY38" fmla="*/ 4077933 h 4160250"/>
                <a:gd name="connsiteX39" fmla="*/ 4178093 w 4827993"/>
                <a:gd name="connsiteY39" fmla="*/ 4160251 h 4160250"/>
                <a:gd name="connsiteX40" fmla="*/ 4260373 w 4827993"/>
                <a:gd name="connsiteY40" fmla="*/ 4077933 h 4160250"/>
                <a:gd name="connsiteX41" fmla="*/ 4260373 w 4827993"/>
                <a:gd name="connsiteY41" fmla="*/ 3770704 h 4160250"/>
                <a:gd name="connsiteX42" fmla="*/ 4745714 w 4827993"/>
                <a:gd name="connsiteY42" fmla="*/ 3770704 h 4160250"/>
                <a:gd name="connsiteX43" fmla="*/ 4827994 w 4827993"/>
                <a:gd name="connsiteY43" fmla="*/ 3688424 h 4160250"/>
                <a:gd name="connsiteX44" fmla="*/ 4745714 w 4827993"/>
                <a:gd name="connsiteY44" fmla="*/ 3606105 h 416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27993" h="4160250">
                  <a:moveTo>
                    <a:pt x="4745757" y="3606155"/>
                  </a:moveTo>
                  <a:lnTo>
                    <a:pt x="576386" y="3606155"/>
                  </a:lnTo>
                  <a:lnTo>
                    <a:pt x="576386" y="82319"/>
                  </a:lnTo>
                  <a:cubicBezTo>
                    <a:pt x="576386" y="36854"/>
                    <a:pt x="539533" y="0"/>
                    <a:pt x="494106" y="0"/>
                  </a:cubicBezTo>
                  <a:cubicBezTo>
                    <a:pt x="448642" y="0"/>
                    <a:pt x="411788" y="36854"/>
                    <a:pt x="411788" y="82319"/>
                  </a:cubicBezTo>
                  <a:lnTo>
                    <a:pt x="411788" y="890387"/>
                  </a:lnTo>
                  <a:lnTo>
                    <a:pt x="82280" y="890387"/>
                  </a:lnTo>
                  <a:cubicBezTo>
                    <a:pt x="36816" y="890387"/>
                    <a:pt x="0" y="927241"/>
                    <a:pt x="0" y="972705"/>
                  </a:cubicBezTo>
                  <a:cubicBezTo>
                    <a:pt x="0" y="1018132"/>
                    <a:pt x="36816" y="1054986"/>
                    <a:pt x="82280" y="1054986"/>
                  </a:cubicBezTo>
                  <a:lnTo>
                    <a:pt x="411788" y="1054986"/>
                  </a:lnTo>
                  <a:lnTo>
                    <a:pt x="411788" y="2014302"/>
                  </a:lnTo>
                  <a:lnTo>
                    <a:pt x="82280" y="2014302"/>
                  </a:lnTo>
                  <a:cubicBezTo>
                    <a:pt x="36816" y="2014302"/>
                    <a:pt x="0" y="2051118"/>
                    <a:pt x="0" y="2096583"/>
                  </a:cubicBezTo>
                  <a:cubicBezTo>
                    <a:pt x="0" y="2142047"/>
                    <a:pt x="36816" y="2178863"/>
                    <a:pt x="82280" y="2178863"/>
                  </a:cubicBezTo>
                  <a:lnTo>
                    <a:pt x="411788" y="2178863"/>
                  </a:lnTo>
                  <a:lnTo>
                    <a:pt x="411788" y="3138601"/>
                  </a:lnTo>
                  <a:lnTo>
                    <a:pt x="82280" y="3138601"/>
                  </a:lnTo>
                  <a:cubicBezTo>
                    <a:pt x="36816" y="3138601"/>
                    <a:pt x="0" y="3175455"/>
                    <a:pt x="0" y="3220920"/>
                  </a:cubicBezTo>
                  <a:cubicBezTo>
                    <a:pt x="0" y="3266346"/>
                    <a:pt x="36816" y="3303200"/>
                    <a:pt x="82280" y="3303200"/>
                  </a:cubicBezTo>
                  <a:lnTo>
                    <a:pt x="411788" y="3303200"/>
                  </a:lnTo>
                  <a:lnTo>
                    <a:pt x="411788" y="3688424"/>
                  </a:lnTo>
                  <a:cubicBezTo>
                    <a:pt x="411788" y="3733850"/>
                    <a:pt x="448642" y="3770704"/>
                    <a:pt x="494106" y="3770704"/>
                  </a:cubicBezTo>
                  <a:lnTo>
                    <a:pt x="923799" y="3770704"/>
                  </a:lnTo>
                  <a:lnTo>
                    <a:pt x="923799" y="4077933"/>
                  </a:lnTo>
                  <a:cubicBezTo>
                    <a:pt x="923799" y="4123397"/>
                    <a:pt x="960615" y="4160251"/>
                    <a:pt x="1006079" y="4160251"/>
                  </a:cubicBezTo>
                  <a:cubicBezTo>
                    <a:pt x="1051544" y="4160251"/>
                    <a:pt x="1088360" y="4123397"/>
                    <a:pt x="1088360" y="4077933"/>
                  </a:cubicBezTo>
                  <a:lnTo>
                    <a:pt x="1088360" y="3770704"/>
                  </a:lnTo>
                  <a:lnTo>
                    <a:pt x="1981124" y="3770704"/>
                  </a:lnTo>
                  <a:lnTo>
                    <a:pt x="1981124" y="4077933"/>
                  </a:lnTo>
                  <a:cubicBezTo>
                    <a:pt x="1981124" y="4123397"/>
                    <a:pt x="2017978" y="4160251"/>
                    <a:pt x="2063405" y="4160251"/>
                  </a:cubicBezTo>
                  <a:cubicBezTo>
                    <a:pt x="2108870" y="4160251"/>
                    <a:pt x="2145723" y="4123397"/>
                    <a:pt x="2145723" y="4077933"/>
                  </a:cubicBezTo>
                  <a:lnTo>
                    <a:pt x="2145723" y="3770704"/>
                  </a:lnTo>
                  <a:lnTo>
                    <a:pt x="3038449" y="3770704"/>
                  </a:lnTo>
                  <a:lnTo>
                    <a:pt x="3038449" y="4077933"/>
                  </a:lnTo>
                  <a:cubicBezTo>
                    <a:pt x="3038449" y="4123397"/>
                    <a:pt x="3075303" y="4160251"/>
                    <a:pt x="3120767" y="4160251"/>
                  </a:cubicBezTo>
                  <a:cubicBezTo>
                    <a:pt x="3166194" y="4160251"/>
                    <a:pt x="3203048" y="4123397"/>
                    <a:pt x="3203048" y="4077933"/>
                  </a:cubicBezTo>
                  <a:lnTo>
                    <a:pt x="3203048" y="3770704"/>
                  </a:lnTo>
                  <a:lnTo>
                    <a:pt x="4095812" y="3770704"/>
                  </a:lnTo>
                  <a:lnTo>
                    <a:pt x="4095812" y="4077933"/>
                  </a:lnTo>
                  <a:cubicBezTo>
                    <a:pt x="4095812" y="4123397"/>
                    <a:pt x="4132628" y="4160251"/>
                    <a:pt x="4178093" y="4160251"/>
                  </a:cubicBezTo>
                  <a:cubicBezTo>
                    <a:pt x="4223557" y="4160251"/>
                    <a:pt x="4260373" y="4123397"/>
                    <a:pt x="4260373" y="4077933"/>
                  </a:cubicBezTo>
                  <a:lnTo>
                    <a:pt x="4260373" y="3770704"/>
                  </a:lnTo>
                  <a:lnTo>
                    <a:pt x="4745714" y="3770704"/>
                  </a:lnTo>
                  <a:cubicBezTo>
                    <a:pt x="4791179" y="3770704"/>
                    <a:pt x="4827994" y="3733850"/>
                    <a:pt x="4827994" y="3688424"/>
                  </a:cubicBezTo>
                  <a:cubicBezTo>
                    <a:pt x="4827994" y="3642959"/>
                    <a:pt x="4791179" y="3606105"/>
                    <a:pt x="4745714" y="36061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B084185E-213B-5693-F870-1AD8BA139122}"/>
                </a:ext>
              </a:extLst>
            </p:cNvPr>
            <p:cNvSpPr/>
            <p:nvPr/>
          </p:nvSpPr>
          <p:spPr>
            <a:xfrm>
              <a:off x="3518460" y="5985514"/>
              <a:ext cx="419633" cy="310971"/>
            </a:xfrm>
            <a:custGeom>
              <a:avLst/>
              <a:gdLst>
                <a:gd name="connsiteX0" fmla="*/ 36664 w 3525285"/>
                <a:gd name="connsiteY0" fmla="*/ 2598593 h 2612428"/>
                <a:gd name="connsiteX1" fmla="*/ 150781 w 3525285"/>
                <a:gd name="connsiteY1" fmla="*/ 2575746 h 2612428"/>
                <a:gd name="connsiteX2" fmla="*/ 818368 w 3525285"/>
                <a:gd name="connsiteY2" fmla="*/ 1574380 h 2612428"/>
                <a:gd name="connsiteX3" fmla="*/ 1261346 w 3525285"/>
                <a:gd name="connsiteY3" fmla="*/ 2210127 h 2612428"/>
                <a:gd name="connsiteX4" fmla="*/ 1318751 w 3525285"/>
                <a:gd name="connsiteY4" fmla="*/ 2244722 h 2612428"/>
                <a:gd name="connsiteX5" fmla="*/ 1382854 w 3525285"/>
                <a:gd name="connsiteY5" fmla="*/ 2225128 h 2612428"/>
                <a:gd name="connsiteX6" fmla="*/ 2095096 w 3525285"/>
                <a:gd name="connsiteY6" fmla="*/ 1605615 h 2612428"/>
                <a:gd name="connsiteX7" fmla="*/ 2564135 w 3525285"/>
                <a:gd name="connsiteY7" fmla="*/ 2039639 h 2612428"/>
                <a:gd name="connsiteX8" fmla="*/ 2636925 w 3525285"/>
                <a:gd name="connsiteY8" fmla="*/ 2059883 h 2612428"/>
                <a:gd name="connsiteX9" fmla="*/ 2695554 w 3525285"/>
                <a:gd name="connsiteY9" fmla="*/ 2012237 h 2612428"/>
                <a:gd name="connsiteX10" fmla="*/ 3518779 w 3525285"/>
                <a:gd name="connsiteY10" fmla="*/ 114334 h 2612428"/>
                <a:gd name="connsiteX11" fmla="*/ 3475726 w 3525285"/>
                <a:gd name="connsiteY11" fmla="*/ 6830 h 2612428"/>
                <a:gd name="connsiteX12" fmla="*/ 3367761 w 3525285"/>
                <a:gd name="connsiteY12" fmla="*/ 48813 h 2612428"/>
                <a:gd name="connsiteX13" fmla="*/ 2590613 w 3525285"/>
                <a:gd name="connsiteY13" fmla="*/ 1840025 h 2612428"/>
                <a:gd name="connsiteX14" fmla="*/ 2152651 w 3525285"/>
                <a:gd name="connsiteY14" fmla="*/ 1434707 h 2612428"/>
                <a:gd name="connsiteX15" fmla="*/ 2042932 w 3525285"/>
                <a:gd name="connsiteY15" fmla="*/ 1433023 h 2612428"/>
                <a:gd name="connsiteX16" fmla="*/ 1343965 w 3525285"/>
                <a:gd name="connsiteY16" fmla="*/ 2040671 h 2612428"/>
                <a:gd name="connsiteX17" fmla="*/ 884381 w 3525285"/>
                <a:gd name="connsiteY17" fmla="*/ 1381275 h 2612428"/>
                <a:gd name="connsiteX18" fmla="*/ 815992 w 3525285"/>
                <a:gd name="connsiteY18" fmla="*/ 1346028 h 2612428"/>
                <a:gd name="connsiteX19" fmla="*/ 748408 w 3525285"/>
                <a:gd name="connsiteY19" fmla="*/ 1382690 h 2612428"/>
                <a:gd name="connsiteX20" fmla="*/ 13847 w 3525285"/>
                <a:gd name="connsiteY20" fmla="*/ 2484477 h 2612428"/>
                <a:gd name="connsiteX21" fmla="*/ 1601 w 3525285"/>
                <a:gd name="connsiteY21" fmla="*/ 2546283 h 2612428"/>
                <a:gd name="connsiteX22" fmla="*/ 36656 w 3525285"/>
                <a:gd name="connsiteY22" fmla="*/ 2598637 h 261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5285" h="2612428">
                  <a:moveTo>
                    <a:pt x="36664" y="2598593"/>
                  </a:moveTo>
                  <a:cubicBezTo>
                    <a:pt x="74475" y="2623813"/>
                    <a:pt x="125565" y="2613594"/>
                    <a:pt x="150781" y="2575746"/>
                  </a:cubicBezTo>
                  <a:lnTo>
                    <a:pt x="818368" y="1574380"/>
                  </a:lnTo>
                  <a:lnTo>
                    <a:pt x="1261346" y="2210127"/>
                  </a:lnTo>
                  <a:cubicBezTo>
                    <a:pt x="1274702" y="2229261"/>
                    <a:pt x="1295560" y="2241853"/>
                    <a:pt x="1318751" y="2244722"/>
                  </a:cubicBezTo>
                  <a:cubicBezTo>
                    <a:pt x="1341943" y="2247592"/>
                    <a:pt x="1365250" y="2240474"/>
                    <a:pt x="1382854" y="2225128"/>
                  </a:cubicBezTo>
                  <a:lnTo>
                    <a:pt x="2095096" y="1605615"/>
                  </a:lnTo>
                  <a:lnTo>
                    <a:pt x="2564135" y="2039639"/>
                  </a:lnTo>
                  <a:cubicBezTo>
                    <a:pt x="2583691" y="2057779"/>
                    <a:pt x="2610824" y="2065318"/>
                    <a:pt x="2636925" y="2059883"/>
                  </a:cubicBezTo>
                  <a:cubicBezTo>
                    <a:pt x="2663025" y="2054411"/>
                    <a:pt x="2684877" y="2036653"/>
                    <a:pt x="2695554" y="2012237"/>
                  </a:cubicBezTo>
                  <a:lnTo>
                    <a:pt x="3518779" y="114334"/>
                  </a:lnTo>
                  <a:cubicBezTo>
                    <a:pt x="3536346" y="72735"/>
                    <a:pt x="3517133" y="24783"/>
                    <a:pt x="3475726" y="6830"/>
                  </a:cubicBezTo>
                  <a:cubicBezTo>
                    <a:pt x="3434317" y="-11156"/>
                    <a:pt x="3386136" y="7596"/>
                    <a:pt x="3367761" y="48813"/>
                  </a:cubicBezTo>
                  <a:lnTo>
                    <a:pt x="2590613" y="1840025"/>
                  </a:lnTo>
                  <a:lnTo>
                    <a:pt x="2152651" y="1434707"/>
                  </a:lnTo>
                  <a:cubicBezTo>
                    <a:pt x="2121844" y="1406273"/>
                    <a:pt x="2074579" y="1405545"/>
                    <a:pt x="2042932" y="1433023"/>
                  </a:cubicBezTo>
                  <a:lnTo>
                    <a:pt x="1343965" y="2040671"/>
                  </a:lnTo>
                  <a:lnTo>
                    <a:pt x="884381" y="1381275"/>
                  </a:lnTo>
                  <a:cubicBezTo>
                    <a:pt x="868270" y="1359537"/>
                    <a:pt x="843011" y="1346525"/>
                    <a:pt x="815992" y="1346028"/>
                  </a:cubicBezTo>
                  <a:cubicBezTo>
                    <a:pt x="788783" y="1346334"/>
                    <a:pt x="763485" y="1360034"/>
                    <a:pt x="748408" y="1382690"/>
                  </a:cubicBezTo>
                  <a:lnTo>
                    <a:pt x="13847" y="2484477"/>
                  </a:lnTo>
                  <a:cubicBezTo>
                    <a:pt x="1715" y="2502617"/>
                    <a:pt x="-2685" y="2524852"/>
                    <a:pt x="1601" y="2546283"/>
                  </a:cubicBezTo>
                  <a:cubicBezTo>
                    <a:pt x="5849" y="2567676"/>
                    <a:pt x="18478" y="2586506"/>
                    <a:pt x="36656" y="259863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F8764-9F76-ED75-B904-D21EF3B96A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B62BEF11-4EE5-ABDC-9B63-308965F04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204798024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0044C3A-7BEE-2063-FCC7-6C64F0089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0044C3A-7BEE-2063-FCC7-6C64F0089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7D8210A-1130-DBA1-9D20-78B494EE8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B64EB02-4E29-FD90-3564-A4D07DC3D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Funne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9CF8E45-7DBC-2533-D242-FF2664CB50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" name="Trapecio 9">
            <a:extLst>
              <a:ext uri="{FF2B5EF4-FFF2-40B4-BE49-F238E27FC236}">
                <a16:creationId xmlns:a16="http://schemas.microsoft.com/office/drawing/2014/main" id="{1541E8DE-1470-0C5C-C19E-D4A2416E7774}"/>
              </a:ext>
            </a:extLst>
          </p:cNvPr>
          <p:cNvSpPr/>
          <p:nvPr/>
        </p:nvSpPr>
        <p:spPr>
          <a:xfrm rot="5400000">
            <a:off x="5747582" y="-924439"/>
            <a:ext cx="2861988" cy="8919172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A0B6833B-790E-6363-55CE-AA8CC61B3713}"/>
              </a:ext>
            </a:extLst>
          </p:cNvPr>
          <p:cNvSpPr txBox="1"/>
          <p:nvPr/>
        </p:nvSpPr>
        <p:spPr>
          <a:xfrm>
            <a:off x="371475" y="2821785"/>
            <a:ext cx="1997077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14ADB56A-4693-AA1D-DFD2-FD0DB0006966}"/>
              </a:ext>
            </a:extLst>
          </p:cNvPr>
          <p:cNvSpPr txBox="1"/>
          <p:nvPr/>
        </p:nvSpPr>
        <p:spPr>
          <a:xfrm>
            <a:off x="371475" y="4103301"/>
            <a:ext cx="1997077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C3934840-8540-0D4A-D296-167A6683A38E}"/>
              </a:ext>
            </a:extLst>
          </p:cNvPr>
          <p:cNvSpPr txBox="1"/>
          <p:nvPr/>
        </p:nvSpPr>
        <p:spPr>
          <a:xfrm>
            <a:off x="2718993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4A9F9E67-9726-A65B-7640-E46320D0719D}"/>
              </a:ext>
            </a:extLst>
          </p:cNvPr>
          <p:cNvSpPr txBox="1"/>
          <p:nvPr/>
        </p:nvSpPr>
        <p:spPr>
          <a:xfrm>
            <a:off x="4213718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CB4764E1-FE96-C2C9-3E81-AA7D03161850}"/>
              </a:ext>
            </a:extLst>
          </p:cNvPr>
          <p:cNvSpPr txBox="1"/>
          <p:nvPr/>
        </p:nvSpPr>
        <p:spPr>
          <a:xfrm>
            <a:off x="5708442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A4B9949E-2F2E-3899-DCA3-8DCBC2621934}"/>
              </a:ext>
            </a:extLst>
          </p:cNvPr>
          <p:cNvSpPr txBox="1"/>
          <p:nvPr/>
        </p:nvSpPr>
        <p:spPr>
          <a:xfrm>
            <a:off x="7203167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14D446B3-8154-66FB-3104-02F4DC612D50}"/>
              </a:ext>
            </a:extLst>
          </p:cNvPr>
          <p:cNvSpPr txBox="1"/>
          <p:nvPr/>
        </p:nvSpPr>
        <p:spPr>
          <a:xfrm>
            <a:off x="8697891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C5E9BEDF-A75A-EDBA-929A-05205C4079D5}"/>
              </a:ext>
            </a:extLst>
          </p:cNvPr>
          <p:cNvSpPr txBox="1"/>
          <p:nvPr/>
        </p:nvSpPr>
        <p:spPr>
          <a:xfrm>
            <a:off x="10192616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54" name="Forma libre: forma 2053">
            <a:extLst>
              <a:ext uri="{FF2B5EF4-FFF2-40B4-BE49-F238E27FC236}">
                <a16:creationId xmlns:a16="http://schemas.microsoft.com/office/drawing/2014/main" id="{C4D3B24C-0807-289F-24A4-087A5D32DA7F}"/>
              </a:ext>
            </a:extLst>
          </p:cNvPr>
          <p:cNvSpPr/>
          <p:nvPr/>
        </p:nvSpPr>
        <p:spPr>
          <a:xfrm flipV="1">
            <a:off x="11434763" y="2821785"/>
            <a:ext cx="406796" cy="713363"/>
          </a:xfrm>
          <a:custGeom>
            <a:avLst/>
            <a:gdLst>
              <a:gd name="connsiteX0" fmla="*/ 0 w 406796"/>
              <a:gd name="connsiteY0" fmla="*/ 0 h 713363"/>
              <a:gd name="connsiteX1" fmla="*/ 406796 w 406796"/>
              <a:gd name="connsiteY1" fmla="*/ 0 h 713363"/>
              <a:gd name="connsiteX2" fmla="*/ 244390 w 406796"/>
              <a:gd name="connsiteY2" fmla="*/ 698872 h 713363"/>
              <a:gd name="connsiteX3" fmla="*/ 203404 w 406796"/>
              <a:gd name="connsiteY3" fmla="*/ 713363 h 713363"/>
              <a:gd name="connsiteX4" fmla="*/ 203392 w 406796"/>
              <a:gd name="connsiteY4" fmla="*/ 713363 h 713363"/>
              <a:gd name="connsiteX5" fmla="*/ 162406 w 406796"/>
              <a:gd name="connsiteY5" fmla="*/ 698872 h 713363"/>
              <a:gd name="connsiteX6" fmla="*/ 0 w 406796"/>
              <a:gd name="connsiteY6" fmla="*/ 0 h 713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796" h="713363">
                <a:moveTo>
                  <a:pt x="0" y="0"/>
                </a:moveTo>
                <a:lnTo>
                  <a:pt x="406796" y="0"/>
                </a:lnTo>
                <a:cubicBezTo>
                  <a:pt x="406796" y="344733"/>
                  <a:pt x="337075" y="632354"/>
                  <a:pt x="244390" y="698872"/>
                </a:cubicBezTo>
                <a:lnTo>
                  <a:pt x="203404" y="713363"/>
                </a:lnTo>
                <a:lnTo>
                  <a:pt x="203392" y="713363"/>
                </a:lnTo>
                <a:lnTo>
                  <a:pt x="162406" y="698872"/>
                </a:lnTo>
                <a:cubicBezTo>
                  <a:pt x="69721" y="632354"/>
                  <a:pt x="0" y="34473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55" name="Forma libre: forma 2054">
            <a:extLst>
              <a:ext uri="{FF2B5EF4-FFF2-40B4-BE49-F238E27FC236}">
                <a16:creationId xmlns:a16="http://schemas.microsoft.com/office/drawing/2014/main" id="{0D85A7EC-5845-4EC6-F486-21C30AC151A3}"/>
              </a:ext>
            </a:extLst>
          </p:cNvPr>
          <p:cNvSpPr/>
          <p:nvPr/>
        </p:nvSpPr>
        <p:spPr>
          <a:xfrm>
            <a:off x="2717800" y="3517900"/>
            <a:ext cx="9118600" cy="1447800"/>
          </a:xfrm>
          <a:custGeom>
            <a:avLst/>
            <a:gdLst>
              <a:gd name="connsiteX0" fmla="*/ 9118600 w 9118600"/>
              <a:gd name="connsiteY0" fmla="*/ 0 h 1447800"/>
              <a:gd name="connsiteX1" fmla="*/ 0 w 9118600"/>
              <a:gd name="connsiteY1" fmla="*/ 0 h 1447800"/>
              <a:gd name="connsiteX2" fmla="*/ 0 w 9118600"/>
              <a:gd name="connsiteY2" fmla="*/ 1447800 h 1447800"/>
              <a:gd name="connsiteX3" fmla="*/ 8915400 w 9118600"/>
              <a:gd name="connsiteY3" fmla="*/ 736600 h 1447800"/>
              <a:gd name="connsiteX4" fmla="*/ 9118600 w 9118600"/>
              <a:gd name="connsiteY4" fmla="*/ 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8600" h="1447800">
                <a:moveTo>
                  <a:pt x="9118600" y="0"/>
                </a:moveTo>
                <a:lnTo>
                  <a:pt x="0" y="0"/>
                </a:lnTo>
                <a:lnTo>
                  <a:pt x="0" y="1447800"/>
                </a:lnTo>
                <a:lnTo>
                  <a:pt x="8915400" y="736600"/>
                </a:lnTo>
                <a:lnTo>
                  <a:pt x="91186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053" name="Forma libre: forma 2052">
            <a:extLst>
              <a:ext uri="{FF2B5EF4-FFF2-40B4-BE49-F238E27FC236}">
                <a16:creationId xmlns:a16="http://schemas.microsoft.com/office/drawing/2014/main" id="{A395CA26-C0F7-D72D-5287-33E1DAF07893}"/>
              </a:ext>
            </a:extLst>
          </p:cNvPr>
          <p:cNvSpPr/>
          <p:nvPr/>
        </p:nvSpPr>
        <p:spPr>
          <a:xfrm>
            <a:off x="11434763" y="3535147"/>
            <a:ext cx="406796" cy="713363"/>
          </a:xfrm>
          <a:custGeom>
            <a:avLst/>
            <a:gdLst>
              <a:gd name="connsiteX0" fmla="*/ 0 w 406796"/>
              <a:gd name="connsiteY0" fmla="*/ 0 h 713363"/>
              <a:gd name="connsiteX1" fmla="*/ 406796 w 406796"/>
              <a:gd name="connsiteY1" fmla="*/ 0 h 713363"/>
              <a:gd name="connsiteX2" fmla="*/ 244390 w 406796"/>
              <a:gd name="connsiteY2" fmla="*/ 698872 h 713363"/>
              <a:gd name="connsiteX3" fmla="*/ 203404 w 406796"/>
              <a:gd name="connsiteY3" fmla="*/ 713363 h 713363"/>
              <a:gd name="connsiteX4" fmla="*/ 203392 w 406796"/>
              <a:gd name="connsiteY4" fmla="*/ 713363 h 713363"/>
              <a:gd name="connsiteX5" fmla="*/ 162406 w 406796"/>
              <a:gd name="connsiteY5" fmla="*/ 698872 h 713363"/>
              <a:gd name="connsiteX6" fmla="*/ 0 w 406796"/>
              <a:gd name="connsiteY6" fmla="*/ 0 h 713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796" h="713363">
                <a:moveTo>
                  <a:pt x="0" y="0"/>
                </a:moveTo>
                <a:lnTo>
                  <a:pt x="406796" y="0"/>
                </a:lnTo>
                <a:cubicBezTo>
                  <a:pt x="406796" y="344733"/>
                  <a:pt x="337075" y="632354"/>
                  <a:pt x="244390" y="698872"/>
                </a:cubicBezTo>
                <a:lnTo>
                  <a:pt x="203404" y="713363"/>
                </a:lnTo>
                <a:lnTo>
                  <a:pt x="203392" y="713363"/>
                </a:lnTo>
                <a:lnTo>
                  <a:pt x="162406" y="698872"/>
                </a:lnTo>
                <a:cubicBezTo>
                  <a:pt x="69721" y="632354"/>
                  <a:pt x="0" y="344733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2AD87DF1-1885-D272-BDC2-5A007173818A}"/>
              </a:ext>
            </a:extLst>
          </p:cNvPr>
          <p:cNvSpPr/>
          <p:nvPr/>
        </p:nvSpPr>
        <p:spPr>
          <a:xfrm>
            <a:off x="2475708" y="2104151"/>
            <a:ext cx="486569" cy="2861989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</a:schemeClr>
              </a:gs>
              <a:gs pos="100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056" name="Arco 2055">
            <a:extLst>
              <a:ext uri="{FF2B5EF4-FFF2-40B4-BE49-F238E27FC236}">
                <a16:creationId xmlns:a16="http://schemas.microsoft.com/office/drawing/2014/main" id="{3B1D2AFC-A8D1-5892-238E-65EA855C4747}"/>
              </a:ext>
            </a:extLst>
          </p:cNvPr>
          <p:cNvSpPr/>
          <p:nvPr/>
        </p:nvSpPr>
        <p:spPr>
          <a:xfrm>
            <a:off x="3918356" y="2203451"/>
            <a:ext cx="455476" cy="2660650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57" name="Arco 2056">
            <a:extLst>
              <a:ext uri="{FF2B5EF4-FFF2-40B4-BE49-F238E27FC236}">
                <a16:creationId xmlns:a16="http://schemas.microsoft.com/office/drawing/2014/main" id="{B010BEAD-8551-3F9B-B38A-C3586ACFAD59}"/>
              </a:ext>
            </a:extLst>
          </p:cNvPr>
          <p:cNvSpPr/>
          <p:nvPr/>
        </p:nvSpPr>
        <p:spPr>
          <a:xfrm>
            <a:off x="5444307" y="2326481"/>
            <a:ext cx="413352" cy="2414590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8" name="Arco 2057">
            <a:extLst>
              <a:ext uri="{FF2B5EF4-FFF2-40B4-BE49-F238E27FC236}">
                <a16:creationId xmlns:a16="http://schemas.microsoft.com/office/drawing/2014/main" id="{5379D5B6-175C-F4F9-0114-D227C24498B6}"/>
              </a:ext>
            </a:extLst>
          </p:cNvPr>
          <p:cNvSpPr/>
          <p:nvPr/>
        </p:nvSpPr>
        <p:spPr>
          <a:xfrm>
            <a:off x="6954871" y="2441452"/>
            <a:ext cx="373988" cy="2184648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co 2058">
            <a:extLst>
              <a:ext uri="{FF2B5EF4-FFF2-40B4-BE49-F238E27FC236}">
                <a16:creationId xmlns:a16="http://schemas.microsoft.com/office/drawing/2014/main" id="{556575D6-6706-3BC2-F877-126BA6356F74}"/>
              </a:ext>
            </a:extLst>
          </p:cNvPr>
          <p:cNvSpPr/>
          <p:nvPr/>
        </p:nvSpPr>
        <p:spPr>
          <a:xfrm>
            <a:off x="8478233" y="2569980"/>
            <a:ext cx="329982" cy="1927592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0" name="Arco 2059">
            <a:extLst>
              <a:ext uri="{FF2B5EF4-FFF2-40B4-BE49-F238E27FC236}">
                <a16:creationId xmlns:a16="http://schemas.microsoft.com/office/drawing/2014/main" id="{A6701AAB-C8D0-503F-371E-F71D5D2280EB}"/>
              </a:ext>
            </a:extLst>
          </p:cNvPr>
          <p:cNvSpPr/>
          <p:nvPr/>
        </p:nvSpPr>
        <p:spPr>
          <a:xfrm>
            <a:off x="10000754" y="2690813"/>
            <a:ext cx="288612" cy="1685926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1" name="TextBox 24">
            <a:extLst>
              <a:ext uri="{FF2B5EF4-FFF2-40B4-BE49-F238E27FC236}">
                <a16:creationId xmlns:a16="http://schemas.microsoft.com/office/drawing/2014/main" id="{9358D8B6-9743-5F1D-CFB2-446479AE5B6A}"/>
              </a:ext>
            </a:extLst>
          </p:cNvPr>
          <p:cNvSpPr txBox="1"/>
          <p:nvPr/>
        </p:nvSpPr>
        <p:spPr>
          <a:xfrm>
            <a:off x="2718993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2" name="TextBox 24">
            <a:extLst>
              <a:ext uri="{FF2B5EF4-FFF2-40B4-BE49-F238E27FC236}">
                <a16:creationId xmlns:a16="http://schemas.microsoft.com/office/drawing/2014/main" id="{A62AC212-A7EB-238E-700B-3B80974EDDEC}"/>
              </a:ext>
            </a:extLst>
          </p:cNvPr>
          <p:cNvSpPr txBox="1"/>
          <p:nvPr/>
        </p:nvSpPr>
        <p:spPr>
          <a:xfrm>
            <a:off x="4213718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3" name="TextBox 24">
            <a:extLst>
              <a:ext uri="{FF2B5EF4-FFF2-40B4-BE49-F238E27FC236}">
                <a16:creationId xmlns:a16="http://schemas.microsoft.com/office/drawing/2014/main" id="{3CD678C7-4A17-A593-5071-01BE68730000}"/>
              </a:ext>
            </a:extLst>
          </p:cNvPr>
          <p:cNvSpPr txBox="1"/>
          <p:nvPr/>
        </p:nvSpPr>
        <p:spPr>
          <a:xfrm>
            <a:off x="5708442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4" name="TextBox 24">
            <a:extLst>
              <a:ext uri="{FF2B5EF4-FFF2-40B4-BE49-F238E27FC236}">
                <a16:creationId xmlns:a16="http://schemas.microsoft.com/office/drawing/2014/main" id="{6A48F49C-5FE6-C175-D9EC-E292EAC4ABED}"/>
              </a:ext>
            </a:extLst>
          </p:cNvPr>
          <p:cNvSpPr txBox="1"/>
          <p:nvPr/>
        </p:nvSpPr>
        <p:spPr>
          <a:xfrm>
            <a:off x="7203167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5" name="TextBox 24">
            <a:extLst>
              <a:ext uri="{FF2B5EF4-FFF2-40B4-BE49-F238E27FC236}">
                <a16:creationId xmlns:a16="http://schemas.microsoft.com/office/drawing/2014/main" id="{15D066E3-11D5-92EF-52DD-60819447FDD2}"/>
              </a:ext>
            </a:extLst>
          </p:cNvPr>
          <p:cNvSpPr txBox="1"/>
          <p:nvPr/>
        </p:nvSpPr>
        <p:spPr>
          <a:xfrm>
            <a:off x="8697891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6" name="TextBox 24">
            <a:extLst>
              <a:ext uri="{FF2B5EF4-FFF2-40B4-BE49-F238E27FC236}">
                <a16:creationId xmlns:a16="http://schemas.microsoft.com/office/drawing/2014/main" id="{226EC5F6-0C0B-91B2-DF0A-72BB01938A71}"/>
              </a:ext>
            </a:extLst>
          </p:cNvPr>
          <p:cNvSpPr txBox="1"/>
          <p:nvPr/>
        </p:nvSpPr>
        <p:spPr>
          <a:xfrm>
            <a:off x="10192616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4069584659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rapecio 1030">
            <a:extLst>
              <a:ext uri="{FF2B5EF4-FFF2-40B4-BE49-F238E27FC236}">
                <a16:creationId xmlns:a16="http://schemas.microsoft.com/office/drawing/2014/main" id="{5658180F-9AD3-F5A2-F784-947D0E54E0BA}"/>
              </a:ext>
            </a:extLst>
          </p:cNvPr>
          <p:cNvSpPr/>
          <p:nvPr/>
        </p:nvSpPr>
        <p:spPr>
          <a:xfrm rot="5400000">
            <a:off x="4243389" y="-1103313"/>
            <a:ext cx="1603374" cy="6851652"/>
          </a:xfrm>
          <a:prstGeom prst="trapezoid">
            <a:avLst>
              <a:gd name="adj" fmla="val 33119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2" name="Trapecio 1031">
            <a:extLst>
              <a:ext uri="{FF2B5EF4-FFF2-40B4-BE49-F238E27FC236}">
                <a16:creationId xmlns:a16="http://schemas.microsoft.com/office/drawing/2014/main" id="{3AB068B2-BC74-C110-4082-85BC50C6D439}"/>
              </a:ext>
            </a:extLst>
          </p:cNvPr>
          <p:cNvSpPr/>
          <p:nvPr/>
        </p:nvSpPr>
        <p:spPr>
          <a:xfrm rot="5400000">
            <a:off x="9110028" y="1411133"/>
            <a:ext cx="542924" cy="1821178"/>
          </a:xfrm>
          <a:prstGeom prst="trapezoid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– Funne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134B176F-1A93-E453-661A-3AEF53EB47F2}"/>
              </a:ext>
            </a:extLst>
          </p:cNvPr>
          <p:cNvSpPr/>
          <p:nvPr/>
        </p:nvSpPr>
        <p:spPr>
          <a:xfrm>
            <a:off x="1200151" y="1520826"/>
            <a:ext cx="838200" cy="16033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E6ACA411-70E9-BF57-24BA-695DA3A6530F}"/>
              </a:ext>
            </a:extLst>
          </p:cNvPr>
          <p:cNvSpPr/>
          <p:nvPr/>
        </p:nvSpPr>
        <p:spPr>
          <a:xfrm>
            <a:off x="3506792" y="1704975"/>
            <a:ext cx="723896" cy="12350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F8F6B53D-79EA-EAEF-3F17-D647C9C877CD}"/>
              </a:ext>
            </a:extLst>
          </p:cNvPr>
          <p:cNvSpPr/>
          <p:nvPr/>
        </p:nvSpPr>
        <p:spPr>
          <a:xfrm>
            <a:off x="5918201" y="1885950"/>
            <a:ext cx="485774" cy="8731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85B78311-6774-7434-AED4-72021C5B740E}"/>
              </a:ext>
            </a:extLst>
          </p:cNvPr>
          <p:cNvSpPr/>
          <p:nvPr/>
        </p:nvSpPr>
        <p:spPr>
          <a:xfrm>
            <a:off x="10187624" y="2055019"/>
            <a:ext cx="208914" cy="5349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B1ADB1F7-3E7B-8E9D-3FAB-F5548507FBEF}"/>
              </a:ext>
            </a:extLst>
          </p:cNvPr>
          <p:cNvCxnSpPr>
            <a:cxnSpLocks/>
          </p:cNvCxnSpPr>
          <p:nvPr/>
        </p:nvCxnSpPr>
        <p:spPr>
          <a:xfrm flipV="1">
            <a:off x="1619251" y="3252788"/>
            <a:ext cx="0" cy="7794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24">
            <a:extLst>
              <a:ext uri="{FF2B5EF4-FFF2-40B4-BE49-F238E27FC236}">
                <a16:creationId xmlns:a16="http://schemas.microsoft.com/office/drawing/2014/main" id="{BD344284-462C-A056-E644-0BC810EA147A}"/>
              </a:ext>
            </a:extLst>
          </p:cNvPr>
          <p:cNvSpPr txBox="1"/>
          <p:nvPr/>
        </p:nvSpPr>
        <p:spPr>
          <a:xfrm>
            <a:off x="371475" y="2214791"/>
            <a:ext cx="76517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D6BC6390-35E4-EE3C-CBE3-977512C41C76}"/>
              </a:ext>
            </a:extLst>
          </p:cNvPr>
          <p:cNvSpPr txBox="1"/>
          <p:nvPr/>
        </p:nvSpPr>
        <p:spPr>
          <a:xfrm>
            <a:off x="2149158" y="2214791"/>
            <a:ext cx="121634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F0744638-A077-C615-D46F-819C06F8E347}"/>
              </a:ext>
            </a:extLst>
          </p:cNvPr>
          <p:cNvSpPr txBox="1"/>
          <p:nvPr/>
        </p:nvSpPr>
        <p:spPr>
          <a:xfrm>
            <a:off x="4565974" y="2214791"/>
            <a:ext cx="121634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30E928CA-512E-74A5-35C9-63FC92627D59}"/>
              </a:ext>
            </a:extLst>
          </p:cNvPr>
          <p:cNvSpPr txBox="1"/>
          <p:nvPr/>
        </p:nvSpPr>
        <p:spPr>
          <a:xfrm>
            <a:off x="6635750" y="2214791"/>
            <a:ext cx="163322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AE471629-0CF8-0AF4-7638-D703F2547C82}"/>
              </a:ext>
            </a:extLst>
          </p:cNvPr>
          <p:cNvSpPr txBox="1"/>
          <p:nvPr/>
        </p:nvSpPr>
        <p:spPr>
          <a:xfrm>
            <a:off x="8616950" y="2214791"/>
            <a:ext cx="151066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BC5358B9-555B-13FB-31F0-9C48CC495C4E}"/>
              </a:ext>
            </a:extLst>
          </p:cNvPr>
          <p:cNvSpPr txBox="1"/>
          <p:nvPr/>
        </p:nvSpPr>
        <p:spPr>
          <a:xfrm>
            <a:off x="371475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E78E2F-F5AC-C7C7-23CB-D49B7222BECC}"/>
              </a:ext>
            </a:extLst>
          </p:cNvPr>
          <p:cNvSpPr txBox="1"/>
          <p:nvPr/>
        </p:nvSpPr>
        <p:spPr>
          <a:xfrm>
            <a:off x="3222625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1143B279-9D0F-46FB-88B3-EC2093F7B679}"/>
              </a:ext>
            </a:extLst>
          </p:cNvPr>
          <p:cNvSpPr txBox="1"/>
          <p:nvPr/>
        </p:nvSpPr>
        <p:spPr>
          <a:xfrm>
            <a:off x="6094411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9FD3F49F-5549-2635-495F-60D2E2F9BC4F}"/>
              </a:ext>
            </a:extLst>
          </p:cNvPr>
          <p:cNvSpPr txBox="1"/>
          <p:nvPr/>
        </p:nvSpPr>
        <p:spPr>
          <a:xfrm>
            <a:off x="9324341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C437CC11-A4F8-74A0-639E-EC32FAA00943}"/>
              </a:ext>
            </a:extLst>
          </p:cNvPr>
          <p:cNvSpPr txBox="1"/>
          <p:nvPr/>
        </p:nvSpPr>
        <p:spPr>
          <a:xfrm>
            <a:off x="10674350" y="2214791"/>
            <a:ext cx="114617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024" name="Conector recto 1023">
            <a:extLst>
              <a:ext uri="{FF2B5EF4-FFF2-40B4-BE49-F238E27FC236}">
                <a16:creationId xmlns:a16="http://schemas.microsoft.com/office/drawing/2014/main" id="{90ACE098-07D9-80F6-FEC9-A1ACD58912F3}"/>
              </a:ext>
            </a:extLst>
          </p:cNvPr>
          <p:cNvCxnSpPr>
            <a:cxnSpLocks/>
          </p:cNvCxnSpPr>
          <p:nvPr/>
        </p:nvCxnSpPr>
        <p:spPr>
          <a:xfrm flipV="1">
            <a:off x="3868740" y="3124200"/>
            <a:ext cx="0" cy="90800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Conector recto 1026">
            <a:extLst>
              <a:ext uri="{FF2B5EF4-FFF2-40B4-BE49-F238E27FC236}">
                <a16:creationId xmlns:a16="http://schemas.microsoft.com/office/drawing/2014/main" id="{DD099A0D-960C-27A1-A2E0-0CE044056FD5}"/>
              </a:ext>
            </a:extLst>
          </p:cNvPr>
          <p:cNvCxnSpPr>
            <a:cxnSpLocks/>
          </p:cNvCxnSpPr>
          <p:nvPr/>
        </p:nvCxnSpPr>
        <p:spPr>
          <a:xfrm flipV="1">
            <a:off x="6161088" y="2940051"/>
            <a:ext cx="0" cy="109215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9" name="Conector recto 1028">
            <a:extLst>
              <a:ext uri="{FF2B5EF4-FFF2-40B4-BE49-F238E27FC236}">
                <a16:creationId xmlns:a16="http://schemas.microsoft.com/office/drawing/2014/main" id="{86B87649-3855-CD4A-2BBC-7100D1235E46}"/>
              </a:ext>
            </a:extLst>
          </p:cNvPr>
          <p:cNvCxnSpPr>
            <a:cxnSpLocks/>
          </p:cNvCxnSpPr>
          <p:nvPr/>
        </p:nvCxnSpPr>
        <p:spPr>
          <a:xfrm flipV="1">
            <a:off x="11060113" y="2720975"/>
            <a:ext cx="0" cy="131123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674273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1803FB62-8751-CE27-5D84-4697A4E010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9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1803FB62-8751-CE27-5D84-4697A4E010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6E175AD-142A-8F0E-34A8-534BF8ABE9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9629E59-B72E-6A8E-B487-B29CF401F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Open book slide</a:t>
            </a:r>
          </a:p>
        </p:txBody>
      </p:sp>
      <p:sp>
        <p:nvSpPr>
          <p:cNvPr id="4" name="Shape 29468">
            <a:extLst>
              <a:ext uri="{FF2B5EF4-FFF2-40B4-BE49-F238E27FC236}">
                <a16:creationId xmlns:a16="http://schemas.microsoft.com/office/drawing/2014/main" id="{D1F682A3-5539-19FB-25B1-93CE8FFE8F2C}"/>
              </a:ext>
            </a:extLst>
          </p:cNvPr>
          <p:cNvSpPr/>
          <p:nvPr/>
        </p:nvSpPr>
        <p:spPr>
          <a:xfrm>
            <a:off x="1272504" y="2674575"/>
            <a:ext cx="1404439" cy="2340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5" name="Shape 29471">
            <a:extLst>
              <a:ext uri="{FF2B5EF4-FFF2-40B4-BE49-F238E27FC236}">
                <a16:creationId xmlns:a16="http://schemas.microsoft.com/office/drawing/2014/main" id="{CF34B356-EE7B-9DD2-1693-CC1492A7B692}"/>
              </a:ext>
            </a:extLst>
          </p:cNvPr>
          <p:cNvSpPr/>
          <p:nvPr/>
        </p:nvSpPr>
        <p:spPr>
          <a:xfrm>
            <a:off x="2720440" y="2557538"/>
            <a:ext cx="1544884" cy="25748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6" name="Shape 29474">
            <a:extLst>
              <a:ext uri="{FF2B5EF4-FFF2-40B4-BE49-F238E27FC236}">
                <a16:creationId xmlns:a16="http://schemas.microsoft.com/office/drawing/2014/main" id="{F75A2708-F9D5-A172-DBF6-31B06328392D}"/>
              </a:ext>
            </a:extLst>
          </p:cNvPr>
          <p:cNvSpPr/>
          <p:nvPr/>
        </p:nvSpPr>
        <p:spPr>
          <a:xfrm flipH="1">
            <a:off x="9511878" y="2674575"/>
            <a:ext cx="1404439" cy="2340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7" name="Shape 29477">
            <a:extLst>
              <a:ext uri="{FF2B5EF4-FFF2-40B4-BE49-F238E27FC236}">
                <a16:creationId xmlns:a16="http://schemas.microsoft.com/office/drawing/2014/main" id="{1C42C287-E76E-F714-ADAD-F4F55DB7C78A}"/>
              </a:ext>
            </a:extLst>
          </p:cNvPr>
          <p:cNvSpPr/>
          <p:nvPr/>
        </p:nvSpPr>
        <p:spPr>
          <a:xfrm>
            <a:off x="4314674" y="2381983"/>
            <a:ext cx="1755550" cy="29259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8" name="Shape 29480">
            <a:extLst>
              <a:ext uri="{FF2B5EF4-FFF2-40B4-BE49-F238E27FC236}">
                <a16:creationId xmlns:a16="http://schemas.microsoft.com/office/drawing/2014/main" id="{81EB899C-5272-5308-8274-B09F03BB5292}"/>
              </a:ext>
            </a:extLst>
          </p:cNvPr>
          <p:cNvSpPr/>
          <p:nvPr/>
        </p:nvSpPr>
        <p:spPr>
          <a:xfrm flipH="1">
            <a:off x="6118598" y="2381983"/>
            <a:ext cx="1755550" cy="29259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9" name="Shape 29483">
            <a:extLst>
              <a:ext uri="{FF2B5EF4-FFF2-40B4-BE49-F238E27FC236}">
                <a16:creationId xmlns:a16="http://schemas.microsoft.com/office/drawing/2014/main" id="{C3EFA046-A27E-985E-0CBD-5D405F9EC925}"/>
              </a:ext>
            </a:extLst>
          </p:cNvPr>
          <p:cNvSpPr/>
          <p:nvPr/>
        </p:nvSpPr>
        <p:spPr>
          <a:xfrm flipH="1">
            <a:off x="7922522" y="2557538"/>
            <a:ext cx="1544884" cy="25748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11" name="Freeform 926">
            <a:extLst>
              <a:ext uri="{FF2B5EF4-FFF2-40B4-BE49-F238E27FC236}">
                <a16:creationId xmlns:a16="http://schemas.microsoft.com/office/drawing/2014/main" id="{657F6556-693C-D0D8-6683-ACE620C0D1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509" y="3496000"/>
            <a:ext cx="697879" cy="697879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2" name="Freeform 927">
            <a:extLst>
              <a:ext uri="{FF2B5EF4-FFF2-40B4-BE49-F238E27FC236}">
                <a16:creationId xmlns:a16="http://schemas.microsoft.com/office/drawing/2014/main" id="{796BD4C8-D768-5FD6-DC8C-55097A3286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3492" y="3498618"/>
            <a:ext cx="555832" cy="697879"/>
          </a:xfrm>
          <a:custGeom>
            <a:avLst/>
            <a:gdLst>
              <a:gd name="T0" fmla="*/ 798435 w 236178"/>
              <a:gd name="T1" fmla="*/ 3144734 h 296502"/>
              <a:gd name="T2" fmla="*/ 1998058 w 236178"/>
              <a:gd name="T3" fmla="*/ 2703379 h 296502"/>
              <a:gd name="T4" fmla="*/ 1298699 w 236178"/>
              <a:gd name="T5" fmla="*/ 2462792 h 296502"/>
              <a:gd name="T6" fmla="*/ 1298699 w 236178"/>
              <a:gd name="T7" fmla="*/ 2736271 h 296502"/>
              <a:gd name="T8" fmla="*/ 1298699 w 236178"/>
              <a:gd name="T9" fmla="*/ 2462792 h 296502"/>
              <a:gd name="T10" fmla="*/ 1860611 w 236178"/>
              <a:gd name="T11" fmla="*/ 2504153 h 296502"/>
              <a:gd name="T12" fmla="*/ 1780364 w 236178"/>
              <a:gd name="T13" fmla="*/ 2556198 h 296502"/>
              <a:gd name="T14" fmla="*/ 883792 w 236178"/>
              <a:gd name="T15" fmla="*/ 2340054 h 296502"/>
              <a:gd name="T16" fmla="*/ 769356 w 236178"/>
              <a:gd name="T17" fmla="*/ 2580216 h 296502"/>
              <a:gd name="T18" fmla="*/ 814304 w 236178"/>
              <a:gd name="T19" fmla="*/ 2360069 h 296502"/>
              <a:gd name="T20" fmla="*/ 2222502 w 236178"/>
              <a:gd name="T21" fmla="*/ 2111222 h 296502"/>
              <a:gd name="T22" fmla="*/ 2171188 w 236178"/>
              <a:gd name="T23" fmla="*/ 2194695 h 296502"/>
              <a:gd name="T24" fmla="*/ 2076426 w 236178"/>
              <a:gd name="T25" fmla="*/ 2023788 h 296502"/>
              <a:gd name="T26" fmla="*/ 555562 w 236178"/>
              <a:gd name="T27" fmla="*/ 2111222 h 296502"/>
              <a:gd name="T28" fmla="*/ 345556 w 236178"/>
              <a:gd name="T29" fmla="*/ 2178795 h 296502"/>
              <a:gd name="T30" fmla="*/ 2171451 w 236178"/>
              <a:gd name="T31" fmla="*/ 1578281 h 296502"/>
              <a:gd name="T32" fmla="*/ 2340605 w 236178"/>
              <a:gd name="T33" fmla="*/ 1678334 h 296502"/>
              <a:gd name="T34" fmla="*/ 2171451 w 236178"/>
              <a:gd name="T35" fmla="*/ 1578281 h 296502"/>
              <a:gd name="T36" fmla="*/ 447764 w 236178"/>
              <a:gd name="T37" fmla="*/ 1626302 h 296502"/>
              <a:gd name="T38" fmla="*/ 191081 w 236178"/>
              <a:gd name="T39" fmla="*/ 1626302 h 296502"/>
              <a:gd name="T40" fmla="*/ 2238282 w 236178"/>
              <a:gd name="T41" fmla="*/ 1071766 h 296502"/>
              <a:gd name="T42" fmla="*/ 2052744 w 236178"/>
              <a:gd name="T43" fmla="*/ 1227507 h 296502"/>
              <a:gd name="T44" fmla="*/ 2171188 w 236178"/>
              <a:gd name="T45" fmla="*/ 1052300 h 296502"/>
              <a:gd name="T46" fmla="*/ 571121 w 236178"/>
              <a:gd name="T47" fmla="*/ 1204150 h 296502"/>
              <a:gd name="T48" fmla="*/ 365024 w 236178"/>
              <a:gd name="T49" fmla="*/ 1137954 h 296502"/>
              <a:gd name="T50" fmla="*/ 1298047 w 236178"/>
              <a:gd name="T51" fmla="*/ 953907 h 296502"/>
              <a:gd name="T52" fmla="*/ 1681593 w 236178"/>
              <a:gd name="T53" fmla="*/ 1579968 h 296502"/>
              <a:gd name="T54" fmla="*/ 1298047 w 236178"/>
              <a:gd name="T55" fmla="*/ 1678413 h 296502"/>
              <a:gd name="T56" fmla="*/ 1298047 w 236178"/>
              <a:gd name="T57" fmla="*/ 953907 h 296502"/>
              <a:gd name="T58" fmla="*/ 1780364 w 236178"/>
              <a:gd name="T59" fmla="*/ 891210 h 296502"/>
              <a:gd name="T60" fmla="*/ 1696297 w 236178"/>
              <a:gd name="T61" fmla="*/ 843157 h 296502"/>
              <a:gd name="T62" fmla="*/ 744833 w 236178"/>
              <a:gd name="T63" fmla="*/ 675059 h 296502"/>
              <a:gd name="T64" fmla="*/ 883792 w 236178"/>
              <a:gd name="T65" fmla="*/ 911223 h 296502"/>
              <a:gd name="T66" fmla="*/ 728494 w 236178"/>
              <a:gd name="T67" fmla="*/ 743105 h 296502"/>
              <a:gd name="T68" fmla="*/ 1350821 w 236178"/>
              <a:gd name="T69" fmla="*/ 583560 h 296502"/>
              <a:gd name="T70" fmla="*/ 1250602 w 236178"/>
              <a:gd name="T71" fmla="*/ 748080 h 296502"/>
              <a:gd name="T72" fmla="*/ 1290080 w 236178"/>
              <a:gd name="T73" fmla="*/ 425601 h 296502"/>
              <a:gd name="T74" fmla="*/ 2481839 w 236178"/>
              <a:gd name="T75" fmla="*/ 1619664 h 296502"/>
              <a:gd name="T76" fmla="*/ 652908 w 236178"/>
              <a:gd name="T77" fmla="*/ 212813 h 296502"/>
              <a:gd name="T78" fmla="*/ 1998058 w 236178"/>
              <a:gd name="T79" fmla="*/ 539874 h 296502"/>
              <a:gd name="T80" fmla="*/ 798435 w 236178"/>
              <a:gd name="T81" fmla="*/ 98520 h 296502"/>
              <a:gd name="T82" fmla="*/ 2025594 w 236178"/>
              <a:gd name="T83" fmla="*/ 193122 h 296502"/>
              <a:gd name="T84" fmla="*/ 2116055 w 236178"/>
              <a:gd name="T85" fmla="*/ 2616686 h 296502"/>
              <a:gd name="T86" fmla="*/ 798435 w 236178"/>
              <a:gd name="T87" fmla="*/ 3239316 h 296502"/>
              <a:gd name="T88" fmla="*/ 0 w 236178"/>
              <a:gd name="T89" fmla="*/ 1619664 h 296502"/>
              <a:gd name="T90" fmla="*/ 798435 w 236178"/>
              <a:gd name="T91" fmla="*/ 0 h 2965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36178" h="296502">
                <a:moveTo>
                  <a:pt x="53562" y="247446"/>
                </a:moveTo>
                <a:lnTo>
                  <a:pt x="59673" y="277024"/>
                </a:lnTo>
                <a:cubicBezTo>
                  <a:pt x="60752" y="283517"/>
                  <a:pt x="66503" y="287845"/>
                  <a:pt x="72974" y="287845"/>
                </a:cubicBezTo>
                <a:lnTo>
                  <a:pt x="163204" y="287845"/>
                </a:lnTo>
                <a:cubicBezTo>
                  <a:pt x="169674" y="287845"/>
                  <a:pt x="175066" y="283517"/>
                  <a:pt x="176145" y="277024"/>
                </a:cubicBezTo>
                <a:lnTo>
                  <a:pt x="182615" y="247446"/>
                </a:lnTo>
                <a:cubicBezTo>
                  <a:pt x="163923" y="259710"/>
                  <a:pt x="141635" y="266924"/>
                  <a:pt x="117909" y="266924"/>
                </a:cubicBezTo>
                <a:cubicBezTo>
                  <a:pt x="94183" y="266924"/>
                  <a:pt x="72255" y="259710"/>
                  <a:pt x="53562" y="247446"/>
                </a:cubicBezTo>
                <a:close/>
                <a:moveTo>
                  <a:pt x="118696" y="225425"/>
                </a:moveTo>
                <a:cubicBezTo>
                  <a:pt x="121261" y="225425"/>
                  <a:pt x="123459" y="227266"/>
                  <a:pt x="123459" y="230211"/>
                </a:cubicBezTo>
                <a:lnTo>
                  <a:pt x="123459" y="245671"/>
                </a:lnTo>
                <a:cubicBezTo>
                  <a:pt x="123459" y="248248"/>
                  <a:pt x="121261" y="250457"/>
                  <a:pt x="118696" y="250457"/>
                </a:cubicBezTo>
                <a:cubicBezTo>
                  <a:pt x="116498" y="250457"/>
                  <a:pt x="114300" y="248248"/>
                  <a:pt x="114300" y="245671"/>
                </a:cubicBezTo>
                <a:lnTo>
                  <a:pt x="114300" y="230211"/>
                </a:lnTo>
                <a:cubicBezTo>
                  <a:pt x="114300" y="227266"/>
                  <a:pt x="116498" y="225425"/>
                  <a:pt x="118696" y="225425"/>
                </a:cubicBezTo>
                <a:close/>
                <a:moveTo>
                  <a:pt x="156781" y="214190"/>
                </a:moveTo>
                <a:cubicBezTo>
                  <a:pt x="158528" y="212725"/>
                  <a:pt x="161322" y="213458"/>
                  <a:pt x="162719" y="216022"/>
                </a:cubicBezTo>
                <a:lnTo>
                  <a:pt x="170053" y="229211"/>
                </a:lnTo>
                <a:cubicBezTo>
                  <a:pt x="171101" y="231409"/>
                  <a:pt x="170752" y="233974"/>
                  <a:pt x="168656" y="235439"/>
                </a:cubicBezTo>
                <a:cubicBezTo>
                  <a:pt x="167608" y="235805"/>
                  <a:pt x="167259" y="236172"/>
                  <a:pt x="166211" y="236172"/>
                </a:cubicBezTo>
                <a:cubicBezTo>
                  <a:pt x="164814" y="236172"/>
                  <a:pt x="163417" y="235439"/>
                  <a:pt x="162719" y="233974"/>
                </a:cubicBezTo>
                <a:lnTo>
                  <a:pt x="155035" y="220418"/>
                </a:lnTo>
                <a:cubicBezTo>
                  <a:pt x="153987" y="218220"/>
                  <a:pt x="154686" y="215290"/>
                  <a:pt x="156781" y="214190"/>
                </a:cubicBezTo>
                <a:close/>
                <a:moveTo>
                  <a:pt x="80775" y="214190"/>
                </a:moveTo>
                <a:cubicBezTo>
                  <a:pt x="83016" y="215290"/>
                  <a:pt x="83763" y="218220"/>
                  <a:pt x="82269" y="220418"/>
                </a:cubicBezTo>
                <a:lnTo>
                  <a:pt x="74425" y="233974"/>
                </a:lnTo>
                <a:cubicBezTo>
                  <a:pt x="73678" y="235439"/>
                  <a:pt x="71810" y="236172"/>
                  <a:pt x="70316" y="236172"/>
                </a:cubicBezTo>
                <a:cubicBezTo>
                  <a:pt x="69569" y="236172"/>
                  <a:pt x="68822" y="235805"/>
                  <a:pt x="68075" y="235439"/>
                </a:cubicBezTo>
                <a:cubicBezTo>
                  <a:pt x="65834" y="233974"/>
                  <a:pt x="65087" y="231409"/>
                  <a:pt x="66581" y="229211"/>
                </a:cubicBezTo>
                <a:lnTo>
                  <a:pt x="74425" y="216022"/>
                </a:lnTo>
                <a:cubicBezTo>
                  <a:pt x="75546" y="213458"/>
                  <a:pt x="78534" y="212725"/>
                  <a:pt x="80775" y="214190"/>
                </a:cubicBezTo>
                <a:close/>
                <a:moveTo>
                  <a:pt x="189778" y="185241"/>
                </a:moveTo>
                <a:lnTo>
                  <a:pt x="203128" y="193245"/>
                </a:lnTo>
                <a:cubicBezTo>
                  <a:pt x="205293" y="194337"/>
                  <a:pt x="206014" y="197247"/>
                  <a:pt x="204571" y="199430"/>
                </a:cubicBezTo>
                <a:cubicBezTo>
                  <a:pt x="203850" y="200885"/>
                  <a:pt x="202406" y="201249"/>
                  <a:pt x="200963" y="201249"/>
                </a:cubicBezTo>
                <a:cubicBezTo>
                  <a:pt x="199881" y="201249"/>
                  <a:pt x="199520" y="201249"/>
                  <a:pt x="198438" y="200885"/>
                </a:cubicBezTo>
                <a:lnTo>
                  <a:pt x="185088" y="193245"/>
                </a:lnTo>
                <a:cubicBezTo>
                  <a:pt x="182923" y="191790"/>
                  <a:pt x="182562" y="189243"/>
                  <a:pt x="183645" y="186697"/>
                </a:cubicBezTo>
                <a:cubicBezTo>
                  <a:pt x="185088" y="184878"/>
                  <a:pt x="187613" y="184150"/>
                  <a:pt x="189778" y="185241"/>
                </a:cubicBezTo>
                <a:close/>
                <a:moveTo>
                  <a:pt x="46156" y="185241"/>
                </a:moveTo>
                <a:cubicBezTo>
                  <a:pt x="48643" y="184150"/>
                  <a:pt x="51131" y="184878"/>
                  <a:pt x="52198" y="186697"/>
                </a:cubicBezTo>
                <a:cubicBezTo>
                  <a:pt x="53619" y="189243"/>
                  <a:pt x="52908" y="191790"/>
                  <a:pt x="50776" y="193245"/>
                </a:cubicBezTo>
                <a:lnTo>
                  <a:pt x="37626" y="200885"/>
                </a:lnTo>
                <a:cubicBezTo>
                  <a:pt x="36915" y="201249"/>
                  <a:pt x="36204" y="201249"/>
                  <a:pt x="35493" y="201249"/>
                </a:cubicBezTo>
                <a:cubicBezTo>
                  <a:pt x="33716" y="201249"/>
                  <a:pt x="32650" y="200885"/>
                  <a:pt x="31583" y="199430"/>
                </a:cubicBezTo>
                <a:cubicBezTo>
                  <a:pt x="30162" y="197247"/>
                  <a:pt x="31228" y="194337"/>
                  <a:pt x="33361" y="193245"/>
                </a:cubicBezTo>
                <a:lnTo>
                  <a:pt x="46156" y="185241"/>
                </a:lnTo>
                <a:close/>
                <a:moveTo>
                  <a:pt x="198461" y="144463"/>
                </a:moveTo>
                <a:lnTo>
                  <a:pt x="213922" y="144463"/>
                </a:lnTo>
                <a:cubicBezTo>
                  <a:pt x="216498" y="144463"/>
                  <a:pt x="218707" y="146295"/>
                  <a:pt x="218707" y="148859"/>
                </a:cubicBezTo>
                <a:cubicBezTo>
                  <a:pt x="218707" y="151424"/>
                  <a:pt x="216498" y="153622"/>
                  <a:pt x="213922" y="153622"/>
                </a:cubicBezTo>
                <a:lnTo>
                  <a:pt x="198461" y="153622"/>
                </a:lnTo>
                <a:cubicBezTo>
                  <a:pt x="195884" y="153622"/>
                  <a:pt x="193675" y="151424"/>
                  <a:pt x="193675" y="148859"/>
                </a:cubicBezTo>
                <a:cubicBezTo>
                  <a:pt x="193675" y="146295"/>
                  <a:pt x="195884" y="144463"/>
                  <a:pt x="198461" y="144463"/>
                </a:cubicBezTo>
                <a:close/>
                <a:moveTo>
                  <a:pt x="21664" y="144463"/>
                </a:moveTo>
                <a:lnTo>
                  <a:pt x="36722" y="144463"/>
                </a:lnTo>
                <a:cubicBezTo>
                  <a:pt x="39174" y="144463"/>
                  <a:pt x="40925" y="146295"/>
                  <a:pt x="40925" y="148859"/>
                </a:cubicBezTo>
                <a:cubicBezTo>
                  <a:pt x="40925" y="151424"/>
                  <a:pt x="39174" y="153622"/>
                  <a:pt x="36722" y="153622"/>
                </a:cubicBezTo>
                <a:lnTo>
                  <a:pt x="21664" y="153622"/>
                </a:lnTo>
                <a:cubicBezTo>
                  <a:pt x="19213" y="153622"/>
                  <a:pt x="17462" y="151424"/>
                  <a:pt x="17462" y="148859"/>
                </a:cubicBezTo>
                <a:cubicBezTo>
                  <a:pt x="17462" y="146295"/>
                  <a:pt x="19213" y="144463"/>
                  <a:pt x="21664" y="144463"/>
                </a:cubicBezTo>
                <a:close/>
                <a:moveTo>
                  <a:pt x="198438" y="96319"/>
                </a:moveTo>
                <a:cubicBezTo>
                  <a:pt x="200602" y="95250"/>
                  <a:pt x="203489" y="95963"/>
                  <a:pt x="204571" y="98101"/>
                </a:cubicBezTo>
                <a:cubicBezTo>
                  <a:pt x="206014" y="100239"/>
                  <a:pt x="205293" y="103091"/>
                  <a:pt x="203128" y="104160"/>
                </a:cubicBezTo>
                <a:lnTo>
                  <a:pt x="189778" y="111644"/>
                </a:lnTo>
                <a:cubicBezTo>
                  <a:pt x="189057" y="112000"/>
                  <a:pt x="188335" y="112357"/>
                  <a:pt x="187613" y="112357"/>
                </a:cubicBezTo>
                <a:cubicBezTo>
                  <a:pt x="186170" y="112357"/>
                  <a:pt x="184727" y="111644"/>
                  <a:pt x="183645" y="110218"/>
                </a:cubicBezTo>
                <a:cubicBezTo>
                  <a:pt x="182562" y="108080"/>
                  <a:pt x="182923" y="105229"/>
                  <a:pt x="185088" y="104160"/>
                </a:cubicBezTo>
                <a:lnTo>
                  <a:pt x="198438" y="96319"/>
                </a:lnTo>
                <a:close/>
                <a:moveTo>
                  <a:pt x="37626" y="96319"/>
                </a:moveTo>
                <a:lnTo>
                  <a:pt x="50776" y="104160"/>
                </a:lnTo>
                <a:cubicBezTo>
                  <a:pt x="52908" y="105229"/>
                  <a:pt x="53619" y="108080"/>
                  <a:pt x="52198" y="110218"/>
                </a:cubicBezTo>
                <a:cubicBezTo>
                  <a:pt x="51487" y="111644"/>
                  <a:pt x="50065" y="112357"/>
                  <a:pt x="48643" y="112357"/>
                </a:cubicBezTo>
                <a:cubicBezTo>
                  <a:pt x="47577" y="112357"/>
                  <a:pt x="47222" y="112000"/>
                  <a:pt x="46156" y="111644"/>
                </a:cubicBezTo>
                <a:lnTo>
                  <a:pt x="33361" y="104160"/>
                </a:lnTo>
                <a:cubicBezTo>
                  <a:pt x="31228" y="103091"/>
                  <a:pt x="30162" y="100239"/>
                  <a:pt x="31583" y="98101"/>
                </a:cubicBezTo>
                <a:cubicBezTo>
                  <a:pt x="33005" y="95963"/>
                  <a:pt x="35493" y="95250"/>
                  <a:pt x="37626" y="96319"/>
                </a:cubicBezTo>
                <a:close/>
                <a:moveTo>
                  <a:pt x="118637" y="87313"/>
                </a:moveTo>
                <a:cubicBezTo>
                  <a:pt x="121167" y="87313"/>
                  <a:pt x="123335" y="89115"/>
                  <a:pt x="123335" y="91638"/>
                </a:cubicBezTo>
                <a:lnTo>
                  <a:pt x="123335" y="144617"/>
                </a:lnTo>
                <a:lnTo>
                  <a:pt x="153691" y="144617"/>
                </a:lnTo>
                <a:cubicBezTo>
                  <a:pt x="156221" y="144617"/>
                  <a:pt x="158389" y="146420"/>
                  <a:pt x="158389" y="148942"/>
                </a:cubicBezTo>
                <a:cubicBezTo>
                  <a:pt x="158389" y="151465"/>
                  <a:pt x="156221" y="153628"/>
                  <a:pt x="153691" y="153628"/>
                </a:cubicBezTo>
                <a:lnTo>
                  <a:pt x="118637" y="153628"/>
                </a:lnTo>
                <a:cubicBezTo>
                  <a:pt x="116469" y="153628"/>
                  <a:pt x="114300" y="151465"/>
                  <a:pt x="114300" y="148942"/>
                </a:cubicBezTo>
                <a:lnTo>
                  <a:pt x="114300" y="91638"/>
                </a:lnTo>
                <a:cubicBezTo>
                  <a:pt x="114300" y="89115"/>
                  <a:pt x="116469" y="87313"/>
                  <a:pt x="118637" y="87313"/>
                </a:cubicBezTo>
                <a:close/>
                <a:moveTo>
                  <a:pt x="168656" y="61790"/>
                </a:moveTo>
                <a:cubicBezTo>
                  <a:pt x="170752" y="62889"/>
                  <a:pt x="171101" y="65820"/>
                  <a:pt x="170053" y="68018"/>
                </a:cubicBezTo>
                <a:lnTo>
                  <a:pt x="162719" y="81574"/>
                </a:lnTo>
                <a:cubicBezTo>
                  <a:pt x="161671" y="83039"/>
                  <a:pt x="160274" y="83772"/>
                  <a:pt x="158877" y="83772"/>
                </a:cubicBezTo>
                <a:cubicBezTo>
                  <a:pt x="158178" y="83772"/>
                  <a:pt x="157480" y="83772"/>
                  <a:pt x="156781" y="83405"/>
                </a:cubicBezTo>
                <a:cubicBezTo>
                  <a:pt x="154686" y="81940"/>
                  <a:pt x="153987" y="79375"/>
                  <a:pt x="155035" y="77177"/>
                </a:cubicBezTo>
                <a:lnTo>
                  <a:pt x="162719" y="63622"/>
                </a:lnTo>
                <a:cubicBezTo>
                  <a:pt x="163767" y="61424"/>
                  <a:pt x="166211" y="60325"/>
                  <a:pt x="168656" y="61790"/>
                </a:cubicBezTo>
                <a:close/>
                <a:moveTo>
                  <a:pt x="68075" y="61790"/>
                </a:moveTo>
                <a:cubicBezTo>
                  <a:pt x="70316" y="60325"/>
                  <a:pt x="73304" y="61424"/>
                  <a:pt x="74425" y="63622"/>
                </a:cubicBezTo>
                <a:lnTo>
                  <a:pt x="82269" y="77177"/>
                </a:lnTo>
                <a:cubicBezTo>
                  <a:pt x="83763" y="79375"/>
                  <a:pt x="83016" y="81940"/>
                  <a:pt x="80775" y="83405"/>
                </a:cubicBezTo>
                <a:cubicBezTo>
                  <a:pt x="80028" y="83772"/>
                  <a:pt x="79281" y="83772"/>
                  <a:pt x="78160" y="83772"/>
                </a:cubicBezTo>
                <a:cubicBezTo>
                  <a:pt x="76666" y="83772"/>
                  <a:pt x="75172" y="83039"/>
                  <a:pt x="74425" y="81574"/>
                </a:cubicBezTo>
                <a:lnTo>
                  <a:pt x="66581" y="68018"/>
                </a:lnTo>
                <a:cubicBezTo>
                  <a:pt x="65087" y="65820"/>
                  <a:pt x="65834" y="62889"/>
                  <a:pt x="68075" y="61790"/>
                </a:cubicBezTo>
                <a:close/>
                <a:moveTo>
                  <a:pt x="118696" y="49213"/>
                </a:moveTo>
                <a:cubicBezTo>
                  <a:pt x="121261" y="49213"/>
                  <a:pt x="123459" y="50964"/>
                  <a:pt x="123459" y="53415"/>
                </a:cubicBezTo>
                <a:lnTo>
                  <a:pt x="123459" y="68473"/>
                </a:lnTo>
                <a:cubicBezTo>
                  <a:pt x="123459" y="70924"/>
                  <a:pt x="121261" y="72675"/>
                  <a:pt x="118696" y="72675"/>
                </a:cubicBezTo>
                <a:cubicBezTo>
                  <a:pt x="116498" y="72675"/>
                  <a:pt x="114300" y="70924"/>
                  <a:pt x="114300" y="68473"/>
                </a:cubicBezTo>
                <a:lnTo>
                  <a:pt x="114300" y="53415"/>
                </a:lnTo>
                <a:cubicBezTo>
                  <a:pt x="114300" y="50964"/>
                  <a:pt x="116498" y="49213"/>
                  <a:pt x="118696" y="49213"/>
                </a:cubicBezTo>
                <a:close/>
                <a:moveTo>
                  <a:pt x="117909" y="38956"/>
                </a:moveTo>
                <a:cubicBezTo>
                  <a:pt x="57876" y="38956"/>
                  <a:pt x="8987" y="88013"/>
                  <a:pt x="8987" y="148251"/>
                </a:cubicBezTo>
                <a:cubicBezTo>
                  <a:pt x="8987" y="208850"/>
                  <a:pt x="57876" y="257907"/>
                  <a:pt x="117909" y="257907"/>
                </a:cubicBezTo>
                <a:cubicBezTo>
                  <a:pt x="177942" y="257907"/>
                  <a:pt x="226831" y="208850"/>
                  <a:pt x="226831" y="148251"/>
                </a:cubicBezTo>
                <a:cubicBezTo>
                  <a:pt x="226831" y="88013"/>
                  <a:pt x="177942" y="38956"/>
                  <a:pt x="117909" y="38956"/>
                </a:cubicBezTo>
                <a:close/>
                <a:moveTo>
                  <a:pt x="72974" y="9018"/>
                </a:moveTo>
                <a:cubicBezTo>
                  <a:pt x="66503" y="9018"/>
                  <a:pt x="60752" y="13346"/>
                  <a:pt x="59673" y="19478"/>
                </a:cubicBezTo>
                <a:lnTo>
                  <a:pt x="53562" y="49417"/>
                </a:lnTo>
                <a:cubicBezTo>
                  <a:pt x="72255" y="37153"/>
                  <a:pt x="94183" y="29939"/>
                  <a:pt x="117909" y="29939"/>
                </a:cubicBezTo>
                <a:cubicBezTo>
                  <a:pt x="141635" y="29939"/>
                  <a:pt x="163923" y="37153"/>
                  <a:pt x="182615" y="49417"/>
                </a:cubicBezTo>
                <a:lnTo>
                  <a:pt x="176145" y="19478"/>
                </a:lnTo>
                <a:cubicBezTo>
                  <a:pt x="175066" y="13346"/>
                  <a:pt x="169674" y="9018"/>
                  <a:pt x="163204" y="9018"/>
                </a:cubicBezTo>
                <a:lnTo>
                  <a:pt x="72974" y="9018"/>
                </a:lnTo>
                <a:close/>
                <a:moveTo>
                  <a:pt x="72974" y="0"/>
                </a:moveTo>
                <a:lnTo>
                  <a:pt x="163204" y="0"/>
                </a:lnTo>
                <a:cubicBezTo>
                  <a:pt x="173988" y="0"/>
                  <a:pt x="182975" y="7575"/>
                  <a:pt x="185132" y="17675"/>
                </a:cubicBezTo>
                <a:lnTo>
                  <a:pt x="193400" y="57353"/>
                </a:lnTo>
                <a:cubicBezTo>
                  <a:pt x="219282" y="78995"/>
                  <a:pt x="236178" y="111820"/>
                  <a:pt x="236178" y="148251"/>
                </a:cubicBezTo>
                <a:cubicBezTo>
                  <a:pt x="236178" y="185043"/>
                  <a:pt x="219282" y="217507"/>
                  <a:pt x="193400" y="239510"/>
                </a:cubicBezTo>
                <a:lnTo>
                  <a:pt x="185132" y="278828"/>
                </a:lnTo>
                <a:cubicBezTo>
                  <a:pt x="182975" y="289288"/>
                  <a:pt x="173988" y="296502"/>
                  <a:pt x="163204" y="296502"/>
                </a:cubicBezTo>
                <a:lnTo>
                  <a:pt x="72974" y="296502"/>
                </a:lnTo>
                <a:cubicBezTo>
                  <a:pt x="62190" y="296502"/>
                  <a:pt x="53203" y="289288"/>
                  <a:pt x="51046" y="278828"/>
                </a:cubicBezTo>
                <a:lnTo>
                  <a:pt x="42778" y="239510"/>
                </a:lnTo>
                <a:cubicBezTo>
                  <a:pt x="16536" y="217507"/>
                  <a:pt x="0" y="185043"/>
                  <a:pt x="0" y="148251"/>
                </a:cubicBezTo>
                <a:cubicBezTo>
                  <a:pt x="0" y="111820"/>
                  <a:pt x="16536" y="78995"/>
                  <a:pt x="42778" y="57353"/>
                </a:cubicBezTo>
                <a:lnTo>
                  <a:pt x="51046" y="17675"/>
                </a:lnTo>
                <a:cubicBezTo>
                  <a:pt x="53203" y="7575"/>
                  <a:pt x="62190" y="0"/>
                  <a:pt x="729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3" name="Freeform 928">
            <a:extLst>
              <a:ext uri="{FF2B5EF4-FFF2-40B4-BE49-F238E27FC236}">
                <a16:creationId xmlns:a16="http://schemas.microsoft.com/office/drawing/2014/main" id="{591DA198-8773-3489-C7EB-C121AFCE7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5158" y="3498618"/>
            <a:ext cx="697879" cy="697879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4" name="Freeform 934">
            <a:extLst>
              <a:ext uri="{FF2B5EF4-FFF2-40B4-BE49-F238E27FC236}">
                <a16:creationId xmlns:a16="http://schemas.microsoft.com/office/drawing/2014/main" id="{431F07BD-73C1-010E-27F0-870910498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6024" y="3496000"/>
            <a:ext cx="697879" cy="697881"/>
          </a:xfrm>
          <a:custGeom>
            <a:avLst/>
            <a:gdLst>
              <a:gd name="T0" fmla="*/ 2272781 w 296503"/>
              <a:gd name="T1" fmla="*/ 1180774 h 296503"/>
              <a:gd name="T2" fmla="*/ 2322929 w 296503"/>
              <a:gd name="T3" fmla="*/ 1227945 h 296503"/>
              <a:gd name="T4" fmla="*/ 2322929 w 296503"/>
              <a:gd name="T5" fmla="*/ 2796622 h 296503"/>
              <a:gd name="T6" fmla="*/ 2272781 w 296503"/>
              <a:gd name="T7" fmla="*/ 2843817 h 296503"/>
              <a:gd name="T8" fmla="*/ 2222616 w 296503"/>
              <a:gd name="T9" fmla="*/ 2796622 h 296503"/>
              <a:gd name="T10" fmla="*/ 2222616 w 296503"/>
              <a:gd name="T11" fmla="*/ 1227945 h 296503"/>
              <a:gd name="T12" fmla="*/ 2272781 w 296503"/>
              <a:gd name="T13" fmla="*/ 1180774 h 296503"/>
              <a:gd name="T14" fmla="*/ 1632228 w 296503"/>
              <a:gd name="T15" fmla="*/ 1180774 h 296503"/>
              <a:gd name="T16" fmla="*/ 1680323 w 296503"/>
              <a:gd name="T17" fmla="*/ 1227945 h 296503"/>
              <a:gd name="T18" fmla="*/ 1680323 w 296503"/>
              <a:gd name="T19" fmla="*/ 2796622 h 296503"/>
              <a:gd name="T20" fmla="*/ 1632228 w 296503"/>
              <a:gd name="T21" fmla="*/ 2843817 h 296503"/>
              <a:gd name="T22" fmla="*/ 1580138 w 296503"/>
              <a:gd name="T23" fmla="*/ 2796622 h 296503"/>
              <a:gd name="T24" fmla="*/ 1580138 w 296503"/>
              <a:gd name="T25" fmla="*/ 1227945 h 296503"/>
              <a:gd name="T26" fmla="*/ 1632228 w 296503"/>
              <a:gd name="T27" fmla="*/ 1180774 h 296503"/>
              <a:gd name="T28" fmla="*/ 968393 w 296503"/>
              <a:gd name="T29" fmla="*/ 1180774 h 296503"/>
              <a:gd name="T30" fmla="*/ 1020479 w 296503"/>
              <a:gd name="T31" fmla="*/ 1227945 h 296503"/>
              <a:gd name="T32" fmla="*/ 1020479 w 296503"/>
              <a:gd name="T33" fmla="*/ 2796622 h 296503"/>
              <a:gd name="T34" fmla="*/ 968393 w 296503"/>
              <a:gd name="T35" fmla="*/ 2843817 h 296503"/>
              <a:gd name="T36" fmla="*/ 920306 w 296503"/>
              <a:gd name="T37" fmla="*/ 2796622 h 296503"/>
              <a:gd name="T38" fmla="*/ 920306 w 296503"/>
              <a:gd name="T39" fmla="*/ 1227945 h 296503"/>
              <a:gd name="T40" fmla="*/ 968393 w 296503"/>
              <a:gd name="T41" fmla="*/ 1180774 h 296503"/>
              <a:gd name="T42" fmla="*/ 133984 w 296503"/>
              <a:gd name="T43" fmla="*/ 882707 h 296503"/>
              <a:gd name="T44" fmla="*/ 295550 w 296503"/>
              <a:gd name="T45" fmla="*/ 1544750 h 296503"/>
              <a:gd name="T46" fmla="*/ 295550 w 296503"/>
              <a:gd name="T47" fmla="*/ 2868817 h 296503"/>
              <a:gd name="T48" fmla="*/ 575330 w 296503"/>
              <a:gd name="T49" fmla="*/ 3144662 h 296503"/>
              <a:gd name="T50" fmla="*/ 2671776 w 296503"/>
              <a:gd name="T51" fmla="*/ 3144662 h 296503"/>
              <a:gd name="T52" fmla="*/ 2951561 w 296503"/>
              <a:gd name="T53" fmla="*/ 2868817 h 296503"/>
              <a:gd name="T54" fmla="*/ 2951561 w 296503"/>
              <a:gd name="T55" fmla="*/ 1544750 h 296503"/>
              <a:gd name="T56" fmla="*/ 3113128 w 296503"/>
              <a:gd name="T57" fmla="*/ 882707 h 296503"/>
              <a:gd name="T58" fmla="*/ 445292 w 296503"/>
              <a:gd name="T59" fmla="*/ 492597 h 296503"/>
              <a:gd name="T60" fmla="*/ 102431 w 296503"/>
              <a:gd name="T61" fmla="*/ 788140 h 296503"/>
              <a:gd name="T62" fmla="*/ 3140711 w 296503"/>
              <a:gd name="T63" fmla="*/ 788140 h 296503"/>
              <a:gd name="T64" fmla="*/ 2801819 w 296503"/>
              <a:gd name="T65" fmla="*/ 492597 h 296503"/>
              <a:gd name="T66" fmla="*/ 1296480 w 296503"/>
              <a:gd name="T67" fmla="*/ 98520 h 296503"/>
              <a:gd name="T68" fmla="*/ 953624 w 296503"/>
              <a:gd name="T69" fmla="*/ 394077 h 296503"/>
              <a:gd name="T70" fmla="*/ 2289518 w 296503"/>
              <a:gd name="T71" fmla="*/ 394077 h 296503"/>
              <a:gd name="T72" fmla="*/ 1950639 w 296503"/>
              <a:gd name="T73" fmla="*/ 98520 h 296503"/>
              <a:gd name="T74" fmla="*/ 1296480 w 296503"/>
              <a:gd name="T75" fmla="*/ 0 h 296503"/>
              <a:gd name="T76" fmla="*/ 1950639 w 296503"/>
              <a:gd name="T77" fmla="*/ 0 h 296503"/>
              <a:gd name="T78" fmla="*/ 2388037 w 296503"/>
              <a:gd name="T79" fmla="*/ 394077 h 296503"/>
              <a:gd name="T80" fmla="*/ 2801819 w 296503"/>
              <a:gd name="T81" fmla="*/ 394077 h 296503"/>
              <a:gd name="T82" fmla="*/ 3243166 w 296503"/>
              <a:gd name="T83" fmla="*/ 835417 h 296503"/>
              <a:gd name="T84" fmla="*/ 3235277 w 296503"/>
              <a:gd name="T85" fmla="*/ 859070 h 296503"/>
              <a:gd name="T86" fmla="*/ 3046128 w 296503"/>
              <a:gd name="T87" fmla="*/ 1544750 h 296503"/>
              <a:gd name="T88" fmla="*/ 3046128 w 296503"/>
              <a:gd name="T89" fmla="*/ 2868817 h 296503"/>
              <a:gd name="T90" fmla="*/ 2671776 w 296503"/>
              <a:gd name="T91" fmla="*/ 3243184 h 296503"/>
              <a:gd name="T92" fmla="*/ 575330 w 296503"/>
              <a:gd name="T93" fmla="*/ 3243184 h 296503"/>
              <a:gd name="T94" fmla="*/ 197031 w 296503"/>
              <a:gd name="T95" fmla="*/ 2868817 h 296503"/>
              <a:gd name="T96" fmla="*/ 197031 w 296503"/>
              <a:gd name="T97" fmla="*/ 1544750 h 296503"/>
              <a:gd name="T98" fmla="*/ 7881 w 296503"/>
              <a:gd name="T99" fmla="*/ 859070 h 296503"/>
              <a:gd name="T100" fmla="*/ 0 w 296503"/>
              <a:gd name="T101" fmla="*/ 835417 h 296503"/>
              <a:gd name="T102" fmla="*/ 445292 w 296503"/>
              <a:gd name="T103" fmla="*/ 394077 h 296503"/>
              <a:gd name="T104" fmla="*/ 855104 w 296503"/>
              <a:gd name="T105" fmla="*/ 394077 h 296503"/>
              <a:gd name="T106" fmla="*/ 1296480 w 296503"/>
              <a:gd name="T107" fmla="*/ 0 h 29650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6503" h="296503">
                <a:moveTo>
                  <a:pt x="207786" y="107950"/>
                </a:moveTo>
                <a:cubicBezTo>
                  <a:pt x="210256" y="107950"/>
                  <a:pt x="212372" y="109747"/>
                  <a:pt x="212372" y="112263"/>
                </a:cubicBezTo>
                <a:lnTo>
                  <a:pt x="212372" y="255677"/>
                </a:lnTo>
                <a:cubicBezTo>
                  <a:pt x="212372" y="258193"/>
                  <a:pt x="210256" y="259991"/>
                  <a:pt x="207786" y="259991"/>
                </a:cubicBezTo>
                <a:cubicBezTo>
                  <a:pt x="205317" y="259991"/>
                  <a:pt x="203200" y="258193"/>
                  <a:pt x="203200" y="255677"/>
                </a:cubicBezTo>
                <a:lnTo>
                  <a:pt x="203200" y="112263"/>
                </a:lnTo>
                <a:cubicBezTo>
                  <a:pt x="203200" y="109747"/>
                  <a:pt x="205317" y="107950"/>
                  <a:pt x="207786" y="107950"/>
                </a:cubicBezTo>
                <a:close/>
                <a:moveTo>
                  <a:pt x="149225" y="107950"/>
                </a:moveTo>
                <a:cubicBezTo>
                  <a:pt x="151790" y="107950"/>
                  <a:pt x="153621" y="109747"/>
                  <a:pt x="153621" y="112263"/>
                </a:cubicBezTo>
                <a:lnTo>
                  <a:pt x="153621" y="255677"/>
                </a:lnTo>
                <a:cubicBezTo>
                  <a:pt x="153621" y="258193"/>
                  <a:pt x="151790" y="259991"/>
                  <a:pt x="149225" y="259991"/>
                </a:cubicBezTo>
                <a:cubicBezTo>
                  <a:pt x="146661" y="259991"/>
                  <a:pt x="144463" y="258193"/>
                  <a:pt x="144463" y="255677"/>
                </a:cubicBezTo>
                <a:lnTo>
                  <a:pt x="144463" y="112263"/>
                </a:lnTo>
                <a:cubicBezTo>
                  <a:pt x="144463" y="109747"/>
                  <a:pt x="146661" y="107950"/>
                  <a:pt x="149225" y="107950"/>
                </a:cubicBezTo>
                <a:close/>
                <a:moveTo>
                  <a:pt x="88534" y="107950"/>
                </a:moveTo>
                <a:cubicBezTo>
                  <a:pt x="91098" y="107950"/>
                  <a:pt x="93296" y="109747"/>
                  <a:pt x="93296" y="112263"/>
                </a:cubicBezTo>
                <a:lnTo>
                  <a:pt x="93296" y="255677"/>
                </a:lnTo>
                <a:cubicBezTo>
                  <a:pt x="93296" y="258193"/>
                  <a:pt x="91098" y="259991"/>
                  <a:pt x="88534" y="259991"/>
                </a:cubicBezTo>
                <a:cubicBezTo>
                  <a:pt x="86336" y="259991"/>
                  <a:pt x="84138" y="258193"/>
                  <a:pt x="84138" y="255677"/>
                </a:cubicBezTo>
                <a:lnTo>
                  <a:pt x="84138" y="112263"/>
                </a:lnTo>
                <a:cubicBezTo>
                  <a:pt x="84138" y="109747"/>
                  <a:pt x="86336" y="107950"/>
                  <a:pt x="88534" y="107950"/>
                </a:cubicBezTo>
                <a:close/>
                <a:moveTo>
                  <a:pt x="12249" y="80701"/>
                </a:moveTo>
                <a:cubicBezTo>
                  <a:pt x="21976" y="99435"/>
                  <a:pt x="27020" y="120330"/>
                  <a:pt x="27020" y="141226"/>
                </a:cubicBezTo>
                <a:lnTo>
                  <a:pt x="27020" y="262277"/>
                </a:lnTo>
                <a:cubicBezTo>
                  <a:pt x="27020" y="275967"/>
                  <a:pt x="38549" y="287496"/>
                  <a:pt x="52599" y="287496"/>
                </a:cubicBezTo>
                <a:lnTo>
                  <a:pt x="244264" y="287496"/>
                </a:lnTo>
                <a:cubicBezTo>
                  <a:pt x="258314" y="287496"/>
                  <a:pt x="269843" y="275967"/>
                  <a:pt x="269843" y="262277"/>
                </a:cubicBezTo>
                <a:lnTo>
                  <a:pt x="269843" y="141226"/>
                </a:lnTo>
                <a:cubicBezTo>
                  <a:pt x="269843" y="120330"/>
                  <a:pt x="274887" y="99435"/>
                  <a:pt x="284614" y="80701"/>
                </a:cubicBezTo>
                <a:lnTo>
                  <a:pt x="12249" y="80701"/>
                </a:lnTo>
                <a:close/>
                <a:moveTo>
                  <a:pt x="40710" y="45034"/>
                </a:moveTo>
                <a:cubicBezTo>
                  <a:pt x="24498" y="45034"/>
                  <a:pt x="11528" y="56562"/>
                  <a:pt x="9367" y="72054"/>
                </a:cubicBezTo>
                <a:lnTo>
                  <a:pt x="287136" y="72054"/>
                </a:lnTo>
                <a:cubicBezTo>
                  <a:pt x="285335" y="56562"/>
                  <a:pt x="272005" y="45034"/>
                  <a:pt x="256153" y="45034"/>
                </a:cubicBezTo>
                <a:lnTo>
                  <a:pt x="40710" y="45034"/>
                </a:lnTo>
                <a:close/>
                <a:moveTo>
                  <a:pt x="118529" y="9007"/>
                </a:moveTo>
                <a:cubicBezTo>
                  <a:pt x="102677" y="9007"/>
                  <a:pt x="89347" y="20896"/>
                  <a:pt x="87185" y="36027"/>
                </a:cubicBezTo>
                <a:lnTo>
                  <a:pt x="209317" y="36027"/>
                </a:lnTo>
                <a:cubicBezTo>
                  <a:pt x="207156" y="20896"/>
                  <a:pt x="194186" y="9007"/>
                  <a:pt x="178334" y="9007"/>
                </a:cubicBezTo>
                <a:lnTo>
                  <a:pt x="118529" y="9007"/>
                </a:lnTo>
                <a:close/>
                <a:moveTo>
                  <a:pt x="118529" y="0"/>
                </a:moveTo>
                <a:lnTo>
                  <a:pt x="178334" y="0"/>
                </a:lnTo>
                <a:cubicBezTo>
                  <a:pt x="198869" y="0"/>
                  <a:pt x="216163" y="15852"/>
                  <a:pt x="218324" y="36027"/>
                </a:cubicBezTo>
                <a:lnTo>
                  <a:pt x="256153" y="36027"/>
                </a:lnTo>
                <a:cubicBezTo>
                  <a:pt x="278489" y="36027"/>
                  <a:pt x="296503" y="54041"/>
                  <a:pt x="296503" y="76377"/>
                </a:cubicBezTo>
                <a:cubicBezTo>
                  <a:pt x="296503" y="77098"/>
                  <a:pt x="296503" y="78179"/>
                  <a:pt x="295782" y="78539"/>
                </a:cubicBezTo>
                <a:cubicBezTo>
                  <a:pt x="284614" y="97633"/>
                  <a:pt x="278489" y="119250"/>
                  <a:pt x="278489" y="141226"/>
                </a:cubicBezTo>
                <a:lnTo>
                  <a:pt x="278489" y="262277"/>
                </a:lnTo>
                <a:cubicBezTo>
                  <a:pt x="278489" y="281011"/>
                  <a:pt x="262998" y="296503"/>
                  <a:pt x="244264" y="296503"/>
                </a:cubicBezTo>
                <a:lnTo>
                  <a:pt x="52599" y="296503"/>
                </a:lnTo>
                <a:cubicBezTo>
                  <a:pt x="33505" y="296503"/>
                  <a:pt x="18013" y="281011"/>
                  <a:pt x="18013" y="262277"/>
                </a:cubicBezTo>
                <a:lnTo>
                  <a:pt x="18013" y="141226"/>
                </a:lnTo>
                <a:cubicBezTo>
                  <a:pt x="18013" y="119250"/>
                  <a:pt x="12249" y="97633"/>
                  <a:pt x="720" y="78539"/>
                </a:cubicBezTo>
                <a:cubicBezTo>
                  <a:pt x="360" y="78179"/>
                  <a:pt x="0" y="77098"/>
                  <a:pt x="0" y="76377"/>
                </a:cubicBezTo>
                <a:cubicBezTo>
                  <a:pt x="0" y="54041"/>
                  <a:pt x="18374" y="36027"/>
                  <a:pt x="40710" y="36027"/>
                </a:cubicBezTo>
                <a:lnTo>
                  <a:pt x="78178" y="36027"/>
                </a:lnTo>
                <a:cubicBezTo>
                  <a:pt x="80700" y="15852"/>
                  <a:pt x="97633" y="0"/>
                  <a:pt x="1185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5" name="Freeform 935">
            <a:extLst>
              <a:ext uri="{FF2B5EF4-FFF2-40B4-BE49-F238E27FC236}">
                <a16:creationId xmlns:a16="http://schemas.microsoft.com/office/drawing/2014/main" id="{66AC0114-EF52-A889-A4EC-C25DA9EFC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942" y="3498617"/>
            <a:ext cx="697879" cy="697881"/>
          </a:xfrm>
          <a:custGeom>
            <a:avLst/>
            <a:gdLst>
              <a:gd name="T0" fmla="*/ 1609031 w 296503"/>
              <a:gd name="T1" fmla="*/ 2567389 h 296502"/>
              <a:gd name="T2" fmla="*/ 1609031 w 296503"/>
              <a:gd name="T3" fmla="*/ 2133286 h 296502"/>
              <a:gd name="T4" fmla="*/ 1352774 w 296503"/>
              <a:gd name="T5" fmla="*/ 2400113 h 296502"/>
              <a:gd name="T6" fmla="*/ 1489529 w 296503"/>
              <a:gd name="T7" fmla="*/ 1900576 h 296502"/>
              <a:gd name="T8" fmla="*/ 1344564 w 296503"/>
              <a:gd name="T9" fmla="*/ 1959795 h 296502"/>
              <a:gd name="T10" fmla="*/ 1176115 w 296503"/>
              <a:gd name="T11" fmla="*/ 2133576 h 296502"/>
              <a:gd name="T12" fmla="*/ 1113440 w 296503"/>
              <a:gd name="T13" fmla="*/ 2279681 h 296502"/>
              <a:gd name="T14" fmla="*/ 882295 w 296503"/>
              <a:gd name="T15" fmla="*/ 2488986 h 296502"/>
              <a:gd name="T16" fmla="*/ 1176115 w 296503"/>
              <a:gd name="T17" fmla="*/ 2619311 h 296502"/>
              <a:gd name="T18" fmla="*/ 1156538 w 296503"/>
              <a:gd name="T19" fmla="*/ 2982644 h 296502"/>
              <a:gd name="T20" fmla="*/ 1458184 w 296503"/>
              <a:gd name="T21" fmla="*/ 2864168 h 296502"/>
              <a:gd name="T22" fmla="*/ 1697162 w 296503"/>
              <a:gd name="T23" fmla="*/ 3136656 h 296502"/>
              <a:gd name="T24" fmla="*/ 1826423 w 296503"/>
              <a:gd name="T25" fmla="*/ 2840478 h 296502"/>
              <a:gd name="T26" fmla="*/ 2186842 w 296503"/>
              <a:gd name="T27" fmla="*/ 2860218 h 296502"/>
              <a:gd name="T28" fmla="*/ 2069322 w 296503"/>
              <a:gd name="T29" fmla="*/ 2556139 h 296502"/>
              <a:gd name="T30" fmla="*/ 2343543 w 296503"/>
              <a:gd name="T31" fmla="*/ 2406057 h 296502"/>
              <a:gd name="T32" fmla="*/ 2069322 w 296503"/>
              <a:gd name="T33" fmla="*/ 2248105 h 296502"/>
              <a:gd name="T34" fmla="*/ 2186842 w 296503"/>
              <a:gd name="T35" fmla="*/ 1944008 h 296502"/>
              <a:gd name="T36" fmla="*/ 1826423 w 296503"/>
              <a:gd name="T37" fmla="*/ 1963748 h 296502"/>
              <a:gd name="T38" fmla="*/ 1697162 w 296503"/>
              <a:gd name="T39" fmla="*/ 1667573 h 296502"/>
              <a:gd name="T40" fmla="*/ 1748086 w 296503"/>
              <a:gd name="T41" fmla="*/ 1576734 h 296502"/>
              <a:gd name="T42" fmla="*/ 1842107 w 296503"/>
              <a:gd name="T43" fmla="*/ 1865023 h 296502"/>
              <a:gd name="T44" fmla="*/ 2284783 w 296503"/>
              <a:gd name="T45" fmla="*/ 1916372 h 296502"/>
              <a:gd name="T46" fmla="*/ 2155509 w 296503"/>
              <a:gd name="T47" fmla="*/ 2188855 h 296502"/>
              <a:gd name="T48" fmla="*/ 2441491 w 296503"/>
              <a:gd name="T49" fmla="*/ 2406057 h 296502"/>
              <a:gd name="T50" fmla="*/ 2155509 w 296503"/>
              <a:gd name="T51" fmla="*/ 2615371 h 296502"/>
              <a:gd name="T52" fmla="*/ 2284783 w 296503"/>
              <a:gd name="T53" fmla="*/ 2891805 h 296502"/>
              <a:gd name="T54" fmla="*/ 1842107 w 296503"/>
              <a:gd name="T55" fmla="*/ 2939205 h 296502"/>
              <a:gd name="T56" fmla="*/ 1748086 w 296503"/>
              <a:gd name="T57" fmla="*/ 3231441 h 296502"/>
              <a:gd name="T58" fmla="*/ 1438589 w 296503"/>
              <a:gd name="T59" fmla="*/ 3187994 h 296502"/>
              <a:gd name="T60" fmla="*/ 1183952 w 296503"/>
              <a:gd name="T61" fmla="*/ 3085323 h 296502"/>
              <a:gd name="T62" fmla="*/ 937144 w 296503"/>
              <a:gd name="T63" fmla="*/ 2832575 h 296502"/>
              <a:gd name="T64" fmla="*/ 831382 w 296503"/>
              <a:gd name="T65" fmla="*/ 2579831 h 296502"/>
              <a:gd name="T66" fmla="*/ 792192 w 296503"/>
              <a:gd name="T67" fmla="*/ 2267842 h 296502"/>
              <a:gd name="T68" fmla="*/ 1078168 w 296503"/>
              <a:gd name="T69" fmla="*/ 2169116 h 296502"/>
              <a:gd name="T70" fmla="*/ 1129105 w 296503"/>
              <a:gd name="T71" fmla="*/ 1722843 h 296502"/>
              <a:gd name="T72" fmla="*/ 1399426 w 296503"/>
              <a:gd name="T73" fmla="*/ 1857116 h 296502"/>
              <a:gd name="T74" fmla="*/ 377111 w 296503"/>
              <a:gd name="T75" fmla="*/ 1179379 h 296502"/>
              <a:gd name="T76" fmla="*/ 1162464 w 296503"/>
              <a:gd name="T77" fmla="*/ 1279277 h 296502"/>
              <a:gd name="T78" fmla="*/ 377111 w 296503"/>
              <a:gd name="T79" fmla="*/ 1179379 h 296502"/>
              <a:gd name="T80" fmla="*/ 2528163 w 296503"/>
              <a:gd name="T81" fmla="*/ 830439 h 296502"/>
              <a:gd name="T82" fmla="*/ 1647612 w 296503"/>
              <a:gd name="T83" fmla="*/ 830439 h 296502"/>
              <a:gd name="T84" fmla="*/ 488035 w 296503"/>
              <a:gd name="T85" fmla="*/ 784665 h 296502"/>
              <a:gd name="T86" fmla="*/ 1558615 w 296503"/>
              <a:gd name="T87" fmla="*/ 1094591 h 296502"/>
              <a:gd name="T88" fmla="*/ 2747263 w 296503"/>
              <a:gd name="T89" fmla="*/ 490420 h 296502"/>
              <a:gd name="T90" fmla="*/ 94476 w 296503"/>
              <a:gd name="T91" fmla="*/ 309954 h 296502"/>
              <a:gd name="T92" fmla="*/ 393596 w 296503"/>
              <a:gd name="T93" fmla="*/ 784665 h 296502"/>
              <a:gd name="T94" fmla="*/ 2794501 w 296503"/>
              <a:gd name="T95" fmla="*/ 392334 h 296502"/>
              <a:gd name="T96" fmla="*/ 2928316 w 296503"/>
              <a:gd name="T97" fmla="*/ 1176977 h 296502"/>
              <a:gd name="T98" fmla="*/ 2928316 w 296503"/>
              <a:gd name="T99" fmla="*/ 98087 h 296502"/>
              <a:gd name="T100" fmla="*/ 2928316 w 296503"/>
              <a:gd name="T101" fmla="*/ 0 h 296502"/>
              <a:gd name="T102" fmla="*/ 2928316 w 296503"/>
              <a:gd name="T103" fmla="*/ 2840456 h 296502"/>
              <a:gd name="T104" fmla="*/ 2471753 w 296503"/>
              <a:gd name="T105" fmla="*/ 2738445 h 296502"/>
              <a:gd name="T106" fmla="*/ 3140847 w 296503"/>
              <a:gd name="T107" fmla="*/ 1482991 h 296502"/>
              <a:gd name="T108" fmla="*/ 1487783 w 296503"/>
              <a:gd name="T109" fmla="*/ 1165209 h 296502"/>
              <a:gd name="T110" fmla="*/ 306988 w 296503"/>
              <a:gd name="T111" fmla="*/ 878799 h 296502"/>
              <a:gd name="T112" fmla="*/ 306988 w 296503"/>
              <a:gd name="T113" fmla="*/ 2738445 h 296502"/>
              <a:gd name="T114" fmla="*/ 767511 w 296503"/>
              <a:gd name="T115" fmla="*/ 2840456 h 296502"/>
              <a:gd name="T116" fmla="*/ 0 w 296503"/>
              <a:gd name="T117" fmla="*/ 309954 h 29650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6503" h="296502">
                <a:moveTo>
                  <a:pt x="147282" y="204741"/>
                </a:moveTo>
                <a:cubicBezTo>
                  <a:pt x="139463" y="204741"/>
                  <a:pt x="132711" y="211303"/>
                  <a:pt x="132711" y="219687"/>
                </a:cubicBezTo>
                <a:cubicBezTo>
                  <a:pt x="132711" y="228071"/>
                  <a:pt x="139463" y="234997"/>
                  <a:pt x="147282" y="234997"/>
                </a:cubicBezTo>
                <a:cubicBezTo>
                  <a:pt x="155457" y="234997"/>
                  <a:pt x="162210" y="228071"/>
                  <a:pt x="162210" y="219687"/>
                </a:cubicBezTo>
                <a:cubicBezTo>
                  <a:pt x="162210" y="211303"/>
                  <a:pt x="155457" y="204741"/>
                  <a:pt x="147282" y="204741"/>
                </a:cubicBezTo>
                <a:close/>
                <a:moveTo>
                  <a:pt x="147282" y="195263"/>
                </a:moveTo>
                <a:cubicBezTo>
                  <a:pt x="160433" y="195263"/>
                  <a:pt x="171095" y="206199"/>
                  <a:pt x="171095" y="219687"/>
                </a:cubicBezTo>
                <a:cubicBezTo>
                  <a:pt x="171095" y="233175"/>
                  <a:pt x="160433" y="244111"/>
                  <a:pt x="147282" y="244111"/>
                </a:cubicBezTo>
                <a:cubicBezTo>
                  <a:pt x="134488" y="244111"/>
                  <a:pt x="123825" y="233175"/>
                  <a:pt x="123825" y="219687"/>
                </a:cubicBezTo>
                <a:cubicBezTo>
                  <a:pt x="123825" y="206199"/>
                  <a:pt x="134488" y="195263"/>
                  <a:pt x="147282" y="195263"/>
                </a:cubicBezTo>
                <a:close/>
                <a:moveTo>
                  <a:pt x="139929" y="152635"/>
                </a:moveTo>
                <a:lnTo>
                  <a:pt x="136343" y="173962"/>
                </a:lnTo>
                <a:cubicBezTo>
                  <a:pt x="136343" y="175769"/>
                  <a:pt x="134908" y="177215"/>
                  <a:pt x="133474" y="177576"/>
                </a:cubicBezTo>
                <a:cubicBezTo>
                  <a:pt x="131681" y="178299"/>
                  <a:pt x="129530" y="179022"/>
                  <a:pt x="127737" y="179745"/>
                </a:cubicBezTo>
                <a:cubicBezTo>
                  <a:pt x="126302" y="180830"/>
                  <a:pt x="124509" y="180468"/>
                  <a:pt x="123074" y="179384"/>
                </a:cubicBezTo>
                <a:lnTo>
                  <a:pt x="105862" y="167094"/>
                </a:lnTo>
                <a:cubicBezTo>
                  <a:pt x="101918" y="169985"/>
                  <a:pt x="98332" y="173962"/>
                  <a:pt x="95105" y="177938"/>
                </a:cubicBezTo>
                <a:lnTo>
                  <a:pt x="107655" y="195289"/>
                </a:lnTo>
                <a:cubicBezTo>
                  <a:pt x="108372" y="196735"/>
                  <a:pt x="108731" y="198542"/>
                  <a:pt x="107655" y="199988"/>
                </a:cubicBezTo>
                <a:cubicBezTo>
                  <a:pt x="106938" y="202157"/>
                  <a:pt x="106221" y="203964"/>
                  <a:pt x="105504" y="205772"/>
                </a:cubicBezTo>
                <a:cubicBezTo>
                  <a:pt x="105145" y="207217"/>
                  <a:pt x="103711" y="208663"/>
                  <a:pt x="101918" y="208663"/>
                </a:cubicBezTo>
                <a:lnTo>
                  <a:pt x="80761" y="212278"/>
                </a:lnTo>
                <a:cubicBezTo>
                  <a:pt x="80761" y="214808"/>
                  <a:pt x="80402" y="217339"/>
                  <a:pt x="80402" y="220231"/>
                </a:cubicBezTo>
                <a:cubicBezTo>
                  <a:pt x="80402" y="222761"/>
                  <a:pt x="80761" y="224930"/>
                  <a:pt x="80761" y="227821"/>
                </a:cubicBezTo>
                <a:lnTo>
                  <a:pt x="101918" y="231075"/>
                </a:lnTo>
                <a:cubicBezTo>
                  <a:pt x="103711" y="231436"/>
                  <a:pt x="105145" y="232521"/>
                  <a:pt x="105504" y="233967"/>
                </a:cubicBezTo>
                <a:cubicBezTo>
                  <a:pt x="106221" y="235774"/>
                  <a:pt x="106938" y="237943"/>
                  <a:pt x="107655" y="239750"/>
                </a:cubicBezTo>
                <a:cubicBezTo>
                  <a:pt x="108731" y="241196"/>
                  <a:pt x="108372" y="243003"/>
                  <a:pt x="107655" y="244449"/>
                </a:cubicBezTo>
                <a:lnTo>
                  <a:pt x="95105" y="261800"/>
                </a:lnTo>
                <a:cubicBezTo>
                  <a:pt x="98332" y="265776"/>
                  <a:pt x="101918" y="269753"/>
                  <a:pt x="105862" y="273006"/>
                </a:cubicBezTo>
                <a:lnTo>
                  <a:pt x="123074" y="260354"/>
                </a:lnTo>
                <a:cubicBezTo>
                  <a:pt x="124509" y="259270"/>
                  <a:pt x="126302" y="259270"/>
                  <a:pt x="127737" y="259993"/>
                </a:cubicBezTo>
                <a:cubicBezTo>
                  <a:pt x="129530" y="260716"/>
                  <a:pt x="131322" y="261439"/>
                  <a:pt x="133474" y="262162"/>
                </a:cubicBezTo>
                <a:cubicBezTo>
                  <a:pt x="134908" y="262523"/>
                  <a:pt x="136343" y="264330"/>
                  <a:pt x="136343" y="265776"/>
                </a:cubicBezTo>
                <a:lnTo>
                  <a:pt x="139929" y="287103"/>
                </a:lnTo>
                <a:cubicBezTo>
                  <a:pt x="144949" y="287826"/>
                  <a:pt x="150328" y="287826"/>
                  <a:pt x="155348" y="287103"/>
                </a:cubicBezTo>
                <a:lnTo>
                  <a:pt x="158575" y="265776"/>
                </a:lnTo>
                <a:cubicBezTo>
                  <a:pt x="158934" y="264330"/>
                  <a:pt x="160010" y="262523"/>
                  <a:pt x="161444" y="262162"/>
                </a:cubicBezTo>
                <a:cubicBezTo>
                  <a:pt x="163595" y="261439"/>
                  <a:pt x="165388" y="260716"/>
                  <a:pt x="167181" y="259993"/>
                </a:cubicBezTo>
                <a:cubicBezTo>
                  <a:pt x="168616" y="259270"/>
                  <a:pt x="170767" y="259270"/>
                  <a:pt x="171843" y="260354"/>
                </a:cubicBezTo>
                <a:lnTo>
                  <a:pt x="189055" y="273006"/>
                </a:lnTo>
                <a:cubicBezTo>
                  <a:pt x="193358" y="269753"/>
                  <a:pt x="196944" y="265776"/>
                  <a:pt x="200171" y="261800"/>
                </a:cubicBezTo>
                <a:lnTo>
                  <a:pt x="187262" y="244449"/>
                </a:lnTo>
                <a:cubicBezTo>
                  <a:pt x="186545" y="243003"/>
                  <a:pt x="186545" y="241196"/>
                  <a:pt x="187262" y="239750"/>
                </a:cubicBezTo>
                <a:cubicBezTo>
                  <a:pt x="187979" y="237943"/>
                  <a:pt x="189055" y="235774"/>
                  <a:pt x="189414" y="233967"/>
                </a:cubicBezTo>
                <a:cubicBezTo>
                  <a:pt x="190131" y="232521"/>
                  <a:pt x="191565" y="231436"/>
                  <a:pt x="193000" y="231075"/>
                </a:cubicBezTo>
                <a:lnTo>
                  <a:pt x="214156" y="227821"/>
                </a:lnTo>
                <a:cubicBezTo>
                  <a:pt x="214515" y="224930"/>
                  <a:pt x="214515" y="222399"/>
                  <a:pt x="214515" y="220231"/>
                </a:cubicBezTo>
                <a:cubicBezTo>
                  <a:pt x="214515" y="217339"/>
                  <a:pt x="214515" y="214808"/>
                  <a:pt x="214156" y="212278"/>
                </a:cubicBezTo>
                <a:lnTo>
                  <a:pt x="193000" y="208663"/>
                </a:lnTo>
                <a:cubicBezTo>
                  <a:pt x="191565" y="208663"/>
                  <a:pt x="190131" y="207217"/>
                  <a:pt x="189414" y="205772"/>
                </a:cubicBezTo>
                <a:cubicBezTo>
                  <a:pt x="189055" y="203964"/>
                  <a:pt x="187979" y="202157"/>
                  <a:pt x="187262" y="199988"/>
                </a:cubicBezTo>
                <a:cubicBezTo>
                  <a:pt x="186545" y="198542"/>
                  <a:pt x="186545" y="196735"/>
                  <a:pt x="187262" y="195289"/>
                </a:cubicBezTo>
                <a:lnTo>
                  <a:pt x="200171" y="177938"/>
                </a:lnTo>
                <a:cubicBezTo>
                  <a:pt x="196944" y="173962"/>
                  <a:pt x="193358" y="169985"/>
                  <a:pt x="189055" y="167094"/>
                </a:cubicBezTo>
                <a:lnTo>
                  <a:pt x="171843" y="179745"/>
                </a:lnTo>
                <a:cubicBezTo>
                  <a:pt x="170767" y="180468"/>
                  <a:pt x="168616" y="180830"/>
                  <a:pt x="167181" y="179745"/>
                </a:cubicBezTo>
                <a:cubicBezTo>
                  <a:pt x="165388" y="179022"/>
                  <a:pt x="163595" y="178299"/>
                  <a:pt x="161444" y="177576"/>
                </a:cubicBezTo>
                <a:cubicBezTo>
                  <a:pt x="160010" y="177215"/>
                  <a:pt x="158934" y="175769"/>
                  <a:pt x="158575" y="173962"/>
                </a:cubicBezTo>
                <a:lnTo>
                  <a:pt x="155348" y="152635"/>
                </a:lnTo>
                <a:cubicBezTo>
                  <a:pt x="150328" y="151912"/>
                  <a:pt x="144949" y="151912"/>
                  <a:pt x="139929" y="152635"/>
                </a:cubicBezTo>
                <a:close/>
                <a:moveTo>
                  <a:pt x="135267" y="144321"/>
                </a:moveTo>
                <a:cubicBezTo>
                  <a:pt x="143514" y="142875"/>
                  <a:pt x="151762" y="142875"/>
                  <a:pt x="160010" y="144321"/>
                </a:cubicBezTo>
                <a:cubicBezTo>
                  <a:pt x="161802" y="144682"/>
                  <a:pt x="163237" y="146128"/>
                  <a:pt x="163595" y="147936"/>
                </a:cubicBezTo>
                <a:lnTo>
                  <a:pt x="167181" y="169985"/>
                </a:lnTo>
                <a:cubicBezTo>
                  <a:pt x="167540" y="169985"/>
                  <a:pt x="168257" y="170347"/>
                  <a:pt x="168616" y="170708"/>
                </a:cubicBezTo>
                <a:lnTo>
                  <a:pt x="186545" y="157695"/>
                </a:lnTo>
                <a:cubicBezTo>
                  <a:pt x="187979" y="156611"/>
                  <a:pt x="190131" y="156611"/>
                  <a:pt x="191924" y="157695"/>
                </a:cubicBezTo>
                <a:cubicBezTo>
                  <a:pt x="198737" y="162395"/>
                  <a:pt x="204474" y="168540"/>
                  <a:pt x="209136" y="175408"/>
                </a:cubicBezTo>
                <a:cubicBezTo>
                  <a:pt x="210570" y="176854"/>
                  <a:pt x="210570" y="179022"/>
                  <a:pt x="209136" y="180468"/>
                </a:cubicBezTo>
                <a:lnTo>
                  <a:pt x="196227" y="198542"/>
                </a:lnTo>
                <a:cubicBezTo>
                  <a:pt x="196586" y="198904"/>
                  <a:pt x="196944" y="199627"/>
                  <a:pt x="197303" y="200349"/>
                </a:cubicBezTo>
                <a:lnTo>
                  <a:pt x="218818" y="203603"/>
                </a:lnTo>
                <a:cubicBezTo>
                  <a:pt x="220611" y="203964"/>
                  <a:pt x="222045" y="205772"/>
                  <a:pt x="222762" y="207579"/>
                </a:cubicBezTo>
                <a:cubicBezTo>
                  <a:pt x="223121" y="211917"/>
                  <a:pt x="223480" y="215893"/>
                  <a:pt x="223480" y="220231"/>
                </a:cubicBezTo>
                <a:cubicBezTo>
                  <a:pt x="223480" y="224207"/>
                  <a:pt x="223121" y="228183"/>
                  <a:pt x="222762" y="232159"/>
                </a:cubicBezTo>
                <a:cubicBezTo>
                  <a:pt x="222045" y="234328"/>
                  <a:pt x="220611" y="235774"/>
                  <a:pt x="218818" y="236135"/>
                </a:cubicBezTo>
                <a:lnTo>
                  <a:pt x="197303" y="239389"/>
                </a:lnTo>
                <a:cubicBezTo>
                  <a:pt x="196944" y="240112"/>
                  <a:pt x="196586" y="240835"/>
                  <a:pt x="196227" y="241196"/>
                </a:cubicBezTo>
                <a:lnTo>
                  <a:pt x="209136" y="259270"/>
                </a:lnTo>
                <a:cubicBezTo>
                  <a:pt x="210570" y="260716"/>
                  <a:pt x="210570" y="262884"/>
                  <a:pt x="209136" y="264692"/>
                </a:cubicBezTo>
                <a:cubicBezTo>
                  <a:pt x="204474" y="271560"/>
                  <a:pt x="198737" y="277343"/>
                  <a:pt x="191924" y="282404"/>
                </a:cubicBezTo>
                <a:cubicBezTo>
                  <a:pt x="190131" y="283127"/>
                  <a:pt x="187979" y="283127"/>
                  <a:pt x="186545" y="282404"/>
                </a:cubicBezTo>
                <a:lnTo>
                  <a:pt x="168616" y="269030"/>
                </a:lnTo>
                <a:cubicBezTo>
                  <a:pt x="168257" y="269391"/>
                  <a:pt x="167540" y="269753"/>
                  <a:pt x="167181" y="269753"/>
                </a:cubicBezTo>
                <a:lnTo>
                  <a:pt x="163595" y="291802"/>
                </a:lnTo>
                <a:cubicBezTo>
                  <a:pt x="163237" y="293610"/>
                  <a:pt x="161802" y="295056"/>
                  <a:pt x="160010" y="295779"/>
                </a:cubicBezTo>
                <a:cubicBezTo>
                  <a:pt x="155706" y="296140"/>
                  <a:pt x="151762" y="296502"/>
                  <a:pt x="147459" y="296502"/>
                </a:cubicBezTo>
                <a:cubicBezTo>
                  <a:pt x="143514" y="296502"/>
                  <a:pt x="139211" y="296140"/>
                  <a:pt x="135267" y="295779"/>
                </a:cubicBezTo>
                <a:cubicBezTo>
                  <a:pt x="133115" y="295056"/>
                  <a:pt x="131681" y="293610"/>
                  <a:pt x="131681" y="291802"/>
                </a:cubicBezTo>
                <a:lnTo>
                  <a:pt x="128095" y="269753"/>
                </a:lnTo>
                <a:cubicBezTo>
                  <a:pt x="127378" y="269753"/>
                  <a:pt x="126661" y="269391"/>
                  <a:pt x="126302" y="269030"/>
                </a:cubicBezTo>
                <a:lnTo>
                  <a:pt x="108372" y="282404"/>
                </a:lnTo>
                <a:cubicBezTo>
                  <a:pt x="106938" y="283127"/>
                  <a:pt x="104786" y="283127"/>
                  <a:pt x="103352" y="282404"/>
                </a:cubicBezTo>
                <a:cubicBezTo>
                  <a:pt x="96539" y="277343"/>
                  <a:pt x="90443" y="271560"/>
                  <a:pt x="85781" y="264692"/>
                </a:cubicBezTo>
                <a:cubicBezTo>
                  <a:pt x="84706" y="262884"/>
                  <a:pt x="84706" y="260716"/>
                  <a:pt x="85781" y="259270"/>
                </a:cubicBezTo>
                <a:lnTo>
                  <a:pt x="98690" y="241196"/>
                </a:lnTo>
                <a:cubicBezTo>
                  <a:pt x="98690" y="240835"/>
                  <a:pt x="98332" y="240112"/>
                  <a:pt x="97973" y="239389"/>
                </a:cubicBezTo>
                <a:lnTo>
                  <a:pt x="76099" y="236135"/>
                </a:lnTo>
                <a:cubicBezTo>
                  <a:pt x="74306" y="235774"/>
                  <a:pt x="72872" y="234328"/>
                  <a:pt x="72514" y="232159"/>
                </a:cubicBezTo>
                <a:cubicBezTo>
                  <a:pt x="71796" y="228183"/>
                  <a:pt x="71438" y="224207"/>
                  <a:pt x="71438" y="220231"/>
                </a:cubicBezTo>
                <a:cubicBezTo>
                  <a:pt x="71438" y="215893"/>
                  <a:pt x="71796" y="211555"/>
                  <a:pt x="72514" y="207579"/>
                </a:cubicBezTo>
                <a:cubicBezTo>
                  <a:pt x="72872" y="205772"/>
                  <a:pt x="74306" y="203964"/>
                  <a:pt x="76099" y="203603"/>
                </a:cubicBezTo>
                <a:lnTo>
                  <a:pt x="97973" y="200349"/>
                </a:lnTo>
                <a:cubicBezTo>
                  <a:pt x="98332" y="199627"/>
                  <a:pt x="98690" y="198904"/>
                  <a:pt x="98690" y="198542"/>
                </a:cubicBezTo>
                <a:lnTo>
                  <a:pt x="85781" y="180468"/>
                </a:lnTo>
                <a:cubicBezTo>
                  <a:pt x="84706" y="179022"/>
                  <a:pt x="84706" y="176854"/>
                  <a:pt x="85781" y="175408"/>
                </a:cubicBezTo>
                <a:cubicBezTo>
                  <a:pt x="90443" y="168540"/>
                  <a:pt x="96539" y="162395"/>
                  <a:pt x="103352" y="157695"/>
                </a:cubicBezTo>
                <a:cubicBezTo>
                  <a:pt x="104786" y="156611"/>
                  <a:pt x="106938" y="156611"/>
                  <a:pt x="108372" y="157695"/>
                </a:cubicBezTo>
                <a:lnTo>
                  <a:pt x="126302" y="170708"/>
                </a:lnTo>
                <a:cubicBezTo>
                  <a:pt x="127019" y="170347"/>
                  <a:pt x="127378" y="169985"/>
                  <a:pt x="128095" y="169985"/>
                </a:cubicBezTo>
                <a:lnTo>
                  <a:pt x="131681" y="147936"/>
                </a:lnTo>
                <a:cubicBezTo>
                  <a:pt x="131681" y="146128"/>
                  <a:pt x="133115" y="144682"/>
                  <a:pt x="135267" y="144321"/>
                </a:cubicBezTo>
                <a:close/>
                <a:moveTo>
                  <a:pt x="34519" y="107950"/>
                </a:moveTo>
                <a:lnTo>
                  <a:pt x="106405" y="107950"/>
                </a:lnTo>
                <a:cubicBezTo>
                  <a:pt x="108946" y="107950"/>
                  <a:pt x="110762" y="109855"/>
                  <a:pt x="110762" y="112522"/>
                </a:cubicBezTo>
                <a:cubicBezTo>
                  <a:pt x="110762" y="115189"/>
                  <a:pt x="108946" y="117094"/>
                  <a:pt x="106405" y="117094"/>
                </a:cubicBezTo>
                <a:lnTo>
                  <a:pt x="34519" y="117094"/>
                </a:lnTo>
                <a:cubicBezTo>
                  <a:pt x="32341" y="117094"/>
                  <a:pt x="30163" y="115189"/>
                  <a:pt x="30163" y="112522"/>
                </a:cubicBezTo>
                <a:cubicBezTo>
                  <a:pt x="30163" y="109855"/>
                  <a:pt x="32341" y="107950"/>
                  <a:pt x="34519" y="107950"/>
                </a:cubicBezTo>
                <a:close/>
                <a:moveTo>
                  <a:pt x="155512" y="71438"/>
                </a:moveTo>
                <a:lnTo>
                  <a:pt x="227077" y="71438"/>
                </a:lnTo>
                <a:cubicBezTo>
                  <a:pt x="229245" y="71438"/>
                  <a:pt x="231414" y="73343"/>
                  <a:pt x="231414" y="76010"/>
                </a:cubicBezTo>
                <a:cubicBezTo>
                  <a:pt x="231414" y="78677"/>
                  <a:pt x="229245" y="80582"/>
                  <a:pt x="227077" y="80582"/>
                </a:cubicBezTo>
                <a:lnTo>
                  <a:pt x="155512" y="80582"/>
                </a:lnTo>
                <a:cubicBezTo>
                  <a:pt x="152982" y="80582"/>
                  <a:pt x="150813" y="78677"/>
                  <a:pt x="150813" y="76010"/>
                </a:cubicBezTo>
                <a:cubicBezTo>
                  <a:pt x="150813" y="73343"/>
                  <a:pt x="152982" y="71438"/>
                  <a:pt x="155512" y="71438"/>
                </a:cubicBezTo>
                <a:close/>
                <a:moveTo>
                  <a:pt x="44673" y="44888"/>
                </a:moveTo>
                <a:lnTo>
                  <a:pt x="44673" y="71821"/>
                </a:lnTo>
                <a:lnTo>
                  <a:pt x="99795" y="71821"/>
                </a:lnTo>
                <a:cubicBezTo>
                  <a:pt x="109162" y="71821"/>
                  <a:pt x="117448" y="75412"/>
                  <a:pt x="124294" y="81876"/>
                </a:cubicBezTo>
                <a:lnTo>
                  <a:pt x="142667" y="100190"/>
                </a:lnTo>
                <a:cubicBezTo>
                  <a:pt x="147351" y="104858"/>
                  <a:pt x="153836" y="107731"/>
                  <a:pt x="160681" y="107731"/>
                </a:cubicBezTo>
                <a:lnTo>
                  <a:pt x="251469" y="107731"/>
                </a:lnTo>
                <a:lnTo>
                  <a:pt x="251469" y="44888"/>
                </a:lnTo>
                <a:lnTo>
                  <a:pt x="44673" y="44888"/>
                </a:lnTo>
                <a:close/>
                <a:moveTo>
                  <a:pt x="28101" y="8978"/>
                </a:moveTo>
                <a:cubicBezTo>
                  <a:pt x="17653" y="8978"/>
                  <a:pt x="8646" y="17596"/>
                  <a:pt x="8646" y="28369"/>
                </a:cubicBezTo>
                <a:lnTo>
                  <a:pt x="8646" y="79362"/>
                </a:lnTo>
                <a:cubicBezTo>
                  <a:pt x="14050" y="74693"/>
                  <a:pt x="20895" y="71821"/>
                  <a:pt x="28101" y="71821"/>
                </a:cubicBezTo>
                <a:lnTo>
                  <a:pt x="36027" y="71821"/>
                </a:lnTo>
                <a:lnTo>
                  <a:pt x="36027" y="40220"/>
                </a:lnTo>
                <a:cubicBezTo>
                  <a:pt x="36027" y="38065"/>
                  <a:pt x="37828" y="35910"/>
                  <a:pt x="40350" y="35910"/>
                </a:cubicBezTo>
                <a:lnTo>
                  <a:pt x="255792" y="35910"/>
                </a:lnTo>
                <a:cubicBezTo>
                  <a:pt x="258314" y="35910"/>
                  <a:pt x="260476" y="38065"/>
                  <a:pt x="260476" y="40220"/>
                </a:cubicBezTo>
                <a:lnTo>
                  <a:pt x="260476" y="107731"/>
                </a:lnTo>
                <a:lnTo>
                  <a:pt x="268042" y="107731"/>
                </a:lnTo>
                <a:cubicBezTo>
                  <a:pt x="275247" y="107731"/>
                  <a:pt x="282452" y="110604"/>
                  <a:pt x="287496" y="115272"/>
                </a:cubicBezTo>
                <a:lnTo>
                  <a:pt x="287496" y="28369"/>
                </a:lnTo>
                <a:cubicBezTo>
                  <a:pt x="287496" y="17596"/>
                  <a:pt x="278489" y="8978"/>
                  <a:pt x="268042" y="8978"/>
                </a:cubicBezTo>
                <a:lnTo>
                  <a:pt x="28101" y="8978"/>
                </a:lnTo>
                <a:close/>
                <a:moveTo>
                  <a:pt x="28101" y="0"/>
                </a:moveTo>
                <a:lnTo>
                  <a:pt x="268042" y="0"/>
                </a:lnTo>
                <a:cubicBezTo>
                  <a:pt x="283533" y="0"/>
                  <a:pt x="296503" y="12928"/>
                  <a:pt x="296503" y="28369"/>
                </a:cubicBezTo>
                <a:lnTo>
                  <a:pt x="296503" y="231263"/>
                </a:lnTo>
                <a:cubicBezTo>
                  <a:pt x="296503" y="247063"/>
                  <a:pt x="283533" y="259991"/>
                  <a:pt x="268042" y="259991"/>
                </a:cubicBezTo>
                <a:lnTo>
                  <a:pt x="226250" y="259991"/>
                </a:lnTo>
                <a:cubicBezTo>
                  <a:pt x="223728" y="259991"/>
                  <a:pt x="221567" y="257836"/>
                  <a:pt x="221567" y="255323"/>
                </a:cubicBezTo>
                <a:cubicBezTo>
                  <a:pt x="221567" y="252809"/>
                  <a:pt x="223728" y="250654"/>
                  <a:pt x="226250" y="250654"/>
                </a:cubicBezTo>
                <a:lnTo>
                  <a:pt x="268042" y="250654"/>
                </a:lnTo>
                <a:cubicBezTo>
                  <a:pt x="278489" y="250654"/>
                  <a:pt x="287496" y="242036"/>
                  <a:pt x="287496" y="231263"/>
                </a:cubicBezTo>
                <a:lnTo>
                  <a:pt x="287496" y="135741"/>
                </a:lnTo>
                <a:cubicBezTo>
                  <a:pt x="287496" y="124968"/>
                  <a:pt x="278489" y="116349"/>
                  <a:pt x="268042" y="116349"/>
                </a:cubicBezTo>
                <a:lnTo>
                  <a:pt x="160681" y="116349"/>
                </a:lnTo>
                <a:cubicBezTo>
                  <a:pt x="151314" y="116349"/>
                  <a:pt x="142667" y="112758"/>
                  <a:pt x="136183" y="106654"/>
                </a:cubicBezTo>
                <a:lnTo>
                  <a:pt x="117808" y="88339"/>
                </a:lnTo>
                <a:cubicBezTo>
                  <a:pt x="112764" y="83312"/>
                  <a:pt x="106640" y="80439"/>
                  <a:pt x="99795" y="80439"/>
                </a:cubicBezTo>
                <a:lnTo>
                  <a:pt x="28101" y="80439"/>
                </a:lnTo>
                <a:cubicBezTo>
                  <a:pt x="17653" y="80439"/>
                  <a:pt x="8646" y="89417"/>
                  <a:pt x="8646" y="99831"/>
                </a:cubicBezTo>
                <a:lnTo>
                  <a:pt x="8646" y="231263"/>
                </a:lnTo>
                <a:cubicBezTo>
                  <a:pt x="8646" y="242036"/>
                  <a:pt x="17653" y="250654"/>
                  <a:pt x="28101" y="250654"/>
                </a:cubicBezTo>
                <a:lnTo>
                  <a:pt x="70253" y="250654"/>
                </a:lnTo>
                <a:cubicBezTo>
                  <a:pt x="72774" y="250654"/>
                  <a:pt x="74936" y="252809"/>
                  <a:pt x="74936" y="255323"/>
                </a:cubicBezTo>
                <a:cubicBezTo>
                  <a:pt x="74936" y="257836"/>
                  <a:pt x="72774" y="259991"/>
                  <a:pt x="70253" y="259991"/>
                </a:cubicBezTo>
                <a:lnTo>
                  <a:pt x="28101" y="259991"/>
                </a:lnTo>
                <a:cubicBezTo>
                  <a:pt x="12609" y="259991"/>
                  <a:pt x="0" y="247063"/>
                  <a:pt x="0" y="231263"/>
                </a:cubicBezTo>
                <a:lnTo>
                  <a:pt x="0" y="28369"/>
                </a:lnTo>
                <a:cubicBezTo>
                  <a:pt x="0" y="12928"/>
                  <a:pt x="12609" y="0"/>
                  <a:pt x="281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6" name="Freeform 936">
            <a:extLst>
              <a:ext uri="{FF2B5EF4-FFF2-40B4-BE49-F238E27FC236}">
                <a16:creationId xmlns:a16="http://schemas.microsoft.com/office/drawing/2014/main" id="{8C35B41B-52F3-3943-4751-9E0A7EDB78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5783" y="3498617"/>
            <a:ext cx="697879" cy="697881"/>
          </a:xfrm>
          <a:custGeom>
            <a:avLst/>
            <a:gdLst>
              <a:gd name="T0" fmla="*/ 1806716 w 296503"/>
              <a:gd name="T1" fmla="*/ 2521042 h 296053"/>
              <a:gd name="T2" fmla="*/ 1728165 w 296503"/>
              <a:gd name="T3" fmla="*/ 2548969 h 296053"/>
              <a:gd name="T4" fmla="*/ 1476798 w 296503"/>
              <a:gd name="T5" fmla="*/ 2660632 h 296053"/>
              <a:gd name="T6" fmla="*/ 1500362 w 296503"/>
              <a:gd name="T7" fmla="*/ 2780290 h 296053"/>
              <a:gd name="T8" fmla="*/ 1315761 w 296503"/>
              <a:gd name="T9" fmla="*/ 2991678 h 296053"/>
              <a:gd name="T10" fmla="*/ 2525481 w 296503"/>
              <a:gd name="T11" fmla="*/ 3179152 h 296053"/>
              <a:gd name="T12" fmla="*/ 2470489 w 296503"/>
              <a:gd name="T13" fmla="*/ 2672592 h 296053"/>
              <a:gd name="T14" fmla="*/ 2415490 w 296503"/>
              <a:gd name="T15" fmla="*/ 2616767 h 296053"/>
              <a:gd name="T16" fmla="*/ 2113062 w 296503"/>
              <a:gd name="T17" fmla="*/ 2245832 h 296053"/>
              <a:gd name="T18" fmla="*/ 620564 w 296503"/>
              <a:gd name="T19" fmla="*/ 1950682 h 296053"/>
              <a:gd name="T20" fmla="*/ 616653 w 296503"/>
              <a:gd name="T21" fmla="*/ 2082305 h 296053"/>
              <a:gd name="T22" fmla="*/ 490982 w 296503"/>
              <a:gd name="T23" fmla="*/ 2086293 h 296053"/>
              <a:gd name="T24" fmla="*/ 490982 w 296503"/>
              <a:gd name="T25" fmla="*/ 2883965 h 296053"/>
              <a:gd name="T26" fmla="*/ 1390395 w 296503"/>
              <a:gd name="T27" fmla="*/ 2728441 h 296053"/>
              <a:gd name="T28" fmla="*/ 1626051 w 296503"/>
              <a:gd name="T29" fmla="*/ 2409355 h 296053"/>
              <a:gd name="T30" fmla="*/ 2050226 w 296503"/>
              <a:gd name="T31" fmla="*/ 2154103 h 296053"/>
              <a:gd name="T32" fmla="*/ 1810640 w 296503"/>
              <a:gd name="T33" fmla="*/ 1854948 h 296053"/>
              <a:gd name="T34" fmla="*/ 1598554 w 296503"/>
              <a:gd name="T35" fmla="*/ 1926755 h 296053"/>
              <a:gd name="T36" fmla="*/ 1095805 w 296503"/>
              <a:gd name="T37" fmla="*/ 1464107 h 296053"/>
              <a:gd name="T38" fmla="*/ 1225427 w 296503"/>
              <a:gd name="T39" fmla="*/ 1380337 h 296053"/>
              <a:gd name="T40" fmla="*/ 1810640 w 296503"/>
              <a:gd name="T41" fmla="*/ 1755248 h 296053"/>
              <a:gd name="T42" fmla="*/ 2446917 w 296503"/>
              <a:gd name="T43" fmla="*/ 1416233 h 296053"/>
              <a:gd name="T44" fmla="*/ 1834210 w 296503"/>
              <a:gd name="T45" fmla="*/ 698292 h 296053"/>
              <a:gd name="T46" fmla="*/ 2148417 w 296503"/>
              <a:gd name="T47" fmla="*/ 2058369 h 296053"/>
              <a:gd name="T48" fmla="*/ 2148417 w 296503"/>
              <a:gd name="T49" fmla="*/ 2150122 h 296053"/>
              <a:gd name="T50" fmla="*/ 2517618 w 296503"/>
              <a:gd name="T51" fmla="*/ 2568903 h 296053"/>
              <a:gd name="T52" fmla="*/ 2525481 w 296503"/>
              <a:gd name="T53" fmla="*/ 3278851 h 296053"/>
              <a:gd name="T54" fmla="*/ 1217570 w 296503"/>
              <a:gd name="T55" fmla="*/ 2991678 h 296053"/>
              <a:gd name="T56" fmla="*/ 490982 w 296503"/>
              <a:gd name="T57" fmla="*/ 2983689 h 296053"/>
              <a:gd name="T58" fmla="*/ 526313 w 296503"/>
              <a:gd name="T59" fmla="*/ 1990572 h 296053"/>
              <a:gd name="T60" fmla="*/ 1095805 w 296503"/>
              <a:gd name="T61" fmla="*/ 1368373 h 296053"/>
              <a:gd name="T62" fmla="*/ 1834210 w 296503"/>
              <a:gd name="T63" fmla="*/ 698292 h 296053"/>
              <a:gd name="T64" fmla="*/ 1873792 w 296503"/>
              <a:gd name="T65" fmla="*/ 14933 h 296053"/>
              <a:gd name="T66" fmla="*/ 2794579 w 296503"/>
              <a:gd name="T67" fmla="*/ 400998 h 296053"/>
              <a:gd name="T68" fmla="*/ 2841802 w 296503"/>
              <a:gd name="T69" fmla="*/ 994075 h 296053"/>
              <a:gd name="T70" fmla="*/ 3239232 w 296503"/>
              <a:gd name="T71" fmla="*/ 1415991 h 296053"/>
              <a:gd name="T72" fmla="*/ 2841802 w 296503"/>
              <a:gd name="T73" fmla="*/ 1837894 h 296053"/>
              <a:gd name="T74" fmla="*/ 2794579 w 296503"/>
              <a:gd name="T75" fmla="*/ 2434932 h 296053"/>
              <a:gd name="T76" fmla="*/ 2578164 w 296503"/>
              <a:gd name="T77" fmla="*/ 2383192 h 296053"/>
              <a:gd name="T78" fmla="*/ 2743420 w 296503"/>
              <a:gd name="T79" fmla="*/ 2335427 h 296053"/>
              <a:gd name="T80" fmla="*/ 2759168 w 296503"/>
              <a:gd name="T81" fmla="*/ 1782153 h 296053"/>
              <a:gd name="T82" fmla="*/ 2759168 w 296503"/>
              <a:gd name="T83" fmla="*/ 1049779 h 296053"/>
              <a:gd name="T84" fmla="*/ 2743420 w 296503"/>
              <a:gd name="T85" fmla="*/ 500517 h 296053"/>
              <a:gd name="T86" fmla="*/ 2200401 w 296503"/>
              <a:gd name="T87" fmla="*/ 484585 h 296053"/>
              <a:gd name="T88" fmla="*/ 1476353 w 296503"/>
              <a:gd name="T89" fmla="*/ 484585 h 296053"/>
              <a:gd name="T90" fmla="*/ 933332 w 296503"/>
              <a:gd name="T91" fmla="*/ 500517 h 296053"/>
              <a:gd name="T92" fmla="*/ 917581 w 296503"/>
              <a:gd name="T93" fmla="*/ 1049779 h 296053"/>
              <a:gd name="T94" fmla="*/ 590998 w 296503"/>
              <a:gd name="T95" fmla="*/ 1451815 h 296053"/>
              <a:gd name="T96" fmla="*/ 524086 w 296503"/>
              <a:gd name="T97" fmla="*/ 1519446 h 296053"/>
              <a:gd name="T98" fmla="*/ 453259 w 296503"/>
              <a:gd name="T99" fmla="*/ 1380163 h 296053"/>
              <a:gd name="T100" fmla="*/ 834959 w 296503"/>
              <a:gd name="T101" fmla="*/ 448764 h 296053"/>
              <a:gd name="T102" fmla="*/ 1425206 w 296503"/>
              <a:gd name="T103" fmla="*/ 400998 h 29605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96503" h="296053">
                <a:moveTo>
                  <a:pt x="193419" y="202780"/>
                </a:moveTo>
                <a:cubicBezTo>
                  <a:pt x="179398" y="202780"/>
                  <a:pt x="167175" y="213584"/>
                  <a:pt x="165377" y="227629"/>
                </a:cubicBezTo>
                <a:cubicBezTo>
                  <a:pt x="165377" y="229069"/>
                  <a:pt x="164299" y="230510"/>
                  <a:pt x="162501" y="231230"/>
                </a:cubicBezTo>
                <a:cubicBezTo>
                  <a:pt x="161063" y="231590"/>
                  <a:pt x="159266" y="231230"/>
                  <a:pt x="158187" y="230150"/>
                </a:cubicBezTo>
                <a:cubicBezTo>
                  <a:pt x="155671" y="227989"/>
                  <a:pt x="152075" y="226548"/>
                  <a:pt x="148840" y="226548"/>
                </a:cubicBezTo>
                <a:cubicBezTo>
                  <a:pt x="141290" y="226548"/>
                  <a:pt x="135178" y="232670"/>
                  <a:pt x="135178" y="240233"/>
                </a:cubicBezTo>
                <a:cubicBezTo>
                  <a:pt x="135178" y="242754"/>
                  <a:pt x="135897" y="244915"/>
                  <a:pt x="136976" y="246715"/>
                </a:cubicBezTo>
                <a:cubicBezTo>
                  <a:pt x="137695" y="248156"/>
                  <a:pt x="137695" y="249596"/>
                  <a:pt x="137335" y="251037"/>
                </a:cubicBezTo>
                <a:cubicBezTo>
                  <a:pt x="136616" y="252477"/>
                  <a:pt x="135538" y="253198"/>
                  <a:pt x="134100" y="253558"/>
                </a:cubicBezTo>
                <a:cubicBezTo>
                  <a:pt x="125831" y="255358"/>
                  <a:pt x="120438" y="262201"/>
                  <a:pt x="120438" y="270124"/>
                </a:cubicBezTo>
                <a:cubicBezTo>
                  <a:pt x="120438" y="279487"/>
                  <a:pt x="127988" y="287050"/>
                  <a:pt x="137335" y="287050"/>
                </a:cubicBezTo>
                <a:lnTo>
                  <a:pt x="231169" y="287050"/>
                </a:lnTo>
                <a:cubicBezTo>
                  <a:pt x="243752" y="287050"/>
                  <a:pt x="254178" y="276606"/>
                  <a:pt x="254178" y="264002"/>
                </a:cubicBezTo>
                <a:cubicBezTo>
                  <a:pt x="254178" y="249957"/>
                  <a:pt x="241235" y="238432"/>
                  <a:pt x="226135" y="241313"/>
                </a:cubicBezTo>
                <a:cubicBezTo>
                  <a:pt x="224697" y="242034"/>
                  <a:pt x="223259" y="241313"/>
                  <a:pt x="222181" y="240233"/>
                </a:cubicBezTo>
                <a:cubicBezTo>
                  <a:pt x="221102" y="239153"/>
                  <a:pt x="220743" y="237712"/>
                  <a:pt x="221102" y="236272"/>
                </a:cubicBezTo>
                <a:cubicBezTo>
                  <a:pt x="221462" y="234471"/>
                  <a:pt x="221462" y="232670"/>
                  <a:pt x="221462" y="231230"/>
                </a:cubicBezTo>
                <a:cubicBezTo>
                  <a:pt x="221462" y="215744"/>
                  <a:pt x="208879" y="202780"/>
                  <a:pt x="193419" y="202780"/>
                </a:cubicBezTo>
                <a:close/>
                <a:moveTo>
                  <a:pt x="100305" y="132195"/>
                </a:moveTo>
                <a:cubicBezTo>
                  <a:pt x="76577" y="132195"/>
                  <a:pt x="56804" y="152002"/>
                  <a:pt x="56804" y="176130"/>
                </a:cubicBezTo>
                <a:cubicBezTo>
                  <a:pt x="56804" y="178651"/>
                  <a:pt x="57163" y="181172"/>
                  <a:pt x="57882" y="184053"/>
                </a:cubicBezTo>
                <a:cubicBezTo>
                  <a:pt x="57882" y="185494"/>
                  <a:pt x="57523" y="186934"/>
                  <a:pt x="56444" y="188015"/>
                </a:cubicBezTo>
                <a:cubicBezTo>
                  <a:pt x="55366" y="189095"/>
                  <a:pt x="53928" y="189455"/>
                  <a:pt x="52490" y="189095"/>
                </a:cubicBezTo>
                <a:cubicBezTo>
                  <a:pt x="49973" y="188735"/>
                  <a:pt x="47456" y="188375"/>
                  <a:pt x="44940" y="188375"/>
                </a:cubicBezTo>
                <a:cubicBezTo>
                  <a:pt x="25166" y="188375"/>
                  <a:pt x="8988" y="204580"/>
                  <a:pt x="8988" y="224387"/>
                </a:cubicBezTo>
                <a:cubicBezTo>
                  <a:pt x="8988" y="244555"/>
                  <a:pt x="25166" y="260400"/>
                  <a:pt x="44940" y="260400"/>
                </a:cubicBezTo>
                <a:lnTo>
                  <a:pt x="113248" y="260400"/>
                </a:lnTo>
                <a:cubicBezTo>
                  <a:pt x="115764" y="254278"/>
                  <a:pt x="120798" y="249236"/>
                  <a:pt x="127269" y="246355"/>
                </a:cubicBezTo>
                <a:cubicBezTo>
                  <a:pt x="126550" y="244555"/>
                  <a:pt x="126550" y="242394"/>
                  <a:pt x="126550" y="240233"/>
                </a:cubicBezTo>
                <a:cubicBezTo>
                  <a:pt x="126550" y="227989"/>
                  <a:pt x="136616" y="217545"/>
                  <a:pt x="148840" y="217545"/>
                </a:cubicBezTo>
                <a:cubicBezTo>
                  <a:pt x="152075" y="217545"/>
                  <a:pt x="155311" y="218265"/>
                  <a:pt x="158187" y="219706"/>
                </a:cubicBezTo>
                <a:cubicBezTo>
                  <a:pt x="162142" y="206381"/>
                  <a:pt x="174006" y="196658"/>
                  <a:pt x="187667" y="194497"/>
                </a:cubicBezTo>
                <a:cubicBezTo>
                  <a:pt x="188027" y="192696"/>
                  <a:pt x="188027" y="191256"/>
                  <a:pt x="188027" y="189455"/>
                </a:cubicBezTo>
                <a:cubicBezTo>
                  <a:pt x="188027" y="177211"/>
                  <a:pt x="177960" y="167487"/>
                  <a:pt x="165737" y="167487"/>
                </a:cubicBezTo>
                <a:cubicBezTo>
                  <a:pt x="160344" y="167487"/>
                  <a:pt x="155311" y="169288"/>
                  <a:pt x="150997" y="173249"/>
                </a:cubicBezTo>
                <a:cubicBezTo>
                  <a:pt x="149918" y="173970"/>
                  <a:pt x="148121" y="174690"/>
                  <a:pt x="146323" y="173970"/>
                </a:cubicBezTo>
                <a:cubicBezTo>
                  <a:pt x="144885" y="173609"/>
                  <a:pt x="143807" y="172169"/>
                  <a:pt x="143807" y="170368"/>
                </a:cubicBezTo>
                <a:cubicBezTo>
                  <a:pt x="140930" y="148761"/>
                  <a:pt x="122236" y="132195"/>
                  <a:pt x="100305" y="132195"/>
                </a:cubicBezTo>
                <a:close/>
                <a:moveTo>
                  <a:pt x="167894" y="71693"/>
                </a:moveTo>
                <a:cubicBezTo>
                  <a:pt x="138054" y="71693"/>
                  <a:pt x="113607" y="95462"/>
                  <a:pt x="112169" y="124632"/>
                </a:cubicBezTo>
                <a:cubicBezTo>
                  <a:pt x="130864" y="128954"/>
                  <a:pt x="145964" y="143359"/>
                  <a:pt x="150997" y="162085"/>
                </a:cubicBezTo>
                <a:cubicBezTo>
                  <a:pt x="155671" y="159564"/>
                  <a:pt x="160704" y="158484"/>
                  <a:pt x="165737" y="158484"/>
                </a:cubicBezTo>
                <a:cubicBezTo>
                  <a:pt x="178679" y="158484"/>
                  <a:pt x="189465" y="166047"/>
                  <a:pt x="194498" y="176851"/>
                </a:cubicBezTo>
                <a:cubicBezTo>
                  <a:pt x="212114" y="167487"/>
                  <a:pt x="223978" y="149121"/>
                  <a:pt x="223978" y="127873"/>
                </a:cubicBezTo>
                <a:cubicBezTo>
                  <a:pt x="223978" y="96902"/>
                  <a:pt x="198812" y="71693"/>
                  <a:pt x="167894" y="71693"/>
                </a:cubicBezTo>
                <a:close/>
                <a:moveTo>
                  <a:pt x="167894" y="63050"/>
                </a:moveTo>
                <a:cubicBezTo>
                  <a:pt x="203486" y="63050"/>
                  <a:pt x="232966" y="92220"/>
                  <a:pt x="232966" y="127873"/>
                </a:cubicBezTo>
                <a:cubicBezTo>
                  <a:pt x="232966" y="153442"/>
                  <a:pt x="217867" y="175410"/>
                  <a:pt x="196655" y="185854"/>
                </a:cubicBezTo>
                <a:cubicBezTo>
                  <a:pt x="197015" y="187294"/>
                  <a:pt x="197015" y="188375"/>
                  <a:pt x="197015" y="189455"/>
                </a:cubicBezTo>
                <a:cubicBezTo>
                  <a:pt x="197015" y="191256"/>
                  <a:pt x="197015" y="192696"/>
                  <a:pt x="196655" y="194137"/>
                </a:cubicBezTo>
                <a:cubicBezTo>
                  <a:pt x="215709" y="195577"/>
                  <a:pt x="230450" y="211783"/>
                  <a:pt x="230450" y="231230"/>
                </a:cubicBezTo>
                <a:cubicBezTo>
                  <a:pt x="230450" y="231590"/>
                  <a:pt x="230450" y="231590"/>
                  <a:pt x="230450" y="231950"/>
                </a:cubicBezTo>
                <a:cubicBezTo>
                  <a:pt x="248425" y="231950"/>
                  <a:pt x="263165" y="246355"/>
                  <a:pt x="263165" y="264002"/>
                </a:cubicBezTo>
                <a:cubicBezTo>
                  <a:pt x="263165" y="281648"/>
                  <a:pt x="248785" y="296053"/>
                  <a:pt x="231169" y="296053"/>
                </a:cubicBezTo>
                <a:lnTo>
                  <a:pt x="137335" y="296053"/>
                </a:lnTo>
                <a:cubicBezTo>
                  <a:pt x="122955" y="296053"/>
                  <a:pt x="111450" y="284529"/>
                  <a:pt x="111450" y="270124"/>
                </a:cubicBezTo>
                <a:cubicBezTo>
                  <a:pt x="111450" y="270124"/>
                  <a:pt x="111450" y="269764"/>
                  <a:pt x="111450" y="269403"/>
                </a:cubicBezTo>
                <a:lnTo>
                  <a:pt x="44940" y="269403"/>
                </a:lnTo>
                <a:cubicBezTo>
                  <a:pt x="20133" y="269403"/>
                  <a:pt x="0" y="249236"/>
                  <a:pt x="0" y="224387"/>
                </a:cubicBezTo>
                <a:cubicBezTo>
                  <a:pt x="0" y="198818"/>
                  <a:pt x="21931" y="177571"/>
                  <a:pt x="48175" y="179732"/>
                </a:cubicBezTo>
                <a:cubicBezTo>
                  <a:pt x="48175" y="178291"/>
                  <a:pt x="48175" y="177211"/>
                  <a:pt x="48175" y="176130"/>
                </a:cubicBezTo>
                <a:cubicBezTo>
                  <a:pt x="48175" y="146960"/>
                  <a:pt x="71544" y="123552"/>
                  <a:pt x="100305" y="123552"/>
                </a:cubicBezTo>
                <a:cubicBezTo>
                  <a:pt x="101384" y="123552"/>
                  <a:pt x="102462" y="123552"/>
                  <a:pt x="103181" y="123552"/>
                </a:cubicBezTo>
                <a:cubicBezTo>
                  <a:pt x="105338" y="89700"/>
                  <a:pt x="133740" y="63050"/>
                  <a:pt x="167894" y="63050"/>
                </a:cubicBezTo>
                <a:close/>
                <a:moveTo>
                  <a:pt x="165394" y="1347"/>
                </a:moveTo>
                <a:cubicBezTo>
                  <a:pt x="166835" y="-450"/>
                  <a:pt x="169717" y="-450"/>
                  <a:pt x="171517" y="1347"/>
                </a:cubicBezTo>
                <a:lnTo>
                  <a:pt x="206456" y="36207"/>
                </a:lnTo>
                <a:lnTo>
                  <a:pt x="255801" y="36207"/>
                </a:lnTo>
                <a:cubicBezTo>
                  <a:pt x="258323" y="36207"/>
                  <a:pt x="260124" y="38004"/>
                  <a:pt x="260124" y="40520"/>
                </a:cubicBezTo>
                <a:lnTo>
                  <a:pt x="260124" y="89756"/>
                </a:lnTo>
                <a:lnTo>
                  <a:pt x="295062" y="124616"/>
                </a:lnTo>
                <a:cubicBezTo>
                  <a:pt x="295782" y="125335"/>
                  <a:pt x="296503" y="126773"/>
                  <a:pt x="296503" y="127851"/>
                </a:cubicBezTo>
                <a:cubicBezTo>
                  <a:pt x="296503" y="128929"/>
                  <a:pt x="295782" y="130007"/>
                  <a:pt x="295062" y="131085"/>
                </a:cubicBezTo>
                <a:lnTo>
                  <a:pt x="260124" y="165946"/>
                </a:lnTo>
                <a:lnTo>
                  <a:pt x="260124" y="215182"/>
                </a:lnTo>
                <a:cubicBezTo>
                  <a:pt x="260124" y="217697"/>
                  <a:pt x="258323" y="219854"/>
                  <a:pt x="255801" y="219854"/>
                </a:cubicBezTo>
                <a:lnTo>
                  <a:pt x="240313" y="219854"/>
                </a:lnTo>
                <a:cubicBezTo>
                  <a:pt x="238152" y="219854"/>
                  <a:pt x="235991" y="217697"/>
                  <a:pt x="235991" y="215182"/>
                </a:cubicBezTo>
                <a:cubicBezTo>
                  <a:pt x="235991" y="212666"/>
                  <a:pt x="238152" y="210869"/>
                  <a:pt x="240313" y="210869"/>
                </a:cubicBezTo>
                <a:lnTo>
                  <a:pt x="251119" y="210869"/>
                </a:lnTo>
                <a:lnTo>
                  <a:pt x="251119" y="164149"/>
                </a:lnTo>
                <a:cubicBezTo>
                  <a:pt x="251119" y="162711"/>
                  <a:pt x="251839" y="161993"/>
                  <a:pt x="252560" y="160914"/>
                </a:cubicBezTo>
                <a:lnTo>
                  <a:pt x="285697" y="127851"/>
                </a:lnTo>
                <a:lnTo>
                  <a:pt x="252560" y="94787"/>
                </a:lnTo>
                <a:cubicBezTo>
                  <a:pt x="251839" y="94069"/>
                  <a:pt x="251119" y="92990"/>
                  <a:pt x="251119" y="91912"/>
                </a:cubicBezTo>
                <a:lnTo>
                  <a:pt x="251119" y="45192"/>
                </a:lnTo>
                <a:lnTo>
                  <a:pt x="204655" y="45192"/>
                </a:lnTo>
                <a:cubicBezTo>
                  <a:pt x="203214" y="45192"/>
                  <a:pt x="202133" y="44833"/>
                  <a:pt x="201413" y="43754"/>
                </a:cubicBezTo>
                <a:lnTo>
                  <a:pt x="168276" y="10691"/>
                </a:lnTo>
                <a:lnTo>
                  <a:pt x="135138" y="43754"/>
                </a:lnTo>
                <a:cubicBezTo>
                  <a:pt x="134418" y="44833"/>
                  <a:pt x="133337" y="45192"/>
                  <a:pt x="131897" y="45192"/>
                </a:cubicBezTo>
                <a:lnTo>
                  <a:pt x="85432" y="45192"/>
                </a:lnTo>
                <a:lnTo>
                  <a:pt x="85432" y="91912"/>
                </a:lnTo>
                <a:cubicBezTo>
                  <a:pt x="85432" y="92990"/>
                  <a:pt x="84712" y="94069"/>
                  <a:pt x="83992" y="94787"/>
                </a:cubicBezTo>
                <a:lnTo>
                  <a:pt x="50854" y="127851"/>
                </a:lnTo>
                <a:lnTo>
                  <a:pt x="54096" y="131085"/>
                </a:lnTo>
                <a:cubicBezTo>
                  <a:pt x="55897" y="132523"/>
                  <a:pt x="55897" y="135757"/>
                  <a:pt x="54096" y="137195"/>
                </a:cubicBezTo>
                <a:cubicBezTo>
                  <a:pt x="52295" y="138992"/>
                  <a:pt x="49413" y="138992"/>
                  <a:pt x="47973" y="137195"/>
                </a:cubicBezTo>
                <a:lnTo>
                  <a:pt x="41489" y="131085"/>
                </a:lnTo>
                <a:cubicBezTo>
                  <a:pt x="39688" y="129288"/>
                  <a:pt x="39688" y="126413"/>
                  <a:pt x="41489" y="124616"/>
                </a:cubicBezTo>
                <a:lnTo>
                  <a:pt x="76428" y="89756"/>
                </a:lnTo>
                <a:lnTo>
                  <a:pt x="76428" y="40520"/>
                </a:lnTo>
                <a:cubicBezTo>
                  <a:pt x="76428" y="38004"/>
                  <a:pt x="78228" y="36207"/>
                  <a:pt x="80750" y="36207"/>
                </a:cubicBezTo>
                <a:lnTo>
                  <a:pt x="130456" y="36207"/>
                </a:lnTo>
                <a:lnTo>
                  <a:pt x="165394" y="1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358B3B6C-3858-204E-51BF-3346D9893F7A}"/>
              </a:ext>
            </a:extLst>
          </p:cNvPr>
          <p:cNvGrpSpPr/>
          <p:nvPr/>
        </p:nvGrpSpPr>
        <p:grpSpPr>
          <a:xfrm>
            <a:off x="2720440" y="1611444"/>
            <a:ext cx="1593259" cy="923330"/>
            <a:chOff x="1269727" y="4911555"/>
            <a:chExt cx="1593259" cy="1437036"/>
          </a:xfrm>
        </p:grpSpPr>
        <p:sp>
          <p:nvSpPr>
            <p:cNvPr id="21" name="Shape 29506">
              <a:extLst>
                <a:ext uri="{FF2B5EF4-FFF2-40B4-BE49-F238E27FC236}">
                  <a16:creationId xmlns:a16="http://schemas.microsoft.com/office/drawing/2014/main" id="{55FE03BA-CC9C-6608-C88E-0BED9A3FB200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22" name="Subtitle 2">
              <a:extLst>
                <a:ext uri="{FF2B5EF4-FFF2-40B4-BE49-F238E27FC236}">
                  <a16:creationId xmlns:a16="http://schemas.microsoft.com/office/drawing/2014/main" id="{976A54C5-BC17-0CF5-BE0F-6C98A5086864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l"/>
              <a:endParaRPr lang="en-US" dirty="0"/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50FAF6F2-C80D-2E83-B211-12AC176E6F49}"/>
              </a:ext>
            </a:extLst>
          </p:cNvPr>
          <p:cNvGrpSpPr/>
          <p:nvPr/>
        </p:nvGrpSpPr>
        <p:grpSpPr>
          <a:xfrm>
            <a:off x="7820726" y="1613424"/>
            <a:ext cx="1646680" cy="923330"/>
            <a:chOff x="6221755" y="5278550"/>
            <a:chExt cx="1646680" cy="1437036"/>
          </a:xfrm>
        </p:grpSpPr>
        <p:sp>
          <p:nvSpPr>
            <p:cNvPr id="31" name="Shape 29506">
              <a:extLst>
                <a:ext uri="{FF2B5EF4-FFF2-40B4-BE49-F238E27FC236}">
                  <a16:creationId xmlns:a16="http://schemas.microsoft.com/office/drawing/2014/main" id="{0AE7C6F0-58CA-C868-FC03-3BA28EE4BB3E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E5F8026A-FE99-9557-D6E5-D30E42295E54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A4CF08EF-897C-B663-D208-4CD30D8442C7}"/>
              </a:ext>
            </a:extLst>
          </p:cNvPr>
          <p:cNvGrpSpPr/>
          <p:nvPr/>
        </p:nvGrpSpPr>
        <p:grpSpPr>
          <a:xfrm>
            <a:off x="4309841" y="5494240"/>
            <a:ext cx="1593259" cy="923330"/>
            <a:chOff x="1269727" y="4911555"/>
            <a:chExt cx="1593259" cy="1437036"/>
          </a:xfrm>
        </p:grpSpPr>
        <p:sp>
          <p:nvSpPr>
            <p:cNvPr id="37" name="Shape 29506">
              <a:extLst>
                <a:ext uri="{FF2B5EF4-FFF2-40B4-BE49-F238E27FC236}">
                  <a16:creationId xmlns:a16="http://schemas.microsoft.com/office/drawing/2014/main" id="{A4348776-C819-4888-7DF2-6553C8E61769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38" name="Subtitle 2">
              <a:extLst>
                <a:ext uri="{FF2B5EF4-FFF2-40B4-BE49-F238E27FC236}">
                  <a16:creationId xmlns:a16="http://schemas.microsoft.com/office/drawing/2014/main" id="{522FA0AD-77D0-67FB-6B9B-F553F28ED854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l"/>
              <a:endParaRPr lang="en-US" dirty="0"/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id="{5477C4D0-EB86-7FA5-ADBF-5AA314B313DF}"/>
              </a:ext>
            </a:extLst>
          </p:cNvPr>
          <p:cNvGrpSpPr/>
          <p:nvPr/>
        </p:nvGrpSpPr>
        <p:grpSpPr>
          <a:xfrm>
            <a:off x="6227468" y="5494240"/>
            <a:ext cx="1646680" cy="923330"/>
            <a:chOff x="6221755" y="5278550"/>
            <a:chExt cx="1646680" cy="1437036"/>
          </a:xfrm>
        </p:grpSpPr>
        <p:sp>
          <p:nvSpPr>
            <p:cNvPr id="40" name="Shape 29506">
              <a:extLst>
                <a:ext uri="{FF2B5EF4-FFF2-40B4-BE49-F238E27FC236}">
                  <a16:creationId xmlns:a16="http://schemas.microsoft.com/office/drawing/2014/main" id="{21F954FB-9292-BE8A-B185-C2ED23824B37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1" name="Subtitle 2">
              <a:extLst>
                <a:ext uri="{FF2B5EF4-FFF2-40B4-BE49-F238E27FC236}">
                  <a16:creationId xmlns:a16="http://schemas.microsoft.com/office/drawing/2014/main" id="{FA6707C4-4F2D-B26B-1ABF-C873401EB41E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F44ED383-8152-A289-E18E-703CAA503A9D}"/>
              </a:ext>
            </a:extLst>
          </p:cNvPr>
          <p:cNvGrpSpPr/>
          <p:nvPr/>
        </p:nvGrpSpPr>
        <p:grpSpPr>
          <a:xfrm>
            <a:off x="9269637" y="5187585"/>
            <a:ext cx="1646680" cy="923330"/>
            <a:chOff x="6221755" y="5278550"/>
            <a:chExt cx="1646680" cy="1437036"/>
          </a:xfrm>
        </p:grpSpPr>
        <p:sp>
          <p:nvSpPr>
            <p:cNvPr id="43" name="Shape 29506">
              <a:extLst>
                <a:ext uri="{FF2B5EF4-FFF2-40B4-BE49-F238E27FC236}">
                  <a16:creationId xmlns:a16="http://schemas.microsoft.com/office/drawing/2014/main" id="{B6315A6C-1CC0-6D54-026E-E8A2F1842CFD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4" name="Subtitle 2">
              <a:extLst>
                <a:ext uri="{FF2B5EF4-FFF2-40B4-BE49-F238E27FC236}">
                  <a16:creationId xmlns:a16="http://schemas.microsoft.com/office/drawing/2014/main" id="{0D5AC29A-F98B-0200-D5E0-38DB75377A4A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2325ED31-3E7B-E03B-3855-921FEC3B073E}"/>
              </a:ext>
            </a:extLst>
          </p:cNvPr>
          <p:cNvGrpSpPr/>
          <p:nvPr/>
        </p:nvGrpSpPr>
        <p:grpSpPr>
          <a:xfrm>
            <a:off x="1275682" y="5132343"/>
            <a:ext cx="1593259" cy="770033"/>
            <a:chOff x="1269727" y="4911555"/>
            <a:chExt cx="1593259" cy="1198450"/>
          </a:xfrm>
        </p:grpSpPr>
        <p:sp>
          <p:nvSpPr>
            <p:cNvPr id="46" name="Shape 29506">
              <a:extLst>
                <a:ext uri="{FF2B5EF4-FFF2-40B4-BE49-F238E27FC236}">
                  <a16:creationId xmlns:a16="http://schemas.microsoft.com/office/drawing/2014/main" id="{8B7CDFBF-4E90-C369-A168-CDB47082C1B4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7" name="Subtitle 2">
              <a:extLst>
                <a:ext uri="{FF2B5EF4-FFF2-40B4-BE49-F238E27FC236}">
                  <a16:creationId xmlns:a16="http://schemas.microsoft.com/office/drawing/2014/main" id="{58E272C3-C652-79DB-AB46-BD6B44250D32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1496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</p:txBody>
        </p:sp>
      </p:grp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45B9AFD-6F44-D6FC-6DA8-C11C033F60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678293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5BA6D65-890A-4FA6-85D1-AB266A06B1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5BA6D65-890A-4FA6-85D1-AB266A06B1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58F032D-08A1-345F-8601-045A8557FE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8479FA5-9CAC-16EB-23C0-D3D2540CE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Mind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492927-3CBD-554A-EC80-5EE74FA9F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ACB5B603-CE8F-9B99-05ED-8E2A181B6629}"/>
              </a:ext>
            </a:extLst>
          </p:cNvPr>
          <p:cNvSpPr/>
          <p:nvPr/>
        </p:nvSpPr>
        <p:spPr>
          <a:xfrm>
            <a:off x="5396932" y="3218089"/>
            <a:ext cx="1393372" cy="13933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4D4067A8-FD6D-027C-F751-F91C637E40B6}"/>
              </a:ext>
            </a:extLst>
          </p:cNvPr>
          <p:cNvSpPr/>
          <p:nvPr/>
        </p:nvSpPr>
        <p:spPr>
          <a:xfrm>
            <a:off x="5641293" y="2016650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1D473F9E-8BEA-8122-7317-3A1C8B98DA06}"/>
              </a:ext>
            </a:extLst>
          </p:cNvPr>
          <p:cNvSpPr/>
          <p:nvPr/>
        </p:nvSpPr>
        <p:spPr>
          <a:xfrm>
            <a:off x="5641293" y="4908251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533C1A90-730B-0E8B-8485-EBE29F4B17DD}"/>
              </a:ext>
            </a:extLst>
          </p:cNvPr>
          <p:cNvSpPr/>
          <p:nvPr/>
        </p:nvSpPr>
        <p:spPr>
          <a:xfrm>
            <a:off x="6963624" y="2639914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F60A269C-2393-ECF1-A2B3-1DEA47B2AE70}"/>
              </a:ext>
            </a:extLst>
          </p:cNvPr>
          <p:cNvSpPr/>
          <p:nvPr/>
        </p:nvSpPr>
        <p:spPr>
          <a:xfrm>
            <a:off x="4318963" y="2639914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68795C6-8564-9836-C091-923FC336B77D}"/>
              </a:ext>
            </a:extLst>
          </p:cNvPr>
          <p:cNvSpPr/>
          <p:nvPr/>
        </p:nvSpPr>
        <p:spPr>
          <a:xfrm>
            <a:off x="6963624" y="4284987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45647671-8854-B349-CB93-434DEEFAFAE8}"/>
              </a:ext>
            </a:extLst>
          </p:cNvPr>
          <p:cNvSpPr/>
          <p:nvPr/>
        </p:nvSpPr>
        <p:spPr>
          <a:xfrm>
            <a:off x="4318963" y="4284987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71F28B54-3499-6251-094D-D51376A8A989}"/>
              </a:ext>
            </a:extLst>
          </p:cNvPr>
          <p:cNvSpPr txBox="1"/>
          <p:nvPr/>
        </p:nvSpPr>
        <p:spPr>
          <a:xfrm>
            <a:off x="5084659" y="1738428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F609778B-11C2-E750-74D5-92F7F244A3B7}"/>
              </a:ext>
            </a:extLst>
          </p:cNvPr>
          <p:cNvSpPr txBox="1"/>
          <p:nvPr/>
        </p:nvSpPr>
        <p:spPr>
          <a:xfrm>
            <a:off x="5084659" y="5955165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588799CB-DA5B-C8C9-1011-9B973501D5AD}"/>
              </a:ext>
            </a:extLst>
          </p:cNvPr>
          <p:cNvSpPr txBox="1"/>
          <p:nvPr/>
        </p:nvSpPr>
        <p:spPr>
          <a:xfrm>
            <a:off x="8041594" y="2999906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AB3A7B97-214D-F4B6-DCBD-5043D618159C}"/>
              </a:ext>
            </a:extLst>
          </p:cNvPr>
          <p:cNvSpPr txBox="1"/>
          <p:nvPr/>
        </p:nvSpPr>
        <p:spPr>
          <a:xfrm>
            <a:off x="8041594" y="4644979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672E99C7-7295-3CEC-5FD8-84A3EA711B39}"/>
              </a:ext>
            </a:extLst>
          </p:cNvPr>
          <p:cNvSpPr txBox="1"/>
          <p:nvPr/>
        </p:nvSpPr>
        <p:spPr>
          <a:xfrm>
            <a:off x="2118476" y="2999906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31A037F2-821D-D7B5-34F1-80C77DBA02CB}"/>
              </a:ext>
            </a:extLst>
          </p:cNvPr>
          <p:cNvSpPr txBox="1"/>
          <p:nvPr/>
        </p:nvSpPr>
        <p:spPr>
          <a:xfrm>
            <a:off x="2118476" y="4644979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88D66EB3-8763-4709-9992-F3C93A719AFB}"/>
              </a:ext>
            </a:extLst>
          </p:cNvPr>
          <p:cNvCxnSpPr>
            <a:cxnSpLocks/>
          </p:cNvCxnSpPr>
          <p:nvPr/>
        </p:nvCxnSpPr>
        <p:spPr>
          <a:xfrm>
            <a:off x="5153025" y="3310415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18" name="Conector recto de flecha 13317">
            <a:extLst>
              <a:ext uri="{FF2B5EF4-FFF2-40B4-BE49-F238E27FC236}">
                <a16:creationId xmlns:a16="http://schemas.microsoft.com/office/drawing/2014/main" id="{E2D1458D-1E66-8A9D-140C-1CAA1DE5925E}"/>
              </a:ext>
            </a:extLst>
          </p:cNvPr>
          <p:cNvCxnSpPr>
            <a:cxnSpLocks/>
          </p:cNvCxnSpPr>
          <p:nvPr/>
        </p:nvCxnSpPr>
        <p:spPr>
          <a:xfrm flipH="1">
            <a:off x="6675489" y="3310415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19" name="Conector recto de flecha 13318">
            <a:extLst>
              <a:ext uri="{FF2B5EF4-FFF2-40B4-BE49-F238E27FC236}">
                <a16:creationId xmlns:a16="http://schemas.microsoft.com/office/drawing/2014/main" id="{98FA8140-9905-871E-20A3-54853DED0937}"/>
              </a:ext>
            </a:extLst>
          </p:cNvPr>
          <p:cNvCxnSpPr>
            <a:cxnSpLocks/>
          </p:cNvCxnSpPr>
          <p:nvPr/>
        </p:nvCxnSpPr>
        <p:spPr>
          <a:xfrm flipV="1">
            <a:off x="5153025" y="4284075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20" name="Conector recto de flecha 13319">
            <a:extLst>
              <a:ext uri="{FF2B5EF4-FFF2-40B4-BE49-F238E27FC236}">
                <a16:creationId xmlns:a16="http://schemas.microsoft.com/office/drawing/2014/main" id="{C7597D1D-AEEB-F448-F9CE-F4282478A51D}"/>
              </a:ext>
            </a:extLst>
          </p:cNvPr>
          <p:cNvCxnSpPr>
            <a:cxnSpLocks/>
          </p:cNvCxnSpPr>
          <p:nvPr/>
        </p:nvCxnSpPr>
        <p:spPr>
          <a:xfrm flipH="1" flipV="1">
            <a:off x="6675489" y="4298361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21" name="Conector recto de flecha 13320">
            <a:extLst>
              <a:ext uri="{FF2B5EF4-FFF2-40B4-BE49-F238E27FC236}">
                <a16:creationId xmlns:a16="http://schemas.microsoft.com/office/drawing/2014/main" id="{CBCEFBBE-6038-0026-AD0B-0128BB22B3B1}"/>
              </a:ext>
            </a:extLst>
          </p:cNvPr>
          <p:cNvCxnSpPr>
            <a:cxnSpLocks/>
            <a:stCxn id="9" idx="0"/>
            <a:endCxn id="7" idx="4"/>
          </p:cNvCxnSpPr>
          <p:nvPr/>
        </p:nvCxnSpPr>
        <p:spPr>
          <a:xfrm flipV="1">
            <a:off x="6093618" y="4611461"/>
            <a:ext cx="0" cy="29679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24" name="Conector recto de flecha 13323">
            <a:extLst>
              <a:ext uri="{FF2B5EF4-FFF2-40B4-BE49-F238E27FC236}">
                <a16:creationId xmlns:a16="http://schemas.microsoft.com/office/drawing/2014/main" id="{6904AC15-892A-44D7-7E3B-D1745B61AE65}"/>
              </a:ext>
            </a:extLst>
          </p:cNvPr>
          <p:cNvCxnSpPr>
            <a:cxnSpLocks/>
            <a:stCxn id="8" idx="4"/>
            <a:endCxn id="7" idx="0"/>
          </p:cNvCxnSpPr>
          <p:nvPr/>
        </p:nvCxnSpPr>
        <p:spPr>
          <a:xfrm>
            <a:off x="6093618" y="2921300"/>
            <a:ext cx="0" cy="296789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3328" name="Group 4">
            <a:extLst>
              <a:ext uri="{FF2B5EF4-FFF2-40B4-BE49-F238E27FC236}">
                <a16:creationId xmlns:a16="http://schemas.microsoft.com/office/drawing/2014/main" id="{365C17B9-7851-EA19-3B4E-C2385995AE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718" y="2227744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29" name="Freeform 5">
              <a:extLst>
                <a:ext uri="{FF2B5EF4-FFF2-40B4-BE49-F238E27FC236}">
                  <a16:creationId xmlns:a16="http://schemas.microsoft.com/office/drawing/2014/main" id="{561AE231-8C44-8DF3-F1AF-E2628D5945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0" name="Freeform 6">
              <a:extLst>
                <a:ext uri="{FF2B5EF4-FFF2-40B4-BE49-F238E27FC236}">
                  <a16:creationId xmlns:a16="http://schemas.microsoft.com/office/drawing/2014/main" id="{D85B08E3-9541-2830-EFC4-C88781D98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1" name="Freeform 7">
              <a:extLst>
                <a:ext uri="{FF2B5EF4-FFF2-40B4-BE49-F238E27FC236}">
                  <a16:creationId xmlns:a16="http://schemas.microsoft.com/office/drawing/2014/main" id="{F15C48A3-3636-D2D7-EE5E-60BEFBE6C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2" name="Freeform 8">
              <a:extLst>
                <a:ext uri="{FF2B5EF4-FFF2-40B4-BE49-F238E27FC236}">
                  <a16:creationId xmlns:a16="http://schemas.microsoft.com/office/drawing/2014/main" id="{77F2DF6F-4F8B-0092-048A-1D37043E3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33" name="Group 4">
            <a:extLst>
              <a:ext uri="{FF2B5EF4-FFF2-40B4-BE49-F238E27FC236}">
                <a16:creationId xmlns:a16="http://schemas.microsoft.com/office/drawing/2014/main" id="{204C6051-E2D2-5917-84DB-C584884C57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4049" y="2851008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34" name="Freeform 5">
              <a:extLst>
                <a:ext uri="{FF2B5EF4-FFF2-40B4-BE49-F238E27FC236}">
                  <a16:creationId xmlns:a16="http://schemas.microsoft.com/office/drawing/2014/main" id="{9F4BD60F-BD03-CA72-1298-309E0D3F7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5" name="Freeform 6">
              <a:extLst>
                <a:ext uri="{FF2B5EF4-FFF2-40B4-BE49-F238E27FC236}">
                  <a16:creationId xmlns:a16="http://schemas.microsoft.com/office/drawing/2014/main" id="{690793F1-4644-A3F6-5F7E-9287DBF9F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6" name="Freeform 7">
              <a:extLst>
                <a:ext uri="{FF2B5EF4-FFF2-40B4-BE49-F238E27FC236}">
                  <a16:creationId xmlns:a16="http://schemas.microsoft.com/office/drawing/2014/main" id="{A9CEAA81-8F03-B079-FF74-50B7B05F4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7" name="Freeform 8">
              <a:extLst>
                <a:ext uri="{FF2B5EF4-FFF2-40B4-BE49-F238E27FC236}">
                  <a16:creationId xmlns:a16="http://schemas.microsoft.com/office/drawing/2014/main" id="{851B7198-E528-3EBE-FB21-C64C28B4D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38" name="Group 4">
            <a:extLst>
              <a:ext uri="{FF2B5EF4-FFF2-40B4-BE49-F238E27FC236}">
                <a16:creationId xmlns:a16="http://schemas.microsoft.com/office/drawing/2014/main" id="{25D0B132-1EE5-44F1-7114-FF3D5DC583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29388" y="2851008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39" name="Freeform 5">
              <a:extLst>
                <a:ext uri="{FF2B5EF4-FFF2-40B4-BE49-F238E27FC236}">
                  <a16:creationId xmlns:a16="http://schemas.microsoft.com/office/drawing/2014/main" id="{6AFFEE0E-CF04-6673-BC48-4FF0F73D4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0" name="Freeform 6">
              <a:extLst>
                <a:ext uri="{FF2B5EF4-FFF2-40B4-BE49-F238E27FC236}">
                  <a16:creationId xmlns:a16="http://schemas.microsoft.com/office/drawing/2014/main" id="{594242E1-1C31-4564-D3C2-2B36D13EB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1" name="Freeform 7">
              <a:extLst>
                <a:ext uri="{FF2B5EF4-FFF2-40B4-BE49-F238E27FC236}">
                  <a16:creationId xmlns:a16="http://schemas.microsoft.com/office/drawing/2014/main" id="{5C8050D4-6290-25A3-B3BE-77F2B431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2" name="Freeform 8">
              <a:extLst>
                <a:ext uri="{FF2B5EF4-FFF2-40B4-BE49-F238E27FC236}">
                  <a16:creationId xmlns:a16="http://schemas.microsoft.com/office/drawing/2014/main" id="{16CA3061-F141-8F27-98C0-0BC6A29F0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43" name="Group 4">
            <a:extLst>
              <a:ext uri="{FF2B5EF4-FFF2-40B4-BE49-F238E27FC236}">
                <a16:creationId xmlns:a16="http://schemas.microsoft.com/office/drawing/2014/main" id="{3452D77F-931C-5257-D203-CBBC32FF9D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4049" y="449608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44" name="Freeform 5">
              <a:extLst>
                <a:ext uri="{FF2B5EF4-FFF2-40B4-BE49-F238E27FC236}">
                  <a16:creationId xmlns:a16="http://schemas.microsoft.com/office/drawing/2014/main" id="{B24E08CD-205C-69CF-A0FD-83C46044A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5" name="Freeform 6">
              <a:extLst>
                <a:ext uri="{FF2B5EF4-FFF2-40B4-BE49-F238E27FC236}">
                  <a16:creationId xmlns:a16="http://schemas.microsoft.com/office/drawing/2014/main" id="{59136288-A270-F86D-5C55-8D8E3313B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6" name="Freeform 7">
              <a:extLst>
                <a:ext uri="{FF2B5EF4-FFF2-40B4-BE49-F238E27FC236}">
                  <a16:creationId xmlns:a16="http://schemas.microsoft.com/office/drawing/2014/main" id="{7C67E0E0-7387-8039-21EC-567D691A0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7" name="Freeform 8">
              <a:extLst>
                <a:ext uri="{FF2B5EF4-FFF2-40B4-BE49-F238E27FC236}">
                  <a16:creationId xmlns:a16="http://schemas.microsoft.com/office/drawing/2014/main" id="{AA5529A7-F073-9172-D018-50D9F4558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48" name="Group 4">
            <a:extLst>
              <a:ext uri="{FF2B5EF4-FFF2-40B4-BE49-F238E27FC236}">
                <a16:creationId xmlns:a16="http://schemas.microsoft.com/office/drawing/2014/main" id="{1080E3F5-5AA6-BAAF-1A4E-B8C00F162F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29388" y="449608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49" name="Freeform 5">
              <a:extLst>
                <a:ext uri="{FF2B5EF4-FFF2-40B4-BE49-F238E27FC236}">
                  <a16:creationId xmlns:a16="http://schemas.microsoft.com/office/drawing/2014/main" id="{095C90DD-586A-5258-D517-BD2473DEA5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0" name="Freeform 6">
              <a:extLst>
                <a:ext uri="{FF2B5EF4-FFF2-40B4-BE49-F238E27FC236}">
                  <a16:creationId xmlns:a16="http://schemas.microsoft.com/office/drawing/2014/main" id="{498A2CD6-F4BF-CE4F-0A63-DC676821A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1" name="Freeform 7">
              <a:extLst>
                <a:ext uri="{FF2B5EF4-FFF2-40B4-BE49-F238E27FC236}">
                  <a16:creationId xmlns:a16="http://schemas.microsoft.com/office/drawing/2014/main" id="{5E4AD32C-A0B2-5B0B-DC80-2E4AB5B6D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2" name="Freeform 8">
              <a:extLst>
                <a:ext uri="{FF2B5EF4-FFF2-40B4-BE49-F238E27FC236}">
                  <a16:creationId xmlns:a16="http://schemas.microsoft.com/office/drawing/2014/main" id="{447F1C64-C5FE-D96B-41F0-032D05172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53" name="Group 4">
            <a:extLst>
              <a:ext uri="{FF2B5EF4-FFF2-40B4-BE49-F238E27FC236}">
                <a16:creationId xmlns:a16="http://schemas.microsoft.com/office/drawing/2014/main" id="{2ED58DDA-DFB1-862D-7511-FAE28F9DEE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718" y="5119345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54" name="Freeform 5">
              <a:extLst>
                <a:ext uri="{FF2B5EF4-FFF2-40B4-BE49-F238E27FC236}">
                  <a16:creationId xmlns:a16="http://schemas.microsoft.com/office/drawing/2014/main" id="{117E2D6F-8A00-A557-631C-BEF10240CC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5" name="Freeform 6">
              <a:extLst>
                <a:ext uri="{FF2B5EF4-FFF2-40B4-BE49-F238E27FC236}">
                  <a16:creationId xmlns:a16="http://schemas.microsoft.com/office/drawing/2014/main" id="{5B36E6CD-C9B7-5ABA-DE19-9C21FEFE4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6" name="Freeform 7">
              <a:extLst>
                <a:ext uri="{FF2B5EF4-FFF2-40B4-BE49-F238E27FC236}">
                  <a16:creationId xmlns:a16="http://schemas.microsoft.com/office/drawing/2014/main" id="{11B99637-1C07-FD4A-166E-D460AD7F3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7" name="Freeform 8">
              <a:extLst>
                <a:ext uri="{FF2B5EF4-FFF2-40B4-BE49-F238E27FC236}">
                  <a16:creationId xmlns:a16="http://schemas.microsoft.com/office/drawing/2014/main" id="{3AC0B71A-5033-B6A1-EACF-E864E5887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58" name="Group 265">
            <a:extLst>
              <a:ext uri="{FF2B5EF4-FFF2-40B4-BE49-F238E27FC236}">
                <a16:creationId xmlns:a16="http://schemas.microsoft.com/office/drawing/2014/main" id="{9A397576-BBCC-DF49-F60B-4B3A039929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4101" y="3664672"/>
            <a:ext cx="499034" cy="500206"/>
            <a:chOff x="4480" y="2998"/>
            <a:chExt cx="426" cy="427"/>
          </a:xfrm>
          <a:solidFill>
            <a:schemeClr val="bg1"/>
          </a:solidFill>
        </p:grpSpPr>
        <p:sp>
          <p:nvSpPr>
            <p:cNvPr id="13359" name="Freeform 266">
              <a:extLst>
                <a:ext uri="{FF2B5EF4-FFF2-40B4-BE49-F238E27FC236}">
                  <a16:creationId xmlns:a16="http://schemas.microsoft.com/office/drawing/2014/main" id="{92F7A6A3-A551-2F39-C3D8-8DFD9D921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0" name="Freeform 267">
              <a:extLst>
                <a:ext uri="{FF2B5EF4-FFF2-40B4-BE49-F238E27FC236}">
                  <a16:creationId xmlns:a16="http://schemas.microsoft.com/office/drawing/2014/main" id="{2A7E9C62-22EB-53C4-9E4F-857BC81FA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1" name="Freeform 268">
              <a:extLst>
                <a:ext uri="{FF2B5EF4-FFF2-40B4-BE49-F238E27FC236}">
                  <a16:creationId xmlns:a16="http://schemas.microsoft.com/office/drawing/2014/main" id="{7B64B665-8191-5916-50F4-D8AFCCBA3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2" name="Rectangle 269">
              <a:extLst>
                <a:ext uri="{FF2B5EF4-FFF2-40B4-BE49-F238E27FC236}">
                  <a16:creationId xmlns:a16="http://schemas.microsoft.com/office/drawing/2014/main" id="{49902B57-850B-AE32-69CB-A407732AF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3" name="Rectangle 270">
              <a:extLst>
                <a:ext uri="{FF2B5EF4-FFF2-40B4-BE49-F238E27FC236}">
                  <a16:creationId xmlns:a16="http://schemas.microsoft.com/office/drawing/2014/main" id="{4E6909DD-879C-8D7C-96F0-1E5A05D47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4" name="Rectangle 271">
              <a:extLst>
                <a:ext uri="{FF2B5EF4-FFF2-40B4-BE49-F238E27FC236}">
                  <a16:creationId xmlns:a16="http://schemas.microsoft.com/office/drawing/2014/main" id="{881CB0B0-7B9F-3238-0969-551BB82D1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34426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336CE61-1A3C-B46B-469E-22968CAE5B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336CE61-1A3C-B46B-469E-22968CAE5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0421907-99FD-8A27-4B8E-E444D13C4B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64D79F5-06A8-0538-C2AE-FECA143F8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Sankey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A807564-9632-2332-D9AE-8358066D97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ángulo: esquinas superiores redondeadas 4">
            <a:extLst>
              <a:ext uri="{FF2B5EF4-FFF2-40B4-BE49-F238E27FC236}">
                <a16:creationId xmlns:a16="http://schemas.microsoft.com/office/drawing/2014/main" id="{FEBEDBA3-5BB7-3D27-0E25-6A07709CC72F}"/>
              </a:ext>
            </a:extLst>
          </p:cNvPr>
          <p:cNvSpPr/>
          <p:nvPr/>
        </p:nvSpPr>
        <p:spPr>
          <a:xfrm rot="16200000">
            <a:off x="3439358" y="1877256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" name="Rectángulo: esquinas superiores redondeadas 6">
            <a:extLst>
              <a:ext uri="{FF2B5EF4-FFF2-40B4-BE49-F238E27FC236}">
                <a16:creationId xmlns:a16="http://schemas.microsoft.com/office/drawing/2014/main" id="{1CD41722-0683-5634-2A22-06E3583F7769}"/>
              </a:ext>
            </a:extLst>
          </p:cNvPr>
          <p:cNvSpPr/>
          <p:nvPr/>
        </p:nvSpPr>
        <p:spPr>
          <a:xfrm rot="16200000">
            <a:off x="3439358" y="2723575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8" name="Rectángulo: esquinas superiores redondeadas 7">
            <a:extLst>
              <a:ext uri="{FF2B5EF4-FFF2-40B4-BE49-F238E27FC236}">
                <a16:creationId xmlns:a16="http://schemas.microsoft.com/office/drawing/2014/main" id="{51A0251B-DB5B-C65C-9C2F-AB8FD032A26B}"/>
              </a:ext>
            </a:extLst>
          </p:cNvPr>
          <p:cNvSpPr/>
          <p:nvPr/>
        </p:nvSpPr>
        <p:spPr>
          <a:xfrm rot="16200000">
            <a:off x="3439358" y="3569895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9" name="Rectángulo: esquinas superiores redondeadas 8">
            <a:extLst>
              <a:ext uri="{FF2B5EF4-FFF2-40B4-BE49-F238E27FC236}">
                <a16:creationId xmlns:a16="http://schemas.microsoft.com/office/drawing/2014/main" id="{4E14DD7A-CB56-5860-5FB2-929DED973711}"/>
              </a:ext>
            </a:extLst>
          </p:cNvPr>
          <p:cNvSpPr/>
          <p:nvPr/>
        </p:nvSpPr>
        <p:spPr>
          <a:xfrm rot="16200000">
            <a:off x="3439358" y="4412730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" name="Rectángulo: esquinas superiores redondeadas 9">
            <a:extLst>
              <a:ext uri="{FF2B5EF4-FFF2-40B4-BE49-F238E27FC236}">
                <a16:creationId xmlns:a16="http://schemas.microsoft.com/office/drawing/2014/main" id="{3B746240-BE68-0E8E-4851-E43C8CFB65EA}"/>
              </a:ext>
            </a:extLst>
          </p:cNvPr>
          <p:cNvSpPr/>
          <p:nvPr/>
        </p:nvSpPr>
        <p:spPr>
          <a:xfrm rot="5400000" flipH="1">
            <a:off x="7704030" y="1790036"/>
            <a:ext cx="1347788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1" name="Rectángulo: esquinas superiores redondeadas 10">
            <a:extLst>
              <a:ext uri="{FF2B5EF4-FFF2-40B4-BE49-F238E27FC236}">
                <a16:creationId xmlns:a16="http://schemas.microsoft.com/office/drawing/2014/main" id="{69B1EFE4-57F3-88E7-1FDF-10E8AE0FDA00}"/>
              </a:ext>
            </a:extLst>
          </p:cNvPr>
          <p:cNvSpPr/>
          <p:nvPr/>
        </p:nvSpPr>
        <p:spPr>
          <a:xfrm rot="5400000" flipH="1">
            <a:off x="7704030" y="3146734"/>
            <a:ext cx="1347788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2" name="Rectángulo: esquinas superiores redondeadas 11">
            <a:extLst>
              <a:ext uri="{FF2B5EF4-FFF2-40B4-BE49-F238E27FC236}">
                <a16:creationId xmlns:a16="http://schemas.microsoft.com/office/drawing/2014/main" id="{BAE1ADC4-33A1-5B99-2F51-699945373960}"/>
              </a:ext>
            </a:extLst>
          </p:cNvPr>
          <p:cNvSpPr/>
          <p:nvPr/>
        </p:nvSpPr>
        <p:spPr>
          <a:xfrm rot="5400000" flipH="1">
            <a:off x="7704030" y="4503431"/>
            <a:ext cx="1347788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547530EE-49C2-81CF-365D-53480376743C}"/>
              </a:ext>
            </a:extLst>
          </p:cNvPr>
          <p:cNvSpPr/>
          <p:nvPr/>
        </p:nvSpPr>
        <p:spPr>
          <a:xfrm>
            <a:off x="7265216" y="2228849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6B97DBE7-D278-B8CA-7980-8F0BB2482C83}"/>
              </a:ext>
            </a:extLst>
          </p:cNvPr>
          <p:cNvSpPr/>
          <p:nvPr/>
        </p:nvSpPr>
        <p:spPr>
          <a:xfrm>
            <a:off x="7265216" y="2902744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60" name="Rectángulo 15359">
            <a:extLst>
              <a:ext uri="{FF2B5EF4-FFF2-40B4-BE49-F238E27FC236}">
                <a16:creationId xmlns:a16="http://schemas.microsoft.com/office/drawing/2014/main" id="{7138B88D-3E28-0D00-2E26-5D3BC8EE5E32}"/>
              </a:ext>
            </a:extLst>
          </p:cNvPr>
          <p:cNvSpPr/>
          <p:nvPr/>
        </p:nvSpPr>
        <p:spPr>
          <a:xfrm>
            <a:off x="7265216" y="4942244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61" name="Rectángulo 15360">
            <a:extLst>
              <a:ext uri="{FF2B5EF4-FFF2-40B4-BE49-F238E27FC236}">
                <a16:creationId xmlns:a16="http://schemas.microsoft.com/office/drawing/2014/main" id="{F5874C62-6BA9-4C2B-8046-C13516FC9EA7}"/>
              </a:ext>
            </a:extLst>
          </p:cNvPr>
          <p:cNvSpPr/>
          <p:nvPr/>
        </p:nvSpPr>
        <p:spPr>
          <a:xfrm>
            <a:off x="7265216" y="5616139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85" name="Rectángulo 15384">
            <a:extLst>
              <a:ext uri="{FF2B5EF4-FFF2-40B4-BE49-F238E27FC236}">
                <a16:creationId xmlns:a16="http://schemas.microsoft.com/office/drawing/2014/main" id="{52ED6087-554C-FF0E-0DB7-7A4CD0691637}"/>
              </a:ext>
            </a:extLst>
          </p:cNvPr>
          <p:cNvSpPr/>
          <p:nvPr/>
        </p:nvSpPr>
        <p:spPr>
          <a:xfrm>
            <a:off x="7265216" y="3585547"/>
            <a:ext cx="431800" cy="453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86" name="Rectángulo 15385">
            <a:extLst>
              <a:ext uri="{FF2B5EF4-FFF2-40B4-BE49-F238E27FC236}">
                <a16:creationId xmlns:a16="http://schemas.microsoft.com/office/drawing/2014/main" id="{088AFB85-86D7-3D30-3C66-AD7288D3AD3A}"/>
              </a:ext>
            </a:extLst>
          </p:cNvPr>
          <p:cNvSpPr/>
          <p:nvPr/>
        </p:nvSpPr>
        <p:spPr>
          <a:xfrm>
            <a:off x="7265216" y="4039024"/>
            <a:ext cx="431800" cy="453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87" name="Rectángulo 15386">
            <a:extLst>
              <a:ext uri="{FF2B5EF4-FFF2-40B4-BE49-F238E27FC236}">
                <a16:creationId xmlns:a16="http://schemas.microsoft.com/office/drawing/2014/main" id="{652C50A1-4F1C-B80F-D23C-2E18A0B9F8B2}"/>
              </a:ext>
            </a:extLst>
          </p:cNvPr>
          <p:cNvSpPr/>
          <p:nvPr/>
        </p:nvSpPr>
        <p:spPr>
          <a:xfrm>
            <a:off x="7265216" y="4488766"/>
            <a:ext cx="431800" cy="453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5394" name="Conector: curvado 15393">
            <a:extLst>
              <a:ext uri="{FF2B5EF4-FFF2-40B4-BE49-F238E27FC236}">
                <a16:creationId xmlns:a16="http://schemas.microsoft.com/office/drawing/2014/main" id="{E7EC75DA-A636-5F41-DD8F-73A8761045E6}"/>
              </a:ext>
            </a:extLst>
          </p:cNvPr>
          <p:cNvCxnSpPr>
            <a:cxnSpLocks/>
            <a:stCxn id="26" idx="1"/>
            <a:endCxn id="5" idx="1"/>
          </p:cNvCxnSpPr>
          <p:nvPr/>
        </p:nvCxnSpPr>
        <p:spPr>
          <a:xfrm rot="10800000" flipV="1">
            <a:off x="4975226" y="2565797"/>
            <a:ext cx="2289991" cy="424166"/>
          </a:xfrm>
          <a:prstGeom prst="curvedConnector3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7" name="Conector: curvado 15396">
            <a:extLst>
              <a:ext uri="{FF2B5EF4-FFF2-40B4-BE49-F238E27FC236}">
                <a16:creationId xmlns:a16="http://schemas.microsoft.com/office/drawing/2014/main" id="{B053CDE4-C604-A091-F956-2A1C70A89057}"/>
              </a:ext>
            </a:extLst>
          </p:cNvPr>
          <p:cNvCxnSpPr>
            <a:cxnSpLocks/>
            <a:stCxn id="15385" idx="1"/>
            <a:endCxn id="5" idx="1"/>
          </p:cNvCxnSpPr>
          <p:nvPr/>
        </p:nvCxnSpPr>
        <p:spPr>
          <a:xfrm rot="10800000">
            <a:off x="4975226" y="2989964"/>
            <a:ext cx="2289991" cy="822323"/>
          </a:xfrm>
          <a:prstGeom prst="curvedConnector3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0" name="Conector: curvado 15399">
            <a:extLst>
              <a:ext uri="{FF2B5EF4-FFF2-40B4-BE49-F238E27FC236}">
                <a16:creationId xmlns:a16="http://schemas.microsoft.com/office/drawing/2014/main" id="{7D680C41-2FA7-FD90-2485-9C9BDC5C054D}"/>
              </a:ext>
            </a:extLst>
          </p:cNvPr>
          <p:cNvCxnSpPr>
            <a:cxnSpLocks/>
            <a:stCxn id="15386" idx="1"/>
            <a:endCxn id="7" idx="1"/>
          </p:cNvCxnSpPr>
          <p:nvPr/>
        </p:nvCxnSpPr>
        <p:spPr>
          <a:xfrm rot="10800000">
            <a:off x="4975226" y="3836283"/>
            <a:ext cx="2289991" cy="429481"/>
          </a:xfrm>
          <a:prstGeom prst="curvedConnector3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3" name="Conector: curvado 15402">
            <a:extLst>
              <a:ext uri="{FF2B5EF4-FFF2-40B4-BE49-F238E27FC236}">
                <a16:creationId xmlns:a16="http://schemas.microsoft.com/office/drawing/2014/main" id="{200F8648-BA5C-3BF2-1635-DA755F83D8DD}"/>
              </a:ext>
            </a:extLst>
          </p:cNvPr>
          <p:cNvCxnSpPr>
            <a:cxnSpLocks/>
            <a:stCxn id="27" idx="1"/>
            <a:endCxn id="8" idx="1"/>
          </p:cNvCxnSpPr>
          <p:nvPr/>
        </p:nvCxnSpPr>
        <p:spPr>
          <a:xfrm rot="10800000" flipV="1">
            <a:off x="4975226" y="3239692"/>
            <a:ext cx="2289991" cy="1442910"/>
          </a:xfrm>
          <a:prstGeom prst="curvedConnector3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5" name="Conector: curvado 15404">
            <a:extLst>
              <a:ext uri="{FF2B5EF4-FFF2-40B4-BE49-F238E27FC236}">
                <a16:creationId xmlns:a16="http://schemas.microsoft.com/office/drawing/2014/main" id="{1B76742C-6F94-3BD8-591B-DBEBA4F34EBF}"/>
              </a:ext>
            </a:extLst>
          </p:cNvPr>
          <p:cNvCxnSpPr>
            <a:cxnSpLocks/>
            <a:stCxn id="15387" idx="1"/>
          </p:cNvCxnSpPr>
          <p:nvPr/>
        </p:nvCxnSpPr>
        <p:spPr>
          <a:xfrm rot="10800000">
            <a:off x="4975226" y="4682021"/>
            <a:ext cx="2289991" cy="33484"/>
          </a:xfrm>
          <a:prstGeom prst="curvedConnector3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9" name="Conector: curvado 15408">
            <a:extLst>
              <a:ext uri="{FF2B5EF4-FFF2-40B4-BE49-F238E27FC236}">
                <a16:creationId xmlns:a16="http://schemas.microsoft.com/office/drawing/2014/main" id="{E56B4A36-E490-CAB2-F012-2014F1D7AEA4}"/>
              </a:ext>
            </a:extLst>
          </p:cNvPr>
          <p:cNvCxnSpPr>
            <a:cxnSpLocks/>
            <a:stCxn id="15360" idx="1"/>
            <a:endCxn id="8" idx="1"/>
          </p:cNvCxnSpPr>
          <p:nvPr/>
        </p:nvCxnSpPr>
        <p:spPr>
          <a:xfrm rot="10800000">
            <a:off x="4975226" y="4682602"/>
            <a:ext cx="2289991" cy="596590"/>
          </a:xfrm>
          <a:prstGeom prst="curvedConnector3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12" name="Conector: curvado 15411">
            <a:extLst>
              <a:ext uri="{FF2B5EF4-FFF2-40B4-BE49-F238E27FC236}">
                <a16:creationId xmlns:a16="http://schemas.microsoft.com/office/drawing/2014/main" id="{A9ED517F-450C-DEF1-75AD-67093E6A390E}"/>
              </a:ext>
            </a:extLst>
          </p:cNvPr>
          <p:cNvCxnSpPr>
            <a:cxnSpLocks/>
            <a:stCxn id="15361" idx="1"/>
          </p:cNvCxnSpPr>
          <p:nvPr/>
        </p:nvCxnSpPr>
        <p:spPr>
          <a:xfrm rot="10800000">
            <a:off x="4975226" y="5525439"/>
            <a:ext cx="2289991" cy="427649"/>
          </a:xfrm>
          <a:prstGeom prst="curvedConnector3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21" name="TextBox 24">
            <a:extLst>
              <a:ext uri="{FF2B5EF4-FFF2-40B4-BE49-F238E27FC236}">
                <a16:creationId xmlns:a16="http://schemas.microsoft.com/office/drawing/2014/main" id="{84B30CF3-5A71-C539-6E4B-B7CE5BACDCB2}"/>
              </a:ext>
            </a:extLst>
          </p:cNvPr>
          <p:cNvSpPr txBox="1"/>
          <p:nvPr/>
        </p:nvSpPr>
        <p:spPr>
          <a:xfrm>
            <a:off x="2749810" y="1664066"/>
            <a:ext cx="222541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422" name="TextBox 24">
            <a:extLst>
              <a:ext uri="{FF2B5EF4-FFF2-40B4-BE49-F238E27FC236}">
                <a16:creationId xmlns:a16="http://schemas.microsoft.com/office/drawing/2014/main" id="{306B7AC2-8328-D840-9FBF-BFA2BC943457}"/>
              </a:ext>
            </a:extLst>
          </p:cNvPr>
          <p:cNvSpPr txBox="1"/>
          <p:nvPr/>
        </p:nvSpPr>
        <p:spPr>
          <a:xfrm>
            <a:off x="7265216" y="1664066"/>
            <a:ext cx="222541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1710738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278BD0D-6A6B-1FC2-EE61-382E82814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C278BD0D-6A6B-1FC2-EE61-382E82814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55830C-79C5-F168-6761-EC2F061C75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8C85D35-27E0-F1A4-1F57-CF243B1F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</a:t>
            </a:r>
            <a:r>
              <a:rPr lang="en-GB" dirty="0" err="1"/>
              <a:t>Kagi</a:t>
            </a:r>
            <a:r>
              <a:rPr lang="en-GB" dirty="0"/>
              <a:t>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F602DA-18C5-45C2-AF2B-E13EF8DCB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0" name="Tabla 6">
            <a:extLst>
              <a:ext uri="{FF2B5EF4-FFF2-40B4-BE49-F238E27FC236}">
                <a16:creationId xmlns:a16="http://schemas.microsoft.com/office/drawing/2014/main" id="{2AD3EC65-EFFE-DC1D-0849-72A8FAE5D97C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3" cy="4383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579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105892852"/>
                    </a:ext>
                  </a:extLst>
                </a:gridCol>
              </a:tblGrid>
              <a:tr h="876634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</a:tbl>
          </a:graphicData>
        </a:graphic>
      </p:graphicFrame>
      <p:sp>
        <p:nvSpPr>
          <p:cNvPr id="11" name="Forma libre: forma 10">
            <a:extLst>
              <a:ext uri="{FF2B5EF4-FFF2-40B4-BE49-F238E27FC236}">
                <a16:creationId xmlns:a16="http://schemas.microsoft.com/office/drawing/2014/main" id="{4C63B3AA-6B28-20C0-F75C-9BF0B1CA5085}"/>
              </a:ext>
            </a:extLst>
          </p:cNvPr>
          <p:cNvSpPr/>
          <p:nvPr/>
        </p:nvSpPr>
        <p:spPr>
          <a:xfrm>
            <a:off x="1993900" y="2821070"/>
            <a:ext cx="9829800" cy="1790700"/>
          </a:xfrm>
          <a:custGeom>
            <a:avLst/>
            <a:gdLst>
              <a:gd name="connsiteX0" fmla="*/ 0 w 9829800"/>
              <a:gd name="connsiteY0" fmla="*/ 0 h 1790700"/>
              <a:gd name="connsiteX1" fmla="*/ 2476500 w 9829800"/>
              <a:gd name="connsiteY1" fmla="*/ 0 h 1790700"/>
              <a:gd name="connsiteX2" fmla="*/ 2476500 w 9829800"/>
              <a:gd name="connsiteY2" fmla="*/ 1790700 h 1790700"/>
              <a:gd name="connsiteX3" fmla="*/ 5740400 w 9829800"/>
              <a:gd name="connsiteY3" fmla="*/ 1790700 h 1790700"/>
              <a:gd name="connsiteX4" fmla="*/ 5740400 w 9829800"/>
              <a:gd name="connsiteY4" fmla="*/ 914400 h 1790700"/>
              <a:gd name="connsiteX5" fmla="*/ 7404100 w 9829800"/>
              <a:gd name="connsiteY5" fmla="*/ 914400 h 1790700"/>
              <a:gd name="connsiteX6" fmla="*/ 7404100 w 9829800"/>
              <a:gd name="connsiteY6" fmla="*/ 12700 h 1790700"/>
              <a:gd name="connsiteX7" fmla="*/ 9829800 w 9829800"/>
              <a:gd name="connsiteY7" fmla="*/ 12700 h 179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829800" h="1790700">
                <a:moveTo>
                  <a:pt x="0" y="0"/>
                </a:moveTo>
                <a:lnTo>
                  <a:pt x="2476500" y="0"/>
                </a:lnTo>
                <a:lnTo>
                  <a:pt x="2476500" y="1790700"/>
                </a:lnTo>
                <a:lnTo>
                  <a:pt x="5740400" y="1790700"/>
                </a:lnTo>
                <a:lnTo>
                  <a:pt x="5740400" y="914400"/>
                </a:lnTo>
                <a:lnTo>
                  <a:pt x="7404100" y="914400"/>
                </a:lnTo>
                <a:lnTo>
                  <a:pt x="7404100" y="12700"/>
                </a:lnTo>
                <a:lnTo>
                  <a:pt x="9829800" y="12700"/>
                </a:lnTo>
              </a:path>
            </a:pathLst>
          </a:custGeom>
          <a:noFill/>
          <a:ln w="28575">
            <a:solidFill>
              <a:schemeClr val="accent3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orma libre: forma 11">
            <a:extLst>
              <a:ext uri="{FF2B5EF4-FFF2-40B4-BE49-F238E27FC236}">
                <a16:creationId xmlns:a16="http://schemas.microsoft.com/office/drawing/2014/main" id="{C52C6B9E-D0D0-8CFE-B646-BD5FC23E8BB1}"/>
              </a:ext>
            </a:extLst>
          </p:cNvPr>
          <p:cNvSpPr/>
          <p:nvPr/>
        </p:nvSpPr>
        <p:spPr>
          <a:xfrm>
            <a:off x="2006600" y="2821070"/>
            <a:ext cx="9804400" cy="2705100"/>
          </a:xfrm>
          <a:custGeom>
            <a:avLst/>
            <a:gdLst>
              <a:gd name="connsiteX0" fmla="*/ 0 w 9804400"/>
              <a:gd name="connsiteY0" fmla="*/ 0 h 2705100"/>
              <a:gd name="connsiteX1" fmla="*/ 4102100 w 9804400"/>
              <a:gd name="connsiteY1" fmla="*/ 0 h 2705100"/>
              <a:gd name="connsiteX2" fmla="*/ 4102100 w 9804400"/>
              <a:gd name="connsiteY2" fmla="*/ 2705100 h 2705100"/>
              <a:gd name="connsiteX3" fmla="*/ 7416800 w 9804400"/>
              <a:gd name="connsiteY3" fmla="*/ 2705100 h 2705100"/>
              <a:gd name="connsiteX4" fmla="*/ 7416800 w 9804400"/>
              <a:gd name="connsiteY4" fmla="*/ 927100 h 2705100"/>
              <a:gd name="connsiteX5" fmla="*/ 9804400 w 9804400"/>
              <a:gd name="connsiteY5" fmla="*/ 9271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04400" h="2705100">
                <a:moveTo>
                  <a:pt x="0" y="0"/>
                </a:moveTo>
                <a:lnTo>
                  <a:pt x="4102100" y="0"/>
                </a:lnTo>
                <a:lnTo>
                  <a:pt x="4102100" y="2705100"/>
                </a:lnTo>
                <a:lnTo>
                  <a:pt x="7416800" y="2705100"/>
                </a:lnTo>
                <a:lnTo>
                  <a:pt x="7416800" y="927100"/>
                </a:lnTo>
                <a:lnTo>
                  <a:pt x="9804400" y="927100"/>
                </a:lnTo>
              </a:path>
            </a:pathLst>
          </a:cu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5A04F0D-CBD6-F890-C192-0422C80A1B5F}"/>
              </a:ext>
            </a:extLst>
          </p:cNvPr>
          <p:cNvSpPr txBox="1"/>
          <p:nvPr/>
        </p:nvSpPr>
        <p:spPr>
          <a:xfrm>
            <a:off x="7880671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E0EF5CF5-757B-BECC-D640-DFA47A542137}"/>
              </a:ext>
            </a:extLst>
          </p:cNvPr>
          <p:cNvSpPr txBox="1"/>
          <p:nvPr/>
        </p:nvSpPr>
        <p:spPr>
          <a:xfrm>
            <a:off x="10030745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9C633D9D-7450-7077-F665-C75AE15C9DBE}"/>
              </a:ext>
            </a:extLst>
          </p:cNvPr>
          <p:cNvCxnSpPr>
            <a:cxnSpLocks/>
          </p:cNvCxnSpPr>
          <p:nvPr/>
        </p:nvCxnSpPr>
        <p:spPr>
          <a:xfrm>
            <a:off x="7395213" y="6216649"/>
            <a:ext cx="381000" cy="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F2357018-980E-12FF-DD23-42FC15159294}"/>
              </a:ext>
            </a:extLst>
          </p:cNvPr>
          <p:cNvCxnSpPr>
            <a:cxnSpLocks/>
          </p:cNvCxnSpPr>
          <p:nvPr/>
        </p:nvCxnSpPr>
        <p:spPr>
          <a:xfrm>
            <a:off x="9547863" y="6216649"/>
            <a:ext cx="381000" cy="0"/>
          </a:xfrm>
          <a:prstGeom prst="straightConnector1">
            <a:avLst/>
          </a:prstGeom>
          <a:noFill/>
          <a:ln w="28575">
            <a:solidFill>
              <a:schemeClr val="accent3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402528913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4125D57-F80F-1DAC-B6CB-D4619001B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4125D57-F80F-1DAC-B6CB-D4619001B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DA139-538B-C0BF-7349-25EA538738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6F5CFF7-C044-BC13-402E-93F88D8D4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Ladder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E5A90-D40E-B18A-8A08-81A158E2EA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CA7B4B8-3059-9628-3EF9-D1312484AB65}"/>
              </a:ext>
            </a:extLst>
          </p:cNvPr>
          <p:cNvSpPr/>
          <p:nvPr/>
        </p:nvSpPr>
        <p:spPr>
          <a:xfrm>
            <a:off x="704851" y="3920752"/>
            <a:ext cx="2533650" cy="1527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ED143BE1-040E-2258-0EBF-22A8D4E0D55C}"/>
              </a:ext>
            </a:extLst>
          </p:cNvPr>
          <p:cNvSpPr/>
          <p:nvPr/>
        </p:nvSpPr>
        <p:spPr>
          <a:xfrm>
            <a:off x="3565526" y="3248026"/>
            <a:ext cx="2533650" cy="22002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E123575D-89ED-4898-A639-6717BABD1406}"/>
              </a:ext>
            </a:extLst>
          </p:cNvPr>
          <p:cNvSpPr/>
          <p:nvPr/>
        </p:nvSpPr>
        <p:spPr>
          <a:xfrm>
            <a:off x="6426201" y="2447926"/>
            <a:ext cx="2533650" cy="30003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3747D77C-1D9E-4E2E-75BE-87CBE645AE08}"/>
              </a:ext>
            </a:extLst>
          </p:cNvPr>
          <p:cNvSpPr/>
          <p:nvPr/>
        </p:nvSpPr>
        <p:spPr>
          <a:xfrm>
            <a:off x="9286875" y="2087880"/>
            <a:ext cx="2533650" cy="33604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32AF2948-66FC-A42C-4827-4F98B4EA9B71}"/>
              </a:ext>
            </a:extLst>
          </p:cNvPr>
          <p:cNvSpPr txBox="1"/>
          <p:nvPr/>
        </p:nvSpPr>
        <p:spPr>
          <a:xfrm>
            <a:off x="704851" y="3398520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6F7189FF-83C1-4F08-45BD-84B9BE72721A}"/>
              </a:ext>
            </a:extLst>
          </p:cNvPr>
          <p:cNvSpPr txBox="1"/>
          <p:nvPr/>
        </p:nvSpPr>
        <p:spPr>
          <a:xfrm>
            <a:off x="3560761" y="2716258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45D44F1-50CD-A1B7-5D91-47A33C33A5C1}"/>
              </a:ext>
            </a:extLst>
          </p:cNvPr>
          <p:cNvSpPr txBox="1"/>
          <p:nvPr/>
        </p:nvSpPr>
        <p:spPr>
          <a:xfrm>
            <a:off x="6421435" y="1909448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9E07E94C-FC5E-376F-05E9-8A44DEA1FECE}"/>
              </a:ext>
            </a:extLst>
          </p:cNvPr>
          <p:cNvSpPr txBox="1"/>
          <p:nvPr/>
        </p:nvSpPr>
        <p:spPr>
          <a:xfrm>
            <a:off x="9286875" y="1524281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C14F6BB-B0BD-0CC8-2EDB-33BA1C6937CB}"/>
              </a:ext>
            </a:extLst>
          </p:cNvPr>
          <p:cNvSpPr/>
          <p:nvPr/>
        </p:nvSpPr>
        <p:spPr>
          <a:xfrm>
            <a:off x="371475" y="3398520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917D3B39-C682-F679-77E5-CF01EA2EAD57}"/>
              </a:ext>
            </a:extLst>
          </p:cNvPr>
          <p:cNvSpPr/>
          <p:nvPr/>
        </p:nvSpPr>
        <p:spPr>
          <a:xfrm>
            <a:off x="3238501" y="2716258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7CD8BD8-0C43-5A9B-BC9F-6B4737966C36}"/>
              </a:ext>
            </a:extLst>
          </p:cNvPr>
          <p:cNvSpPr/>
          <p:nvPr/>
        </p:nvSpPr>
        <p:spPr>
          <a:xfrm>
            <a:off x="6092828" y="1909448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89D1271-45FF-A51C-D3BD-2B92953E58CA}"/>
              </a:ext>
            </a:extLst>
          </p:cNvPr>
          <p:cNvSpPr/>
          <p:nvPr/>
        </p:nvSpPr>
        <p:spPr>
          <a:xfrm>
            <a:off x="8955085" y="1524281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cxnSp>
        <p:nvCxnSpPr>
          <p:cNvPr id="22" name="Conector: angular 21">
            <a:extLst>
              <a:ext uri="{FF2B5EF4-FFF2-40B4-BE49-F238E27FC236}">
                <a16:creationId xmlns:a16="http://schemas.microsoft.com/office/drawing/2014/main" id="{ACE8758B-EB92-0CA4-7DB2-881CF1804982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rot="5400000" flipH="1" flipV="1">
            <a:off x="2338371" y="2498391"/>
            <a:ext cx="533434" cy="1266825"/>
          </a:xfrm>
          <a:prstGeom prst="bentConnector2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ector: angular 23">
            <a:extLst>
              <a:ext uri="{FF2B5EF4-FFF2-40B4-BE49-F238E27FC236}">
                <a16:creationId xmlns:a16="http://schemas.microsoft.com/office/drawing/2014/main" id="{B0CFECFF-D578-A05F-0DDF-D00D55415894}"/>
              </a:ext>
            </a:extLst>
          </p:cNvPr>
          <p:cNvCxnSpPr>
            <a:cxnSpLocks/>
            <a:stCxn id="12" idx="0"/>
            <a:endCxn id="18" idx="2"/>
          </p:cNvCxnSpPr>
          <p:nvPr/>
        </p:nvCxnSpPr>
        <p:spPr>
          <a:xfrm rot="5400000" flipH="1" flipV="1">
            <a:off x="5131216" y="1754646"/>
            <a:ext cx="657982" cy="1265242"/>
          </a:xfrm>
          <a:prstGeom prst="bentConnector2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Conector: angular 26">
            <a:extLst>
              <a:ext uri="{FF2B5EF4-FFF2-40B4-BE49-F238E27FC236}">
                <a16:creationId xmlns:a16="http://schemas.microsoft.com/office/drawing/2014/main" id="{C2B5422C-FFF4-7B91-8992-AE775BF08FDF}"/>
              </a:ext>
            </a:extLst>
          </p:cNvPr>
          <p:cNvCxnSpPr>
            <a:cxnSpLocks/>
            <a:stCxn id="13" idx="0"/>
            <a:endCxn id="19" idx="2"/>
          </p:cNvCxnSpPr>
          <p:nvPr/>
        </p:nvCxnSpPr>
        <p:spPr>
          <a:xfrm rot="5400000" flipH="1" flipV="1">
            <a:off x="8203503" y="1157867"/>
            <a:ext cx="236339" cy="1266825"/>
          </a:xfrm>
          <a:prstGeom prst="bentConnector2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02E7538F-B668-7FA5-6B48-5E9222423ED4}"/>
              </a:ext>
            </a:extLst>
          </p:cNvPr>
          <p:cNvSpPr/>
          <p:nvPr/>
        </p:nvSpPr>
        <p:spPr>
          <a:xfrm>
            <a:off x="371473" y="5978654"/>
            <a:ext cx="11449051" cy="3300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72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048" name="Flecha: hacia abajo 2047">
            <a:extLst>
              <a:ext uri="{FF2B5EF4-FFF2-40B4-BE49-F238E27FC236}">
                <a16:creationId xmlns:a16="http://schemas.microsoft.com/office/drawing/2014/main" id="{65EE2A71-2B80-1754-8E55-04FE5F169B7B}"/>
              </a:ext>
            </a:extLst>
          </p:cNvPr>
          <p:cNvSpPr/>
          <p:nvPr/>
        </p:nvSpPr>
        <p:spPr>
          <a:xfrm>
            <a:off x="5784848" y="5535278"/>
            <a:ext cx="622300" cy="389272"/>
          </a:xfrm>
          <a:prstGeom prst="down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3655629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Question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7969A3A4-F518-D7F0-3140-97BFB4AB1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8693" y="3385663"/>
            <a:ext cx="541588" cy="439090"/>
            <a:chOff x="1373" y="477"/>
            <a:chExt cx="428" cy="347"/>
          </a:xfrm>
          <a:solidFill>
            <a:schemeClr val="tx2"/>
          </a:solidFill>
        </p:grpSpPr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1FE65A33-9C50-57CD-4304-ABD2A5363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806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4993DEE2-3540-87FA-533C-7885CF87DF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6" y="628"/>
              <a:ext cx="320" cy="196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3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08E15D8D-E17C-FE1E-FA95-109809C92B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477"/>
              <a:ext cx="428" cy="169"/>
            </a:xfrm>
            <a:custGeom>
              <a:avLst/>
              <a:gdLst>
                <a:gd name="T0" fmla="*/ 282 w 289"/>
                <a:gd name="T1" fmla="*/ 114 h 114"/>
                <a:gd name="T2" fmla="*/ 6 w 289"/>
                <a:gd name="T3" fmla="*/ 114 h 114"/>
                <a:gd name="T4" fmla="*/ 1 w 289"/>
                <a:gd name="T5" fmla="*/ 110 h 114"/>
                <a:gd name="T6" fmla="*/ 3 w 289"/>
                <a:gd name="T7" fmla="*/ 103 h 114"/>
                <a:gd name="T8" fmla="*/ 141 w 289"/>
                <a:gd name="T9" fmla="*/ 1 h 114"/>
                <a:gd name="T10" fmla="*/ 148 w 289"/>
                <a:gd name="T11" fmla="*/ 1 h 114"/>
                <a:gd name="T12" fmla="*/ 286 w 289"/>
                <a:gd name="T13" fmla="*/ 103 h 114"/>
                <a:gd name="T14" fmla="*/ 288 w 289"/>
                <a:gd name="T15" fmla="*/ 110 h 114"/>
                <a:gd name="T16" fmla="*/ 282 w 289"/>
                <a:gd name="T17" fmla="*/ 114 h 114"/>
                <a:gd name="T18" fmla="*/ 24 w 289"/>
                <a:gd name="T19" fmla="*/ 102 h 114"/>
                <a:gd name="T20" fmla="*/ 264 w 289"/>
                <a:gd name="T21" fmla="*/ 102 h 114"/>
                <a:gd name="T22" fmla="*/ 144 w 289"/>
                <a:gd name="T23" fmla="*/ 14 h 114"/>
                <a:gd name="T24" fmla="*/ 24 w 289"/>
                <a:gd name="T25" fmla="*/ 10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114">
                  <a:moveTo>
                    <a:pt x="282" y="114"/>
                  </a:moveTo>
                  <a:cubicBezTo>
                    <a:pt x="6" y="114"/>
                    <a:pt x="6" y="114"/>
                    <a:pt x="6" y="114"/>
                  </a:cubicBezTo>
                  <a:cubicBezTo>
                    <a:pt x="4" y="114"/>
                    <a:pt x="1" y="112"/>
                    <a:pt x="1" y="110"/>
                  </a:cubicBezTo>
                  <a:cubicBezTo>
                    <a:pt x="0" y="107"/>
                    <a:pt x="1" y="105"/>
                    <a:pt x="3" y="103"/>
                  </a:cubicBezTo>
                  <a:cubicBezTo>
                    <a:pt x="141" y="1"/>
                    <a:pt x="141" y="1"/>
                    <a:pt x="141" y="1"/>
                  </a:cubicBezTo>
                  <a:cubicBezTo>
                    <a:pt x="143" y="0"/>
                    <a:pt x="146" y="0"/>
                    <a:pt x="148" y="1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8" y="105"/>
                    <a:pt x="289" y="107"/>
                    <a:pt x="288" y="110"/>
                  </a:cubicBezTo>
                  <a:cubicBezTo>
                    <a:pt x="287" y="112"/>
                    <a:pt x="285" y="114"/>
                    <a:pt x="282" y="114"/>
                  </a:cubicBezTo>
                  <a:close/>
                  <a:moveTo>
                    <a:pt x="24" y="102"/>
                  </a:moveTo>
                  <a:cubicBezTo>
                    <a:pt x="264" y="102"/>
                    <a:pt x="264" y="102"/>
                    <a:pt x="264" y="102"/>
                  </a:cubicBezTo>
                  <a:cubicBezTo>
                    <a:pt x="144" y="14"/>
                    <a:pt x="144" y="14"/>
                    <a:pt x="144" y="14"/>
                  </a:cubicBezTo>
                  <a:lnTo>
                    <a:pt x="24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3A3A52CD-4497-FA1E-F742-C213B9D51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" y="504"/>
              <a:ext cx="71" cy="95"/>
            </a:xfrm>
            <a:custGeom>
              <a:avLst/>
              <a:gdLst>
                <a:gd name="T0" fmla="*/ 48 w 48"/>
                <a:gd name="T1" fmla="*/ 64 h 64"/>
                <a:gd name="T2" fmla="*/ 36 w 48"/>
                <a:gd name="T3" fmla="*/ 64 h 64"/>
                <a:gd name="T4" fmla="*/ 36 w 48"/>
                <a:gd name="T5" fmla="*/ 12 h 64"/>
                <a:gd name="T6" fmla="*/ 12 w 48"/>
                <a:gd name="T7" fmla="*/ 12 h 64"/>
                <a:gd name="T8" fmla="*/ 12 w 48"/>
                <a:gd name="T9" fmla="*/ 37 h 64"/>
                <a:gd name="T10" fmla="*/ 0 w 48"/>
                <a:gd name="T11" fmla="*/ 37 h 64"/>
                <a:gd name="T12" fmla="*/ 0 w 48"/>
                <a:gd name="T13" fmla="*/ 6 h 64"/>
                <a:gd name="T14" fmla="*/ 6 w 48"/>
                <a:gd name="T15" fmla="*/ 0 h 64"/>
                <a:gd name="T16" fmla="*/ 42 w 48"/>
                <a:gd name="T17" fmla="*/ 0 h 64"/>
                <a:gd name="T18" fmla="*/ 48 w 48"/>
                <a:gd name="T19" fmla="*/ 6 h 64"/>
                <a:gd name="T20" fmla="*/ 48 w 4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64">
                  <a:moveTo>
                    <a:pt x="48" y="64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lnTo>
                    <a:pt x="4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A172BDA9-6179-929E-EDBF-DB0F35D3E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9" y="682"/>
              <a:ext cx="71" cy="106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9"/>
                    <a:pt x="46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50538BF1-76F5-327F-BBBD-F123C48748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6" y="682"/>
              <a:ext cx="107" cy="71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0 w 72"/>
                <a:gd name="T7" fmla="*/ 6 h 48"/>
                <a:gd name="T8" fmla="*/ 6 w 72"/>
                <a:gd name="T9" fmla="*/ 0 h 48"/>
                <a:gd name="T10" fmla="*/ 66 w 72"/>
                <a:gd name="T11" fmla="*/ 0 h 48"/>
                <a:gd name="T12" fmla="*/ 72 w 72"/>
                <a:gd name="T13" fmla="*/ 6 h 48"/>
                <a:gd name="T14" fmla="*/ 72 w 72"/>
                <a:gd name="T15" fmla="*/ 42 h 48"/>
                <a:gd name="T16" fmla="*/ 66 w 72"/>
                <a:gd name="T17" fmla="*/ 48 h 48"/>
                <a:gd name="T18" fmla="*/ 12 w 72"/>
                <a:gd name="T19" fmla="*/ 36 h 48"/>
                <a:gd name="T20" fmla="*/ 60 w 72"/>
                <a:gd name="T21" fmla="*/ 36 h 48"/>
                <a:gd name="T22" fmla="*/ 60 w 72"/>
                <a:gd name="T23" fmla="*/ 12 h 48"/>
                <a:gd name="T24" fmla="*/ 12 w 72"/>
                <a:gd name="T25" fmla="*/ 12 h 48"/>
                <a:gd name="T26" fmla="*/ 12 w 72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5"/>
                    <a:pt x="70" y="48"/>
                    <a:pt x="66" y="48"/>
                  </a:cubicBezTo>
                  <a:close/>
                  <a:moveTo>
                    <a:pt x="12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0E90AE5E-511A-A62B-8FDD-A5D6EDB59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" y="770"/>
              <a:ext cx="106" cy="54"/>
            </a:xfrm>
            <a:custGeom>
              <a:avLst/>
              <a:gdLst>
                <a:gd name="T0" fmla="*/ 66 w 72"/>
                <a:gd name="T1" fmla="*/ 36 h 36"/>
                <a:gd name="T2" fmla="*/ 6 w 72"/>
                <a:gd name="T3" fmla="*/ 36 h 36"/>
                <a:gd name="T4" fmla="*/ 0 w 72"/>
                <a:gd name="T5" fmla="*/ 30 h 36"/>
                <a:gd name="T6" fmla="*/ 0 w 72"/>
                <a:gd name="T7" fmla="*/ 6 h 36"/>
                <a:gd name="T8" fmla="*/ 6 w 72"/>
                <a:gd name="T9" fmla="*/ 0 h 36"/>
                <a:gd name="T10" fmla="*/ 66 w 72"/>
                <a:gd name="T11" fmla="*/ 0 h 36"/>
                <a:gd name="T12" fmla="*/ 72 w 72"/>
                <a:gd name="T13" fmla="*/ 6 h 36"/>
                <a:gd name="T14" fmla="*/ 72 w 72"/>
                <a:gd name="T15" fmla="*/ 30 h 36"/>
                <a:gd name="T16" fmla="*/ 66 w 72"/>
                <a:gd name="T17" fmla="*/ 36 h 36"/>
                <a:gd name="T18" fmla="*/ 12 w 72"/>
                <a:gd name="T19" fmla="*/ 24 h 36"/>
                <a:gd name="T20" fmla="*/ 60 w 72"/>
                <a:gd name="T21" fmla="*/ 24 h 36"/>
                <a:gd name="T22" fmla="*/ 60 w 72"/>
                <a:gd name="T23" fmla="*/ 12 h 36"/>
                <a:gd name="T24" fmla="*/ 12 w 72"/>
                <a:gd name="T25" fmla="*/ 12 h 36"/>
                <a:gd name="T26" fmla="*/ 12 w 72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6">
                  <a:moveTo>
                    <a:pt x="6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33"/>
                    <a:pt x="70" y="36"/>
                    <a:pt x="66" y="36"/>
                  </a:cubicBezTo>
                  <a:close/>
                  <a:moveTo>
                    <a:pt x="12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" name="Group 104">
            <a:extLst>
              <a:ext uri="{FF2B5EF4-FFF2-40B4-BE49-F238E27FC236}">
                <a16:creationId xmlns:a16="http://schemas.microsoft.com/office/drawing/2014/main" id="{8C5420D0-84E4-7162-D149-1C5536866C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3987" y="3815008"/>
            <a:ext cx="542928" cy="541656"/>
            <a:chOff x="6535" y="439"/>
            <a:chExt cx="427" cy="426"/>
          </a:xfrm>
          <a:solidFill>
            <a:schemeClr val="tx2"/>
          </a:solidFill>
        </p:grpSpPr>
        <p:sp>
          <p:nvSpPr>
            <p:cNvPr id="18" name="Freeform 105">
              <a:extLst>
                <a:ext uri="{FF2B5EF4-FFF2-40B4-BE49-F238E27FC236}">
                  <a16:creationId xmlns:a16="http://schemas.microsoft.com/office/drawing/2014/main" id="{0056E058-C1BE-32CD-E8A4-72F7620EF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5" y="563"/>
              <a:ext cx="178" cy="302"/>
            </a:xfrm>
            <a:custGeom>
              <a:avLst/>
              <a:gdLst>
                <a:gd name="T0" fmla="*/ 114 w 120"/>
                <a:gd name="T1" fmla="*/ 204 h 204"/>
                <a:gd name="T2" fmla="*/ 6 w 120"/>
                <a:gd name="T3" fmla="*/ 204 h 204"/>
                <a:gd name="T4" fmla="*/ 0 w 120"/>
                <a:gd name="T5" fmla="*/ 198 h 204"/>
                <a:gd name="T6" fmla="*/ 0 w 120"/>
                <a:gd name="T7" fmla="*/ 6 h 204"/>
                <a:gd name="T8" fmla="*/ 6 w 120"/>
                <a:gd name="T9" fmla="*/ 0 h 204"/>
                <a:gd name="T10" fmla="*/ 114 w 120"/>
                <a:gd name="T11" fmla="*/ 0 h 204"/>
                <a:gd name="T12" fmla="*/ 120 w 120"/>
                <a:gd name="T13" fmla="*/ 6 h 204"/>
                <a:gd name="T14" fmla="*/ 120 w 120"/>
                <a:gd name="T15" fmla="*/ 198 h 204"/>
                <a:gd name="T16" fmla="*/ 114 w 120"/>
                <a:gd name="T17" fmla="*/ 204 h 204"/>
                <a:gd name="T18" fmla="*/ 12 w 120"/>
                <a:gd name="T19" fmla="*/ 192 h 204"/>
                <a:gd name="T20" fmla="*/ 108 w 120"/>
                <a:gd name="T21" fmla="*/ 192 h 204"/>
                <a:gd name="T22" fmla="*/ 108 w 120"/>
                <a:gd name="T23" fmla="*/ 12 h 204"/>
                <a:gd name="T24" fmla="*/ 12 w 120"/>
                <a:gd name="T25" fmla="*/ 12 h 204"/>
                <a:gd name="T26" fmla="*/ 12 w 120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204">
                  <a:moveTo>
                    <a:pt x="114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6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201"/>
                    <a:pt x="117" y="204"/>
                    <a:pt x="114" y="204"/>
                  </a:cubicBezTo>
                  <a:close/>
                  <a:moveTo>
                    <a:pt x="12" y="192"/>
                  </a:moveTo>
                  <a:cubicBezTo>
                    <a:pt x="108" y="192"/>
                    <a:pt x="108" y="192"/>
                    <a:pt x="108" y="19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06">
              <a:extLst>
                <a:ext uri="{FF2B5EF4-FFF2-40B4-BE49-F238E27FC236}">
                  <a16:creationId xmlns:a16="http://schemas.microsoft.com/office/drawing/2014/main" id="{CC916329-5401-2744-564A-20429FB02F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" y="492"/>
              <a:ext cx="142" cy="89"/>
            </a:xfrm>
            <a:custGeom>
              <a:avLst/>
              <a:gdLst>
                <a:gd name="T0" fmla="*/ 90 w 96"/>
                <a:gd name="T1" fmla="*/ 60 h 60"/>
                <a:gd name="T2" fmla="*/ 6 w 96"/>
                <a:gd name="T3" fmla="*/ 60 h 60"/>
                <a:gd name="T4" fmla="*/ 0 w 96"/>
                <a:gd name="T5" fmla="*/ 54 h 60"/>
                <a:gd name="T6" fmla="*/ 0 w 96"/>
                <a:gd name="T7" fmla="*/ 6 h 60"/>
                <a:gd name="T8" fmla="*/ 6 w 96"/>
                <a:gd name="T9" fmla="*/ 0 h 60"/>
                <a:gd name="T10" fmla="*/ 90 w 96"/>
                <a:gd name="T11" fmla="*/ 0 h 60"/>
                <a:gd name="T12" fmla="*/ 96 w 96"/>
                <a:gd name="T13" fmla="*/ 6 h 60"/>
                <a:gd name="T14" fmla="*/ 96 w 96"/>
                <a:gd name="T15" fmla="*/ 54 h 60"/>
                <a:gd name="T16" fmla="*/ 90 w 96"/>
                <a:gd name="T17" fmla="*/ 60 h 60"/>
                <a:gd name="T18" fmla="*/ 12 w 96"/>
                <a:gd name="T19" fmla="*/ 48 h 60"/>
                <a:gd name="T20" fmla="*/ 84 w 96"/>
                <a:gd name="T21" fmla="*/ 48 h 60"/>
                <a:gd name="T22" fmla="*/ 84 w 96"/>
                <a:gd name="T23" fmla="*/ 12 h 60"/>
                <a:gd name="T24" fmla="*/ 12 w 96"/>
                <a:gd name="T25" fmla="*/ 12 h 60"/>
                <a:gd name="T26" fmla="*/ 12 w 96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60">
                  <a:moveTo>
                    <a:pt x="90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7"/>
                    <a:pt x="93" y="60"/>
                    <a:pt x="90" y="60"/>
                  </a:cubicBezTo>
                  <a:close/>
                  <a:moveTo>
                    <a:pt x="12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07">
              <a:extLst>
                <a:ext uri="{FF2B5EF4-FFF2-40B4-BE49-F238E27FC236}">
                  <a16:creationId xmlns:a16="http://schemas.microsoft.com/office/drawing/2014/main" id="{1DC9961F-271B-B180-E48E-A9ED1FCD6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" y="439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108">
              <a:extLst>
                <a:ext uri="{FF2B5EF4-FFF2-40B4-BE49-F238E27FC236}">
                  <a16:creationId xmlns:a16="http://schemas.microsoft.com/office/drawing/2014/main" id="{324BCC98-B876-6A6A-7B6D-3B9CB1EE72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9" y="599"/>
              <a:ext cx="143" cy="266"/>
            </a:xfrm>
            <a:custGeom>
              <a:avLst/>
              <a:gdLst>
                <a:gd name="T0" fmla="*/ 90 w 96"/>
                <a:gd name="T1" fmla="*/ 180 h 180"/>
                <a:gd name="T2" fmla="*/ 6 w 96"/>
                <a:gd name="T3" fmla="*/ 180 h 180"/>
                <a:gd name="T4" fmla="*/ 0 w 96"/>
                <a:gd name="T5" fmla="*/ 174 h 180"/>
                <a:gd name="T6" fmla="*/ 0 w 96"/>
                <a:gd name="T7" fmla="*/ 6 h 180"/>
                <a:gd name="T8" fmla="*/ 6 w 96"/>
                <a:gd name="T9" fmla="*/ 0 h 180"/>
                <a:gd name="T10" fmla="*/ 90 w 96"/>
                <a:gd name="T11" fmla="*/ 0 h 180"/>
                <a:gd name="T12" fmla="*/ 96 w 96"/>
                <a:gd name="T13" fmla="*/ 6 h 180"/>
                <a:gd name="T14" fmla="*/ 96 w 96"/>
                <a:gd name="T15" fmla="*/ 174 h 180"/>
                <a:gd name="T16" fmla="*/ 90 w 96"/>
                <a:gd name="T17" fmla="*/ 180 h 180"/>
                <a:gd name="T18" fmla="*/ 12 w 96"/>
                <a:gd name="T19" fmla="*/ 168 h 180"/>
                <a:gd name="T20" fmla="*/ 84 w 96"/>
                <a:gd name="T21" fmla="*/ 168 h 180"/>
                <a:gd name="T22" fmla="*/ 84 w 96"/>
                <a:gd name="T23" fmla="*/ 12 h 180"/>
                <a:gd name="T24" fmla="*/ 12 w 96"/>
                <a:gd name="T25" fmla="*/ 12 h 180"/>
                <a:gd name="T26" fmla="*/ 12 w 96"/>
                <a:gd name="T27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80">
                  <a:moveTo>
                    <a:pt x="90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3" y="180"/>
                    <a:pt x="0" y="177"/>
                    <a:pt x="0" y="17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174"/>
                    <a:pt x="96" y="174"/>
                    <a:pt x="96" y="174"/>
                  </a:cubicBezTo>
                  <a:cubicBezTo>
                    <a:pt x="96" y="177"/>
                    <a:pt x="93" y="180"/>
                    <a:pt x="90" y="180"/>
                  </a:cubicBezTo>
                  <a:close/>
                  <a:moveTo>
                    <a:pt x="12" y="168"/>
                  </a:moveTo>
                  <a:cubicBezTo>
                    <a:pt x="84" y="168"/>
                    <a:pt x="84" y="168"/>
                    <a:pt x="84" y="16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109">
              <a:extLst>
                <a:ext uri="{FF2B5EF4-FFF2-40B4-BE49-F238E27FC236}">
                  <a16:creationId xmlns:a16="http://schemas.microsoft.com/office/drawing/2014/main" id="{6315361B-EF60-58A3-BA96-7518991A6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7" y="545"/>
              <a:ext cx="107" cy="72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0 w 72"/>
                <a:gd name="T7" fmla="*/ 6 h 48"/>
                <a:gd name="T8" fmla="*/ 6 w 72"/>
                <a:gd name="T9" fmla="*/ 0 h 48"/>
                <a:gd name="T10" fmla="*/ 66 w 72"/>
                <a:gd name="T11" fmla="*/ 0 h 48"/>
                <a:gd name="T12" fmla="*/ 72 w 72"/>
                <a:gd name="T13" fmla="*/ 6 h 48"/>
                <a:gd name="T14" fmla="*/ 72 w 72"/>
                <a:gd name="T15" fmla="*/ 42 h 48"/>
                <a:gd name="T16" fmla="*/ 66 w 72"/>
                <a:gd name="T17" fmla="*/ 48 h 48"/>
                <a:gd name="T18" fmla="*/ 12 w 72"/>
                <a:gd name="T19" fmla="*/ 36 h 48"/>
                <a:gd name="T20" fmla="*/ 60 w 72"/>
                <a:gd name="T21" fmla="*/ 36 h 48"/>
                <a:gd name="T22" fmla="*/ 60 w 72"/>
                <a:gd name="T23" fmla="*/ 12 h 48"/>
                <a:gd name="T24" fmla="*/ 12 w 72"/>
                <a:gd name="T25" fmla="*/ 12 h 48"/>
                <a:gd name="T26" fmla="*/ 12 w 72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5"/>
                    <a:pt x="69" y="48"/>
                    <a:pt x="66" y="48"/>
                  </a:cubicBezTo>
                  <a:close/>
                  <a:moveTo>
                    <a:pt x="12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10">
              <a:extLst>
                <a:ext uri="{FF2B5EF4-FFF2-40B4-BE49-F238E27FC236}">
                  <a16:creationId xmlns:a16="http://schemas.microsoft.com/office/drawing/2014/main" id="{BFC1A2DA-9835-A931-DFD9-A40210325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5" y="670"/>
              <a:ext cx="142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11">
              <a:extLst>
                <a:ext uri="{FF2B5EF4-FFF2-40B4-BE49-F238E27FC236}">
                  <a16:creationId xmlns:a16="http://schemas.microsoft.com/office/drawing/2014/main" id="{0186F2C8-1FF8-E741-541B-7609E8ED5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5" y="847"/>
              <a:ext cx="142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12">
              <a:extLst>
                <a:ext uri="{FF2B5EF4-FFF2-40B4-BE49-F238E27FC236}">
                  <a16:creationId xmlns:a16="http://schemas.microsoft.com/office/drawing/2014/main" id="{C19DF108-AADF-82D4-3366-0275B83D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9" y="528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13">
              <a:extLst>
                <a:ext uri="{FF2B5EF4-FFF2-40B4-BE49-F238E27FC236}">
                  <a16:creationId xmlns:a16="http://schemas.microsoft.com/office/drawing/2014/main" id="{4D631A8F-8AC4-FB45-7288-357C7DD32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599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14">
              <a:extLst>
                <a:ext uri="{FF2B5EF4-FFF2-40B4-BE49-F238E27FC236}">
                  <a16:creationId xmlns:a16="http://schemas.microsoft.com/office/drawing/2014/main" id="{57136CC2-C7F7-4844-F59B-1FA3C9BDD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634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15">
              <a:extLst>
                <a:ext uri="{FF2B5EF4-FFF2-40B4-BE49-F238E27FC236}">
                  <a16:creationId xmlns:a16="http://schemas.microsoft.com/office/drawing/2014/main" id="{72E07D66-536B-2718-F498-0DD51513F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670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16">
              <a:extLst>
                <a:ext uri="{FF2B5EF4-FFF2-40B4-BE49-F238E27FC236}">
                  <a16:creationId xmlns:a16="http://schemas.microsoft.com/office/drawing/2014/main" id="{E1EC6220-6FD1-FEEE-7578-50B7E4D34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705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17">
              <a:extLst>
                <a:ext uri="{FF2B5EF4-FFF2-40B4-BE49-F238E27FC236}">
                  <a16:creationId xmlns:a16="http://schemas.microsoft.com/office/drawing/2014/main" id="{6B08DD10-D9F1-9936-A450-9B9E0CC91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741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18">
              <a:extLst>
                <a:ext uri="{FF2B5EF4-FFF2-40B4-BE49-F238E27FC236}">
                  <a16:creationId xmlns:a16="http://schemas.microsoft.com/office/drawing/2014/main" id="{E11FC461-A2DE-EDCF-1B4E-99BF3F034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776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8" name="Freeform 119">
              <a:extLst>
                <a:ext uri="{FF2B5EF4-FFF2-40B4-BE49-F238E27FC236}">
                  <a16:creationId xmlns:a16="http://schemas.microsoft.com/office/drawing/2014/main" id="{3B54A94E-94C9-381F-BBFE-B6A1CF12A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63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9" name="Freeform 120">
              <a:extLst>
                <a:ext uri="{FF2B5EF4-FFF2-40B4-BE49-F238E27FC236}">
                  <a16:creationId xmlns:a16="http://schemas.microsoft.com/office/drawing/2014/main" id="{E69B0885-CA3B-370C-F641-5A91A20F9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670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1" name="Freeform 121">
              <a:extLst>
                <a:ext uri="{FF2B5EF4-FFF2-40B4-BE49-F238E27FC236}">
                  <a16:creationId xmlns:a16="http://schemas.microsoft.com/office/drawing/2014/main" id="{2B9FB1ED-A506-7C51-A605-AE7E79F4A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705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2" name="Freeform 122">
              <a:extLst>
                <a:ext uri="{FF2B5EF4-FFF2-40B4-BE49-F238E27FC236}">
                  <a16:creationId xmlns:a16="http://schemas.microsoft.com/office/drawing/2014/main" id="{8624DAC7-7E09-A000-7ACF-F3563DA43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741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3" name="Freeform 123">
              <a:extLst>
                <a:ext uri="{FF2B5EF4-FFF2-40B4-BE49-F238E27FC236}">
                  <a16:creationId xmlns:a16="http://schemas.microsoft.com/office/drawing/2014/main" id="{1A17EE89-D6B3-971C-7356-4ECD02BAC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776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4" name="Freeform 124">
              <a:extLst>
                <a:ext uri="{FF2B5EF4-FFF2-40B4-BE49-F238E27FC236}">
                  <a16:creationId xmlns:a16="http://schemas.microsoft.com/office/drawing/2014/main" id="{4AA1D99A-21D4-5040-8369-3782F5A23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" y="705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5" name="Freeform 125">
              <a:extLst>
                <a:ext uri="{FF2B5EF4-FFF2-40B4-BE49-F238E27FC236}">
                  <a16:creationId xmlns:a16="http://schemas.microsoft.com/office/drawing/2014/main" id="{C4661440-8FE6-C884-DFCC-C4C06EC5F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" y="741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6" name="Freeform 126">
              <a:extLst>
                <a:ext uri="{FF2B5EF4-FFF2-40B4-BE49-F238E27FC236}">
                  <a16:creationId xmlns:a16="http://schemas.microsoft.com/office/drawing/2014/main" id="{D73DD19F-A7D6-C692-0655-A34619AE0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" y="776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7" name="Freeform 127">
              <a:extLst>
                <a:ext uri="{FF2B5EF4-FFF2-40B4-BE49-F238E27FC236}">
                  <a16:creationId xmlns:a16="http://schemas.microsoft.com/office/drawing/2014/main" id="{C7F3B807-D7F7-CDC0-EB4F-6F6472216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9" y="812"/>
              <a:ext cx="53" cy="53"/>
            </a:xfrm>
            <a:custGeom>
              <a:avLst/>
              <a:gdLst>
                <a:gd name="T0" fmla="*/ 30 w 36"/>
                <a:gd name="T1" fmla="*/ 36 h 36"/>
                <a:gd name="T2" fmla="*/ 6 w 36"/>
                <a:gd name="T3" fmla="*/ 36 h 36"/>
                <a:gd name="T4" fmla="*/ 0 w 36"/>
                <a:gd name="T5" fmla="*/ 30 h 36"/>
                <a:gd name="T6" fmla="*/ 0 w 36"/>
                <a:gd name="T7" fmla="*/ 6 h 36"/>
                <a:gd name="T8" fmla="*/ 6 w 36"/>
                <a:gd name="T9" fmla="*/ 0 h 36"/>
                <a:gd name="T10" fmla="*/ 30 w 36"/>
                <a:gd name="T11" fmla="*/ 0 h 36"/>
                <a:gd name="T12" fmla="*/ 36 w 36"/>
                <a:gd name="T13" fmla="*/ 6 h 36"/>
                <a:gd name="T14" fmla="*/ 36 w 36"/>
                <a:gd name="T15" fmla="*/ 30 h 36"/>
                <a:gd name="T16" fmla="*/ 30 w 36"/>
                <a:gd name="T17" fmla="*/ 36 h 36"/>
                <a:gd name="T18" fmla="*/ 12 w 36"/>
                <a:gd name="T19" fmla="*/ 24 h 36"/>
                <a:gd name="T20" fmla="*/ 24 w 36"/>
                <a:gd name="T21" fmla="*/ 24 h 36"/>
                <a:gd name="T22" fmla="*/ 24 w 36"/>
                <a:gd name="T23" fmla="*/ 12 h 36"/>
                <a:gd name="T24" fmla="*/ 12 w 36"/>
                <a:gd name="T25" fmla="*/ 12 h 36"/>
                <a:gd name="T26" fmla="*/ 12 w 36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2"/>
                    <a:pt x="36" y="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lose/>
                  <a:moveTo>
                    <a:pt x="12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8" name="Freeform 128">
              <a:extLst>
                <a:ext uri="{FF2B5EF4-FFF2-40B4-BE49-F238E27FC236}">
                  <a16:creationId xmlns:a16="http://schemas.microsoft.com/office/drawing/2014/main" id="{C6DA1C23-73B5-1C49-67EF-9F42683BD5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3" y="812"/>
              <a:ext cx="53" cy="53"/>
            </a:xfrm>
            <a:custGeom>
              <a:avLst/>
              <a:gdLst>
                <a:gd name="T0" fmla="*/ 30 w 36"/>
                <a:gd name="T1" fmla="*/ 36 h 36"/>
                <a:gd name="T2" fmla="*/ 6 w 36"/>
                <a:gd name="T3" fmla="*/ 36 h 36"/>
                <a:gd name="T4" fmla="*/ 0 w 36"/>
                <a:gd name="T5" fmla="*/ 30 h 36"/>
                <a:gd name="T6" fmla="*/ 0 w 36"/>
                <a:gd name="T7" fmla="*/ 6 h 36"/>
                <a:gd name="T8" fmla="*/ 6 w 36"/>
                <a:gd name="T9" fmla="*/ 0 h 36"/>
                <a:gd name="T10" fmla="*/ 30 w 36"/>
                <a:gd name="T11" fmla="*/ 0 h 36"/>
                <a:gd name="T12" fmla="*/ 36 w 36"/>
                <a:gd name="T13" fmla="*/ 6 h 36"/>
                <a:gd name="T14" fmla="*/ 36 w 36"/>
                <a:gd name="T15" fmla="*/ 30 h 36"/>
                <a:gd name="T16" fmla="*/ 30 w 36"/>
                <a:gd name="T17" fmla="*/ 36 h 36"/>
                <a:gd name="T18" fmla="*/ 12 w 36"/>
                <a:gd name="T19" fmla="*/ 24 h 36"/>
                <a:gd name="T20" fmla="*/ 24 w 36"/>
                <a:gd name="T21" fmla="*/ 24 h 36"/>
                <a:gd name="T22" fmla="*/ 24 w 36"/>
                <a:gd name="T23" fmla="*/ 12 h 36"/>
                <a:gd name="T24" fmla="*/ 12 w 36"/>
                <a:gd name="T25" fmla="*/ 12 h 36"/>
                <a:gd name="T26" fmla="*/ 12 w 36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2"/>
                    <a:pt x="36" y="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lose/>
                  <a:moveTo>
                    <a:pt x="12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88" name="Group 87">
            <a:extLst>
              <a:ext uri="{FF2B5EF4-FFF2-40B4-BE49-F238E27FC236}">
                <a16:creationId xmlns:a16="http://schemas.microsoft.com/office/drawing/2014/main" id="{4FF6AE08-4E11-A391-5F3C-63A89BB5191D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1865097" y="3045049"/>
            <a:ext cx="1223116" cy="1174306"/>
            <a:chOff x="4478" y="1729"/>
            <a:chExt cx="426" cy="409"/>
          </a:xfrm>
          <a:solidFill>
            <a:schemeClr val="accent3"/>
          </a:solidFill>
        </p:grpSpPr>
        <p:sp>
          <p:nvSpPr>
            <p:cNvPr id="2089" name="Freeform 88">
              <a:extLst>
                <a:ext uri="{FF2B5EF4-FFF2-40B4-BE49-F238E27FC236}">
                  <a16:creationId xmlns:a16="http://schemas.microsoft.com/office/drawing/2014/main" id="{9B72F2FF-76C2-CBE0-14F8-E56AAFDFC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1836"/>
              <a:ext cx="198" cy="266"/>
            </a:xfrm>
            <a:custGeom>
              <a:avLst/>
              <a:gdLst>
                <a:gd name="T0" fmla="*/ 67 w 134"/>
                <a:gd name="T1" fmla="*/ 180 h 180"/>
                <a:gd name="T2" fmla="*/ 67 w 134"/>
                <a:gd name="T3" fmla="*/ 180 h 180"/>
                <a:gd name="T4" fmla="*/ 62 w 134"/>
                <a:gd name="T5" fmla="*/ 178 h 180"/>
                <a:gd name="T6" fmla="*/ 0 w 134"/>
                <a:gd name="T7" fmla="*/ 67 h 180"/>
                <a:gd name="T8" fmla="*/ 67 w 134"/>
                <a:gd name="T9" fmla="*/ 0 h 180"/>
                <a:gd name="T10" fmla="*/ 134 w 134"/>
                <a:gd name="T11" fmla="*/ 67 h 180"/>
                <a:gd name="T12" fmla="*/ 71 w 134"/>
                <a:gd name="T13" fmla="*/ 178 h 180"/>
                <a:gd name="T14" fmla="*/ 67 w 134"/>
                <a:gd name="T15" fmla="*/ 180 h 180"/>
                <a:gd name="T16" fmla="*/ 67 w 134"/>
                <a:gd name="T17" fmla="*/ 12 h 180"/>
                <a:gd name="T18" fmla="*/ 12 w 134"/>
                <a:gd name="T19" fmla="*/ 67 h 180"/>
                <a:gd name="T20" fmla="*/ 67 w 134"/>
                <a:gd name="T21" fmla="*/ 164 h 180"/>
                <a:gd name="T22" fmla="*/ 122 w 134"/>
                <a:gd name="T23" fmla="*/ 67 h 180"/>
                <a:gd name="T24" fmla="*/ 67 w 134"/>
                <a:gd name="T25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80">
                  <a:moveTo>
                    <a:pt x="67" y="180"/>
                  </a:moveTo>
                  <a:cubicBezTo>
                    <a:pt x="67" y="180"/>
                    <a:pt x="67" y="180"/>
                    <a:pt x="67" y="180"/>
                  </a:cubicBezTo>
                  <a:cubicBezTo>
                    <a:pt x="65" y="180"/>
                    <a:pt x="63" y="179"/>
                    <a:pt x="62" y="178"/>
                  </a:cubicBezTo>
                  <a:cubicBezTo>
                    <a:pt x="60" y="175"/>
                    <a:pt x="0" y="102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2"/>
                    <a:pt x="74" y="175"/>
                    <a:pt x="71" y="178"/>
                  </a:cubicBezTo>
                  <a:cubicBezTo>
                    <a:pt x="70" y="179"/>
                    <a:pt x="68" y="180"/>
                    <a:pt x="67" y="180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1"/>
                    <a:pt x="48" y="141"/>
                    <a:pt x="67" y="164"/>
                  </a:cubicBezTo>
                  <a:cubicBezTo>
                    <a:pt x="86" y="141"/>
                    <a:pt x="122" y="91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0" name="Freeform 89">
              <a:extLst>
                <a:ext uri="{FF2B5EF4-FFF2-40B4-BE49-F238E27FC236}">
                  <a16:creationId xmlns:a16="http://schemas.microsoft.com/office/drawing/2014/main" id="{6182935B-83C7-E9BC-6F23-129031BB9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4" y="1892"/>
              <a:ext cx="86" cy="86"/>
            </a:xfrm>
            <a:custGeom>
              <a:avLst/>
              <a:gdLst>
                <a:gd name="T0" fmla="*/ 29 w 58"/>
                <a:gd name="T1" fmla="*/ 58 h 58"/>
                <a:gd name="T2" fmla="*/ 0 w 58"/>
                <a:gd name="T3" fmla="*/ 29 h 58"/>
                <a:gd name="T4" fmla="*/ 29 w 58"/>
                <a:gd name="T5" fmla="*/ 0 h 58"/>
                <a:gd name="T6" fmla="*/ 58 w 58"/>
                <a:gd name="T7" fmla="*/ 29 h 58"/>
                <a:gd name="T8" fmla="*/ 29 w 58"/>
                <a:gd name="T9" fmla="*/ 58 h 58"/>
                <a:gd name="T10" fmla="*/ 29 w 58"/>
                <a:gd name="T11" fmla="*/ 12 h 58"/>
                <a:gd name="T12" fmla="*/ 12 w 58"/>
                <a:gd name="T13" fmla="*/ 29 h 58"/>
                <a:gd name="T14" fmla="*/ 29 w 58"/>
                <a:gd name="T15" fmla="*/ 46 h 58"/>
                <a:gd name="T16" fmla="*/ 46 w 58"/>
                <a:gd name="T17" fmla="*/ 29 h 58"/>
                <a:gd name="T18" fmla="*/ 29 w 58"/>
                <a:gd name="T19" fmla="*/ 1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13" y="58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45" y="58"/>
                    <a:pt x="29" y="58"/>
                  </a:cubicBezTo>
                  <a:close/>
                  <a:moveTo>
                    <a:pt x="29" y="12"/>
                  </a:moveTo>
                  <a:cubicBezTo>
                    <a:pt x="19" y="12"/>
                    <a:pt x="12" y="20"/>
                    <a:pt x="12" y="29"/>
                  </a:cubicBezTo>
                  <a:cubicBezTo>
                    <a:pt x="12" y="38"/>
                    <a:pt x="19" y="46"/>
                    <a:pt x="29" y="46"/>
                  </a:cubicBezTo>
                  <a:cubicBezTo>
                    <a:pt x="38" y="46"/>
                    <a:pt x="46" y="38"/>
                    <a:pt x="46" y="29"/>
                  </a:cubicBezTo>
                  <a:cubicBezTo>
                    <a:pt x="46" y="20"/>
                    <a:pt x="38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1" name="Freeform 90">
              <a:extLst>
                <a:ext uri="{FF2B5EF4-FFF2-40B4-BE49-F238E27FC236}">
                  <a16:creationId xmlns:a16="http://schemas.microsoft.com/office/drawing/2014/main" id="{73B89DD1-38FB-4979-DCED-978915046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1960"/>
              <a:ext cx="265" cy="178"/>
            </a:xfrm>
            <a:custGeom>
              <a:avLst/>
              <a:gdLst>
                <a:gd name="T0" fmla="*/ 113 w 179"/>
                <a:gd name="T1" fmla="*/ 120 h 120"/>
                <a:gd name="T2" fmla="*/ 6 w 179"/>
                <a:gd name="T3" fmla="*/ 120 h 120"/>
                <a:gd name="T4" fmla="*/ 0 w 179"/>
                <a:gd name="T5" fmla="*/ 114 h 120"/>
                <a:gd name="T6" fmla="*/ 6 w 179"/>
                <a:gd name="T7" fmla="*/ 108 h 120"/>
                <a:gd name="T8" fmla="*/ 107 w 179"/>
                <a:gd name="T9" fmla="*/ 108 h 120"/>
                <a:gd name="T10" fmla="*/ 107 w 179"/>
                <a:gd name="T11" fmla="*/ 6 h 120"/>
                <a:gd name="T12" fmla="*/ 113 w 179"/>
                <a:gd name="T13" fmla="*/ 0 h 120"/>
                <a:gd name="T14" fmla="*/ 173 w 179"/>
                <a:gd name="T15" fmla="*/ 0 h 120"/>
                <a:gd name="T16" fmla="*/ 179 w 179"/>
                <a:gd name="T17" fmla="*/ 6 h 120"/>
                <a:gd name="T18" fmla="*/ 173 w 179"/>
                <a:gd name="T19" fmla="*/ 12 h 120"/>
                <a:gd name="T20" fmla="*/ 119 w 179"/>
                <a:gd name="T21" fmla="*/ 12 h 120"/>
                <a:gd name="T22" fmla="*/ 119 w 179"/>
                <a:gd name="T23" fmla="*/ 114 h 120"/>
                <a:gd name="T24" fmla="*/ 113 w 179"/>
                <a:gd name="T2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9" h="120">
                  <a:moveTo>
                    <a:pt x="113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7"/>
                    <a:pt x="0" y="114"/>
                  </a:cubicBezTo>
                  <a:cubicBezTo>
                    <a:pt x="0" y="111"/>
                    <a:pt x="2" y="108"/>
                    <a:pt x="6" y="108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3"/>
                    <a:pt x="109" y="0"/>
                    <a:pt x="113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6" y="0"/>
                    <a:pt x="179" y="3"/>
                    <a:pt x="179" y="6"/>
                  </a:cubicBezTo>
                  <a:cubicBezTo>
                    <a:pt x="179" y="9"/>
                    <a:pt x="176" y="12"/>
                    <a:pt x="173" y="12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9" y="117"/>
                    <a:pt x="116" y="120"/>
                    <a:pt x="113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2" name="Freeform 91">
              <a:extLst>
                <a:ext uri="{FF2B5EF4-FFF2-40B4-BE49-F238E27FC236}">
                  <a16:creationId xmlns:a16="http://schemas.microsoft.com/office/drawing/2014/main" id="{02583C64-EC32-B66C-FE95-8218680E91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4" y="1729"/>
              <a:ext cx="160" cy="213"/>
            </a:xfrm>
            <a:custGeom>
              <a:avLst/>
              <a:gdLst>
                <a:gd name="T0" fmla="*/ 54 w 108"/>
                <a:gd name="T1" fmla="*/ 144 h 144"/>
                <a:gd name="T2" fmla="*/ 49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8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8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2" y="144"/>
                    <a:pt x="50" y="143"/>
                    <a:pt x="49" y="142"/>
                  </a:cubicBezTo>
                  <a:cubicBezTo>
                    <a:pt x="44" y="136"/>
                    <a:pt x="0" y="8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8" y="24"/>
                    <a:pt x="108" y="54"/>
                  </a:cubicBezTo>
                  <a:cubicBezTo>
                    <a:pt x="108" y="82"/>
                    <a:pt x="63" y="136"/>
                    <a:pt x="58" y="142"/>
                  </a:cubicBezTo>
                  <a:cubicBezTo>
                    <a:pt x="57" y="143"/>
                    <a:pt x="55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0" y="12"/>
                    <a:pt x="12" y="31"/>
                    <a:pt x="12" y="54"/>
                  </a:cubicBezTo>
                  <a:cubicBezTo>
                    <a:pt x="12" y="72"/>
                    <a:pt x="39" y="110"/>
                    <a:pt x="54" y="128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3" name="Freeform 92">
              <a:extLst>
                <a:ext uri="{FF2B5EF4-FFF2-40B4-BE49-F238E27FC236}">
                  <a16:creationId xmlns:a16="http://schemas.microsoft.com/office/drawing/2014/main" id="{18FF06BA-6FF3-370F-3E05-0A4DD5809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9" y="1774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0" y="36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94" name="Group 4">
            <a:extLst>
              <a:ext uri="{FF2B5EF4-FFF2-40B4-BE49-F238E27FC236}">
                <a16:creationId xmlns:a16="http://schemas.microsoft.com/office/drawing/2014/main" id="{B2FEEFC1-3FD2-7C2D-3FAB-5CF16C404A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68573" y="1770437"/>
            <a:ext cx="504603" cy="505842"/>
            <a:chOff x="359" y="448"/>
            <a:chExt cx="408" cy="409"/>
          </a:xfrm>
          <a:solidFill>
            <a:schemeClr val="tx2"/>
          </a:solidFill>
        </p:grpSpPr>
        <p:sp>
          <p:nvSpPr>
            <p:cNvPr id="2095" name="Freeform 5">
              <a:extLst>
                <a:ext uri="{FF2B5EF4-FFF2-40B4-BE49-F238E27FC236}">
                  <a16:creationId xmlns:a16="http://schemas.microsoft.com/office/drawing/2014/main" id="{2B17F308-944A-7335-6692-9EF4AD4B0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" y="448"/>
              <a:ext cx="408" cy="409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4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214"/>
                    <a:pt x="214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9" y="12"/>
                    <a:pt x="12" y="68"/>
                    <a:pt x="12" y="138"/>
                  </a:cubicBezTo>
                  <a:cubicBezTo>
                    <a:pt x="12" y="207"/>
                    <a:pt x="69" y="264"/>
                    <a:pt x="138" y="264"/>
                  </a:cubicBezTo>
                  <a:cubicBezTo>
                    <a:pt x="208" y="264"/>
                    <a:pt x="264" y="207"/>
                    <a:pt x="264" y="138"/>
                  </a:cubicBezTo>
                  <a:cubicBezTo>
                    <a:pt x="264" y="68"/>
                    <a:pt x="208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6" name="Freeform 6">
              <a:extLst>
                <a:ext uri="{FF2B5EF4-FFF2-40B4-BE49-F238E27FC236}">
                  <a16:creationId xmlns:a16="http://schemas.microsoft.com/office/drawing/2014/main" id="{204A6C53-85FA-4C3B-2CAA-70AC0C5F0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546"/>
              <a:ext cx="124" cy="177"/>
            </a:xfrm>
            <a:custGeom>
              <a:avLst/>
              <a:gdLst>
                <a:gd name="T0" fmla="*/ 42 w 84"/>
                <a:gd name="T1" fmla="*/ 120 h 120"/>
                <a:gd name="T2" fmla="*/ 36 w 84"/>
                <a:gd name="T3" fmla="*/ 114 h 120"/>
                <a:gd name="T4" fmla="*/ 36 w 84"/>
                <a:gd name="T5" fmla="*/ 78 h 120"/>
                <a:gd name="T6" fmla="*/ 42 w 84"/>
                <a:gd name="T7" fmla="*/ 72 h 120"/>
                <a:gd name="T8" fmla="*/ 72 w 84"/>
                <a:gd name="T9" fmla="*/ 42 h 120"/>
                <a:gd name="T10" fmla="*/ 42 w 84"/>
                <a:gd name="T11" fmla="*/ 12 h 120"/>
                <a:gd name="T12" fmla="*/ 12 w 84"/>
                <a:gd name="T13" fmla="*/ 42 h 120"/>
                <a:gd name="T14" fmla="*/ 6 w 84"/>
                <a:gd name="T15" fmla="*/ 48 h 120"/>
                <a:gd name="T16" fmla="*/ 0 w 84"/>
                <a:gd name="T17" fmla="*/ 42 h 120"/>
                <a:gd name="T18" fmla="*/ 42 w 84"/>
                <a:gd name="T19" fmla="*/ 0 h 120"/>
                <a:gd name="T20" fmla="*/ 84 w 84"/>
                <a:gd name="T21" fmla="*/ 42 h 120"/>
                <a:gd name="T22" fmla="*/ 48 w 84"/>
                <a:gd name="T23" fmla="*/ 83 h 120"/>
                <a:gd name="T24" fmla="*/ 48 w 84"/>
                <a:gd name="T25" fmla="*/ 114 h 120"/>
                <a:gd name="T26" fmla="*/ 42 w 84"/>
                <a:gd name="T2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120">
                  <a:moveTo>
                    <a:pt x="42" y="120"/>
                  </a:moveTo>
                  <a:cubicBezTo>
                    <a:pt x="39" y="120"/>
                    <a:pt x="36" y="117"/>
                    <a:pt x="36" y="114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5"/>
                    <a:pt x="39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ubicBezTo>
                    <a:pt x="26" y="12"/>
                    <a:pt x="12" y="25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3"/>
                    <a:pt x="69" y="80"/>
                    <a:pt x="48" y="83"/>
                  </a:cubicBezTo>
                  <a:cubicBezTo>
                    <a:pt x="48" y="114"/>
                    <a:pt x="48" y="114"/>
                    <a:pt x="48" y="114"/>
                  </a:cubicBezTo>
                  <a:cubicBezTo>
                    <a:pt x="48" y="117"/>
                    <a:pt x="46" y="120"/>
                    <a:pt x="4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7" name="Freeform 7">
              <a:extLst>
                <a:ext uri="{FF2B5EF4-FFF2-40B4-BE49-F238E27FC236}">
                  <a16:creationId xmlns:a16="http://schemas.microsoft.com/office/drawing/2014/main" id="{2D3A8820-F706-8BA7-3AE4-1B7ADB2E63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741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8 w 24"/>
                <a:gd name="T15" fmla="*/ 12 h 24"/>
                <a:gd name="T16" fmla="*/ 12 w 24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98" name="TextBox 24">
            <a:extLst>
              <a:ext uri="{FF2B5EF4-FFF2-40B4-BE49-F238E27FC236}">
                <a16:creationId xmlns:a16="http://schemas.microsoft.com/office/drawing/2014/main" id="{E849031B-FE45-46F0-12B6-E168F92F495C}"/>
              </a:ext>
            </a:extLst>
          </p:cNvPr>
          <p:cNvSpPr txBox="1"/>
          <p:nvPr/>
        </p:nvSpPr>
        <p:spPr>
          <a:xfrm>
            <a:off x="384174" y="1900248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pSp>
        <p:nvGrpSpPr>
          <p:cNvPr id="2099" name="Group 4">
            <a:extLst>
              <a:ext uri="{FF2B5EF4-FFF2-40B4-BE49-F238E27FC236}">
                <a16:creationId xmlns:a16="http://schemas.microsoft.com/office/drawing/2014/main" id="{C2603BC0-77F4-A579-B25E-EA17117C6D4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3103" y="1770437"/>
            <a:ext cx="504603" cy="505842"/>
            <a:chOff x="359" y="448"/>
            <a:chExt cx="408" cy="409"/>
          </a:xfrm>
          <a:solidFill>
            <a:schemeClr val="tx2"/>
          </a:solidFill>
        </p:grpSpPr>
        <p:sp>
          <p:nvSpPr>
            <p:cNvPr id="2100" name="Freeform 5">
              <a:extLst>
                <a:ext uri="{FF2B5EF4-FFF2-40B4-BE49-F238E27FC236}">
                  <a16:creationId xmlns:a16="http://schemas.microsoft.com/office/drawing/2014/main" id="{151574AD-D33C-2E64-0D5B-F87226C2B0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" y="448"/>
              <a:ext cx="408" cy="409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4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214"/>
                    <a:pt x="214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9" y="12"/>
                    <a:pt x="12" y="68"/>
                    <a:pt x="12" y="138"/>
                  </a:cubicBezTo>
                  <a:cubicBezTo>
                    <a:pt x="12" y="207"/>
                    <a:pt x="69" y="264"/>
                    <a:pt x="138" y="264"/>
                  </a:cubicBezTo>
                  <a:cubicBezTo>
                    <a:pt x="208" y="264"/>
                    <a:pt x="264" y="207"/>
                    <a:pt x="264" y="138"/>
                  </a:cubicBezTo>
                  <a:cubicBezTo>
                    <a:pt x="264" y="68"/>
                    <a:pt x="208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1" name="Freeform 6">
              <a:extLst>
                <a:ext uri="{FF2B5EF4-FFF2-40B4-BE49-F238E27FC236}">
                  <a16:creationId xmlns:a16="http://schemas.microsoft.com/office/drawing/2014/main" id="{F1579A37-8114-AF85-9C20-BFE6E427C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546"/>
              <a:ext cx="124" cy="177"/>
            </a:xfrm>
            <a:custGeom>
              <a:avLst/>
              <a:gdLst>
                <a:gd name="T0" fmla="*/ 42 w 84"/>
                <a:gd name="T1" fmla="*/ 120 h 120"/>
                <a:gd name="T2" fmla="*/ 36 w 84"/>
                <a:gd name="T3" fmla="*/ 114 h 120"/>
                <a:gd name="T4" fmla="*/ 36 w 84"/>
                <a:gd name="T5" fmla="*/ 78 h 120"/>
                <a:gd name="T6" fmla="*/ 42 w 84"/>
                <a:gd name="T7" fmla="*/ 72 h 120"/>
                <a:gd name="T8" fmla="*/ 72 w 84"/>
                <a:gd name="T9" fmla="*/ 42 h 120"/>
                <a:gd name="T10" fmla="*/ 42 w 84"/>
                <a:gd name="T11" fmla="*/ 12 h 120"/>
                <a:gd name="T12" fmla="*/ 12 w 84"/>
                <a:gd name="T13" fmla="*/ 42 h 120"/>
                <a:gd name="T14" fmla="*/ 6 w 84"/>
                <a:gd name="T15" fmla="*/ 48 h 120"/>
                <a:gd name="T16" fmla="*/ 0 w 84"/>
                <a:gd name="T17" fmla="*/ 42 h 120"/>
                <a:gd name="T18" fmla="*/ 42 w 84"/>
                <a:gd name="T19" fmla="*/ 0 h 120"/>
                <a:gd name="T20" fmla="*/ 84 w 84"/>
                <a:gd name="T21" fmla="*/ 42 h 120"/>
                <a:gd name="T22" fmla="*/ 48 w 84"/>
                <a:gd name="T23" fmla="*/ 83 h 120"/>
                <a:gd name="T24" fmla="*/ 48 w 84"/>
                <a:gd name="T25" fmla="*/ 114 h 120"/>
                <a:gd name="T26" fmla="*/ 42 w 84"/>
                <a:gd name="T2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120">
                  <a:moveTo>
                    <a:pt x="42" y="120"/>
                  </a:moveTo>
                  <a:cubicBezTo>
                    <a:pt x="39" y="120"/>
                    <a:pt x="36" y="117"/>
                    <a:pt x="36" y="114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5"/>
                    <a:pt x="39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ubicBezTo>
                    <a:pt x="26" y="12"/>
                    <a:pt x="12" y="25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3"/>
                    <a:pt x="69" y="80"/>
                    <a:pt x="48" y="83"/>
                  </a:cubicBezTo>
                  <a:cubicBezTo>
                    <a:pt x="48" y="114"/>
                    <a:pt x="48" y="114"/>
                    <a:pt x="48" y="114"/>
                  </a:cubicBezTo>
                  <a:cubicBezTo>
                    <a:pt x="48" y="117"/>
                    <a:pt x="46" y="120"/>
                    <a:pt x="4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2" name="Freeform 7">
              <a:extLst>
                <a:ext uri="{FF2B5EF4-FFF2-40B4-BE49-F238E27FC236}">
                  <a16:creationId xmlns:a16="http://schemas.microsoft.com/office/drawing/2014/main" id="{B77C9417-CB89-2C9D-8BEA-25AE9F9462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741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8 w 24"/>
                <a:gd name="T15" fmla="*/ 12 h 24"/>
                <a:gd name="T16" fmla="*/ 12 w 24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03" name="TextBox 24">
            <a:extLst>
              <a:ext uri="{FF2B5EF4-FFF2-40B4-BE49-F238E27FC236}">
                <a16:creationId xmlns:a16="http://schemas.microsoft.com/office/drawing/2014/main" id="{FFC37BE9-9105-4E2E-418C-C0A18346C69D}"/>
              </a:ext>
            </a:extLst>
          </p:cNvPr>
          <p:cNvSpPr txBox="1"/>
          <p:nvPr/>
        </p:nvSpPr>
        <p:spPr>
          <a:xfrm>
            <a:off x="7368704" y="1900248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104" name="TextBox 24">
            <a:extLst>
              <a:ext uri="{FF2B5EF4-FFF2-40B4-BE49-F238E27FC236}">
                <a16:creationId xmlns:a16="http://schemas.microsoft.com/office/drawing/2014/main" id="{DD452E43-07E8-A8C8-AB05-DC26A792EC6D}"/>
              </a:ext>
            </a:extLst>
          </p:cNvPr>
          <p:cNvSpPr txBox="1"/>
          <p:nvPr/>
        </p:nvSpPr>
        <p:spPr>
          <a:xfrm>
            <a:off x="1063490" y="4478961"/>
            <a:ext cx="310845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pSp>
        <p:nvGrpSpPr>
          <p:cNvPr id="2105" name="Group 99">
            <a:extLst>
              <a:ext uri="{FF2B5EF4-FFF2-40B4-BE49-F238E27FC236}">
                <a16:creationId xmlns:a16="http://schemas.microsoft.com/office/drawing/2014/main" id="{F6E8A9AD-3E0C-03BE-0235-F3FF282BD584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1409735" y="5590920"/>
            <a:ext cx="478589" cy="479765"/>
            <a:chOff x="6546" y="449"/>
            <a:chExt cx="407" cy="408"/>
          </a:xfrm>
          <a:solidFill>
            <a:schemeClr val="tx2"/>
          </a:solidFill>
        </p:grpSpPr>
        <p:sp>
          <p:nvSpPr>
            <p:cNvPr id="2106" name="Freeform 100">
              <a:extLst>
                <a:ext uri="{FF2B5EF4-FFF2-40B4-BE49-F238E27FC236}">
                  <a16:creationId xmlns:a16="http://schemas.microsoft.com/office/drawing/2014/main" id="{C4F64EE4-8B7C-FD39-A0B4-A99634899D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6" y="449"/>
              <a:ext cx="407" cy="408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5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215"/>
                    <a:pt x="214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8" y="12"/>
                    <a:pt x="12" y="69"/>
                    <a:pt x="12" y="138"/>
                  </a:cubicBezTo>
                  <a:cubicBezTo>
                    <a:pt x="12" y="208"/>
                    <a:pt x="68" y="264"/>
                    <a:pt x="138" y="264"/>
                  </a:cubicBezTo>
                  <a:cubicBezTo>
                    <a:pt x="207" y="264"/>
                    <a:pt x="264" y="208"/>
                    <a:pt x="264" y="138"/>
                  </a:cubicBezTo>
                  <a:cubicBezTo>
                    <a:pt x="264" y="69"/>
                    <a:pt x="207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7" name="Freeform 101">
              <a:extLst>
                <a:ext uri="{FF2B5EF4-FFF2-40B4-BE49-F238E27FC236}">
                  <a16:creationId xmlns:a16="http://schemas.microsoft.com/office/drawing/2014/main" id="{D7C40FCB-2842-CBD8-1518-B02943BB7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1" y="529"/>
              <a:ext cx="17" cy="248"/>
            </a:xfrm>
            <a:custGeom>
              <a:avLst/>
              <a:gdLst>
                <a:gd name="T0" fmla="*/ 6 w 12"/>
                <a:gd name="T1" fmla="*/ 168 h 168"/>
                <a:gd name="T2" fmla="*/ 0 w 12"/>
                <a:gd name="T3" fmla="*/ 162 h 168"/>
                <a:gd name="T4" fmla="*/ 0 w 12"/>
                <a:gd name="T5" fmla="*/ 6 h 168"/>
                <a:gd name="T6" fmla="*/ 6 w 12"/>
                <a:gd name="T7" fmla="*/ 0 h 168"/>
                <a:gd name="T8" fmla="*/ 12 w 12"/>
                <a:gd name="T9" fmla="*/ 6 h 168"/>
                <a:gd name="T10" fmla="*/ 12 w 12"/>
                <a:gd name="T11" fmla="*/ 162 h 168"/>
                <a:gd name="T12" fmla="*/ 6 w 12"/>
                <a:gd name="T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8">
                  <a:moveTo>
                    <a:pt x="6" y="168"/>
                  </a:moveTo>
                  <a:cubicBezTo>
                    <a:pt x="2" y="168"/>
                    <a:pt x="0" y="166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66"/>
                    <a:pt x="9" y="168"/>
                    <a:pt x="6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8" name="Freeform 102">
              <a:extLst>
                <a:ext uri="{FF2B5EF4-FFF2-40B4-BE49-F238E27FC236}">
                  <a16:creationId xmlns:a16="http://schemas.microsoft.com/office/drawing/2014/main" id="{DEFCA840-BF45-325A-68FD-0073C32D6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" y="529"/>
              <a:ext cx="214" cy="117"/>
            </a:xfrm>
            <a:custGeom>
              <a:avLst/>
              <a:gdLst>
                <a:gd name="T0" fmla="*/ 139 w 145"/>
                <a:gd name="T1" fmla="*/ 78 h 79"/>
                <a:gd name="T2" fmla="*/ 134 w 145"/>
                <a:gd name="T3" fmla="*/ 77 h 79"/>
                <a:gd name="T4" fmla="*/ 73 w 145"/>
                <a:gd name="T5" fmla="*/ 15 h 79"/>
                <a:gd name="T6" fmla="*/ 11 w 145"/>
                <a:gd name="T7" fmla="*/ 77 h 79"/>
                <a:gd name="T8" fmla="*/ 2 w 145"/>
                <a:gd name="T9" fmla="*/ 77 h 79"/>
                <a:gd name="T10" fmla="*/ 2 w 145"/>
                <a:gd name="T11" fmla="*/ 68 h 79"/>
                <a:gd name="T12" fmla="*/ 68 w 145"/>
                <a:gd name="T13" fmla="*/ 2 h 79"/>
                <a:gd name="T14" fmla="*/ 77 w 145"/>
                <a:gd name="T15" fmla="*/ 2 h 79"/>
                <a:gd name="T16" fmla="*/ 143 w 145"/>
                <a:gd name="T17" fmla="*/ 68 h 79"/>
                <a:gd name="T18" fmla="*/ 143 w 145"/>
                <a:gd name="T19" fmla="*/ 77 h 79"/>
                <a:gd name="T20" fmla="*/ 139 w 145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79">
                  <a:moveTo>
                    <a:pt x="139" y="78"/>
                  </a:moveTo>
                  <a:cubicBezTo>
                    <a:pt x="137" y="78"/>
                    <a:pt x="136" y="78"/>
                    <a:pt x="134" y="77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11" y="77"/>
                    <a:pt x="11" y="77"/>
                    <a:pt x="11" y="77"/>
                  </a:cubicBezTo>
                  <a:cubicBezTo>
                    <a:pt x="9" y="79"/>
                    <a:pt x="5" y="79"/>
                    <a:pt x="2" y="77"/>
                  </a:cubicBezTo>
                  <a:cubicBezTo>
                    <a:pt x="0" y="74"/>
                    <a:pt x="0" y="71"/>
                    <a:pt x="2" y="68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71" y="0"/>
                    <a:pt x="75" y="0"/>
                    <a:pt x="77" y="2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5" y="71"/>
                    <a:pt x="145" y="74"/>
                    <a:pt x="143" y="77"/>
                  </a:cubicBezTo>
                  <a:cubicBezTo>
                    <a:pt x="142" y="78"/>
                    <a:pt x="140" y="78"/>
                    <a:pt x="139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09" name="TextBox 24">
            <a:extLst>
              <a:ext uri="{FF2B5EF4-FFF2-40B4-BE49-F238E27FC236}">
                <a16:creationId xmlns:a16="http://schemas.microsoft.com/office/drawing/2014/main" id="{1A693ACE-B064-9192-48EC-F4584CFFF9E6}"/>
              </a:ext>
            </a:extLst>
          </p:cNvPr>
          <p:cNvSpPr txBox="1"/>
          <p:nvPr/>
        </p:nvSpPr>
        <p:spPr>
          <a:xfrm>
            <a:off x="2015261" y="5707692"/>
            <a:ext cx="7462113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aphicFrame>
        <p:nvGraphicFramePr>
          <p:cNvPr id="2110" name="Tabla 2110">
            <a:extLst>
              <a:ext uri="{FF2B5EF4-FFF2-40B4-BE49-F238E27FC236}">
                <a16:creationId xmlns:a16="http://schemas.microsoft.com/office/drawing/2014/main" id="{9ABEA293-275D-A118-CC7B-45C505F0CFA4}"/>
              </a:ext>
            </a:extLst>
          </p:cNvPr>
          <p:cNvGraphicFramePr>
            <a:graphicFrameLocks noGrp="1"/>
          </p:cNvGraphicFramePr>
          <p:nvPr/>
        </p:nvGraphicFramePr>
        <p:xfrm>
          <a:off x="4571512" y="2370236"/>
          <a:ext cx="7233138" cy="2976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1046">
                  <a:extLst>
                    <a:ext uri="{9D8B030D-6E8A-4147-A177-3AD203B41FA5}">
                      <a16:colId xmlns:a16="http://schemas.microsoft.com/office/drawing/2014/main" val="1999146214"/>
                    </a:ext>
                  </a:extLst>
                </a:gridCol>
                <a:gridCol w="2411046">
                  <a:extLst>
                    <a:ext uri="{9D8B030D-6E8A-4147-A177-3AD203B41FA5}">
                      <a16:colId xmlns:a16="http://schemas.microsoft.com/office/drawing/2014/main" val="83556890"/>
                    </a:ext>
                  </a:extLst>
                </a:gridCol>
                <a:gridCol w="2411046">
                  <a:extLst>
                    <a:ext uri="{9D8B030D-6E8A-4147-A177-3AD203B41FA5}">
                      <a16:colId xmlns:a16="http://schemas.microsoft.com/office/drawing/2014/main" val="3771468828"/>
                    </a:ext>
                  </a:extLst>
                </a:gridCol>
              </a:tblGrid>
              <a:tr h="595293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99687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9891466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963365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3394591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3081946"/>
                  </a:ext>
                </a:extLst>
              </a:tr>
            </a:tbl>
          </a:graphicData>
        </a:graphic>
      </p:graphicFrame>
      <p:cxnSp>
        <p:nvCxnSpPr>
          <p:cNvPr id="2111" name="Conector recto 2110">
            <a:extLst>
              <a:ext uri="{FF2B5EF4-FFF2-40B4-BE49-F238E27FC236}">
                <a16:creationId xmlns:a16="http://schemas.microsoft.com/office/drawing/2014/main" id="{A50B0EA1-3B92-EEE9-1950-65EC70880F16}"/>
              </a:ext>
            </a:extLst>
          </p:cNvPr>
          <p:cNvCxnSpPr>
            <a:cxnSpLocks/>
          </p:cNvCxnSpPr>
          <p:nvPr/>
        </p:nvCxnSpPr>
        <p:spPr>
          <a:xfrm flipV="1">
            <a:off x="4371729" y="1736855"/>
            <a:ext cx="0" cy="38532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264419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8B38002-A366-51E2-0F2D-371981F44B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8B38002-A366-51E2-0F2D-371981F44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81E82AA-FC91-ED78-28BA-7C8659E608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F95217C-C679-C620-AADC-B3D80171A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ison chart #1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6CE691C-3BD1-FF18-C42B-1B89A3B44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402B6EB5-A425-0458-D87D-D10BC3F9EAB2}"/>
              </a:ext>
            </a:extLst>
          </p:cNvPr>
          <p:cNvSpPr txBox="1"/>
          <p:nvPr/>
        </p:nvSpPr>
        <p:spPr>
          <a:xfrm>
            <a:off x="384175" y="3791665"/>
            <a:ext cx="253047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79D07AFB-7CB6-5269-698D-FFC134CF2EF0}"/>
              </a:ext>
            </a:extLst>
          </p:cNvPr>
          <p:cNvSpPr txBox="1"/>
          <p:nvPr/>
        </p:nvSpPr>
        <p:spPr>
          <a:xfrm>
            <a:off x="9290049" y="3791665"/>
            <a:ext cx="253047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551BC79-7763-F9BD-3D95-6031032BB52E}"/>
              </a:ext>
            </a:extLst>
          </p:cNvPr>
          <p:cNvSpPr txBox="1"/>
          <p:nvPr/>
        </p:nvSpPr>
        <p:spPr>
          <a:xfrm>
            <a:off x="3424408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4E2DB84F-CA59-08FC-AB74-A2D91D7776AF}"/>
              </a:ext>
            </a:extLst>
          </p:cNvPr>
          <p:cNvSpPr txBox="1"/>
          <p:nvPr/>
        </p:nvSpPr>
        <p:spPr>
          <a:xfrm>
            <a:off x="4796759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3AA4654D-A1A5-BDB2-5D5E-F3D332ECEA94}"/>
              </a:ext>
            </a:extLst>
          </p:cNvPr>
          <p:cNvSpPr txBox="1"/>
          <p:nvPr/>
        </p:nvSpPr>
        <p:spPr>
          <a:xfrm>
            <a:off x="6169111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9B3FD8D-F1B5-2727-61B3-A85CE9D0060B}"/>
              </a:ext>
            </a:extLst>
          </p:cNvPr>
          <p:cNvSpPr txBox="1"/>
          <p:nvPr/>
        </p:nvSpPr>
        <p:spPr>
          <a:xfrm>
            <a:off x="7541461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0EAACD73-C063-F267-91AE-417ED4544169}"/>
              </a:ext>
            </a:extLst>
          </p:cNvPr>
          <p:cNvSpPr txBox="1"/>
          <p:nvPr/>
        </p:nvSpPr>
        <p:spPr>
          <a:xfrm>
            <a:off x="3424408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B2D3212F-2294-E61C-E524-303E86854598}"/>
              </a:ext>
            </a:extLst>
          </p:cNvPr>
          <p:cNvSpPr txBox="1"/>
          <p:nvPr/>
        </p:nvSpPr>
        <p:spPr>
          <a:xfrm>
            <a:off x="4796759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9A9DD337-904B-6C87-4D53-E88D17AF27AB}"/>
              </a:ext>
            </a:extLst>
          </p:cNvPr>
          <p:cNvSpPr txBox="1"/>
          <p:nvPr/>
        </p:nvSpPr>
        <p:spPr>
          <a:xfrm>
            <a:off x="6169111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C60B1639-B42D-1E69-E1A1-96CDC3DBBA00}"/>
              </a:ext>
            </a:extLst>
          </p:cNvPr>
          <p:cNvSpPr txBox="1"/>
          <p:nvPr/>
        </p:nvSpPr>
        <p:spPr>
          <a:xfrm>
            <a:off x="7541461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A338155-3211-8AC4-C5AD-A43C25BAAB9A}"/>
              </a:ext>
            </a:extLst>
          </p:cNvPr>
          <p:cNvCxnSpPr>
            <a:cxnSpLocks/>
          </p:cNvCxnSpPr>
          <p:nvPr/>
        </p:nvCxnSpPr>
        <p:spPr>
          <a:xfrm flipV="1">
            <a:off x="2980519" y="1520825"/>
            <a:ext cx="0" cy="478790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F40CC980-40A9-B663-ADDB-7189301391CB}"/>
              </a:ext>
            </a:extLst>
          </p:cNvPr>
          <p:cNvCxnSpPr>
            <a:cxnSpLocks/>
          </p:cNvCxnSpPr>
          <p:nvPr/>
        </p:nvCxnSpPr>
        <p:spPr>
          <a:xfrm flipV="1">
            <a:off x="9006566" y="1520825"/>
            <a:ext cx="0" cy="47879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3F281BC5-624E-0C49-2B03-BF1D22709D9D}"/>
              </a:ext>
            </a:extLst>
          </p:cNvPr>
          <p:cNvCxnSpPr>
            <a:cxnSpLocks/>
          </p:cNvCxnSpPr>
          <p:nvPr/>
        </p:nvCxnSpPr>
        <p:spPr>
          <a:xfrm flipV="1">
            <a:off x="4043823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32BD305F-3023-7B1B-BEFE-77A333E1D6A9}"/>
              </a:ext>
            </a:extLst>
          </p:cNvPr>
          <p:cNvCxnSpPr>
            <a:cxnSpLocks/>
          </p:cNvCxnSpPr>
          <p:nvPr/>
        </p:nvCxnSpPr>
        <p:spPr>
          <a:xfrm flipV="1">
            <a:off x="5416174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DDD25CE4-729A-2BD8-C71E-CF4652683190}"/>
              </a:ext>
            </a:extLst>
          </p:cNvPr>
          <p:cNvCxnSpPr>
            <a:cxnSpLocks/>
          </p:cNvCxnSpPr>
          <p:nvPr/>
        </p:nvCxnSpPr>
        <p:spPr>
          <a:xfrm flipV="1">
            <a:off x="6788526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1FC2270A-A6E9-8FFA-3706-A6DB0B32065B}"/>
              </a:ext>
            </a:extLst>
          </p:cNvPr>
          <p:cNvCxnSpPr>
            <a:cxnSpLocks/>
          </p:cNvCxnSpPr>
          <p:nvPr/>
        </p:nvCxnSpPr>
        <p:spPr>
          <a:xfrm flipV="1">
            <a:off x="8160876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80477032-8928-BE2E-9D43-F090188B11D6}"/>
              </a:ext>
            </a:extLst>
          </p:cNvPr>
          <p:cNvCxnSpPr>
            <a:cxnSpLocks/>
          </p:cNvCxnSpPr>
          <p:nvPr/>
        </p:nvCxnSpPr>
        <p:spPr>
          <a:xfrm>
            <a:off x="3237789" y="3914775"/>
            <a:ext cx="5511506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/>
                </a:gs>
                <a:gs pos="100000">
                  <a:schemeClr val="bg2"/>
                </a:gs>
              </a:gsLst>
              <a:lin ang="0" scaled="1"/>
              <a:tileRect/>
            </a:gra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309361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0F99E83-1CE9-B53D-853D-EA2AF387FA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0F99E83-1CE9-B53D-853D-EA2AF387F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a 9">
            <a:extLst>
              <a:ext uri="{FF2B5EF4-FFF2-40B4-BE49-F238E27FC236}">
                <a16:creationId xmlns:a16="http://schemas.microsoft.com/office/drawing/2014/main" id="{26718692-1EC3-DB0C-4411-896C25DCD256}"/>
              </a:ext>
            </a:extLst>
          </p:cNvPr>
          <p:cNvGraphicFramePr>
            <a:graphicFrameLocks noGrp="1"/>
          </p:cNvGraphicFramePr>
          <p:nvPr/>
        </p:nvGraphicFramePr>
        <p:xfrm>
          <a:off x="384172" y="1520825"/>
          <a:ext cx="11418890" cy="4794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1889">
                  <a:extLst>
                    <a:ext uri="{9D8B030D-6E8A-4147-A177-3AD203B41FA5}">
                      <a16:colId xmlns:a16="http://schemas.microsoft.com/office/drawing/2014/main" val="2939715500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448956642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884001129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2474314578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1286950449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3491078711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3123972142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1218143532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2569616615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2908066353"/>
                    </a:ext>
                  </a:extLst>
                </a:gridCol>
              </a:tblGrid>
              <a:tr h="684979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7618803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2134294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9999501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715865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2994994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376720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342451"/>
                  </a:ext>
                </a:extLst>
              </a:tr>
            </a:tbl>
          </a:graphicData>
        </a:graphic>
      </p:graphicFrame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215DD830-4C93-F205-12B5-30777364883C}"/>
              </a:ext>
            </a:extLst>
          </p:cNvPr>
          <p:cNvCxnSpPr>
            <a:cxnSpLocks/>
          </p:cNvCxnSpPr>
          <p:nvPr/>
        </p:nvCxnSpPr>
        <p:spPr>
          <a:xfrm>
            <a:off x="2671764" y="2552700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de flecha 20">
            <a:extLst>
              <a:ext uri="{FF2B5EF4-FFF2-40B4-BE49-F238E27FC236}">
                <a16:creationId xmlns:a16="http://schemas.microsoft.com/office/drawing/2014/main" id="{F0BBEE11-FF61-E99E-C7CD-AD8D082CC84A}"/>
              </a:ext>
            </a:extLst>
          </p:cNvPr>
          <p:cNvCxnSpPr>
            <a:cxnSpLocks/>
          </p:cNvCxnSpPr>
          <p:nvPr/>
        </p:nvCxnSpPr>
        <p:spPr>
          <a:xfrm>
            <a:off x="2671764" y="3232150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22D12F4F-A14C-006E-D7CF-87EFC07C5366}"/>
              </a:ext>
            </a:extLst>
          </p:cNvPr>
          <p:cNvCxnSpPr>
            <a:cxnSpLocks/>
          </p:cNvCxnSpPr>
          <p:nvPr/>
        </p:nvCxnSpPr>
        <p:spPr>
          <a:xfrm>
            <a:off x="2671764" y="3905250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B51193DF-2D9F-511B-772C-49A69A30FDDB}"/>
              </a:ext>
            </a:extLst>
          </p:cNvPr>
          <p:cNvCxnSpPr>
            <a:cxnSpLocks/>
          </p:cNvCxnSpPr>
          <p:nvPr/>
        </p:nvCxnSpPr>
        <p:spPr>
          <a:xfrm>
            <a:off x="2671764" y="4587875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5" name="Conector recto de flecha 6144">
            <a:extLst>
              <a:ext uri="{FF2B5EF4-FFF2-40B4-BE49-F238E27FC236}">
                <a16:creationId xmlns:a16="http://schemas.microsoft.com/office/drawing/2014/main" id="{AF0B0BCF-64BA-4126-51A6-351DA2CFC223}"/>
              </a:ext>
            </a:extLst>
          </p:cNvPr>
          <p:cNvCxnSpPr>
            <a:cxnSpLocks/>
          </p:cNvCxnSpPr>
          <p:nvPr/>
        </p:nvCxnSpPr>
        <p:spPr>
          <a:xfrm>
            <a:off x="2671764" y="5278739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0" name="Conector recto de flecha 6149">
            <a:extLst>
              <a:ext uri="{FF2B5EF4-FFF2-40B4-BE49-F238E27FC236}">
                <a16:creationId xmlns:a16="http://schemas.microsoft.com/office/drawing/2014/main" id="{07B91366-9211-2874-E191-22A1AC10BDD2}"/>
              </a:ext>
            </a:extLst>
          </p:cNvPr>
          <p:cNvCxnSpPr>
            <a:cxnSpLocks/>
          </p:cNvCxnSpPr>
          <p:nvPr/>
        </p:nvCxnSpPr>
        <p:spPr>
          <a:xfrm>
            <a:off x="2671764" y="5963627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180C4CC-55FA-F735-D0DA-69406A4A75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7DFB0D2-7BB6-27F4-54CB-17A0BEDE3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ison chart #2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6CE917E-E43D-8FFB-DB18-ECF201A6F5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F49D790D-9DF1-DACB-D8B0-DBF9D95753D9}"/>
              </a:ext>
            </a:extLst>
          </p:cNvPr>
          <p:cNvSpPr/>
          <p:nvPr/>
        </p:nvSpPr>
        <p:spPr>
          <a:xfrm>
            <a:off x="3022597" y="2460625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0692D3E9-B313-5C90-4B69-10FD708486E6}"/>
              </a:ext>
            </a:extLst>
          </p:cNvPr>
          <p:cNvSpPr/>
          <p:nvPr/>
        </p:nvSpPr>
        <p:spPr>
          <a:xfrm>
            <a:off x="3282947" y="2460625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A52AE67-F40A-CBBA-5C37-903DAE02AD1A}"/>
              </a:ext>
            </a:extLst>
          </p:cNvPr>
          <p:cNvSpPr/>
          <p:nvPr/>
        </p:nvSpPr>
        <p:spPr>
          <a:xfrm>
            <a:off x="4283069" y="2460625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786DFFAE-2781-0936-00DA-59DD41717517}"/>
              </a:ext>
            </a:extLst>
          </p:cNvPr>
          <p:cNvSpPr/>
          <p:nvPr/>
        </p:nvSpPr>
        <p:spPr>
          <a:xfrm>
            <a:off x="3022597" y="3140075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B65403F5-5FC9-FDE9-33E4-DD3E6FB9D89A}"/>
              </a:ext>
            </a:extLst>
          </p:cNvPr>
          <p:cNvSpPr/>
          <p:nvPr/>
        </p:nvSpPr>
        <p:spPr>
          <a:xfrm>
            <a:off x="3282947" y="3140075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9240AB1F-6EC7-FE58-E7FA-49190EF0C3AB}"/>
              </a:ext>
            </a:extLst>
          </p:cNvPr>
          <p:cNvSpPr/>
          <p:nvPr/>
        </p:nvSpPr>
        <p:spPr>
          <a:xfrm>
            <a:off x="4283069" y="3140075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D76251F1-E6C3-7B85-12CA-0DF3ED9404DA}"/>
              </a:ext>
            </a:extLst>
          </p:cNvPr>
          <p:cNvSpPr/>
          <p:nvPr/>
        </p:nvSpPr>
        <p:spPr>
          <a:xfrm>
            <a:off x="3022597" y="3813175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61D43EDD-4479-0A5B-DD77-1B0E92CBD13F}"/>
              </a:ext>
            </a:extLst>
          </p:cNvPr>
          <p:cNvSpPr/>
          <p:nvPr/>
        </p:nvSpPr>
        <p:spPr>
          <a:xfrm>
            <a:off x="3282947" y="3813175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9B677326-55CC-39C6-5975-E83A8943C185}"/>
              </a:ext>
            </a:extLst>
          </p:cNvPr>
          <p:cNvSpPr/>
          <p:nvPr/>
        </p:nvSpPr>
        <p:spPr>
          <a:xfrm>
            <a:off x="4283069" y="3813175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3CA4A42E-6CD7-A8E2-7FCA-8B6BFE35C9F5}"/>
              </a:ext>
            </a:extLst>
          </p:cNvPr>
          <p:cNvSpPr/>
          <p:nvPr/>
        </p:nvSpPr>
        <p:spPr>
          <a:xfrm>
            <a:off x="3022597" y="4495800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98E5AD4D-361D-735C-982A-E9CF6A143F58}"/>
              </a:ext>
            </a:extLst>
          </p:cNvPr>
          <p:cNvSpPr/>
          <p:nvPr/>
        </p:nvSpPr>
        <p:spPr>
          <a:xfrm>
            <a:off x="3282947" y="4495800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4" name="Elipse 6143">
            <a:extLst>
              <a:ext uri="{FF2B5EF4-FFF2-40B4-BE49-F238E27FC236}">
                <a16:creationId xmlns:a16="http://schemas.microsoft.com/office/drawing/2014/main" id="{2DDE4326-6C2C-199B-6C4B-4C2A9F8BA02F}"/>
              </a:ext>
            </a:extLst>
          </p:cNvPr>
          <p:cNvSpPr/>
          <p:nvPr/>
        </p:nvSpPr>
        <p:spPr>
          <a:xfrm>
            <a:off x="4283069" y="4495800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7" name="Elipse 6146">
            <a:extLst>
              <a:ext uri="{FF2B5EF4-FFF2-40B4-BE49-F238E27FC236}">
                <a16:creationId xmlns:a16="http://schemas.microsoft.com/office/drawing/2014/main" id="{15463E91-A6BD-C387-61AE-8CC6C54BEFAE}"/>
              </a:ext>
            </a:extLst>
          </p:cNvPr>
          <p:cNvSpPr/>
          <p:nvPr/>
        </p:nvSpPr>
        <p:spPr>
          <a:xfrm>
            <a:off x="3022597" y="5186664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8" name="Elipse 6147">
            <a:extLst>
              <a:ext uri="{FF2B5EF4-FFF2-40B4-BE49-F238E27FC236}">
                <a16:creationId xmlns:a16="http://schemas.microsoft.com/office/drawing/2014/main" id="{4409C0F5-9736-68D4-0D9F-AD299E6803CC}"/>
              </a:ext>
            </a:extLst>
          </p:cNvPr>
          <p:cNvSpPr/>
          <p:nvPr/>
        </p:nvSpPr>
        <p:spPr>
          <a:xfrm>
            <a:off x="3282947" y="5186664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9" name="Elipse 6148">
            <a:extLst>
              <a:ext uri="{FF2B5EF4-FFF2-40B4-BE49-F238E27FC236}">
                <a16:creationId xmlns:a16="http://schemas.microsoft.com/office/drawing/2014/main" id="{07639C1F-066D-95E1-AA80-A3D7C36B8065}"/>
              </a:ext>
            </a:extLst>
          </p:cNvPr>
          <p:cNvSpPr/>
          <p:nvPr/>
        </p:nvSpPr>
        <p:spPr>
          <a:xfrm>
            <a:off x="4283069" y="5186664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51" name="Elipse 6150">
            <a:extLst>
              <a:ext uri="{FF2B5EF4-FFF2-40B4-BE49-F238E27FC236}">
                <a16:creationId xmlns:a16="http://schemas.microsoft.com/office/drawing/2014/main" id="{EDEB6754-A4FD-8639-E7C7-A143C89DC573}"/>
              </a:ext>
            </a:extLst>
          </p:cNvPr>
          <p:cNvSpPr/>
          <p:nvPr/>
        </p:nvSpPr>
        <p:spPr>
          <a:xfrm>
            <a:off x="3022597" y="5871552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52" name="Elipse 6151">
            <a:extLst>
              <a:ext uri="{FF2B5EF4-FFF2-40B4-BE49-F238E27FC236}">
                <a16:creationId xmlns:a16="http://schemas.microsoft.com/office/drawing/2014/main" id="{D67D89B7-7155-7A41-645A-DCA6BBE28510}"/>
              </a:ext>
            </a:extLst>
          </p:cNvPr>
          <p:cNvSpPr/>
          <p:nvPr/>
        </p:nvSpPr>
        <p:spPr>
          <a:xfrm>
            <a:off x="3282947" y="5871552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53" name="Elipse 6152">
            <a:extLst>
              <a:ext uri="{FF2B5EF4-FFF2-40B4-BE49-F238E27FC236}">
                <a16:creationId xmlns:a16="http://schemas.microsoft.com/office/drawing/2014/main" id="{C5CF7F72-FF55-757F-3C79-4C00025E102D}"/>
              </a:ext>
            </a:extLst>
          </p:cNvPr>
          <p:cNvSpPr/>
          <p:nvPr/>
        </p:nvSpPr>
        <p:spPr>
          <a:xfrm>
            <a:off x="4283069" y="5871552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62" name="Elipse 6161">
            <a:extLst>
              <a:ext uri="{FF2B5EF4-FFF2-40B4-BE49-F238E27FC236}">
                <a16:creationId xmlns:a16="http://schemas.microsoft.com/office/drawing/2014/main" id="{9F11A3AD-A3E2-DEE6-C2BB-68E165CF2D10}"/>
              </a:ext>
            </a:extLst>
          </p:cNvPr>
          <p:cNvSpPr/>
          <p:nvPr/>
        </p:nvSpPr>
        <p:spPr>
          <a:xfrm>
            <a:off x="10787052" y="238602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3" name="Elipse 6162">
            <a:extLst>
              <a:ext uri="{FF2B5EF4-FFF2-40B4-BE49-F238E27FC236}">
                <a16:creationId xmlns:a16="http://schemas.microsoft.com/office/drawing/2014/main" id="{278BD725-2ACA-CED0-66A5-2FB6D753AA39}"/>
              </a:ext>
            </a:extLst>
          </p:cNvPr>
          <p:cNvSpPr/>
          <p:nvPr/>
        </p:nvSpPr>
        <p:spPr>
          <a:xfrm>
            <a:off x="10787052" y="306780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4" name="Elipse 6163">
            <a:extLst>
              <a:ext uri="{FF2B5EF4-FFF2-40B4-BE49-F238E27FC236}">
                <a16:creationId xmlns:a16="http://schemas.microsoft.com/office/drawing/2014/main" id="{F4593C71-C5C3-9551-0852-843313BC73B2}"/>
              </a:ext>
            </a:extLst>
          </p:cNvPr>
          <p:cNvSpPr/>
          <p:nvPr/>
        </p:nvSpPr>
        <p:spPr>
          <a:xfrm>
            <a:off x="10787052" y="374958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5" name="Elipse 6164">
            <a:extLst>
              <a:ext uri="{FF2B5EF4-FFF2-40B4-BE49-F238E27FC236}">
                <a16:creationId xmlns:a16="http://schemas.microsoft.com/office/drawing/2014/main" id="{9A93A9A7-5631-3572-0B74-667B653CB9FC}"/>
              </a:ext>
            </a:extLst>
          </p:cNvPr>
          <p:cNvSpPr/>
          <p:nvPr/>
        </p:nvSpPr>
        <p:spPr>
          <a:xfrm>
            <a:off x="10787052" y="443136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6" name="Elipse 6165">
            <a:extLst>
              <a:ext uri="{FF2B5EF4-FFF2-40B4-BE49-F238E27FC236}">
                <a16:creationId xmlns:a16="http://schemas.microsoft.com/office/drawing/2014/main" id="{CC38221F-EB30-27B6-7B3D-3F5A53F17F30}"/>
              </a:ext>
            </a:extLst>
          </p:cNvPr>
          <p:cNvSpPr/>
          <p:nvPr/>
        </p:nvSpPr>
        <p:spPr>
          <a:xfrm>
            <a:off x="10787052" y="5114391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7" name="Elipse 6166">
            <a:extLst>
              <a:ext uri="{FF2B5EF4-FFF2-40B4-BE49-F238E27FC236}">
                <a16:creationId xmlns:a16="http://schemas.microsoft.com/office/drawing/2014/main" id="{42AF2D81-FF1F-8D8E-4090-3E6F53B2AD9B}"/>
              </a:ext>
            </a:extLst>
          </p:cNvPr>
          <p:cNvSpPr/>
          <p:nvPr/>
        </p:nvSpPr>
        <p:spPr>
          <a:xfrm>
            <a:off x="10787052" y="5796171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9" name="TextBox 24">
            <a:extLst>
              <a:ext uri="{FF2B5EF4-FFF2-40B4-BE49-F238E27FC236}">
                <a16:creationId xmlns:a16="http://schemas.microsoft.com/office/drawing/2014/main" id="{7B1067BB-29DA-0225-BEE3-9F76502981DA}"/>
              </a:ext>
            </a:extLst>
          </p:cNvPr>
          <p:cNvSpPr txBox="1"/>
          <p:nvPr/>
        </p:nvSpPr>
        <p:spPr>
          <a:xfrm>
            <a:off x="5867083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171" name="TextBox 24">
            <a:extLst>
              <a:ext uri="{FF2B5EF4-FFF2-40B4-BE49-F238E27FC236}">
                <a16:creationId xmlns:a16="http://schemas.microsoft.com/office/drawing/2014/main" id="{04A8884D-082C-226E-3FE0-2FE015552CD8}"/>
              </a:ext>
            </a:extLst>
          </p:cNvPr>
          <p:cNvSpPr txBox="1"/>
          <p:nvPr/>
        </p:nvSpPr>
        <p:spPr>
          <a:xfrm>
            <a:off x="8017157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172" name="Elipse 6171">
            <a:extLst>
              <a:ext uri="{FF2B5EF4-FFF2-40B4-BE49-F238E27FC236}">
                <a16:creationId xmlns:a16="http://schemas.microsoft.com/office/drawing/2014/main" id="{1FECC776-88C1-77E6-E370-C74B900BCDD8}"/>
              </a:ext>
            </a:extLst>
          </p:cNvPr>
          <p:cNvSpPr/>
          <p:nvPr/>
        </p:nvSpPr>
        <p:spPr>
          <a:xfrm>
            <a:off x="5615976" y="6131528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73" name="Elipse 6172">
            <a:extLst>
              <a:ext uri="{FF2B5EF4-FFF2-40B4-BE49-F238E27FC236}">
                <a16:creationId xmlns:a16="http://schemas.microsoft.com/office/drawing/2014/main" id="{8A591F3E-43E4-CBD0-7983-C973F3912DB9}"/>
              </a:ext>
            </a:extLst>
          </p:cNvPr>
          <p:cNvSpPr/>
          <p:nvPr/>
        </p:nvSpPr>
        <p:spPr>
          <a:xfrm>
            <a:off x="7759464" y="6131528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74" name="TextBox 24">
            <a:extLst>
              <a:ext uri="{FF2B5EF4-FFF2-40B4-BE49-F238E27FC236}">
                <a16:creationId xmlns:a16="http://schemas.microsoft.com/office/drawing/2014/main" id="{A15759D8-958A-AE82-F17E-0011231C1B7F}"/>
              </a:ext>
            </a:extLst>
          </p:cNvPr>
          <p:cNvSpPr txBox="1"/>
          <p:nvPr/>
        </p:nvSpPr>
        <p:spPr>
          <a:xfrm>
            <a:off x="10115877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175" name="Elipse 6174">
            <a:extLst>
              <a:ext uri="{FF2B5EF4-FFF2-40B4-BE49-F238E27FC236}">
                <a16:creationId xmlns:a16="http://schemas.microsoft.com/office/drawing/2014/main" id="{E6FDF074-1358-E927-7A3F-05EFF95449B5}"/>
              </a:ext>
            </a:extLst>
          </p:cNvPr>
          <p:cNvSpPr/>
          <p:nvPr/>
        </p:nvSpPr>
        <p:spPr>
          <a:xfrm>
            <a:off x="9858184" y="6131528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087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6E1F8B7-BD61-4F51-2514-3EB300B6BD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6E1F8B7-BD61-4F51-2514-3EB300B6B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71C7F2A-91A5-9142-AC6C-E43A61111D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6C55719-142A-B351-E71A-E3BBF9E6B52C}"/>
              </a:ext>
            </a:extLst>
          </p:cNvPr>
          <p:cNvSpPr txBox="1">
            <a:spLocks/>
          </p:cNvSpPr>
          <p:nvPr/>
        </p:nvSpPr>
        <p:spPr>
          <a:xfrm>
            <a:off x="387348" y="1520825"/>
            <a:ext cx="2035629" cy="97154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C8EF09DA-634A-1851-7CE8-C80750B1E3FD}"/>
              </a:ext>
            </a:extLst>
          </p:cNvPr>
          <p:cNvSpPr/>
          <p:nvPr/>
        </p:nvSpPr>
        <p:spPr>
          <a:xfrm>
            <a:off x="2670522" y="1521368"/>
            <a:ext cx="1884697" cy="97046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1A49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832F4-F11E-CDB5-EA36-227045D65950}"/>
              </a:ext>
            </a:extLst>
          </p:cNvPr>
          <p:cNvSpPr/>
          <p:nvPr/>
        </p:nvSpPr>
        <p:spPr>
          <a:xfrm>
            <a:off x="4802763" y="1521368"/>
            <a:ext cx="1884697" cy="97046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55">
            <a:extLst>
              <a:ext uri="{FF2B5EF4-FFF2-40B4-BE49-F238E27FC236}">
                <a16:creationId xmlns:a16="http://schemas.microsoft.com/office/drawing/2014/main" id="{5A09694C-115C-527E-153F-ED8CF4B17BA0}"/>
              </a:ext>
            </a:extLst>
          </p:cNvPr>
          <p:cNvSpPr/>
          <p:nvPr/>
        </p:nvSpPr>
        <p:spPr>
          <a:xfrm>
            <a:off x="384174" y="3835149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AC7F97EC-9D67-4FE2-017C-9E7E285243BF}"/>
              </a:ext>
            </a:extLst>
          </p:cNvPr>
          <p:cNvSpPr/>
          <p:nvPr/>
        </p:nvSpPr>
        <p:spPr>
          <a:xfrm>
            <a:off x="1189717" y="3835149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15" name="Rectangle 55">
            <a:extLst>
              <a:ext uri="{FF2B5EF4-FFF2-40B4-BE49-F238E27FC236}">
                <a16:creationId xmlns:a16="http://schemas.microsoft.com/office/drawing/2014/main" id="{E85DAB1D-6717-28EC-0856-FE25D2F303D7}"/>
              </a:ext>
            </a:extLst>
          </p:cNvPr>
          <p:cNvSpPr/>
          <p:nvPr/>
        </p:nvSpPr>
        <p:spPr>
          <a:xfrm>
            <a:off x="1995260" y="3835149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99375E7E-7135-6AB5-2D2F-3E8314C923AC}"/>
              </a:ext>
            </a:extLst>
          </p:cNvPr>
          <p:cNvSpPr/>
          <p:nvPr/>
        </p:nvSpPr>
        <p:spPr>
          <a:xfrm>
            <a:off x="384174" y="4777544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5F17E281-D8D3-B203-E8FD-B31B781BBAD0}"/>
              </a:ext>
            </a:extLst>
          </p:cNvPr>
          <p:cNvSpPr/>
          <p:nvPr/>
        </p:nvSpPr>
        <p:spPr>
          <a:xfrm>
            <a:off x="1189717" y="4777544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D730E27C-35D0-0996-2E03-3AC235383F6F}"/>
              </a:ext>
            </a:extLst>
          </p:cNvPr>
          <p:cNvSpPr/>
          <p:nvPr/>
        </p:nvSpPr>
        <p:spPr>
          <a:xfrm>
            <a:off x="1995260" y="4777544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:a16="http://schemas.microsoft.com/office/drawing/2014/main" id="{CDBF32CB-E3A5-6781-6EBC-5AD6618E8069}"/>
              </a:ext>
            </a:extLst>
          </p:cNvPr>
          <p:cNvSpPr/>
          <p:nvPr/>
        </p:nvSpPr>
        <p:spPr>
          <a:xfrm>
            <a:off x="373288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63F9F9CF-D7A1-C4FB-600C-65CBE3FB3F64}"/>
              </a:ext>
            </a:extLst>
          </p:cNvPr>
          <p:cNvSpPr/>
          <p:nvPr/>
        </p:nvSpPr>
        <p:spPr>
          <a:xfrm>
            <a:off x="1178831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21" name="Rectangle 55">
            <a:extLst>
              <a:ext uri="{FF2B5EF4-FFF2-40B4-BE49-F238E27FC236}">
                <a16:creationId xmlns:a16="http://schemas.microsoft.com/office/drawing/2014/main" id="{473E2A9D-A105-C01A-BE15-7D1DF37BEF79}"/>
              </a:ext>
            </a:extLst>
          </p:cNvPr>
          <p:cNvSpPr/>
          <p:nvPr/>
        </p:nvSpPr>
        <p:spPr>
          <a:xfrm>
            <a:off x="1984374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grpSp>
        <p:nvGrpSpPr>
          <p:cNvPr id="22" name="Grupo 42">
            <a:extLst>
              <a:ext uri="{FF2B5EF4-FFF2-40B4-BE49-F238E27FC236}">
                <a16:creationId xmlns:a16="http://schemas.microsoft.com/office/drawing/2014/main" id="{7BE6CCEB-5F3D-03A5-EEB8-C1B0FA192754}"/>
              </a:ext>
            </a:extLst>
          </p:cNvPr>
          <p:cNvGrpSpPr/>
          <p:nvPr/>
        </p:nvGrpSpPr>
        <p:grpSpPr>
          <a:xfrm>
            <a:off x="3241258" y="3910940"/>
            <a:ext cx="739910" cy="874955"/>
            <a:chOff x="3657318" y="2960019"/>
            <a:chExt cx="428407" cy="506598"/>
          </a:xfrm>
        </p:grpSpPr>
        <p:grpSp>
          <p:nvGrpSpPr>
            <p:cNvPr id="23" name="Grupo 43">
              <a:extLst>
                <a:ext uri="{FF2B5EF4-FFF2-40B4-BE49-F238E27FC236}">
                  <a16:creationId xmlns:a16="http://schemas.microsoft.com/office/drawing/2014/main" id="{8A83912D-82A6-C3AE-596E-2E83CEAC9C47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5" name="Conector recto 45">
                <a:extLst>
                  <a:ext uri="{FF2B5EF4-FFF2-40B4-BE49-F238E27FC236}">
                    <a16:creationId xmlns:a16="http://schemas.microsoft.com/office/drawing/2014/main" id="{A5904D53-56F0-302C-3F86-EE887001BCE9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ector recto 46">
                <a:extLst>
                  <a:ext uri="{FF2B5EF4-FFF2-40B4-BE49-F238E27FC236}">
                    <a16:creationId xmlns:a16="http://schemas.microsoft.com/office/drawing/2014/main" id="{03F68EEB-9331-4010-10DB-C8C592C459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" name="Conector recto 44">
              <a:extLst>
                <a:ext uri="{FF2B5EF4-FFF2-40B4-BE49-F238E27FC236}">
                  <a16:creationId xmlns:a16="http://schemas.microsoft.com/office/drawing/2014/main" id="{DCA54BBC-9EC5-B168-2ACE-63524E4ABBF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E04910A-97C2-0E2B-5EAC-A16B5DB5A789}"/>
              </a:ext>
            </a:extLst>
          </p:cNvPr>
          <p:cNvGrpSpPr/>
          <p:nvPr/>
        </p:nvGrpSpPr>
        <p:grpSpPr>
          <a:xfrm>
            <a:off x="7148740" y="1521368"/>
            <a:ext cx="4671785" cy="970463"/>
            <a:chOff x="7652659" y="2186394"/>
            <a:chExt cx="4169226" cy="97046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9E3F5E0-0FED-E692-7C1F-B5C5B8B644BE}"/>
                </a:ext>
              </a:extLst>
            </p:cNvPr>
            <p:cNvSpPr/>
            <p:nvPr/>
          </p:nvSpPr>
          <p:spPr>
            <a:xfrm>
              <a:off x="7652659" y="2186394"/>
              <a:ext cx="955329" cy="9704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583CDB-F8A9-5E70-A60C-BB4BD99BBF6F}"/>
                </a:ext>
              </a:extLst>
            </p:cNvPr>
            <p:cNvSpPr/>
            <p:nvPr/>
          </p:nvSpPr>
          <p:spPr>
            <a:xfrm>
              <a:off x="8723958" y="2186394"/>
              <a:ext cx="955329" cy="9704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995A54A-D1A2-57A0-19E5-9698DE9FCFE2}"/>
                </a:ext>
              </a:extLst>
            </p:cNvPr>
            <p:cNvSpPr/>
            <p:nvPr/>
          </p:nvSpPr>
          <p:spPr>
            <a:xfrm>
              <a:off x="9795257" y="2186394"/>
              <a:ext cx="955329" cy="97046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46E1F0-D214-752B-9883-277BDD6E1D70}"/>
                </a:ext>
              </a:extLst>
            </p:cNvPr>
            <p:cNvSpPr/>
            <p:nvPr/>
          </p:nvSpPr>
          <p:spPr>
            <a:xfrm>
              <a:off x="10866556" y="2186394"/>
              <a:ext cx="955329" cy="9704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cxnSp>
        <p:nvCxnSpPr>
          <p:cNvPr id="2" name="Conector recto 9">
            <a:extLst>
              <a:ext uri="{FF2B5EF4-FFF2-40B4-BE49-F238E27FC236}">
                <a16:creationId xmlns:a16="http://schemas.microsoft.com/office/drawing/2014/main" id="{09BCDEB6-5F7C-7DBE-1506-827C28776006}"/>
              </a:ext>
            </a:extLst>
          </p:cNvPr>
          <p:cNvCxnSpPr>
            <a:cxnSpLocks/>
          </p:cNvCxnSpPr>
          <p:nvPr/>
        </p:nvCxnSpPr>
        <p:spPr>
          <a:xfrm>
            <a:off x="384369" y="3441150"/>
            <a:ext cx="410736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746746-9C2A-9921-B9C9-0CF8D48668FA}"/>
              </a:ext>
            </a:extLst>
          </p:cNvPr>
          <p:cNvCxnSpPr>
            <a:cxnSpLocks/>
          </p:cNvCxnSpPr>
          <p:nvPr/>
        </p:nvCxnSpPr>
        <p:spPr>
          <a:xfrm>
            <a:off x="371474" y="3134906"/>
            <a:ext cx="413315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219BFE-B6D9-FE93-06F2-560223CA16AF}"/>
              </a:ext>
            </a:extLst>
          </p:cNvPr>
          <p:cNvGrpSpPr>
            <a:grpSpLocks noChangeAspect="1"/>
          </p:cNvGrpSpPr>
          <p:nvPr/>
        </p:nvGrpSpPr>
        <p:grpSpPr>
          <a:xfrm>
            <a:off x="4744797" y="2940682"/>
            <a:ext cx="457522" cy="457522"/>
            <a:chOff x="1146176" y="2373313"/>
            <a:chExt cx="692150" cy="692150"/>
          </a:xfrm>
          <a:solidFill>
            <a:schemeClr val="tx2"/>
          </a:solidFill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D9E9DB63-3F2D-211C-31FC-C8F824C3C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2747963"/>
              <a:ext cx="319088" cy="317500"/>
            </a:xfrm>
            <a:custGeom>
              <a:avLst/>
              <a:gdLst>
                <a:gd name="T0" fmla="*/ 114 w 133"/>
                <a:gd name="T1" fmla="*/ 132 h 132"/>
                <a:gd name="T2" fmla="*/ 111 w 133"/>
                <a:gd name="T3" fmla="*/ 131 h 132"/>
                <a:gd name="T4" fmla="*/ 66 w 133"/>
                <a:gd name="T5" fmla="*/ 103 h 132"/>
                <a:gd name="T6" fmla="*/ 22 w 133"/>
                <a:gd name="T7" fmla="*/ 131 h 132"/>
                <a:gd name="T8" fmla="*/ 14 w 133"/>
                <a:gd name="T9" fmla="*/ 130 h 132"/>
                <a:gd name="T10" fmla="*/ 13 w 133"/>
                <a:gd name="T11" fmla="*/ 123 h 132"/>
                <a:gd name="T12" fmla="*/ 35 w 133"/>
                <a:gd name="T13" fmla="*/ 79 h 132"/>
                <a:gd name="T14" fmla="*/ 2 w 133"/>
                <a:gd name="T15" fmla="*/ 46 h 132"/>
                <a:gd name="T16" fmla="*/ 1 w 133"/>
                <a:gd name="T17" fmla="*/ 40 h 132"/>
                <a:gd name="T18" fmla="*/ 6 w 133"/>
                <a:gd name="T19" fmla="*/ 36 h 132"/>
                <a:gd name="T20" fmla="*/ 45 w 133"/>
                <a:gd name="T21" fmla="*/ 36 h 132"/>
                <a:gd name="T22" fmla="*/ 61 w 133"/>
                <a:gd name="T23" fmla="*/ 3 h 132"/>
                <a:gd name="T24" fmla="*/ 66 w 133"/>
                <a:gd name="T25" fmla="*/ 0 h 132"/>
                <a:gd name="T26" fmla="*/ 66 w 133"/>
                <a:gd name="T27" fmla="*/ 0 h 132"/>
                <a:gd name="T28" fmla="*/ 72 w 133"/>
                <a:gd name="T29" fmla="*/ 3 h 132"/>
                <a:gd name="T30" fmla="*/ 88 w 133"/>
                <a:gd name="T31" fmla="*/ 36 h 132"/>
                <a:gd name="T32" fmla="*/ 126 w 133"/>
                <a:gd name="T33" fmla="*/ 36 h 132"/>
                <a:gd name="T34" fmla="*/ 132 w 133"/>
                <a:gd name="T35" fmla="*/ 40 h 132"/>
                <a:gd name="T36" fmla="*/ 131 w 133"/>
                <a:gd name="T37" fmla="*/ 46 h 132"/>
                <a:gd name="T38" fmla="*/ 98 w 133"/>
                <a:gd name="T39" fmla="*/ 79 h 132"/>
                <a:gd name="T40" fmla="*/ 120 w 133"/>
                <a:gd name="T41" fmla="*/ 123 h 132"/>
                <a:gd name="T42" fmla="*/ 119 w 133"/>
                <a:gd name="T43" fmla="*/ 130 h 132"/>
                <a:gd name="T44" fmla="*/ 114 w 133"/>
                <a:gd name="T45" fmla="*/ 132 h 132"/>
                <a:gd name="T46" fmla="*/ 66 w 133"/>
                <a:gd name="T47" fmla="*/ 90 h 132"/>
                <a:gd name="T48" fmla="*/ 69 w 133"/>
                <a:gd name="T49" fmla="*/ 91 h 132"/>
                <a:gd name="T50" fmla="*/ 100 w 133"/>
                <a:gd name="T51" fmla="*/ 110 h 132"/>
                <a:gd name="T52" fmla="*/ 85 w 133"/>
                <a:gd name="T53" fmla="*/ 81 h 132"/>
                <a:gd name="T54" fmla="*/ 86 w 133"/>
                <a:gd name="T55" fmla="*/ 74 h 132"/>
                <a:gd name="T56" fmla="*/ 112 w 133"/>
                <a:gd name="T57" fmla="*/ 48 h 132"/>
                <a:gd name="T58" fmla="*/ 84 w 133"/>
                <a:gd name="T59" fmla="*/ 48 h 132"/>
                <a:gd name="T60" fmla="*/ 79 w 133"/>
                <a:gd name="T61" fmla="*/ 45 h 132"/>
                <a:gd name="T62" fmla="*/ 66 w 133"/>
                <a:gd name="T63" fmla="*/ 19 h 132"/>
                <a:gd name="T64" fmla="*/ 54 w 133"/>
                <a:gd name="T65" fmla="*/ 45 h 132"/>
                <a:gd name="T66" fmla="*/ 48 w 133"/>
                <a:gd name="T67" fmla="*/ 48 h 132"/>
                <a:gd name="T68" fmla="*/ 21 w 133"/>
                <a:gd name="T69" fmla="*/ 48 h 132"/>
                <a:gd name="T70" fmla="*/ 47 w 133"/>
                <a:gd name="T71" fmla="*/ 74 h 132"/>
                <a:gd name="T72" fmla="*/ 48 w 133"/>
                <a:gd name="T73" fmla="*/ 81 h 132"/>
                <a:gd name="T74" fmla="*/ 33 w 133"/>
                <a:gd name="T75" fmla="*/ 110 h 132"/>
                <a:gd name="T76" fmla="*/ 63 w 133"/>
                <a:gd name="T77" fmla="*/ 91 h 132"/>
                <a:gd name="T78" fmla="*/ 66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14" y="132"/>
                  </a:moveTo>
                  <a:cubicBezTo>
                    <a:pt x="113" y="132"/>
                    <a:pt x="112" y="132"/>
                    <a:pt x="111" y="131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19" y="132"/>
                    <a:pt x="16" y="132"/>
                    <a:pt x="14" y="130"/>
                  </a:cubicBezTo>
                  <a:cubicBezTo>
                    <a:pt x="12" y="129"/>
                    <a:pt x="12" y="126"/>
                    <a:pt x="13" y="12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5"/>
                    <a:pt x="0" y="42"/>
                    <a:pt x="1" y="40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9" y="36"/>
                    <a:pt x="131" y="37"/>
                    <a:pt x="132" y="40"/>
                  </a:cubicBezTo>
                  <a:cubicBezTo>
                    <a:pt x="133" y="42"/>
                    <a:pt x="132" y="45"/>
                    <a:pt x="131" y="46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6"/>
                    <a:pt x="121" y="129"/>
                    <a:pt x="119" y="130"/>
                  </a:cubicBezTo>
                  <a:cubicBezTo>
                    <a:pt x="117" y="131"/>
                    <a:pt x="116" y="132"/>
                    <a:pt x="114" y="132"/>
                  </a:cubicBezTo>
                  <a:close/>
                  <a:moveTo>
                    <a:pt x="66" y="90"/>
                  </a:moveTo>
                  <a:cubicBezTo>
                    <a:pt x="67" y="90"/>
                    <a:pt x="69" y="90"/>
                    <a:pt x="69" y="91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4" y="78"/>
                    <a:pt x="84" y="75"/>
                    <a:pt x="86" y="74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7"/>
                    <a:pt x="79" y="4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3" y="47"/>
                    <a:pt x="51" y="48"/>
                    <a:pt x="48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9" y="78"/>
                    <a:pt x="48" y="81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5" y="90"/>
                    <a:pt x="6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791951B5-47AA-396D-D4BA-2285A711B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2378075"/>
              <a:ext cx="155575" cy="327025"/>
            </a:xfrm>
            <a:custGeom>
              <a:avLst/>
              <a:gdLst>
                <a:gd name="T0" fmla="*/ 65 w 65"/>
                <a:gd name="T1" fmla="*/ 136 h 136"/>
                <a:gd name="T2" fmla="*/ 53 w 65"/>
                <a:gd name="T3" fmla="*/ 136 h 136"/>
                <a:gd name="T4" fmla="*/ 0 w 65"/>
                <a:gd name="T5" fmla="*/ 8 h 136"/>
                <a:gd name="T6" fmla="*/ 9 w 65"/>
                <a:gd name="T7" fmla="*/ 0 h 136"/>
                <a:gd name="T8" fmla="*/ 65 w 65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6">
                  <a:moveTo>
                    <a:pt x="65" y="136"/>
                  </a:moveTo>
                  <a:cubicBezTo>
                    <a:pt x="53" y="136"/>
                    <a:pt x="53" y="136"/>
                    <a:pt x="53" y="136"/>
                  </a:cubicBezTo>
                  <a:cubicBezTo>
                    <a:pt x="53" y="90"/>
                    <a:pt x="35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6" y="40"/>
                    <a:pt x="65" y="8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16F2892C-ABCF-AD69-36AA-A7F57DB0D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863850"/>
              <a:ext cx="317500" cy="28575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96DBEF86-EB0E-9E25-0C0E-22335045A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2517775"/>
              <a:ext cx="5524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441D6560-CBE3-EE1D-7CAE-CEF28E72F3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176" y="2373313"/>
              <a:ext cx="692150" cy="692150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5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3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0"/>
                    <a:pt x="136" y="0"/>
                    <a:pt x="136" y="0"/>
                  </a:cubicBezTo>
                  <a:cubicBezTo>
                    <a:pt x="137" y="0"/>
                    <a:pt x="138" y="0"/>
                    <a:pt x="138" y="0"/>
                  </a:cubicBezTo>
                  <a:cubicBezTo>
                    <a:pt x="140" y="0"/>
                    <a:pt x="143" y="0"/>
                    <a:pt x="145" y="0"/>
                  </a:cubicBezTo>
                  <a:cubicBezTo>
                    <a:pt x="220" y="0"/>
                    <a:pt x="282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4" y="283"/>
                    <a:pt x="143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5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2"/>
                    <a:pt x="139" y="12"/>
                  </a:cubicBezTo>
                  <a:cubicBezTo>
                    <a:pt x="139" y="12"/>
                    <a:pt x="139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3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9DF3F7B-30D2-E7AC-8106-09CE1742BF50}"/>
              </a:ext>
            </a:extLst>
          </p:cNvPr>
          <p:cNvGrpSpPr>
            <a:grpSpLocks noChangeAspect="1"/>
          </p:cNvGrpSpPr>
          <p:nvPr/>
        </p:nvGrpSpPr>
        <p:grpSpPr>
          <a:xfrm>
            <a:off x="6490052" y="2940682"/>
            <a:ext cx="458577" cy="457522"/>
            <a:chOff x="4786313" y="2373313"/>
            <a:chExt cx="692150" cy="690562"/>
          </a:xfrm>
          <a:solidFill>
            <a:schemeClr val="tx2"/>
          </a:solidFill>
        </p:grpSpPr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0B724127-581F-031C-35E1-4A14CCDEB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0" y="2459038"/>
              <a:ext cx="231775" cy="23018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EC3EB34B-F7BD-C9A3-136F-9EBD59709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373313"/>
              <a:ext cx="425450" cy="635000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FD217B13-7AA1-001A-BB4F-A3A01294E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927350"/>
              <a:ext cx="692150" cy="136525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43" name="Grupo 79">
            <a:extLst>
              <a:ext uri="{FF2B5EF4-FFF2-40B4-BE49-F238E27FC236}">
                <a16:creationId xmlns:a16="http://schemas.microsoft.com/office/drawing/2014/main" id="{F1C8397F-7250-A624-7E9F-F6A675C69BB3}"/>
              </a:ext>
            </a:extLst>
          </p:cNvPr>
          <p:cNvGrpSpPr/>
          <p:nvPr/>
        </p:nvGrpSpPr>
        <p:grpSpPr>
          <a:xfrm>
            <a:off x="5564952" y="2927106"/>
            <a:ext cx="562467" cy="484674"/>
            <a:chOff x="3396568" y="5931108"/>
            <a:chExt cx="574701" cy="495216"/>
          </a:xfrm>
          <a:solidFill>
            <a:schemeClr val="tx2"/>
          </a:solidFill>
        </p:grpSpPr>
        <p:sp>
          <p:nvSpPr>
            <p:cNvPr id="44" name="Forma libre 7">
              <a:extLst>
                <a:ext uri="{FF2B5EF4-FFF2-40B4-BE49-F238E27FC236}">
                  <a16:creationId xmlns:a16="http://schemas.microsoft.com/office/drawing/2014/main" id="{E49CD861-A1B4-F85A-8184-0C4DFD2CBC25}"/>
                </a:ext>
              </a:extLst>
            </p:cNvPr>
            <p:cNvSpPr/>
            <p:nvPr/>
          </p:nvSpPr>
          <p:spPr>
            <a:xfrm>
              <a:off x="3396568" y="5931108"/>
              <a:ext cx="574701" cy="495216"/>
            </a:xfrm>
            <a:custGeom>
              <a:avLst/>
              <a:gdLst>
                <a:gd name="connsiteX0" fmla="*/ 4745757 w 4827993"/>
                <a:gd name="connsiteY0" fmla="*/ 3606155 h 4160250"/>
                <a:gd name="connsiteX1" fmla="*/ 576386 w 4827993"/>
                <a:gd name="connsiteY1" fmla="*/ 3606155 h 4160250"/>
                <a:gd name="connsiteX2" fmla="*/ 576386 w 4827993"/>
                <a:gd name="connsiteY2" fmla="*/ 82319 h 4160250"/>
                <a:gd name="connsiteX3" fmla="*/ 494106 w 4827993"/>
                <a:gd name="connsiteY3" fmla="*/ 0 h 4160250"/>
                <a:gd name="connsiteX4" fmla="*/ 411788 w 4827993"/>
                <a:gd name="connsiteY4" fmla="*/ 82319 h 4160250"/>
                <a:gd name="connsiteX5" fmla="*/ 411788 w 4827993"/>
                <a:gd name="connsiteY5" fmla="*/ 890387 h 4160250"/>
                <a:gd name="connsiteX6" fmla="*/ 82280 w 4827993"/>
                <a:gd name="connsiteY6" fmla="*/ 890387 h 4160250"/>
                <a:gd name="connsiteX7" fmla="*/ 0 w 4827993"/>
                <a:gd name="connsiteY7" fmla="*/ 972705 h 4160250"/>
                <a:gd name="connsiteX8" fmla="*/ 82280 w 4827993"/>
                <a:gd name="connsiteY8" fmla="*/ 1054986 h 4160250"/>
                <a:gd name="connsiteX9" fmla="*/ 411788 w 4827993"/>
                <a:gd name="connsiteY9" fmla="*/ 1054986 h 4160250"/>
                <a:gd name="connsiteX10" fmla="*/ 411788 w 4827993"/>
                <a:gd name="connsiteY10" fmla="*/ 2014302 h 4160250"/>
                <a:gd name="connsiteX11" fmla="*/ 82280 w 4827993"/>
                <a:gd name="connsiteY11" fmla="*/ 2014302 h 4160250"/>
                <a:gd name="connsiteX12" fmla="*/ 0 w 4827993"/>
                <a:gd name="connsiteY12" fmla="*/ 2096583 h 4160250"/>
                <a:gd name="connsiteX13" fmla="*/ 82280 w 4827993"/>
                <a:gd name="connsiteY13" fmla="*/ 2178863 h 4160250"/>
                <a:gd name="connsiteX14" fmla="*/ 411788 w 4827993"/>
                <a:gd name="connsiteY14" fmla="*/ 2178863 h 4160250"/>
                <a:gd name="connsiteX15" fmla="*/ 411788 w 4827993"/>
                <a:gd name="connsiteY15" fmla="*/ 3138601 h 4160250"/>
                <a:gd name="connsiteX16" fmla="*/ 82280 w 4827993"/>
                <a:gd name="connsiteY16" fmla="*/ 3138601 h 4160250"/>
                <a:gd name="connsiteX17" fmla="*/ 0 w 4827993"/>
                <a:gd name="connsiteY17" fmla="*/ 3220920 h 4160250"/>
                <a:gd name="connsiteX18" fmla="*/ 82280 w 4827993"/>
                <a:gd name="connsiteY18" fmla="*/ 3303200 h 4160250"/>
                <a:gd name="connsiteX19" fmla="*/ 411788 w 4827993"/>
                <a:gd name="connsiteY19" fmla="*/ 3303200 h 4160250"/>
                <a:gd name="connsiteX20" fmla="*/ 411788 w 4827993"/>
                <a:gd name="connsiteY20" fmla="*/ 3688424 h 4160250"/>
                <a:gd name="connsiteX21" fmla="*/ 494106 w 4827993"/>
                <a:gd name="connsiteY21" fmla="*/ 3770704 h 4160250"/>
                <a:gd name="connsiteX22" fmla="*/ 923799 w 4827993"/>
                <a:gd name="connsiteY22" fmla="*/ 3770704 h 4160250"/>
                <a:gd name="connsiteX23" fmla="*/ 923799 w 4827993"/>
                <a:gd name="connsiteY23" fmla="*/ 4077933 h 4160250"/>
                <a:gd name="connsiteX24" fmla="*/ 1006079 w 4827993"/>
                <a:gd name="connsiteY24" fmla="*/ 4160251 h 4160250"/>
                <a:gd name="connsiteX25" fmla="*/ 1088360 w 4827993"/>
                <a:gd name="connsiteY25" fmla="*/ 4077933 h 4160250"/>
                <a:gd name="connsiteX26" fmla="*/ 1088360 w 4827993"/>
                <a:gd name="connsiteY26" fmla="*/ 3770704 h 4160250"/>
                <a:gd name="connsiteX27" fmla="*/ 1981124 w 4827993"/>
                <a:gd name="connsiteY27" fmla="*/ 3770704 h 4160250"/>
                <a:gd name="connsiteX28" fmla="*/ 1981124 w 4827993"/>
                <a:gd name="connsiteY28" fmla="*/ 4077933 h 4160250"/>
                <a:gd name="connsiteX29" fmla="*/ 2063405 w 4827993"/>
                <a:gd name="connsiteY29" fmla="*/ 4160251 h 4160250"/>
                <a:gd name="connsiteX30" fmla="*/ 2145723 w 4827993"/>
                <a:gd name="connsiteY30" fmla="*/ 4077933 h 4160250"/>
                <a:gd name="connsiteX31" fmla="*/ 2145723 w 4827993"/>
                <a:gd name="connsiteY31" fmla="*/ 3770704 h 4160250"/>
                <a:gd name="connsiteX32" fmla="*/ 3038449 w 4827993"/>
                <a:gd name="connsiteY32" fmla="*/ 3770704 h 4160250"/>
                <a:gd name="connsiteX33" fmla="*/ 3038449 w 4827993"/>
                <a:gd name="connsiteY33" fmla="*/ 4077933 h 4160250"/>
                <a:gd name="connsiteX34" fmla="*/ 3120767 w 4827993"/>
                <a:gd name="connsiteY34" fmla="*/ 4160251 h 4160250"/>
                <a:gd name="connsiteX35" fmla="*/ 3203048 w 4827993"/>
                <a:gd name="connsiteY35" fmla="*/ 4077933 h 4160250"/>
                <a:gd name="connsiteX36" fmla="*/ 3203048 w 4827993"/>
                <a:gd name="connsiteY36" fmla="*/ 3770704 h 4160250"/>
                <a:gd name="connsiteX37" fmla="*/ 4095812 w 4827993"/>
                <a:gd name="connsiteY37" fmla="*/ 3770704 h 4160250"/>
                <a:gd name="connsiteX38" fmla="*/ 4095812 w 4827993"/>
                <a:gd name="connsiteY38" fmla="*/ 4077933 h 4160250"/>
                <a:gd name="connsiteX39" fmla="*/ 4178093 w 4827993"/>
                <a:gd name="connsiteY39" fmla="*/ 4160251 h 4160250"/>
                <a:gd name="connsiteX40" fmla="*/ 4260373 w 4827993"/>
                <a:gd name="connsiteY40" fmla="*/ 4077933 h 4160250"/>
                <a:gd name="connsiteX41" fmla="*/ 4260373 w 4827993"/>
                <a:gd name="connsiteY41" fmla="*/ 3770704 h 4160250"/>
                <a:gd name="connsiteX42" fmla="*/ 4745714 w 4827993"/>
                <a:gd name="connsiteY42" fmla="*/ 3770704 h 4160250"/>
                <a:gd name="connsiteX43" fmla="*/ 4827994 w 4827993"/>
                <a:gd name="connsiteY43" fmla="*/ 3688424 h 4160250"/>
                <a:gd name="connsiteX44" fmla="*/ 4745714 w 4827993"/>
                <a:gd name="connsiteY44" fmla="*/ 3606105 h 416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27993" h="4160250">
                  <a:moveTo>
                    <a:pt x="4745757" y="3606155"/>
                  </a:moveTo>
                  <a:lnTo>
                    <a:pt x="576386" y="3606155"/>
                  </a:lnTo>
                  <a:lnTo>
                    <a:pt x="576386" y="82319"/>
                  </a:lnTo>
                  <a:cubicBezTo>
                    <a:pt x="576386" y="36854"/>
                    <a:pt x="539533" y="0"/>
                    <a:pt x="494106" y="0"/>
                  </a:cubicBezTo>
                  <a:cubicBezTo>
                    <a:pt x="448642" y="0"/>
                    <a:pt x="411788" y="36854"/>
                    <a:pt x="411788" y="82319"/>
                  </a:cubicBezTo>
                  <a:lnTo>
                    <a:pt x="411788" y="890387"/>
                  </a:lnTo>
                  <a:lnTo>
                    <a:pt x="82280" y="890387"/>
                  </a:lnTo>
                  <a:cubicBezTo>
                    <a:pt x="36816" y="890387"/>
                    <a:pt x="0" y="927241"/>
                    <a:pt x="0" y="972705"/>
                  </a:cubicBezTo>
                  <a:cubicBezTo>
                    <a:pt x="0" y="1018132"/>
                    <a:pt x="36816" y="1054986"/>
                    <a:pt x="82280" y="1054986"/>
                  </a:cubicBezTo>
                  <a:lnTo>
                    <a:pt x="411788" y="1054986"/>
                  </a:lnTo>
                  <a:lnTo>
                    <a:pt x="411788" y="2014302"/>
                  </a:lnTo>
                  <a:lnTo>
                    <a:pt x="82280" y="2014302"/>
                  </a:lnTo>
                  <a:cubicBezTo>
                    <a:pt x="36816" y="2014302"/>
                    <a:pt x="0" y="2051118"/>
                    <a:pt x="0" y="2096583"/>
                  </a:cubicBezTo>
                  <a:cubicBezTo>
                    <a:pt x="0" y="2142047"/>
                    <a:pt x="36816" y="2178863"/>
                    <a:pt x="82280" y="2178863"/>
                  </a:cubicBezTo>
                  <a:lnTo>
                    <a:pt x="411788" y="2178863"/>
                  </a:lnTo>
                  <a:lnTo>
                    <a:pt x="411788" y="3138601"/>
                  </a:lnTo>
                  <a:lnTo>
                    <a:pt x="82280" y="3138601"/>
                  </a:lnTo>
                  <a:cubicBezTo>
                    <a:pt x="36816" y="3138601"/>
                    <a:pt x="0" y="3175455"/>
                    <a:pt x="0" y="3220920"/>
                  </a:cubicBezTo>
                  <a:cubicBezTo>
                    <a:pt x="0" y="3266346"/>
                    <a:pt x="36816" y="3303200"/>
                    <a:pt x="82280" y="3303200"/>
                  </a:cubicBezTo>
                  <a:lnTo>
                    <a:pt x="411788" y="3303200"/>
                  </a:lnTo>
                  <a:lnTo>
                    <a:pt x="411788" y="3688424"/>
                  </a:lnTo>
                  <a:cubicBezTo>
                    <a:pt x="411788" y="3733850"/>
                    <a:pt x="448642" y="3770704"/>
                    <a:pt x="494106" y="3770704"/>
                  </a:cubicBezTo>
                  <a:lnTo>
                    <a:pt x="923799" y="3770704"/>
                  </a:lnTo>
                  <a:lnTo>
                    <a:pt x="923799" y="4077933"/>
                  </a:lnTo>
                  <a:cubicBezTo>
                    <a:pt x="923799" y="4123397"/>
                    <a:pt x="960615" y="4160251"/>
                    <a:pt x="1006079" y="4160251"/>
                  </a:cubicBezTo>
                  <a:cubicBezTo>
                    <a:pt x="1051544" y="4160251"/>
                    <a:pt x="1088360" y="4123397"/>
                    <a:pt x="1088360" y="4077933"/>
                  </a:cubicBezTo>
                  <a:lnTo>
                    <a:pt x="1088360" y="3770704"/>
                  </a:lnTo>
                  <a:lnTo>
                    <a:pt x="1981124" y="3770704"/>
                  </a:lnTo>
                  <a:lnTo>
                    <a:pt x="1981124" y="4077933"/>
                  </a:lnTo>
                  <a:cubicBezTo>
                    <a:pt x="1981124" y="4123397"/>
                    <a:pt x="2017978" y="4160251"/>
                    <a:pt x="2063405" y="4160251"/>
                  </a:cubicBezTo>
                  <a:cubicBezTo>
                    <a:pt x="2108870" y="4160251"/>
                    <a:pt x="2145723" y="4123397"/>
                    <a:pt x="2145723" y="4077933"/>
                  </a:cubicBezTo>
                  <a:lnTo>
                    <a:pt x="2145723" y="3770704"/>
                  </a:lnTo>
                  <a:lnTo>
                    <a:pt x="3038449" y="3770704"/>
                  </a:lnTo>
                  <a:lnTo>
                    <a:pt x="3038449" y="4077933"/>
                  </a:lnTo>
                  <a:cubicBezTo>
                    <a:pt x="3038449" y="4123397"/>
                    <a:pt x="3075303" y="4160251"/>
                    <a:pt x="3120767" y="4160251"/>
                  </a:cubicBezTo>
                  <a:cubicBezTo>
                    <a:pt x="3166194" y="4160251"/>
                    <a:pt x="3203048" y="4123397"/>
                    <a:pt x="3203048" y="4077933"/>
                  </a:cubicBezTo>
                  <a:lnTo>
                    <a:pt x="3203048" y="3770704"/>
                  </a:lnTo>
                  <a:lnTo>
                    <a:pt x="4095812" y="3770704"/>
                  </a:lnTo>
                  <a:lnTo>
                    <a:pt x="4095812" y="4077933"/>
                  </a:lnTo>
                  <a:cubicBezTo>
                    <a:pt x="4095812" y="4123397"/>
                    <a:pt x="4132628" y="4160251"/>
                    <a:pt x="4178093" y="4160251"/>
                  </a:cubicBezTo>
                  <a:cubicBezTo>
                    <a:pt x="4223557" y="4160251"/>
                    <a:pt x="4260373" y="4123397"/>
                    <a:pt x="4260373" y="4077933"/>
                  </a:cubicBezTo>
                  <a:lnTo>
                    <a:pt x="4260373" y="3770704"/>
                  </a:lnTo>
                  <a:lnTo>
                    <a:pt x="4745714" y="3770704"/>
                  </a:lnTo>
                  <a:cubicBezTo>
                    <a:pt x="4791179" y="3770704"/>
                    <a:pt x="4827994" y="3733850"/>
                    <a:pt x="4827994" y="3688424"/>
                  </a:cubicBezTo>
                  <a:cubicBezTo>
                    <a:pt x="4827994" y="3642959"/>
                    <a:pt x="4791179" y="3606105"/>
                    <a:pt x="4745714" y="36061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5" name="Forma libre 9">
              <a:extLst>
                <a:ext uri="{FF2B5EF4-FFF2-40B4-BE49-F238E27FC236}">
                  <a16:creationId xmlns:a16="http://schemas.microsoft.com/office/drawing/2014/main" id="{8611D4CF-EB1D-DD65-F828-7A2F1CD32D8F}"/>
                </a:ext>
              </a:extLst>
            </p:cNvPr>
            <p:cNvSpPr/>
            <p:nvPr/>
          </p:nvSpPr>
          <p:spPr>
            <a:xfrm>
              <a:off x="3518460" y="5985514"/>
              <a:ext cx="419633" cy="310971"/>
            </a:xfrm>
            <a:custGeom>
              <a:avLst/>
              <a:gdLst>
                <a:gd name="connsiteX0" fmla="*/ 36664 w 3525285"/>
                <a:gd name="connsiteY0" fmla="*/ 2598593 h 2612428"/>
                <a:gd name="connsiteX1" fmla="*/ 150781 w 3525285"/>
                <a:gd name="connsiteY1" fmla="*/ 2575746 h 2612428"/>
                <a:gd name="connsiteX2" fmla="*/ 818368 w 3525285"/>
                <a:gd name="connsiteY2" fmla="*/ 1574380 h 2612428"/>
                <a:gd name="connsiteX3" fmla="*/ 1261346 w 3525285"/>
                <a:gd name="connsiteY3" fmla="*/ 2210127 h 2612428"/>
                <a:gd name="connsiteX4" fmla="*/ 1318751 w 3525285"/>
                <a:gd name="connsiteY4" fmla="*/ 2244722 h 2612428"/>
                <a:gd name="connsiteX5" fmla="*/ 1382854 w 3525285"/>
                <a:gd name="connsiteY5" fmla="*/ 2225128 h 2612428"/>
                <a:gd name="connsiteX6" fmla="*/ 2095096 w 3525285"/>
                <a:gd name="connsiteY6" fmla="*/ 1605615 h 2612428"/>
                <a:gd name="connsiteX7" fmla="*/ 2564135 w 3525285"/>
                <a:gd name="connsiteY7" fmla="*/ 2039639 h 2612428"/>
                <a:gd name="connsiteX8" fmla="*/ 2636925 w 3525285"/>
                <a:gd name="connsiteY8" fmla="*/ 2059883 h 2612428"/>
                <a:gd name="connsiteX9" fmla="*/ 2695554 w 3525285"/>
                <a:gd name="connsiteY9" fmla="*/ 2012237 h 2612428"/>
                <a:gd name="connsiteX10" fmla="*/ 3518779 w 3525285"/>
                <a:gd name="connsiteY10" fmla="*/ 114334 h 2612428"/>
                <a:gd name="connsiteX11" fmla="*/ 3475726 w 3525285"/>
                <a:gd name="connsiteY11" fmla="*/ 6830 h 2612428"/>
                <a:gd name="connsiteX12" fmla="*/ 3367761 w 3525285"/>
                <a:gd name="connsiteY12" fmla="*/ 48813 h 2612428"/>
                <a:gd name="connsiteX13" fmla="*/ 2590613 w 3525285"/>
                <a:gd name="connsiteY13" fmla="*/ 1840025 h 2612428"/>
                <a:gd name="connsiteX14" fmla="*/ 2152651 w 3525285"/>
                <a:gd name="connsiteY14" fmla="*/ 1434707 h 2612428"/>
                <a:gd name="connsiteX15" fmla="*/ 2042932 w 3525285"/>
                <a:gd name="connsiteY15" fmla="*/ 1433023 h 2612428"/>
                <a:gd name="connsiteX16" fmla="*/ 1343965 w 3525285"/>
                <a:gd name="connsiteY16" fmla="*/ 2040671 h 2612428"/>
                <a:gd name="connsiteX17" fmla="*/ 884381 w 3525285"/>
                <a:gd name="connsiteY17" fmla="*/ 1381275 h 2612428"/>
                <a:gd name="connsiteX18" fmla="*/ 815992 w 3525285"/>
                <a:gd name="connsiteY18" fmla="*/ 1346028 h 2612428"/>
                <a:gd name="connsiteX19" fmla="*/ 748408 w 3525285"/>
                <a:gd name="connsiteY19" fmla="*/ 1382690 h 2612428"/>
                <a:gd name="connsiteX20" fmla="*/ 13847 w 3525285"/>
                <a:gd name="connsiteY20" fmla="*/ 2484477 h 2612428"/>
                <a:gd name="connsiteX21" fmla="*/ 1601 w 3525285"/>
                <a:gd name="connsiteY21" fmla="*/ 2546283 h 2612428"/>
                <a:gd name="connsiteX22" fmla="*/ 36656 w 3525285"/>
                <a:gd name="connsiteY22" fmla="*/ 2598637 h 261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5285" h="2612428">
                  <a:moveTo>
                    <a:pt x="36664" y="2598593"/>
                  </a:moveTo>
                  <a:cubicBezTo>
                    <a:pt x="74475" y="2623813"/>
                    <a:pt x="125565" y="2613594"/>
                    <a:pt x="150781" y="2575746"/>
                  </a:cubicBezTo>
                  <a:lnTo>
                    <a:pt x="818368" y="1574380"/>
                  </a:lnTo>
                  <a:lnTo>
                    <a:pt x="1261346" y="2210127"/>
                  </a:lnTo>
                  <a:cubicBezTo>
                    <a:pt x="1274702" y="2229261"/>
                    <a:pt x="1295560" y="2241853"/>
                    <a:pt x="1318751" y="2244722"/>
                  </a:cubicBezTo>
                  <a:cubicBezTo>
                    <a:pt x="1341943" y="2247592"/>
                    <a:pt x="1365250" y="2240474"/>
                    <a:pt x="1382854" y="2225128"/>
                  </a:cubicBezTo>
                  <a:lnTo>
                    <a:pt x="2095096" y="1605615"/>
                  </a:lnTo>
                  <a:lnTo>
                    <a:pt x="2564135" y="2039639"/>
                  </a:lnTo>
                  <a:cubicBezTo>
                    <a:pt x="2583691" y="2057779"/>
                    <a:pt x="2610824" y="2065318"/>
                    <a:pt x="2636925" y="2059883"/>
                  </a:cubicBezTo>
                  <a:cubicBezTo>
                    <a:pt x="2663025" y="2054411"/>
                    <a:pt x="2684877" y="2036653"/>
                    <a:pt x="2695554" y="2012237"/>
                  </a:cubicBezTo>
                  <a:lnTo>
                    <a:pt x="3518779" y="114334"/>
                  </a:lnTo>
                  <a:cubicBezTo>
                    <a:pt x="3536346" y="72735"/>
                    <a:pt x="3517133" y="24783"/>
                    <a:pt x="3475726" y="6830"/>
                  </a:cubicBezTo>
                  <a:cubicBezTo>
                    <a:pt x="3434317" y="-11156"/>
                    <a:pt x="3386136" y="7596"/>
                    <a:pt x="3367761" y="48813"/>
                  </a:cubicBezTo>
                  <a:lnTo>
                    <a:pt x="2590613" y="1840025"/>
                  </a:lnTo>
                  <a:lnTo>
                    <a:pt x="2152651" y="1434707"/>
                  </a:lnTo>
                  <a:cubicBezTo>
                    <a:pt x="2121844" y="1406273"/>
                    <a:pt x="2074579" y="1405545"/>
                    <a:pt x="2042932" y="1433023"/>
                  </a:cubicBezTo>
                  <a:lnTo>
                    <a:pt x="1343965" y="2040671"/>
                  </a:lnTo>
                  <a:lnTo>
                    <a:pt x="884381" y="1381275"/>
                  </a:lnTo>
                  <a:cubicBezTo>
                    <a:pt x="868270" y="1359537"/>
                    <a:pt x="843011" y="1346525"/>
                    <a:pt x="815992" y="1346028"/>
                  </a:cubicBezTo>
                  <a:cubicBezTo>
                    <a:pt x="788783" y="1346334"/>
                    <a:pt x="763485" y="1360034"/>
                    <a:pt x="748408" y="1382690"/>
                  </a:cubicBezTo>
                  <a:lnTo>
                    <a:pt x="13847" y="2484477"/>
                  </a:lnTo>
                  <a:cubicBezTo>
                    <a:pt x="1715" y="2502617"/>
                    <a:pt x="-2685" y="2524852"/>
                    <a:pt x="1601" y="2546283"/>
                  </a:cubicBezTo>
                  <a:cubicBezTo>
                    <a:pt x="5849" y="2567676"/>
                    <a:pt x="18478" y="2586506"/>
                    <a:pt x="36656" y="259863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6599CD-B3DC-349D-3C25-1E71E24F9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4E8D2FED-9101-DEF3-7C65-4E9A4D39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lements</a:t>
            </a:r>
          </a:p>
        </p:txBody>
      </p:sp>
      <p:sp>
        <p:nvSpPr>
          <p:cNvPr id="4" name="Freeform 15">
            <a:extLst>
              <a:ext uri="{FF2B5EF4-FFF2-40B4-BE49-F238E27FC236}">
                <a16:creationId xmlns:a16="http://schemas.microsoft.com/office/drawing/2014/main" id="{1C8015CD-8587-CF41-6522-9DD37A969FA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55561" y="2985293"/>
            <a:ext cx="501650" cy="368300"/>
          </a:xfrm>
          <a:custGeom>
            <a:avLst/>
            <a:gdLst>
              <a:gd name="T0" fmla="*/ 634 w 658"/>
              <a:gd name="T1" fmla="*/ 459 h 484"/>
              <a:gd name="T2" fmla="*/ 628 w 658"/>
              <a:gd name="T3" fmla="*/ 462 h 484"/>
              <a:gd name="T4" fmla="*/ 30 w 658"/>
              <a:gd name="T5" fmla="*/ 462 h 484"/>
              <a:gd name="T6" fmla="*/ 24 w 658"/>
              <a:gd name="T7" fmla="*/ 459 h 484"/>
              <a:gd name="T8" fmla="*/ 24 w 658"/>
              <a:gd name="T9" fmla="*/ 453 h 484"/>
              <a:gd name="T10" fmla="*/ 58 w 658"/>
              <a:gd name="T11" fmla="*/ 396 h 484"/>
              <a:gd name="T12" fmla="*/ 600 w 658"/>
              <a:gd name="T13" fmla="*/ 396 h 484"/>
              <a:gd name="T14" fmla="*/ 634 w 658"/>
              <a:gd name="T15" fmla="*/ 453 h 484"/>
              <a:gd name="T16" fmla="*/ 634 w 658"/>
              <a:gd name="T17" fmla="*/ 459 h 484"/>
              <a:gd name="T18" fmla="*/ 329 w 658"/>
              <a:gd name="T19" fmla="*/ 274 h 484"/>
              <a:gd name="T20" fmla="*/ 367 w 658"/>
              <a:gd name="T21" fmla="*/ 265 h 484"/>
              <a:gd name="T22" fmla="*/ 401 w 658"/>
              <a:gd name="T23" fmla="*/ 282 h 484"/>
              <a:gd name="T24" fmla="*/ 482 w 658"/>
              <a:gd name="T25" fmla="*/ 373 h 484"/>
              <a:gd name="T26" fmla="*/ 176 w 658"/>
              <a:gd name="T27" fmla="*/ 373 h 484"/>
              <a:gd name="T28" fmla="*/ 256 w 658"/>
              <a:gd name="T29" fmla="*/ 282 h 484"/>
              <a:gd name="T30" fmla="*/ 291 w 658"/>
              <a:gd name="T31" fmla="*/ 265 h 484"/>
              <a:gd name="T32" fmla="*/ 329 w 658"/>
              <a:gd name="T33" fmla="*/ 274 h 484"/>
              <a:gd name="T34" fmla="*/ 329 w 658"/>
              <a:gd name="T35" fmla="*/ 251 h 484"/>
              <a:gd name="T36" fmla="*/ 260 w 658"/>
              <a:gd name="T37" fmla="*/ 182 h 484"/>
              <a:gd name="T38" fmla="*/ 329 w 658"/>
              <a:gd name="T39" fmla="*/ 113 h 484"/>
              <a:gd name="T40" fmla="*/ 398 w 658"/>
              <a:gd name="T41" fmla="*/ 182 h 484"/>
              <a:gd name="T42" fmla="*/ 329 w 658"/>
              <a:gd name="T43" fmla="*/ 251 h 484"/>
              <a:gd name="T44" fmla="*/ 63 w 658"/>
              <a:gd name="T45" fmla="*/ 67 h 484"/>
              <a:gd name="T46" fmla="*/ 104 w 658"/>
              <a:gd name="T47" fmla="*/ 23 h 484"/>
              <a:gd name="T48" fmla="*/ 554 w 658"/>
              <a:gd name="T49" fmla="*/ 23 h 484"/>
              <a:gd name="T50" fmla="*/ 595 w 658"/>
              <a:gd name="T51" fmla="*/ 67 h 484"/>
              <a:gd name="T52" fmla="*/ 595 w 658"/>
              <a:gd name="T53" fmla="*/ 373 h 484"/>
              <a:gd name="T54" fmla="*/ 505 w 658"/>
              <a:gd name="T55" fmla="*/ 373 h 484"/>
              <a:gd name="T56" fmla="*/ 409 w 658"/>
              <a:gd name="T57" fmla="*/ 261 h 484"/>
              <a:gd name="T58" fmla="*/ 387 w 658"/>
              <a:gd name="T59" fmla="*/ 252 h 484"/>
              <a:gd name="T60" fmla="*/ 421 w 658"/>
              <a:gd name="T61" fmla="*/ 182 h 484"/>
              <a:gd name="T62" fmla="*/ 329 w 658"/>
              <a:gd name="T63" fmla="*/ 90 h 484"/>
              <a:gd name="T64" fmla="*/ 237 w 658"/>
              <a:gd name="T65" fmla="*/ 182 h 484"/>
              <a:gd name="T66" fmla="*/ 270 w 658"/>
              <a:gd name="T67" fmla="*/ 252 h 484"/>
              <a:gd name="T68" fmla="*/ 249 w 658"/>
              <a:gd name="T69" fmla="*/ 261 h 484"/>
              <a:gd name="T70" fmla="*/ 153 w 658"/>
              <a:gd name="T71" fmla="*/ 373 h 484"/>
              <a:gd name="T72" fmla="*/ 63 w 658"/>
              <a:gd name="T73" fmla="*/ 373 h 484"/>
              <a:gd name="T74" fmla="*/ 63 w 658"/>
              <a:gd name="T75" fmla="*/ 67 h 484"/>
              <a:gd name="T76" fmla="*/ 653 w 658"/>
              <a:gd name="T77" fmla="*/ 441 h 484"/>
              <a:gd name="T78" fmla="*/ 618 w 658"/>
              <a:gd name="T79" fmla="*/ 382 h 484"/>
              <a:gd name="T80" fmla="*/ 618 w 658"/>
              <a:gd name="T81" fmla="*/ 67 h 484"/>
              <a:gd name="T82" fmla="*/ 554 w 658"/>
              <a:gd name="T83" fmla="*/ 0 h 484"/>
              <a:gd name="T84" fmla="*/ 104 w 658"/>
              <a:gd name="T85" fmla="*/ 0 h 484"/>
              <a:gd name="T86" fmla="*/ 40 w 658"/>
              <a:gd name="T87" fmla="*/ 67 h 484"/>
              <a:gd name="T88" fmla="*/ 40 w 658"/>
              <a:gd name="T89" fmla="*/ 382 h 484"/>
              <a:gd name="T90" fmla="*/ 5 w 658"/>
              <a:gd name="T91" fmla="*/ 441 h 484"/>
              <a:gd name="T92" fmla="*/ 5 w 658"/>
              <a:gd name="T93" fmla="*/ 470 h 484"/>
              <a:gd name="T94" fmla="*/ 30 w 658"/>
              <a:gd name="T95" fmla="*/ 484 h 484"/>
              <a:gd name="T96" fmla="*/ 628 w 658"/>
              <a:gd name="T97" fmla="*/ 484 h 484"/>
              <a:gd name="T98" fmla="*/ 653 w 658"/>
              <a:gd name="T99" fmla="*/ 470 h 484"/>
              <a:gd name="T100" fmla="*/ 653 w 658"/>
              <a:gd name="T101" fmla="*/ 441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58" h="484">
                <a:moveTo>
                  <a:pt x="634" y="459"/>
                </a:moveTo>
                <a:cubicBezTo>
                  <a:pt x="633" y="460"/>
                  <a:pt x="631" y="462"/>
                  <a:pt x="628" y="462"/>
                </a:cubicBezTo>
                <a:lnTo>
                  <a:pt x="30" y="462"/>
                </a:lnTo>
                <a:cubicBezTo>
                  <a:pt x="26" y="462"/>
                  <a:pt x="25" y="460"/>
                  <a:pt x="24" y="459"/>
                </a:cubicBezTo>
                <a:cubicBezTo>
                  <a:pt x="24" y="458"/>
                  <a:pt x="23" y="455"/>
                  <a:pt x="24" y="453"/>
                </a:cubicBezTo>
                <a:lnTo>
                  <a:pt x="58" y="396"/>
                </a:lnTo>
                <a:lnTo>
                  <a:pt x="600" y="396"/>
                </a:lnTo>
                <a:lnTo>
                  <a:pt x="634" y="453"/>
                </a:lnTo>
                <a:cubicBezTo>
                  <a:pt x="635" y="455"/>
                  <a:pt x="634" y="458"/>
                  <a:pt x="634" y="459"/>
                </a:cubicBezTo>
                <a:close/>
                <a:moveTo>
                  <a:pt x="329" y="274"/>
                </a:moveTo>
                <a:cubicBezTo>
                  <a:pt x="342" y="274"/>
                  <a:pt x="355" y="271"/>
                  <a:pt x="367" y="265"/>
                </a:cubicBezTo>
                <a:cubicBezTo>
                  <a:pt x="375" y="273"/>
                  <a:pt x="388" y="277"/>
                  <a:pt x="401" y="282"/>
                </a:cubicBezTo>
                <a:cubicBezTo>
                  <a:pt x="436" y="295"/>
                  <a:pt x="478" y="310"/>
                  <a:pt x="482" y="373"/>
                </a:cubicBezTo>
                <a:lnTo>
                  <a:pt x="176" y="373"/>
                </a:lnTo>
                <a:cubicBezTo>
                  <a:pt x="180" y="310"/>
                  <a:pt x="222" y="295"/>
                  <a:pt x="256" y="282"/>
                </a:cubicBezTo>
                <a:cubicBezTo>
                  <a:pt x="270" y="277"/>
                  <a:pt x="283" y="273"/>
                  <a:pt x="291" y="265"/>
                </a:cubicBezTo>
                <a:cubicBezTo>
                  <a:pt x="303" y="271"/>
                  <a:pt x="316" y="274"/>
                  <a:pt x="329" y="274"/>
                </a:cubicBezTo>
                <a:close/>
                <a:moveTo>
                  <a:pt x="329" y="251"/>
                </a:moveTo>
                <a:cubicBezTo>
                  <a:pt x="291" y="251"/>
                  <a:pt x="260" y="220"/>
                  <a:pt x="260" y="182"/>
                </a:cubicBezTo>
                <a:cubicBezTo>
                  <a:pt x="260" y="144"/>
                  <a:pt x="291" y="113"/>
                  <a:pt x="329" y="113"/>
                </a:cubicBezTo>
                <a:cubicBezTo>
                  <a:pt x="367" y="113"/>
                  <a:pt x="398" y="144"/>
                  <a:pt x="398" y="182"/>
                </a:cubicBezTo>
                <a:cubicBezTo>
                  <a:pt x="398" y="220"/>
                  <a:pt x="367" y="251"/>
                  <a:pt x="329" y="251"/>
                </a:cubicBezTo>
                <a:close/>
                <a:moveTo>
                  <a:pt x="63" y="67"/>
                </a:moveTo>
                <a:cubicBezTo>
                  <a:pt x="63" y="47"/>
                  <a:pt x="70" y="23"/>
                  <a:pt x="104" y="23"/>
                </a:cubicBezTo>
                <a:lnTo>
                  <a:pt x="554" y="23"/>
                </a:lnTo>
                <a:cubicBezTo>
                  <a:pt x="588" y="23"/>
                  <a:pt x="595" y="47"/>
                  <a:pt x="595" y="67"/>
                </a:cubicBezTo>
                <a:lnTo>
                  <a:pt x="595" y="373"/>
                </a:lnTo>
                <a:lnTo>
                  <a:pt x="505" y="373"/>
                </a:lnTo>
                <a:cubicBezTo>
                  <a:pt x="500" y="294"/>
                  <a:pt x="446" y="274"/>
                  <a:pt x="409" y="261"/>
                </a:cubicBezTo>
                <a:cubicBezTo>
                  <a:pt x="401" y="258"/>
                  <a:pt x="393" y="256"/>
                  <a:pt x="387" y="252"/>
                </a:cubicBezTo>
                <a:cubicBezTo>
                  <a:pt x="408" y="236"/>
                  <a:pt x="421" y="210"/>
                  <a:pt x="421" y="182"/>
                </a:cubicBezTo>
                <a:cubicBezTo>
                  <a:pt x="421" y="131"/>
                  <a:pt x="380" y="90"/>
                  <a:pt x="329" y="90"/>
                </a:cubicBezTo>
                <a:cubicBezTo>
                  <a:pt x="278" y="90"/>
                  <a:pt x="237" y="131"/>
                  <a:pt x="237" y="182"/>
                </a:cubicBezTo>
                <a:cubicBezTo>
                  <a:pt x="237" y="210"/>
                  <a:pt x="250" y="236"/>
                  <a:pt x="270" y="252"/>
                </a:cubicBezTo>
                <a:cubicBezTo>
                  <a:pt x="265" y="256"/>
                  <a:pt x="257" y="258"/>
                  <a:pt x="249" y="261"/>
                </a:cubicBezTo>
                <a:cubicBezTo>
                  <a:pt x="212" y="274"/>
                  <a:pt x="158" y="294"/>
                  <a:pt x="153" y="373"/>
                </a:cubicBezTo>
                <a:lnTo>
                  <a:pt x="63" y="373"/>
                </a:lnTo>
                <a:lnTo>
                  <a:pt x="63" y="67"/>
                </a:lnTo>
                <a:close/>
                <a:moveTo>
                  <a:pt x="653" y="441"/>
                </a:moveTo>
                <a:lnTo>
                  <a:pt x="618" y="382"/>
                </a:lnTo>
                <a:lnTo>
                  <a:pt x="618" y="67"/>
                </a:lnTo>
                <a:cubicBezTo>
                  <a:pt x="618" y="26"/>
                  <a:pt x="593" y="0"/>
                  <a:pt x="554" y="0"/>
                </a:cubicBezTo>
                <a:lnTo>
                  <a:pt x="104" y="0"/>
                </a:lnTo>
                <a:cubicBezTo>
                  <a:pt x="64" y="0"/>
                  <a:pt x="40" y="26"/>
                  <a:pt x="40" y="67"/>
                </a:cubicBezTo>
                <a:lnTo>
                  <a:pt x="40" y="382"/>
                </a:lnTo>
                <a:lnTo>
                  <a:pt x="5" y="441"/>
                </a:lnTo>
                <a:cubicBezTo>
                  <a:pt x="0" y="450"/>
                  <a:pt x="0" y="461"/>
                  <a:pt x="5" y="470"/>
                </a:cubicBezTo>
                <a:cubicBezTo>
                  <a:pt x="10" y="479"/>
                  <a:pt x="19" y="484"/>
                  <a:pt x="30" y="484"/>
                </a:cubicBezTo>
                <a:lnTo>
                  <a:pt x="628" y="484"/>
                </a:lnTo>
                <a:cubicBezTo>
                  <a:pt x="639" y="484"/>
                  <a:pt x="648" y="479"/>
                  <a:pt x="653" y="470"/>
                </a:cubicBezTo>
                <a:cubicBezTo>
                  <a:pt x="658" y="461"/>
                  <a:pt x="658" y="450"/>
                  <a:pt x="653" y="44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" name="Group 52">
            <a:extLst>
              <a:ext uri="{FF2B5EF4-FFF2-40B4-BE49-F238E27FC236}">
                <a16:creationId xmlns:a16="http://schemas.microsoft.com/office/drawing/2014/main" id="{5E409D68-12FD-3B44-7335-9CC4C29777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11262" y="2928610"/>
            <a:ext cx="481666" cy="481666"/>
            <a:chOff x="6539" y="439"/>
            <a:chExt cx="426" cy="426"/>
          </a:xfrm>
          <a:solidFill>
            <a:schemeClr val="tx2"/>
          </a:solidFill>
        </p:grpSpPr>
        <p:sp>
          <p:nvSpPr>
            <p:cNvPr id="31" name="Freeform 53">
              <a:extLst>
                <a:ext uri="{FF2B5EF4-FFF2-40B4-BE49-F238E27FC236}">
                  <a16:creationId xmlns:a16="http://schemas.microsoft.com/office/drawing/2014/main" id="{007A888A-EDA6-6F61-BD44-1D80CA7E3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439"/>
              <a:ext cx="426" cy="392"/>
            </a:xfrm>
            <a:custGeom>
              <a:avLst/>
              <a:gdLst>
                <a:gd name="T0" fmla="*/ 60 w 288"/>
                <a:gd name="T1" fmla="*/ 262 h 265"/>
                <a:gd name="T2" fmla="*/ 26 w 288"/>
                <a:gd name="T3" fmla="*/ 220 h 265"/>
                <a:gd name="T4" fmla="*/ 41 w 288"/>
                <a:gd name="T5" fmla="*/ 168 h 265"/>
                <a:gd name="T6" fmla="*/ 0 w 288"/>
                <a:gd name="T7" fmla="*/ 162 h 265"/>
                <a:gd name="T8" fmla="*/ 6 w 288"/>
                <a:gd name="T9" fmla="*/ 120 h 265"/>
                <a:gd name="T10" fmla="*/ 50 w 288"/>
                <a:gd name="T11" fmla="*/ 92 h 265"/>
                <a:gd name="T12" fmla="*/ 24 w 288"/>
                <a:gd name="T13" fmla="*/ 63 h 265"/>
                <a:gd name="T14" fmla="*/ 60 w 288"/>
                <a:gd name="T15" fmla="*/ 25 h 265"/>
                <a:gd name="T16" fmla="*/ 92 w 288"/>
                <a:gd name="T17" fmla="*/ 49 h 265"/>
                <a:gd name="T18" fmla="*/ 120 w 288"/>
                <a:gd name="T19" fmla="*/ 6 h 265"/>
                <a:gd name="T20" fmla="*/ 162 w 288"/>
                <a:gd name="T21" fmla="*/ 0 h 265"/>
                <a:gd name="T22" fmla="*/ 168 w 288"/>
                <a:gd name="T23" fmla="*/ 40 h 265"/>
                <a:gd name="T24" fmla="*/ 221 w 288"/>
                <a:gd name="T25" fmla="*/ 25 h 265"/>
                <a:gd name="T26" fmla="*/ 263 w 288"/>
                <a:gd name="T27" fmla="*/ 59 h 265"/>
                <a:gd name="T28" fmla="*/ 263 w 288"/>
                <a:gd name="T29" fmla="*/ 67 h 265"/>
                <a:gd name="T30" fmla="*/ 248 w 288"/>
                <a:gd name="T31" fmla="*/ 120 h 265"/>
                <a:gd name="T32" fmla="*/ 288 w 288"/>
                <a:gd name="T33" fmla="*/ 126 h 265"/>
                <a:gd name="T34" fmla="*/ 282 w 288"/>
                <a:gd name="T35" fmla="*/ 168 h 265"/>
                <a:gd name="T36" fmla="*/ 239 w 288"/>
                <a:gd name="T37" fmla="*/ 196 h 265"/>
                <a:gd name="T38" fmla="*/ 263 w 288"/>
                <a:gd name="T39" fmla="*/ 228 h 265"/>
                <a:gd name="T40" fmla="*/ 221 w 288"/>
                <a:gd name="T41" fmla="*/ 262 h 265"/>
                <a:gd name="T42" fmla="*/ 193 w 288"/>
                <a:gd name="T43" fmla="*/ 226 h 265"/>
                <a:gd name="T44" fmla="*/ 225 w 288"/>
                <a:gd name="T45" fmla="*/ 250 h 265"/>
                <a:gd name="T46" fmla="*/ 227 w 288"/>
                <a:gd name="T47" fmla="*/ 201 h 265"/>
                <a:gd name="T48" fmla="*/ 238 w 288"/>
                <a:gd name="T49" fmla="*/ 160 h 265"/>
                <a:gd name="T50" fmla="*/ 276 w 288"/>
                <a:gd name="T51" fmla="*/ 156 h 265"/>
                <a:gd name="T52" fmla="*/ 243 w 288"/>
                <a:gd name="T53" fmla="*/ 132 h 265"/>
                <a:gd name="T54" fmla="*/ 226 w 288"/>
                <a:gd name="T55" fmla="*/ 94 h 265"/>
                <a:gd name="T56" fmla="*/ 251 w 288"/>
                <a:gd name="T57" fmla="*/ 63 h 265"/>
                <a:gd name="T58" fmla="*/ 202 w 288"/>
                <a:gd name="T59" fmla="*/ 61 h 265"/>
                <a:gd name="T60" fmla="*/ 161 w 288"/>
                <a:gd name="T61" fmla="*/ 50 h 265"/>
                <a:gd name="T62" fmla="*/ 156 w 288"/>
                <a:gd name="T63" fmla="*/ 12 h 265"/>
                <a:gd name="T64" fmla="*/ 132 w 288"/>
                <a:gd name="T65" fmla="*/ 45 h 265"/>
                <a:gd name="T66" fmla="*/ 95 w 288"/>
                <a:gd name="T67" fmla="*/ 62 h 265"/>
                <a:gd name="T68" fmla="*/ 64 w 288"/>
                <a:gd name="T69" fmla="*/ 38 h 265"/>
                <a:gd name="T70" fmla="*/ 62 w 288"/>
                <a:gd name="T71" fmla="*/ 86 h 265"/>
                <a:gd name="T72" fmla="*/ 51 w 288"/>
                <a:gd name="T73" fmla="*/ 127 h 265"/>
                <a:gd name="T74" fmla="*/ 12 w 288"/>
                <a:gd name="T75" fmla="*/ 132 h 265"/>
                <a:gd name="T76" fmla="*/ 45 w 288"/>
                <a:gd name="T77" fmla="*/ 156 h 265"/>
                <a:gd name="T78" fmla="*/ 63 w 288"/>
                <a:gd name="T79" fmla="*/ 194 h 265"/>
                <a:gd name="T80" fmla="*/ 38 w 288"/>
                <a:gd name="T81" fmla="*/ 224 h 265"/>
                <a:gd name="T82" fmla="*/ 87 w 288"/>
                <a:gd name="T83" fmla="*/ 226 h 265"/>
                <a:gd name="T84" fmla="*/ 96 w 288"/>
                <a:gd name="T85" fmla="*/ 235 h 265"/>
                <a:gd name="T86" fmla="*/ 64 w 288"/>
                <a:gd name="T87" fmla="*/ 264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8" h="265">
                  <a:moveTo>
                    <a:pt x="64" y="264"/>
                  </a:moveTo>
                  <a:cubicBezTo>
                    <a:pt x="62" y="264"/>
                    <a:pt x="61" y="264"/>
                    <a:pt x="60" y="262"/>
                  </a:cubicBezTo>
                  <a:cubicBezTo>
                    <a:pt x="26" y="229"/>
                    <a:pt x="26" y="229"/>
                    <a:pt x="26" y="229"/>
                  </a:cubicBezTo>
                  <a:cubicBezTo>
                    <a:pt x="23" y="226"/>
                    <a:pt x="23" y="222"/>
                    <a:pt x="26" y="220"/>
                  </a:cubicBezTo>
                  <a:cubicBezTo>
                    <a:pt x="50" y="196"/>
                    <a:pt x="50" y="196"/>
                    <a:pt x="50" y="196"/>
                  </a:cubicBezTo>
                  <a:cubicBezTo>
                    <a:pt x="46" y="188"/>
                    <a:pt x="43" y="177"/>
                    <a:pt x="41" y="168"/>
                  </a:cubicBezTo>
                  <a:cubicBezTo>
                    <a:pt x="6" y="168"/>
                    <a:pt x="6" y="168"/>
                    <a:pt x="6" y="168"/>
                  </a:cubicBezTo>
                  <a:cubicBezTo>
                    <a:pt x="3" y="168"/>
                    <a:pt x="0" y="165"/>
                    <a:pt x="0" y="162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2"/>
                    <a:pt x="3" y="120"/>
                    <a:pt x="6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3" y="110"/>
                    <a:pt x="46" y="100"/>
                    <a:pt x="50" y="92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6"/>
                    <a:pt x="24" y="65"/>
                    <a:pt x="24" y="63"/>
                  </a:cubicBezTo>
                  <a:cubicBezTo>
                    <a:pt x="24" y="61"/>
                    <a:pt x="25" y="60"/>
                    <a:pt x="26" y="59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2" y="23"/>
                    <a:pt x="66" y="23"/>
                    <a:pt x="68" y="25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100" y="45"/>
                    <a:pt x="111" y="42"/>
                    <a:pt x="120" y="40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2"/>
                    <a:pt x="123" y="0"/>
                    <a:pt x="12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6" y="0"/>
                    <a:pt x="168" y="2"/>
                    <a:pt x="168" y="6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78" y="42"/>
                    <a:pt x="188" y="45"/>
                    <a:pt x="196" y="49"/>
                  </a:cubicBezTo>
                  <a:cubicBezTo>
                    <a:pt x="221" y="25"/>
                    <a:pt x="221" y="25"/>
                    <a:pt x="221" y="25"/>
                  </a:cubicBezTo>
                  <a:cubicBezTo>
                    <a:pt x="223" y="22"/>
                    <a:pt x="227" y="22"/>
                    <a:pt x="229" y="25"/>
                  </a:cubicBezTo>
                  <a:cubicBezTo>
                    <a:pt x="263" y="59"/>
                    <a:pt x="263" y="59"/>
                    <a:pt x="263" y="59"/>
                  </a:cubicBezTo>
                  <a:cubicBezTo>
                    <a:pt x="264" y="60"/>
                    <a:pt x="265" y="61"/>
                    <a:pt x="265" y="63"/>
                  </a:cubicBezTo>
                  <a:cubicBezTo>
                    <a:pt x="265" y="65"/>
                    <a:pt x="264" y="66"/>
                    <a:pt x="263" y="67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43" y="100"/>
                    <a:pt x="246" y="110"/>
                    <a:pt x="248" y="120"/>
                  </a:cubicBezTo>
                  <a:cubicBezTo>
                    <a:pt x="282" y="120"/>
                    <a:pt x="282" y="120"/>
                    <a:pt x="282" y="120"/>
                  </a:cubicBezTo>
                  <a:cubicBezTo>
                    <a:pt x="286" y="120"/>
                    <a:pt x="288" y="122"/>
                    <a:pt x="288" y="126"/>
                  </a:cubicBezTo>
                  <a:cubicBezTo>
                    <a:pt x="288" y="162"/>
                    <a:pt x="288" y="162"/>
                    <a:pt x="288" y="162"/>
                  </a:cubicBezTo>
                  <a:cubicBezTo>
                    <a:pt x="288" y="165"/>
                    <a:pt x="286" y="168"/>
                    <a:pt x="282" y="168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46" y="177"/>
                    <a:pt x="243" y="188"/>
                    <a:pt x="239" y="196"/>
                  </a:cubicBezTo>
                  <a:cubicBezTo>
                    <a:pt x="263" y="220"/>
                    <a:pt x="263" y="220"/>
                    <a:pt x="263" y="220"/>
                  </a:cubicBezTo>
                  <a:cubicBezTo>
                    <a:pt x="266" y="222"/>
                    <a:pt x="266" y="226"/>
                    <a:pt x="263" y="228"/>
                  </a:cubicBezTo>
                  <a:cubicBezTo>
                    <a:pt x="229" y="262"/>
                    <a:pt x="229" y="262"/>
                    <a:pt x="229" y="262"/>
                  </a:cubicBezTo>
                  <a:cubicBezTo>
                    <a:pt x="227" y="265"/>
                    <a:pt x="223" y="265"/>
                    <a:pt x="221" y="262"/>
                  </a:cubicBezTo>
                  <a:cubicBezTo>
                    <a:pt x="193" y="235"/>
                    <a:pt x="193" y="235"/>
                    <a:pt x="193" y="235"/>
                  </a:cubicBezTo>
                  <a:cubicBezTo>
                    <a:pt x="191" y="233"/>
                    <a:pt x="191" y="229"/>
                    <a:pt x="193" y="226"/>
                  </a:cubicBezTo>
                  <a:cubicBezTo>
                    <a:pt x="196" y="224"/>
                    <a:pt x="199" y="224"/>
                    <a:pt x="202" y="226"/>
                  </a:cubicBezTo>
                  <a:cubicBezTo>
                    <a:pt x="225" y="250"/>
                    <a:pt x="225" y="250"/>
                    <a:pt x="225" y="250"/>
                  </a:cubicBezTo>
                  <a:cubicBezTo>
                    <a:pt x="251" y="224"/>
                    <a:pt x="251" y="224"/>
                    <a:pt x="251" y="224"/>
                  </a:cubicBezTo>
                  <a:cubicBezTo>
                    <a:pt x="227" y="201"/>
                    <a:pt x="227" y="201"/>
                    <a:pt x="227" y="201"/>
                  </a:cubicBezTo>
                  <a:cubicBezTo>
                    <a:pt x="225" y="199"/>
                    <a:pt x="225" y="196"/>
                    <a:pt x="226" y="194"/>
                  </a:cubicBezTo>
                  <a:cubicBezTo>
                    <a:pt x="232" y="185"/>
                    <a:pt x="236" y="167"/>
                    <a:pt x="238" y="160"/>
                  </a:cubicBezTo>
                  <a:cubicBezTo>
                    <a:pt x="238" y="158"/>
                    <a:pt x="241" y="156"/>
                    <a:pt x="243" y="156"/>
                  </a:cubicBezTo>
                  <a:cubicBezTo>
                    <a:pt x="276" y="156"/>
                    <a:pt x="276" y="156"/>
                    <a:pt x="276" y="156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43" y="132"/>
                    <a:pt x="243" y="132"/>
                    <a:pt x="243" y="132"/>
                  </a:cubicBezTo>
                  <a:cubicBezTo>
                    <a:pt x="241" y="132"/>
                    <a:pt x="238" y="130"/>
                    <a:pt x="238" y="127"/>
                  </a:cubicBezTo>
                  <a:cubicBezTo>
                    <a:pt x="236" y="120"/>
                    <a:pt x="232" y="103"/>
                    <a:pt x="226" y="94"/>
                  </a:cubicBezTo>
                  <a:cubicBezTo>
                    <a:pt x="225" y="91"/>
                    <a:pt x="225" y="88"/>
                    <a:pt x="227" y="86"/>
                  </a:cubicBezTo>
                  <a:cubicBezTo>
                    <a:pt x="251" y="63"/>
                    <a:pt x="251" y="63"/>
                    <a:pt x="251" y="63"/>
                  </a:cubicBezTo>
                  <a:cubicBezTo>
                    <a:pt x="225" y="38"/>
                    <a:pt x="225" y="38"/>
                    <a:pt x="225" y="38"/>
                  </a:cubicBezTo>
                  <a:cubicBezTo>
                    <a:pt x="202" y="61"/>
                    <a:pt x="202" y="61"/>
                    <a:pt x="202" y="61"/>
                  </a:cubicBezTo>
                  <a:cubicBezTo>
                    <a:pt x="200" y="63"/>
                    <a:pt x="197" y="63"/>
                    <a:pt x="194" y="62"/>
                  </a:cubicBezTo>
                  <a:cubicBezTo>
                    <a:pt x="186" y="57"/>
                    <a:pt x="172" y="53"/>
                    <a:pt x="161" y="50"/>
                  </a:cubicBezTo>
                  <a:cubicBezTo>
                    <a:pt x="158" y="50"/>
                    <a:pt x="156" y="47"/>
                    <a:pt x="156" y="45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7"/>
                    <a:pt x="131" y="50"/>
                    <a:pt x="128" y="50"/>
                  </a:cubicBezTo>
                  <a:cubicBezTo>
                    <a:pt x="117" y="53"/>
                    <a:pt x="103" y="57"/>
                    <a:pt x="95" y="62"/>
                  </a:cubicBezTo>
                  <a:cubicBezTo>
                    <a:pt x="92" y="63"/>
                    <a:pt x="89" y="63"/>
                    <a:pt x="87" y="61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4" y="88"/>
                    <a:pt x="64" y="91"/>
                    <a:pt x="63" y="94"/>
                  </a:cubicBezTo>
                  <a:cubicBezTo>
                    <a:pt x="57" y="103"/>
                    <a:pt x="53" y="120"/>
                    <a:pt x="51" y="127"/>
                  </a:cubicBezTo>
                  <a:cubicBezTo>
                    <a:pt x="51" y="130"/>
                    <a:pt x="48" y="132"/>
                    <a:pt x="45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8" y="156"/>
                    <a:pt x="51" y="158"/>
                    <a:pt x="51" y="160"/>
                  </a:cubicBezTo>
                  <a:cubicBezTo>
                    <a:pt x="53" y="167"/>
                    <a:pt x="57" y="185"/>
                    <a:pt x="63" y="194"/>
                  </a:cubicBezTo>
                  <a:cubicBezTo>
                    <a:pt x="64" y="196"/>
                    <a:pt x="64" y="199"/>
                    <a:pt x="62" y="201"/>
                  </a:cubicBezTo>
                  <a:cubicBezTo>
                    <a:pt x="38" y="224"/>
                    <a:pt x="38" y="224"/>
                    <a:pt x="38" y="224"/>
                  </a:cubicBezTo>
                  <a:cubicBezTo>
                    <a:pt x="64" y="250"/>
                    <a:pt x="64" y="250"/>
                    <a:pt x="64" y="250"/>
                  </a:cubicBezTo>
                  <a:cubicBezTo>
                    <a:pt x="87" y="226"/>
                    <a:pt x="87" y="226"/>
                    <a:pt x="87" y="226"/>
                  </a:cubicBezTo>
                  <a:cubicBezTo>
                    <a:pt x="89" y="224"/>
                    <a:pt x="93" y="224"/>
                    <a:pt x="96" y="226"/>
                  </a:cubicBezTo>
                  <a:cubicBezTo>
                    <a:pt x="98" y="229"/>
                    <a:pt x="98" y="233"/>
                    <a:pt x="96" y="235"/>
                  </a:cubicBezTo>
                  <a:cubicBezTo>
                    <a:pt x="68" y="262"/>
                    <a:pt x="68" y="262"/>
                    <a:pt x="68" y="262"/>
                  </a:cubicBezTo>
                  <a:cubicBezTo>
                    <a:pt x="67" y="264"/>
                    <a:pt x="65" y="264"/>
                    <a:pt x="64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6" name="Freeform 54">
              <a:extLst>
                <a:ext uri="{FF2B5EF4-FFF2-40B4-BE49-F238E27FC236}">
                  <a16:creationId xmlns:a16="http://schemas.microsoft.com/office/drawing/2014/main" id="{4E39E2A1-200C-9CDB-25EA-798A0DD06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7" y="79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7" name="Freeform 55">
              <a:extLst>
                <a:ext uri="{FF2B5EF4-FFF2-40B4-BE49-F238E27FC236}">
                  <a16:creationId xmlns:a16="http://schemas.microsoft.com/office/drawing/2014/main" id="{674335D9-4848-1867-B80F-D71CC35DE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7" y="830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8" name="Freeform 56">
              <a:extLst>
                <a:ext uri="{FF2B5EF4-FFF2-40B4-BE49-F238E27FC236}">
                  <a16:creationId xmlns:a16="http://schemas.microsoft.com/office/drawing/2014/main" id="{F28F59B5-4920-0FD2-E0B6-D6DD2AD2E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" y="830"/>
              <a:ext cx="18" cy="35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3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10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9" name="Freeform 57">
              <a:extLst>
                <a:ext uri="{FF2B5EF4-FFF2-40B4-BE49-F238E27FC236}">
                  <a16:creationId xmlns:a16="http://schemas.microsoft.com/office/drawing/2014/main" id="{F49EF6AE-A452-7015-9C80-6FE029DD4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0" y="545"/>
              <a:ext cx="226" cy="231"/>
            </a:xfrm>
            <a:custGeom>
              <a:avLst/>
              <a:gdLst>
                <a:gd name="T0" fmla="*/ 94 w 153"/>
                <a:gd name="T1" fmla="*/ 156 h 156"/>
                <a:gd name="T2" fmla="*/ 58 w 153"/>
                <a:gd name="T3" fmla="*/ 156 h 156"/>
                <a:gd name="T4" fmla="*/ 52 w 153"/>
                <a:gd name="T5" fmla="*/ 150 h 156"/>
                <a:gd name="T6" fmla="*/ 52 w 153"/>
                <a:gd name="T7" fmla="*/ 140 h 156"/>
                <a:gd name="T8" fmla="*/ 0 w 153"/>
                <a:gd name="T9" fmla="*/ 72 h 156"/>
                <a:gd name="T10" fmla="*/ 76 w 153"/>
                <a:gd name="T11" fmla="*/ 0 h 156"/>
                <a:gd name="T12" fmla="*/ 153 w 153"/>
                <a:gd name="T13" fmla="*/ 72 h 156"/>
                <a:gd name="T14" fmla="*/ 100 w 153"/>
                <a:gd name="T15" fmla="*/ 140 h 156"/>
                <a:gd name="T16" fmla="*/ 100 w 153"/>
                <a:gd name="T17" fmla="*/ 150 h 156"/>
                <a:gd name="T18" fmla="*/ 94 w 153"/>
                <a:gd name="T19" fmla="*/ 156 h 156"/>
                <a:gd name="T20" fmla="*/ 64 w 153"/>
                <a:gd name="T21" fmla="*/ 144 h 156"/>
                <a:gd name="T22" fmla="*/ 88 w 153"/>
                <a:gd name="T23" fmla="*/ 144 h 156"/>
                <a:gd name="T24" fmla="*/ 88 w 153"/>
                <a:gd name="T25" fmla="*/ 136 h 156"/>
                <a:gd name="T26" fmla="*/ 93 w 153"/>
                <a:gd name="T27" fmla="*/ 130 h 156"/>
                <a:gd name="T28" fmla="*/ 141 w 153"/>
                <a:gd name="T29" fmla="*/ 72 h 156"/>
                <a:gd name="T30" fmla="*/ 76 w 153"/>
                <a:gd name="T31" fmla="*/ 12 h 156"/>
                <a:gd name="T32" fmla="*/ 12 w 153"/>
                <a:gd name="T33" fmla="*/ 72 h 156"/>
                <a:gd name="T34" fmla="*/ 60 w 153"/>
                <a:gd name="T35" fmla="*/ 130 h 156"/>
                <a:gd name="T36" fmla="*/ 64 w 153"/>
                <a:gd name="T37" fmla="*/ 136 h 156"/>
                <a:gd name="T38" fmla="*/ 64 w 153"/>
                <a:gd name="T39" fmla="*/ 1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156">
                  <a:moveTo>
                    <a:pt x="94" y="156"/>
                  </a:moveTo>
                  <a:cubicBezTo>
                    <a:pt x="58" y="156"/>
                    <a:pt x="58" y="156"/>
                    <a:pt x="58" y="156"/>
                  </a:cubicBezTo>
                  <a:cubicBezTo>
                    <a:pt x="55" y="156"/>
                    <a:pt x="52" y="153"/>
                    <a:pt x="52" y="15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21" y="130"/>
                    <a:pt x="0" y="103"/>
                    <a:pt x="0" y="72"/>
                  </a:cubicBezTo>
                  <a:cubicBezTo>
                    <a:pt x="0" y="32"/>
                    <a:pt x="34" y="0"/>
                    <a:pt x="76" y="0"/>
                  </a:cubicBezTo>
                  <a:cubicBezTo>
                    <a:pt x="119" y="0"/>
                    <a:pt x="153" y="32"/>
                    <a:pt x="153" y="72"/>
                  </a:cubicBezTo>
                  <a:cubicBezTo>
                    <a:pt x="153" y="103"/>
                    <a:pt x="132" y="130"/>
                    <a:pt x="100" y="140"/>
                  </a:cubicBezTo>
                  <a:cubicBezTo>
                    <a:pt x="100" y="150"/>
                    <a:pt x="100" y="150"/>
                    <a:pt x="100" y="150"/>
                  </a:cubicBezTo>
                  <a:cubicBezTo>
                    <a:pt x="100" y="153"/>
                    <a:pt x="98" y="156"/>
                    <a:pt x="94" y="156"/>
                  </a:cubicBezTo>
                  <a:close/>
                  <a:moveTo>
                    <a:pt x="64" y="144"/>
                  </a:moveTo>
                  <a:cubicBezTo>
                    <a:pt x="88" y="144"/>
                    <a:pt x="88" y="144"/>
                    <a:pt x="88" y="144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3"/>
                    <a:pt x="90" y="131"/>
                    <a:pt x="93" y="130"/>
                  </a:cubicBezTo>
                  <a:cubicBezTo>
                    <a:pt x="121" y="123"/>
                    <a:pt x="141" y="99"/>
                    <a:pt x="141" y="72"/>
                  </a:cubicBezTo>
                  <a:cubicBezTo>
                    <a:pt x="141" y="39"/>
                    <a:pt x="112" y="12"/>
                    <a:pt x="76" y="12"/>
                  </a:cubicBezTo>
                  <a:cubicBezTo>
                    <a:pt x="41" y="12"/>
                    <a:pt x="12" y="39"/>
                    <a:pt x="12" y="72"/>
                  </a:cubicBezTo>
                  <a:cubicBezTo>
                    <a:pt x="12" y="99"/>
                    <a:pt x="32" y="123"/>
                    <a:pt x="60" y="130"/>
                  </a:cubicBezTo>
                  <a:cubicBezTo>
                    <a:pt x="63" y="131"/>
                    <a:pt x="64" y="133"/>
                    <a:pt x="64" y="136"/>
                  </a:cubicBezTo>
                  <a:lnTo>
                    <a:pt x="64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</p:grpSp>
      <p:grpSp>
        <p:nvGrpSpPr>
          <p:cNvPr id="50" name="Group 4">
            <a:extLst>
              <a:ext uri="{FF2B5EF4-FFF2-40B4-BE49-F238E27FC236}">
                <a16:creationId xmlns:a16="http://schemas.microsoft.com/office/drawing/2014/main" id="{53735E7E-E47E-2837-003B-27EFE6FDAC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19844" y="2944181"/>
            <a:ext cx="451583" cy="450525"/>
            <a:chOff x="352" y="439"/>
            <a:chExt cx="427" cy="426"/>
          </a:xfrm>
          <a:solidFill>
            <a:schemeClr val="tx2"/>
          </a:solidFill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C2582AFE-6E6A-7649-D81A-F73B9E56F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" y="670"/>
              <a:ext cx="199" cy="195"/>
            </a:xfrm>
            <a:custGeom>
              <a:avLst/>
              <a:gdLst>
                <a:gd name="T0" fmla="*/ 51 w 134"/>
                <a:gd name="T1" fmla="*/ 132 h 132"/>
                <a:gd name="T2" fmla="*/ 45 w 134"/>
                <a:gd name="T3" fmla="*/ 116 h 132"/>
                <a:gd name="T4" fmla="*/ 26 w 134"/>
                <a:gd name="T5" fmla="*/ 116 h 132"/>
                <a:gd name="T6" fmla="*/ 2 w 134"/>
                <a:gd name="T7" fmla="*/ 85 h 132"/>
                <a:gd name="T8" fmla="*/ 12 w 134"/>
                <a:gd name="T9" fmla="*/ 72 h 132"/>
                <a:gd name="T10" fmla="*/ 12 w 134"/>
                <a:gd name="T11" fmla="*/ 61 h 132"/>
                <a:gd name="T12" fmla="*/ 2 w 134"/>
                <a:gd name="T13" fmla="*/ 47 h 132"/>
                <a:gd name="T14" fmla="*/ 26 w 134"/>
                <a:gd name="T15" fmla="*/ 17 h 132"/>
                <a:gd name="T16" fmla="*/ 45 w 134"/>
                <a:gd name="T17" fmla="*/ 16 h 132"/>
                <a:gd name="T18" fmla="*/ 51 w 134"/>
                <a:gd name="T19" fmla="*/ 0 h 132"/>
                <a:gd name="T20" fmla="*/ 89 w 134"/>
                <a:gd name="T21" fmla="*/ 6 h 132"/>
                <a:gd name="T22" fmla="*/ 99 w 134"/>
                <a:gd name="T23" fmla="*/ 22 h 132"/>
                <a:gd name="T24" fmla="*/ 112 w 134"/>
                <a:gd name="T25" fmla="*/ 16 h 132"/>
                <a:gd name="T26" fmla="*/ 132 w 134"/>
                <a:gd name="T27" fmla="*/ 47 h 132"/>
                <a:gd name="T28" fmla="*/ 121 w 134"/>
                <a:gd name="T29" fmla="*/ 60 h 132"/>
                <a:gd name="T30" fmla="*/ 121 w 134"/>
                <a:gd name="T31" fmla="*/ 72 h 132"/>
                <a:gd name="T32" fmla="*/ 133 w 134"/>
                <a:gd name="T33" fmla="*/ 80 h 132"/>
                <a:gd name="T34" fmla="*/ 116 w 134"/>
                <a:gd name="T35" fmla="*/ 113 h 132"/>
                <a:gd name="T36" fmla="*/ 107 w 134"/>
                <a:gd name="T37" fmla="*/ 115 h 132"/>
                <a:gd name="T38" fmla="*/ 89 w 134"/>
                <a:gd name="T39" fmla="*/ 116 h 132"/>
                <a:gd name="T40" fmla="*/ 83 w 134"/>
                <a:gd name="T41" fmla="*/ 132 h 132"/>
                <a:gd name="T42" fmla="*/ 77 w 134"/>
                <a:gd name="T43" fmla="*/ 120 h 132"/>
                <a:gd name="T44" fmla="*/ 81 w 134"/>
                <a:gd name="T45" fmla="*/ 107 h 132"/>
                <a:gd name="T46" fmla="*/ 102 w 134"/>
                <a:gd name="T47" fmla="*/ 98 h 132"/>
                <a:gd name="T48" fmla="*/ 119 w 134"/>
                <a:gd name="T49" fmla="*/ 84 h 132"/>
                <a:gd name="T50" fmla="*/ 109 w 134"/>
                <a:gd name="T51" fmla="*/ 74 h 132"/>
                <a:gd name="T52" fmla="*/ 109 w 134"/>
                <a:gd name="T53" fmla="*/ 58 h 132"/>
                <a:gd name="T54" fmla="*/ 119 w 134"/>
                <a:gd name="T55" fmla="*/ 48 h 132"/>
                <a:gd name="T56" fmla="*/ 102 w 134"/>
                <a:gd name="T57" fmla="*/ 34 h 132"/>
                <a:gd name="T58" fmla="*/ 81 w 134"/>
                <a:gd name="T59" fmla="*/ 26 h 132"/>
                <a:gd name="T60" fmla="*/ 77 w 134"/>
                <a:gd name="T61" fmla="*/ 12 h 132"/>
                <a:gd name="T62" fmla="*/ 57 w 134"/>
                <a:gd name="T63" fmla="*/ 20 h 132"/>
                <a:gd name="T64" fmla="*/ 39 w 134"/>
                <a:gd name="T65" fmla="*/ 34 h 132"/>
                <a:gd name="T66" fmla="*/ 25 w 134"/>
                <a:gd name="T67" fmla="*/ 30 h 132"/>
                <a:gd name="T68" fmla="*/ 22 w 134"/>
                <a:gd name="T69" fmla="*/ 52 h 132"/>
                <a:gd name="T70" fmla="*/ 24 w 134"/>
                <a:gd name="T71" fmla="*/ 66 h 132"/>
                <a:gd name="T72" fmla="*/ 22 w 134"/>
                <a:gd name="T73" fmla="*/ 80 h 132"/>
                <a:gd name="T74" fmla="*/ 25 w 134"/>
                <a:gd name="T75" fmla="*/ 102 h 132"/>
                <a:gd name="T76" fmla="*/ 39 w 134"/>
                <a:gd name="T77" fmla="*/ 99 h 132"/>
                <a:gd name="T78" fmla="*/ 57 w 134"/>
                <a:gd name="T79" fmla="*/ 1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4" h="132">
                  <a:moveTo>
                    <a:pt x="83" y="132"/>
                  </a:moveTo>
                  <a:cubicBezTo>
                    <a:pt x="51" y="132"/>
                    <a:pt x="51" y="132"/>
                    <a:pt x="51" y="132"/>
                  </a:cubicBezTo>
                  <a:cubicBezTo>
                    <a:pt x="47" y="132"/>
                    <a:pt x="45" y="129"/>
                    <a:pt x="45" y="12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2" y="115"/>
                    <a:pt x="38" y="113"/>
                    <a:pt x="35" y="111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3" y="117"/>
                    <a:pt x="20" y="116"/>
                    <a:pt x="18" y="113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0" y="82"/>
                    <a:pt x="1" y="79"/>
                    <a:pt x="4" y="77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0"/>
                    <a:pt x="12" y="68"/>
                    <a:pt x="12" y="66"/>
                  </a:cubicBezTo>
                  <a:cubicBezTo>
                    <a:pt x="12" y="64"/>
                    <a:pt x="12" y="62"/>
                    <a:pt x="12" y="61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4"/>
                    <a:pt x="0" y="50"/>
                    <a:pt x="2" y="47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0" y="16"/>
                    <a:pt x="23" y="15"/>
                    <a:pt x="26" y="1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8" y="19"/>
                    <a:pt x="42" y="18"/>
                    <a:pt x="45" y="1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3"/>
                    <a:pt x="47" y="0"/>
                    <a:pt x="51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9" y="3"/>
                    <a:pt x="89" y="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3" y="18"/>
                    <a:pt x="96" y="20"/>
                    <a:pt x="99" y="22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109" y="16"/>
                    <a:pt x="110" y="16"/>
                    <a:pt x="112" y="16"/>
                  </a:cubicBezTo>
                  <a:cubicBezTo>
                    <a:pt x="114" y="17"/>
                    <a:pt x="115" y="18"/>
                    <a:pt x="116" y="19"/>
                  </a:cubicBezTo>
                  <a:cubicBezTo>
                    <a:pt x="132" y="47"/>
                    <a:pt x="132" y="47"/>
                    <a:pt x="132" y="47"/>
                  </a:cubicBezTo>
                  <a:cubicBezTo>
                    <a:pt x="134" y="50"/>
                    <a:pt x="133" y="54"/>
                    <a:pt x="130" y="56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2" y="62"/>
                    <a:pt x="122" y="64"/>
                    <a:pt x="122" y="66"/>
                  </a:cubicBezTo>
                  <a:cubicBezTo>
                    <a:pt x="122" y="68"/>
                    <a:pt x="122" y="70"/>
                    <a:pt x="121" y="72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1" y="78"/>
                    <a:pt x="132" y="79"/>
                    <a:pt x="133" y="80"/>
                  </a:cubicBezTo>
                  <a:cubicBezTo>
                    <a:pt x="133" y="82"/>
                    <a:pt x="133" y="84"/>
                    <a:pt x="132" y="85"/>
                  </a:cubicBezTo>
                  <a:cubicBezTo>
                    <a:pt x="116" y="113"/>
                    <a:pt x="116" y="113"/>
                    <a:pt x="116" y="113"/>
                  </a:cubicBezTo>
                  <a:cubicBezTo>
                    <a:pt x="115" y="115"/>
                    <a:pt x="114" y="116"/>
                    <a:pt x="112" y="116"/>
                  </a:cubicBezTo>
                  <a:cubicBezTo>
                    <a:pt x="110" y="117"/>
                    <a:pt x="109" y="116"/>
                    <a:pt x="107" y="115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6" y="113"/>
                    <a:pt x="93" y="115"/>
                    <a:pt x="89" y="11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9"/>
                    <a:pt x="87" y="132"/>
                    <a:pt x="83" y="132"/>
                  </a:cubicBezTo>
                  <a:close/>
                  <a:moveTo>
                    <a:pt x="57" y="120"/>
                  </a:moveTo>
                  <a:cubicBezTo>
                    <a:pt x="77" y="120"/>
                    <a:pt x="77" y="120"/>
                    <a:pt x="77" y="120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77" y="110"/>
                    <a:pt x="79" y="108"/>
                    <a:pt x="81" y="107"/>
                  </a:cubicBezTo>
                  <a:cubicBezTo>
                    <a:pt x="86" y="105"/>
                    <a:pt x="91" y="102"/>
                    <a:pt x="95" y="99"/>
                  </a:cubicBezTo>
                  <a:cubicBezTo>
                    <a:pt x="97" y="97"/>
                    <a:pt x="99" y="97"/>
                    <a:pt x="102" y="98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0" y="79"/>
                    <a:pt x="109" y="77"/>
                    <a:pt x="109" y="74"/>
                  </a:cubicBezTo>
                  <a:cubicBezTo>
                    <a:pt x="109" y="71"/>
                    <a:pt x="110" y="69"/>
                    <a:pt x="110" y="66"/>
                  </a:cubicBezTo>
                  <a:cubicBezTo>
                    <a:pt x="110" y="64"/>
                    <a:pt x="109" y="61"/>
                    <a:pt x="109" y="58"/>
                  </a:cubicBezTo>
                  <a:cubicBezTo>
                    <a:pt x="109" y="56"/>
                    <a:pt x="110" y="53"/>
                    <a:pt x="112" y="52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99" y="36"/>
                    <a:pt x="97" y="35"/>
                    <a:pt x="95" y="34"/>
                  </a:cubicBezTo>
                  <a:cubicBezTo>
                    <a:pt x="91" y="30"/>
                    <a:pt x="86" y="28"/>
                    <a:pt x="81" y="26"/>
                  </a:cubicBezTo>
                  <a:cubicBezTo>
                    <a:pt x="79" y="25"/>
                    <a:pt x="77" y="23"/>
                    <a:pt x="77" y="20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3"/>
                    <a:pt x="55" y="25"/>
                    <a:pt x="53" y="26"/>
                  </a:cubicBezTo>
                  <a:cubicBezTo>
                    <a:pt x="48" y="28"/>
                    <a:pt x="43" y="30"/>
                    <a:pt x="39" y="34"/>
                  </a:cubicBezTo>
                  <a:cubicBezTo>
                    <a:pt x="37" y="35"/>
                    <a:pt x="34" y="36"/>
                    <a:pt x="32" y="34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4" y="53"/>
                    <a:pt x="25" y="56"/>
                    <a:pt x="25" y="58"/>
                  </a:cubicBezTo>
                  <a:cubicBezTo>
                    <a:pt x="24" y="61"/>
                    <a:pt x="24" y="64"/>
                    <a:pt x="24" y="66"/>
                  </a:cubicBezTo>
                  <a:cubicBezTo>
                    <a:pt x="24" y="69"/>
                    <a:pt x="24" y="71"/>
                    <a:pt x="25" y="74"/>
                  </a:cubicBezTo>
                  <a:cubicBezTo>
                    <a:pt x="25" y="77"/>
                    <a:pt x="24" y="79"/>
                    <a:pt x="22" y="80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4" y="97"/>
                    <a:pt x="37" y="97"/>
                    <a:pt x="39" y="99"/>
                  </a:cubicBezTo>
                  <a:cubicBezTo>
                    <a:pt x="43" y="102"/>
                    <a:pt x="48" y="105"/>
                    <a:pt x="53" y="107"/>
                  </a:cubicBezTo>
                  <a:cubicBezTo>
                    <a:pt x="55" y="108"/>
                    <a:pt x="57" y="110"/>
                    <a:pt x="57" y="112"/>
                  </a:cubicBezTo>
                  <a:lnTo>
                    <a:pt x="57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48389517-BA70-BA18-7E56-F2A938B78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" y="726"/>
              <a:ext cx="83" cy="83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12 h 56"/>
                <a:gd name="T12" fmla="*/ 12 w 56"/>
                <a:gd name="T13" fmla="*/ 28 h 56"/>
                <a:gd name="T14" fmla="*/ 28 w 56"/>
                <a:gd name="T15" fmla="*/ 44 h 56"/>
                <a:gd name="T16" fmla="*/ 44 w 56"/>
                <a:gd name="T17" fmla="*/ 28 h 56"/>
                <a:gd name="T18" fmla="*/ 28 w 56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2" y="56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12"/>
                  </a:moveTo>
                  <a:cubicBezTo>
                    <a:pt x="19" y="12"/>
                    <a:pt x="12" y="20"/>
                    <a:pt x="12" y="28"/>
                  </a:cubicBezTo>
                  <a:cubicBezTo>
                    <a:pt x="12" y="37"/>
                    <a:pt x="19" y="44"/>
                    <a:pt x="28" y="44"/>
                  </a:cubicBezTo>
                  <a:cubicBezTo>
                    <a:pt x="36" y="44"/>
                    <a:pt x="44" y="37"/>
                    <a:pt x="44" y="28"/>
                  </a:cubicBezTo>
                  <a:cubicBezTo>
                    <a:pt x="44" y="20"/>
                    <a:pt x="36" y="12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F0E39BE4-FF3B-7088-853F-57989E811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" y="442"/>
              <a:ext cx="95" cy="201"/>
            </a:xfrm>
            <a:custGeom>
              <a:avLst/>
              <a:gdLst>
                <a:gd name="T0" fmla="*/ 64 w 64"/>
                <a:gd name="T1" fmla="*/ 136 h 136"/>
                <a:gd name="T2" fmla="*/ 52 w 64"/>
                <a:gd name="T3" fmla="*/ 136 h 136"/>
                <a:gd name="T4" fmla="*/ 0 w 64"/>
                <a:gd name="T5" fmla="*/ 8 h 136"/>
                <a:gd name="T6" fmla="*/ 9 w 64"/>
                <a:gd name="T7" fmla="*/ 0 h 136"/>
                <a:gd name="T8" fmla="*/ 64 w 64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36">
                  <a:moveTo>
                    <a:pt x="64" y="136"/>
                  </a:moveTo>
                  <a:cubicBezTo>
                    <a:pt x="52" y="136"/>
                    <a:pt x="52" y="136"/>
                    <a:pt x="52" y="136"/>
                  </a:cubicBezTo>
                  <a:cubicBezTo>
                    <a:pt x="52" y="90"/>
                    <a:pt x="34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5" y="40"/>
                    <a:pt x="64" y="86"/>
                    <a:pt x="6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5DEC2380-3865-9321-D94D-8D8292655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" y="741"/>
              <a:ext cx="195" cy="18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9"/>
                    <a:pt x="130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5" name="Rectangle 9">
              <a:extLst>
                <a:ext uri="{FF2B5EF4-FFF2-40B4-BE49-F238E27FC236}">
                  <a16:creationId xmlns:a16="http://schemas.microsoft.com/office/drawing/2014/main" id="{38A2FFF0-DE6A-2C89-85D8-B3FDD7EE4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" y="528"/>
              <a:ext cx="339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E8D80965-76B3-30BA-3F32-C62754613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" y="439"/>
              <a:ext cx="427" cy="426"/>
            </a:xfrm>
            <a:custGeom>
              <a:avLst/>
              <a:gdLst>
                <a:gd name="T0" fmla="*/ 137 w 288"/>
                <a:gd name="T1" fmla="*/ 288 h 288"/>
                <a:gd name="T2" fmla="*/ 136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4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2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4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4 w 288"/>
                <a:gd name="T53" fmla="*/ 12 h 288"/>
                <a:gd name="T54" fmla="*/ 138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2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2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6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7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3"/>
                    <a:pt x="59" y="5"/>
                    <a:pt x="134" y="1"/>
                  </a:cubicBezTo>
                  <a:cubicBezTo>
                    <a:pt x="135" y="0"/>
                    <a:pt x="135" y="0"/>
                    <a:pt x="136" y="0"/>
                  </a:cubicBezTo>
                  <a:cubicBezTo>
                    <a:pt x="137" y="0"/>
                    <a:pt x="137" y="0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0" y="0"/>
                    <a:pt x="281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7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3" y="283"/>
                    <a:pt x="142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3" y="210"/>
                    <a:pt x="62" y="265"/>
                    <a:pt x="124" y="275"/>
                  </a:cubicBezTo>
                  <a:cubicBezTo>
                    <a:pt x="94" y="232"/>
                    <a:pt x="78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3" y="12"/>
                    <a:pt x="144" y="12"/>
                  </a:cubicBezTo>
                  <a:cubicBezTo>
                    <a:pt x="142" y="12"/>
                    <a:pt x="140" y="12"/>
                    <a:pt x="138" y="12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2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7" y="90"/>
                    <a:pt x="92" y="50"/>
                    <a:pt x="121" y="14"/>
                  </a:cubicBezTo>
                  <a:cubicBezTo>
                    <a:pt x="61" y="24"/>
                    <a:pt x="16" y="72"/>
                    <a:pt x="12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</p:grpSp>
      <p:grpSp>
        <p:nvGrpSpPr>
          <p:cNvPr id="57" name="Group 47">
            <a:extLst>
              <a:ext uri="{FF2B5EF4-FFF2-40B4-BE49-F238E27FC236}">
                <a16:creationId xmlns:a16="http://schemas.microsoft.com/office/drawing/2014/main" id="{B4DF33AD-552C-ADD6-FDE4-4A003DA829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34060" y="2944181"/>
            <a:ext cx="450525" cy="450525"/>
            <a:chOff x="4473" y="439"/>
            <a:chExt cx="426" cy="426"/>
          </a:xfrm>
          <a:solidFill>
            <a:schemeClr val="tx2"/>
          </a:solidFill>
        </p:grpSpPr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93D5D678-2450-3C7B-9675-BCB8ABD13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3" y="439"/>
              <a:ext cx="426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4"/>
                    <a:pt x="0" y="144"/>
                  </a:cubicBezTo>
                  <a:cubicBezTo>
                    <a:pt x="0" y="65"/>
                    <a:pt x="64" y="0"/>
                    <a:pt x="144" y="0"/>
                  </a:cubicBezTo>
                  <a:cubicBezTo>
                    <a:pt x="223" y="0"/>
                    <a:pt x="288" y="65"/>
                    <a:pt x="288" y="144"/>
                  </a:cubicBezTo>
                  <a:cubicBezTo>
                    <a:pt x="288" y="224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7"/>
                    <a:pt x="71" y="276"/>
                    <a:pt x="144" y="276"/>
                  </a:cubicBezTo>
                  <a:cubicBezTo>
                    <a:pt x="216" y="276"/>
                    <a:pt x="276" y="217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42493C1B-4FC0-E1DD-0C46-BC45420A2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5" y="457"/>
              <a:ext cx="25" cy="43"/>
            </a:xfrm>
            <a:custGeom>
              <a:avLst/>
              <a:gdLst>
                <a:gd name="T0" fmla="*/ 5 w 17"/>
                <a:gd name="T1" fmla="*/ 29 h 29"/>
                <a:gd name="T2" fmla="*/ 0 w 17"/>
                <a:gd name="T3" fmla="*/ 1 h 29"/>
                <a:gd name="T4" fmla="*/ 12 w 17"/>
                <a:gd name="T5" fmla="*/ 0 h 29"/>
                <a:gd name="T6" fmla="*/ 17 w 17"/>
                <a:gd name="T7" fmla="*/ 25 h 29"/>
                <a:gd name="T8" fmla="*/ 5 w 1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9">
                  <a:moveTo>
                    <a:pt x="5" y="29"/>
                  </a:moveTo>
                  <a:cubicBezTo>
                    <a:pt x="3" y="20"/>
                    <a:pt x="1" y="10"/>
                    <a:pt x="0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9"/>
                    <a:pt x="15" y="17"/>
                    <a:pt x="17" y="25"/>
                  </a:cubicBezTo>
                  <a:lnTo>
                    <a:pt x="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E6A9F303-531B-E0A2-A2F2-0B31C232F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554"/>
              <a:ext cx="133" cy="94"/>
            </a:xfrm>
            <a:custGeom>
              <a:avLst/>
              <a:gdLst>
                <a:gd name="T0" fmla="*/ 88 w 90"/>
                <a:gd name="T1" fmla="*/ 63 h 63"/>
                <a:gd name="T2" fmla="*/ 0 w 90"/>
                <a:gd name="T3" fmla="*/ 7 h 63"/>
                <a:gd name="T4" fmla="*/ 10 w 90"/>
                <a:gd name="T5" fmla="*/ 0 h 63"/>
                <a:gd name="T6" fmla="*/ 90 w 90"/>
                <a:gd name="T7" fmla="*/ 52 h 63"/>
                <a:gd name="T8" fmla="*/ 88 w 90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63">
                  <a:moveTo>
                    <a:pt x="88" y="63"/>
                  </a:moveTo>
                  <a:cubicBezTo>
                    <a:pt x="53" y="56"/>
                    <a:pt x="22" y="36"/>
                    <a:pt x="0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9" y="27"/>
                    <a:pt x="58" y="45"/>
                    <a:pt x="90" y="52"/>
                  </a:cubicBezTo>
                  <a:lnTo>
                    <a:pt x="8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1" name="Freeform 51">
              <a:extLst>
                <a:ext uri="{FF2B5EF4-FFF2-40B4-BE49-F238E27FC236}">
                  <a16:creationId xmlns:a16="http://schemas.microsoft.com/office/drawing/2014/main" id="{05A8655A-074C-86BE-17E2-53205BDF7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" y="625"/>
              <a:ext cx="36" cy="26"/>
            </a:xfrm>
            <a:custGeom>
              <a:avLst/>
              <a:gdLst>
                <a:gd name="T0" fmla="*/ 2 w 24"/>
                <a:gd name="T1" fmla="*/ 17 h 17"/>
                <a:gd name="T2" fmla="*/ 0 w 24"/>
                <a:gd name="T3" fmla="*/ 5 h 17"/>
                <a:gd name="T4" fmla="*/ 21 w 24"/>
                <a:gd name="T5" fmla="*/ 0 h 17"/>
                <a:gd name="T6" fmla="*/ 24 w 24"/>
                <a:gd name="T7" fmla="*/ 11 h 17"/>
                <a:gd name="T8" fmla="*/ 2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" y="17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8" y="4"/>
                    <a:pt x="14" y="2"/>
                    <a:pt x="21" y="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7" y="14"/>
                    <a:pt x="10" y="15"/>
                    <a:pt x="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8932DF05-E130-B95F-C873-A17D89608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" y="756"/>
              <a:ext cx="123" cy="105"/>
            </a:xfrm>
            <a:custGeom>
              <a:avLst/>
              <a:gdLst>
                <a:gd name="T0" fmla="*/ 6 w 83"/>
                <a:gd name="T1" fmla="*/ 71 h 71"/>
                <a:gd name="T2" fmla="*/ 0 w 83"/>
                <a:gd name="T3" fmla="*/ 60 h 71"/>
                <a:gd name="T4" fmla="*/ 74 w 83"/>
                <a:gd name="T5" fmla="*/ 0 h 71"/>
                <a:gd name="T6" fmla="*/ 83 w 83"/>
                <a:gd name="T7" fmla="*/ 8 h 71"/>
                <a:gd name="T8" fmla="*/ 6 w 83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71">
                  <a:moveTo>
                    <a:pt x="6" y="71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28" y="44"/>
                    <a:pt x="53" y="24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61" y="33"/>
                    <a:pt x="35" y="54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D675FC5A-131E-CBFC-2C56-BA5342EA1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" y="670"/>
              <a:ext cx="42" cy="56"/>
            </a:xfrm>
            <a:custGeom>
              <a:avLst/>
              <a:gdLst>
                <a:gd name="T0" fmla="*/ 10 w 28"/>
                <a:gd name="T1" fmla="*/ 38 h 38"/>
                <a:gd name="T2" fmla="*/ 0 w 28"/>
                <a:gd name="T3" fmla="*/ 31 h 38"/>
                <a:gd name="T4" fmla="*/ 17 w 28"/>
                <a:gd name="T5" fmla="*/ 0 h 38"/>
                <a:gd name="T6" fmla="*/ 28 w 28"/>
                <a:gd name="T7" fmla="*/ 6 h 38"/>
                <a:gd name="T8" fmla="*/ 10 w 2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8">
                  <a:moveTo>
                    <a:pt x="10" y="38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6" y="21"/>
                    <a:pt x="13" y="9"/>
                    <a:pt x="17" y="0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3" y="15"/>
                    <a:pt x="17" y="27"/>
                    <a:pt x="10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DF995949-B50F-3384-7D7E-77C4E303D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5" y="531"/>
              <a:ext cx="34" cy="81"/>
            </a:xfrm>
            <a:custGeom>
              <a:avLst/>
              <a:gdLst>
                <a:gd name="T0" fmla="*/ 12 w 23"/>
                <a:gd name="T1" fmla="*/ 55 h 55"/>
                <a:gd name="T2" fmla="*/ 0 w 23"/>
                <a:gd name="T3" fmla="*/ 51 h 55"/>
                <a:gd name="T4" fmla="*/ 11 w 23"/>
                <a:gd name="T5" fmla="*/ 0 h 55"/>
                <a:gd name="T6" fmla="*/ 23 w 23"/>
                <a:gd name="T7" fmla="*/ 2 h 55"/>
                <a:gd name="T8" fmla="*/ 12 w 2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55">
                  <a:moveTo>
                    <a:pt x="12" y="55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5" y="34"/>
                    <a:pt x="9" y="18"/>
                    <a:pt x="11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1" y="20"/>
                    <a:pt x="17" y="37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5" name="Freeform 55">
              <a:extLst>
                <a:ext uri="{FF2B5EF4-FFF2-40B4-BE49-F238E27FC236}">
                  <a16:creationId xmlns:a16="http://schemas.microsoft.com/office/drawing/2014/main" id="{942AD1DE-B2EA-3BE1-7F08-EE81E1F6A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" y="714"/>
              <a:ext cx="50" cy="28"/>
            </a:xfrm>
            <a:custGeom>
              <a:avLst/>
              <a:gdLst>
                <a:gd name="T0" fmla="*/ 31 w 34"/>
                <a:gd name="T1" fmla="*/ 19 h 19"/>
                <a:gd name="T2" fmla="*/ 26 w 34"/>
                <a:gd name="T3" fmla="*/ 18 h 19"/>
                <a:gd name="T4" fmla="*/ 0 w 34"/>
                <a:gd name="T5" fmla="*/ 11 h 19"/>
                <a:gd name="T6" fmla="*/ 3 w 34"/>
                <a:gd name="T7" fmla="*/ 0 h 19"/>
                <a:gd name="T8" fmla="*/ 29 w 34"/>
                <a:gd name="T9" fmla="*/ 7 h 19"/>
                <a:gd name="T10" fmla="*/ 34 w 34"/>
                <a:gd name="T11" fmla="*/ 8 h 19"/>
                <a:gd name="T12" fmla="*/ 31 w 34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31" y="19"/>
                  </a:moveTo>
                  <a:cubicBezTo>
                    <a:pt x="26" y="18"/>
                    <a:pt x="26" y="18"/>
                    <a:pt x="26" y="18"/>
                  </a:cubicBezTo>
                  <a:cubicBezTo>
                    <a:pt x="18" y="16"/>
                    <a:pt x="8" y="14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1" y="2"/>
                    <a:pt x="21" y="5"/>
                    <a:pt x="29" y="7"/>
                  </a:cubicBezTo>
                  <a:cubicBezTo>
                    <a:pt x="34" y="8"/>
                    <a:pt x="34" y="8"/>
                    <a:pt x="34" y="8"/>
                  </a:cubicBez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6" name="Freeform 56">
              <a:extLst>
                <a:ext uri="{FF2B5EF4-FFF2-40B4-BE49-F238E27FC236}">
                  <a16:creationId xmlns:a16="http://schemas.microsoft.com/office/drawing/2014/main" id="{8CA16BB3-EFC3-99E5-8817-65F4B9234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" y="732"/>
              <a:ext cx="86" cy="27"/>
            </a:xfrm>
            <a:custGeom>
              <a:avLst/>
              <a:gdLst>
                <a:gd name="T0" fmla="*/ 58 w 58"/>
                <a:gd name="T1" fmla="*/ 18 h 18"/>
                <a:gd name="T2" fmla="*/ 0 w 58"/>
                <a:gd name="T3" fmla="*/ 12 h 18"/>
                <a:gd name="T4" fmla="*/ 2 w 58"/>
                <a:gd name="T5" fmla="*/ 0 h 18"/>
                <a:gd name="T6" fmla="*/ 58 w 58"/>
                <a:gd name="T7" fmla="*/ 6 h 18"/>
                <a:gd name="T8" fmla="*/ 58 w 5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8">
                  <a:moveTo>
                    <a:pt x="58" y="18"/>
                  </a:moveTo>
                  <a:cubicBezTo>
                    <a:pt x="38" y="18"/>
                    <a:pt x="20" y="16"/>
                    <a:pt x="0" y="1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1" y="4"/>
                    <a:pt x="40" y="6"/>
                    <a:pt x="58" y="6"/>
                  </a:cubicBezTo>
                  <a:lnTo>
                    <a:pt x="5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1F23D31-8253-0648-1F6F-E916E4E1A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" y="741"/>
              <a:ext cx="28" cy="18"/>
            </a:xfrm>
            <a:custGeom>
              <a:avLst/>
              <a:gdLst>
                <a:gd name="T0" fmla="*/ 1 w 19"/>
                <a:gd name="T1" fmla="*/ 12 h 12"/>
                <a:gd name="T2" fmla="*/ 0 w 19"/>
                <a:gd name="T3" fmla="*/ 0 h 12"/>
                <a:gd name="T4" fmla="*/ 18 w 19"/>
                <a:gd name="T5" fmla="*/ 0 h 12"/>
                <a:gd name="T6" fmla="*/ 19 w 19"/>
                <a:gd name="T7" fmla="*/ 11 h 12"/>
                <a:gd name="T8" fmla="*/ 1 w 1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">
                  <a:moveTo>
                    <a:pt x="1" y="1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12" y="0"/>
                    <a:pt x="18" y="0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3" y="12"/>
                    <a:pt x="7" y="12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C30006BB-0071-696C-CF6E-2551EBEBF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717"/>
              <a:ext cx="85" cy="36"/>
            </a:xfrm>
            <a:custGeom>
              <a:avLst/>
              <a:gdLst>
                <a:gd name="T0" fmla="*/ 1 w 58"/>
                <a:gd name="T1" fmla="*/ 24 h 24"/>
                <a:gd name="T2" fmla="*/ 0 w 58"/>
                <a:gd name="T3" fmla="*/ 12 h 24"/>
                <a:gd name="T4" fmla="*/ 55 w 58"/>
                <a:gd name="T5" fmla="*/ 0 h 24"/>
                <a:gd name="T6" fmla="*/ 58 w 58"/>
                <a:gd name="T7" fmla="*/ 12 h 24"/>
                <a:gd name="T8" fmla="*/ 1 w 58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24">
                  <a:moveTo>
                    <a:pt x="1" y="2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9" y="9"/>
                    <a:pt x="37" y="6"/>
                    <a:pt x="55" y="0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39" y="17"/>
                    <a:pt x="21" y="21"/>
                    <a:pt x="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9" name="Freeform 59">
              <a:extLst>
                <a:ext uri="{FF2B5EF4-FFF2-40B4-BE49-F238E27FC236}">
                  <a16:creationId xmlns:a16="http://schemas.microsoft.com/office/drawing/2014/main" id="{AB80B332-73BA-6A9E-BD32-A7B4F2ED3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" y="492"/>
              <a:ext cx="67" cy="42"/>
            </a:xfrm>
            <a:custGeom>
              <a:avLst/>
              <a:gdLst>
                <a:gd name="T0" fmla="*/ 42 w 45"/>
                <a:gd name="T1" fmla="*/ 28 h 28"/>
                <a:gd name="T2" fmla="*/ 38 w 45"/>
                <a:gd name="T3" fmla="*/ 27 h 28"/>
                <a:gd name="T4" fmla="*/ 0 w 45"/>
                <a:gd name="T5" fmla="*/ 10 h 28"/>
                <a:gd name="T6" fmla="*/ 6 w 45"/>
                <a:gd name="T7" fmla="*/ 0 h 28"/>
                <a:gd name="T8" fmla="*/ 41 w 45"/>
                <a:gd name="T9" fmla="*/ 15 h 28"/>
                <a:gd name="T10" fmla="*/ 45 w 45"/>
                <a:gd name="T11" fmla="*/ 16 h 28"/>
                <a:gd name="T12" fmla="*/ 42 w 45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28">
                  <a:moveTo>
                    <a:pt x="42" y="28"/>
                  </a:moveTo>
                  <a:cubicBezTo>
                    <a:pt x="41" y="28"/>
                    <a:pt x="39" y="27"/>
                    <a:pt x="38" y="27"/>
                  </a:cubicBezTo>
                  <a:cubicBezTo>
                    <a:pt x="24" y="23"/>
                    <a:pt x="12" y="17"/>
                    <a:pt x="0" y="1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" y="7"/>
                    <a:pt x="29" y="12"/>
                    <a:pt x="41" y="15"/>
                  </a:cubicBezTo>
                  <a:cubicBezTo>
                    <a:pt x="42" y="16"/>
                    <a:pt x="44" y="16"/>
                    <a:pt x="45" y="16"/>
                  </a:cubicBezTo>
                  <a:lnTo>
                    <a:pt x="42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0" name="Freeform 60">
              <a:extLst>
                <a:ext uri="{FF2B5EF4-FFF2-40B4-BE49-F238E27FC236}">
                  <a16:creationId xmlns:a16="http://schemas.microsoft.com/office/drawing/2014/main" id="{9F108DBD-9FB2-A70B-9140-555699EBC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" y="473"/>
              <a:ext cx="120" cy="65"/>
            </a:xfrm>
            <a:custGeom>
              <a:avLst/>
              <a:gdLst>
                <a:gd name="T0" fmla="*/ 2 w 81"/>
                <a:gd name="T1" fmla="*/ 44 h 44"/>
                <a:gd name="T2" fmla="*/ 0 w 81"/>
                <a:gd name="T3" fmla="*/ 32 h 44"/>
                <a:gd name="T4" fmla="*/ 74 w 81"/>
                <a:gd name="T5" fmla="*/ 0 h 44"/>
                <a:gd name="T6" fmla="*/ 81 w 81"/>
                <a:gd name="T7" fmla="*/ 9 h 44"/>
                <a:gd name="T8" fmla="*/ 2 w 81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44">
                  <a:moveTo>
                    <a:pt x="2" y="44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27" y="29"/>
                    <a:pt x="53" y="18"/>
                    <a:pt x="74" y="0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59" y="28"/>
                    <a:pt x="31" y="41"/>
                    <a:pt x="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1" name="Freeform 61">
              <a:extLst>
                <a:ext uri="{FF2B5EF4-FFF2-40B4-BE49-F238E27FC236}">
                  <a16:creationId xmlns:a16="http://schemas.microsoft.com/office/drawing/2014/main" id="{2C56AEC7-1553-590D-3183-319864568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766"/>
              <a:ext cx="57" cy="86"/>
            </a:xfrm>
            <a:custGeom>
              <a:avLst/>
              <a:gdLst>
                <a:gd name="T0" fmla="*/ 27 w 38"/>
                <a:gd name="T1" fmla="*/ 58 h 58"/>
                <a:gd name="T2" fmla="*/ 0 w 38"/>
                <a:gd name="T3" fmla="*/ 6 h 58"/>
                <a:gd name="T4" fmla="*/ 10 w 38"/>
                <a:gd name="T5" fmla="*/ 0 h 58"/>
                <a:gd name="T6" fmla="*/ 38 w 38"/>
                <a:gd name="T7" fmla="*/ 54 h 58"/>
                <a:gd name="T8" fmla="*/ 27 w 38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8">
                  <a:moveTo>
                    <a:pt x="27" y="58"/>
                  </a:moveTo>
                  <a:cubicBezTo>
                    <a:pt x="22" y="44"/>
                    <a:pt x="13" y="27"/>
                    <a:pt x="0" y="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4" y="21"/>
                    <a:pt x="33" y="39"/>
                    <a:pt x="38" y="54"/>
                  </a:cubicBezTo>
                  <a:lnTo>
                    <a:pt x="27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2" name="Freeform 62">
              <a:extLst>
                <a:ext uri="{FF2B5EF4-FFF2-40B4-BE49-F238E27FC236}">
                  <a16:creationId xmlns:a16="http://schemas.microsoft.com/office/drawing/2014/main" id="{93ACB6A1-1B56-BBFF-E401-AC97CFC61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" y="670"/>
              <a:ext cx="74" cy="65"/>
            </a:xfrm>
            <a:custGeom>
              <a:avLst/>
              <a:gdLst>
                <a:gd name="T0" fmla="*/ 41 w 50"/>
                <a:gd name="T1" fmla="*/ 44 h 44"/>
                <a:gd name="T2" fmla="*/ 0 w 50"/>
                <a:gd name="T3" fmla="*/ 10 h 44"/>
                <a:gd name="T4" fmla="*/ 6 w 50"/>
                <a:gd name="T5" fmla="*/ 0 h 44"/>
                <a:gd name="T6" fmla="*/ 50 w 50"/>
                <a:gd name="T7" fmla="*/ 35 h 44"/>
                <a:gd name="T8" fmla="*/ 41 w 50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4">
                  <a:moveTo>
                    <a:pt x="41" y="44"/>
                  </a:moveTo>
                  <a:cubicBezTo>
                    <a:pt x="30" y="33"/>
                    <a:pt x="13" y="18"/>
                    <a:pt x="0" y="1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4" y="11"/>
                    <a:pt x="44" y="30"/>
                    <a:pt x="50" y="35"/>
                  </a:cubicBezTo>
                  <a:lnTo>
                    <a:pt x="4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A169DFF2-2446-7D18-EDA2-5AFD185B8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2" y="622"/>
              <a:ext cx="62" cy="33"/>
            </a:xfrm>
            <a:custGeom>
              <a:avLst/>
              <a:gdLst>
                <a:gd name="T0" fmla="*/ 38 w 42"/>
                <a:gd name="T1" fmla="*/ 22 h 22"/>
                <a:gd name="T2" fmla="*/ 0 w 42"/>
                <a:gd name="T3" fmla="*/ 12 h 22"/>
                <a:gd name="T4" fmla="*/ 1 w 42"/>
                <a:gd name="T5" fmla="*/ 0 h 22"/>
                <a:gd name="T6" fmla="*/ 42 w 42"/>
                <a:gd name="T7" fmla="*/ 10 h 22"/>
                <a:gd name="T8" fmla="*/ 38 w 42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2">
                  <a:moveTo>
                    <a:pt x="38" y="22"/>
                  </a:moveTo>
                  <a:cubicBezTo>
                    <a:pt x="25" y="17"/>
                    <a:pt x="12" y="14"/>
                    <a:pt x="0" y="1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5" y="2"/>
                    <a:pt x="28" y="5"/>
                    <a:pt x="42" y="10"/>
                  </a:cubicBezTo>
                  <a:lnTo>
                    <a:pt x="3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4" name="Freeform 64">
              <a:extLst>
                <a:ext uri="{FF2B5EF4-FFF2-40B4-BE49-F238E27FC236}">
                  <a16:creationId xmlns:a16="http://schemas.microsoft.com/office/drawing/2014/main" id="{41F80B8A-004D-BB12-6D8A-8A64B40A9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" y="754"/>
              <a:ext cx="32" cy="39"/>
            </a:xfrm>
            <a:custGeom>
              <a:avLst/>
              <a:gdLst>
                <a:gd name="T0" fmla="*/ 9 w 22"/>
                <a:gd name="T1" fmla="*/ 26 h 26"/>
                <a:gd name="T2" fmla="*/ 0 w 22"/>
                <a:gd name="T3" fmla="*/ 19 h 26"/>
                <a:gd name="T4" fmla="*/ 11 w 22"/>
                <a:gd name="T5" fmla="*/ 0 h 26"/>
                <a:gd name="T6" fmla="*/ 22 w 22"/>
                <a:gd name="T7" fmla="*/ 5 h 26"/>
                <a:gd name="T8" fmla="*/ 9 w 22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6">
                  <a:moveTo>
                    <a:pt x="9" y="26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13"/>
                    <a:pt x="8" y="6"/>
                    <a:pt x="11" y="0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19" y="12"/>
                    <a:pt x="14" y="20"/>
                    <a:pt x="9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5" name="Freeform 65">
              <a:extLst>
                <a:ext uri="{FF2B5EF4-FFF2-40B4-BE49-F238E27FC236}">
                  <a16:creationId xmlns:a16="http://schemas.microsoft.com/office/drawing/2014/main" id="{7F823634-DAFC-5997-39CC-6301C1648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" y="695"/>
              <a:ext cx="24" cy="32"/>
            </a:xfrm>
            <a:custGeom>
              <a:avLst/>
              <a:gdLst>
                <a:gd name="T0" fmla="*/ 12 w 16"/>
                <a:gd name="T1" fmla="*/ 22 h 22"/>
                <a:gd name="T2" fmla="*/ 0 w 16"/>
                <a:gd name="T3" fmla="*/ 18 h 22"/>
                <a:gd name="T4" fmla="*/ 4 w 16"/>
                <a:gd name="T5" fmla="*/ 0 h 22"/>
                <a:gd name="T6" fmla="*/ 16 w 16"/>
                <a:gd name="T7" fmla="*/ 2 h 22"/>
                <a:gd name="T8" fmla="*/ 12 w 16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12" y="22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2" y="14"/>
                    <a:pt x="3" y="7"/>
                    <a:pt x="4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10"/>
                    <a:pt x="13" y="17"/>
                    <a:pt x="1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5B66BCA0-0BDA-727E-6069-B408FB228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9" y="519"/>
              <a:ext cx="59" cy="106"/>
            </a:xfrm>
            <a:custGeom>
              <a:avLst/>
              <a:gdLst>
                <a:gd name="T0" fmla="*/ 29 w 40"/>
                <a:gd name="T1" fmla="*/ 72 h 72"/>
                <a:gd name="T2" fmla="*/ 0 w 40"/>
                <a:gd name="T3" fmla="*/ 7 h 72"/>
                <a:gd name="T4" fmla="*/ 10 w 40"/>
                <a:gd name="T5" fmla="*/ 0 h 72"/>
                <a:gd name="T6" fmla="*/ 40 w 40"/>
                <a:gd name="T7" fmla="*/ 70 h 72"/>
                <a:gd name="T8" fmla="*/ 29 w 4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72">
                  <a:moveTo>
                    <a:pt x="29" y="72"/>
                  </a:moveTo>
                  <a:cubicBezTo>
                    <a:pt x="25" y="49"/>
                    <a:pt x="15" y="26"/>
                    <a:pt x="0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6" y="20"/>
                    <a:pt x="36" y="45"/>
                    <a:pt x="40" y="70"/>
                  </a:cubicBezTo>
                  <a:lnTo>
                    <a:pt x="2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7" name="Freeform 67">
              <a:extLst>
                <a:ext uri="{FF2B5EF4-FFF2-40B4-BE49-F238E27FC236}">
                  <a16:creationId xmlns:a16="http://schemas.microsoft.com/office/drawing/2014/main" id="{0CB15662-3656-FAF1-03E7-A1DCFA205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0" y="486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C41B6D7C-210D-84F8-39F4-5DA1B2A2F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9" y="615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9" name="Freeform 69">
              <a:extLst>
                <a:ext uri="{FF2B5EF4-FFF2-40B4-BE49-F238E27FC236}">
                  <a16:creationId xmlns:a16="http://schemas.microsoft.com/office/drawing/2014/main" id="{6D0DF5C2-F0D1-ECA4-C341-E0A81F998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9" y="714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2"/>
                    <a:pt x="15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80" name="Freeform 70">
              <a:extLst>
                <a:ext uri="{FF2B5EF4-FFF2-40B4-BE49-F238E27FC236}">
                  <a16:creationId xmlns:a16="http://schemas.microsoft.com/office/drawing/2014/main" id="{FF412B80-2090-22BC-841F-9B8DA85DFB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" y="713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8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2AF5ED6A-A7F7-3895-E489-9F4F538C7D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" y="70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0" y="36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923980BF-8B6C-FD4E-7FC4-70560E37AE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8" y="597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</p:grpSp>
      <p:sp>
        <p:nvSpPr>
          <p:cNvPr id="83" name="Freeform 6">
            <a:extLst>
              <a:ext uri="{FF2B5EF4-FFF2-40B4-BE49-F238E27FC236}">
                <a16:creationId xmlns:a16="http://schemas.microsoft.com/office/drawing/2014/main" id="{16962A64-410F-AC9B-677D-1EB5F04EDC7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47218" y="2909887"/>
            <a:ext cx="550863" cy="519113"/>
          </a:xfrm>
          <a:custGeom>
            <a:avLst/>
            <a:gdLst>
              <a:gd name="T0" fmla="*/ 142 w 722"/>
              <a:gd name="T1" fmla="*/ 603 h 681"/>
              <a:gd name="T2" fmla="*/ 142 w 722"/>
              <a:gd name="T3" fmla="*/ 560 h 681"/>
              <a:gd name="T4" fmla="*/ 98 w 722"/>
              <a:gd name="T5" fmla="*/ 265 h 681"/>
              <a:gd name="T6" fmla="*/ 22 w 722"/>
              <a:gd name="T7" fmla="*/ 265 h 681"/>
              <a:gd name="T8" fmla="*/ 98 w 722"/>
              <a:gd name="T9" fmla="*/ 265 h 681"/>
              <a:gd name="T10" fmla="*/ 661 w 722"/>
              <a:gd name="T11" fmla="*/ 468 h 681"/>
              <a:gd name="T12" fmla="*/ 661 w 722"/>
              <a:gd name="T13" fmla="*/ 392 h 681"/>
              <a:gd name="T14" fmla="*/ 359 w 722"/>
              <a:gd name="T15" fmla="*/ 658 h 681"/>
              <a:gd name="T16" fmla="*/ 186 w 722"/>
              <a:gd name="T17" fmla="*/ 582 h 681"/>
              <a:gd name="T18" fmla="*/ 122 w 722"/>
              <a:gd name="T19" fmla="*/ 542 h 681"/>
              <a:gd name="T20" fmla="*/ 310 w 722"/>
              <a:gd name="T21" fmla="*/ 562 h 681"/>
              <a:gd name="T22" fmla="*/ 613 w 722"/>
              <a:gd name="T23" fmla="*/ 520 h 681"/>
              <a:gd name="T24" fmla="*/ 317 w 722"/>
              <a:gd name="T25" fmla="*/ 58 h 681"/>
              <a:gd name="T26" fmla="*/ 401 w 722"/>
              <a:gd name="T27" fmla="*/ 58 h 681"/>
              <a:gd name="T28" fmla="*/ 408 w 722"/>
              <a:gd name="T29" fmla="*/ 148 h 681"/>
              <a:gd name="T30" fmla="*/ 317 w 722"/>
              <a:gd name="T31" fmla="*/ 58 h 681"/>
              <a:gd name="T32" fmla="*/ 381 w 722"/>
              <a:gd name="T33" fmla="*/ 44 h 681"/>
              <a:gd name="T34" fmla="*/ 337 w 722"/>
              <a:gd name="T35" fmla="*/ 44 h 681"/>
              <a:gd name="T36" fmla="*/ 337 w 722"/>
              <a:gd name="T37" fmla="*/ 44 h 681"/>
              <a:gd name="T38" fmla="*/ 624 w 722"/>
              <a:gd name="T39" fmla="*/ 478 h 681"/>
              <a:gd name="T40" fmla="*/ 63 w 722"/>
              <a:gd name="T41" fmla="*/ 325 h 681"/>
              <a:gd name="T42" fmla="*/ 103 w 722"/>
              <a:gd name="T43" fmla="*/ 222 h 681"/>
              <a:gd name="T44" fmla="*/ 653 w 722"/>
              <a:gd name="T45" fmla="*/ 370 h 681"/>
              <a:gd name="T46" fmla="*/ 624 w 722"/>
              <a:gd name="T47" fmla="*/ 478 h 681"/>
              <a:gd name="T48" fmla="*/ 683 w 722"/>
              <a:gd name="T49" fmla="*/ 357 h 681"/>
              <a:gd name="T50" fmla="*/ 359 w 722"/>
              <a:gd name="T51" fmla="*/ 0 h 681"/>
              <a:gd name="T52" fmla="*/ 73 w 722"/>
              <a:gd name="T53" fmla="*/ 206 h 681"/>
              <a:gd name="T54" fmla="*/ 0 w 722"/>
              <a:gd name="T55" fmla="*/ 265 h 681"/>
              <a:gd name="T56" fmla="*/ 35 w 722"/>
              <a:gd name="T57" fmla="*/ 357 h 681"/>
              <a:gd name="T58" fmla="*/ 97 w 722"/>
              <a:gd name="T59" fmla="*/ 582 h 681"/>
              <a:gd name="T60" fmla="*/ 167 w 722"/>
              <a:gd name="T61" fmla="*/ 618 h 681"/>
              <a:gd name="T62" fmla="*/ 654 w 722"/>
              <a:gd name="T63" fmla="*/ 490 h 681"/>
              <a:gd name="T64" fmla="*/ 722 w 722"/>
              <a:gd name="T65" fmla="*/ 430 h 681"/>
              <a:gd name="T66" fmla="*/ 227 w 722"/>
              <a:gd name="T67" fmla="*/ 452 h 681"/>
              <a:gd name="T68" fmla="*/ 329 w 722"/>
              <a:gd name="T69" fmla="*/ 358 h 681"/>
              <a:gd name="T70" fmla="*/ 398 w 722"/>
              <a:gd name="T71" fmla="*/ 358 h 681"/>
              <a:gd name="T72" fmla="*/ 500 w 722"/>
              <a:gd name="T73" fmla="*/ 452 h 681"/>
              <a:gd name="T74" fmla="*/ 303 w 722"/>
              <a:gd name="T75" fmla="*/ 282 h 681"/>
              <a:gd name="T76" fmla="*/ 424 w 722"/>
              <a:gd name="T77" fmla="*/ 282 h 681"/>
              <a:gd name="T78" fmla="*/ 303 w 722"/>
              <a:gd name="T79" fmla="*/ 282 h 681"/>
              <a:gd name="T80" fmla="*/ 418 w 722"/>
              <a:gd name="T81" fmla="*/ 345 h 681"/>
              <a:gd name="T82" fmla="*/ 364 w 722"/>
              <a:gd name="T83" fmla="*/ 199 h 681"/>
              <a:gd name="T84" fmla="*/ 309 w 722"/>
              <a:gd name="T85" fmla="*/ 345 h 681"/>
              <a:gd name="T86" fmla="*/ 204 w 722"/>
              <a:gd name="T87" fmla="*/ 464 h 681"/>
              <a:gd name="T88" fmla="*/ 512 w 722"/>
              <a:gd name="T89" fmla="*/ 475 h 681"/>
              <a:gd name="T90" fmla="*/ 436 w 722"/>
              <a:gd name="T91" fmla="*/ 352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2" h="681">
                <a:moveTo>
                  <a:pt x="163" y="582"/>
                </a:moveTo>
                <a:cubicBezTo>
                  <a:pt x="163" y="594"/>
                  <a:pt x="154" y="603"/>
                  <a:pt x="142" y="603"/>
                </a:cubicBezTo>
                <a:cubicBezTo>
                  <a:pt x="130" y="603"/>
                  <a:pt x="120" y="594"/>
                  <a:pt x="120" y="582"/>
                </a:cubicBezTo>
                <a:cubicBezTo>
                  <a:pt x="120" y="570"/>
                  <a:pt x="130" y="560"/>
                  <a:pt x="142" y="560"/>
                </a:cubicBezTo>
                <a:cubicBezTo>
                  <a:pt x="154" y="560"/>
                  <a:pt x="163" y="570"/>
                  <a:pt x="163" y="582"/>
                </a:cubicBezTo>
                <a:close/>
                <a:moveTo>
                  <a:pt x="98" y="265"/>
                </a:moveTo>
                <a:cubicBezTo>
                  <a:pt x="98" y="286"/>
                  <a:pt x="81" y="303"/>
                  <a:pt x="60" y="303"/>
                </a:cubicBezTo>
                <a:cubicBezTo>
                  <a:pt x="39" y="303"/>
                  <a:pt x="22" y="286"/>
                  <a:pt x="22" y="265"/>
                </a:cubicBezTo>
                <a:cubicBezTo>
                  <a:pt x="22" y="244"/>
                  <a:pt x="39" y="227"/>
                  <a:pt x="60" y="227"/>
                </a:cubicBezTo>
                <a:cubicBezTo>
                  <a:pt x="81" y="227"/>
                  <a:pt x="98" y="244"/>
                  <a:pt x="98" y="265"/>
                </a:cubicBezTo>
                <a:close/>
                <a:moveTo>
                  <a:pt x="700" y="430"/>
                </a:moveTo>
                <a:cubicBezTo>
                  <a:pt x="700" y="451"/>
                  <a:pt x="683" y="468"/>
                  <a:pt x="661" y="468"/>
                </a:cubicBezTo>
                <a:cubicBezTo>
                  <a:pt x="640" y="468"/>
                  <a:pt x="623" y="451"/>
                  <a:pt x="623" y="430"/>
                </a:cubicBezTo>
                <a:cubicBezTo>
                  <a:pt x="623" y="409"/>
                  <a:pt x="640" y="392"/>
                  <a:pt x="661" y="392"/>
                </a:cubicBezTo>
                <a:cubicBezTo>
                  <a:pt x="683" y="392"/>
                  <a:pt x="700" y="409"/>
                  <a:pt x="700" y="430"/>
                </a:cubicBezTo>
                <a:close/>
                <a:moveTo>
                  <a:pt x="359" y="658"/>
                </a:moveTo>
                <a:cubicBezTo>
                  <a:pt x="295" y="658"/>
                  <a:pt x="233" y="638"/>
                  <a:pt x="182" y="600"/>
                </a:cubicBezTo>
                <a:cubicBezTo>
                  <a:pt x="184" y="595"/>
                  <a:pt x="186" y="588"/>
                  <a:pt x="186" y="582"/>
                </a:cubicBezTo>
                <a:cubicBezTo>
                  <a:pt x="186" y="557"/>
                  <a:pt x="166" y="537"/>
                  <a:pt x="142" y="537"/>
                </a:cubicBezTo>
                <a:cubicBezTo>
                  <a:pt x="134" y="537"/>
                  <a:pt x="128" y="539"/>
                  <a:pt x="122" y="542"/>
                </a:cubicBezTo>
                <a:cubicBezTo>
                  <a:pt x="87" y="499"/>
                  <a:pt x="65" y="446"/>
                  <a:pt x="59" y="391"/>
                </a:cubicBezTo>
                <a:cubicBezTo>
                  <a:pt x="98" y="468"/>
                  <a:pt x="192" y="534"/>
                  <a:pt x="310" y="562"/>
                </a:cubicBezTo>
                <a:cubicBezTo>
                  <a:pt x="347" y="571"/>
                  <a:pt x="384" y="575"/>
                  <a:pt x="420" y="575"/>
                </a:cubicBezTo>
                <a:cubicBezTo>
                  <a:pt x="496" y="575"/>
                  <a:pt x="565" y="556"/>
                  <a:pt x="613" y="520"/>
                </a:cubicBezTo>
                <a:cubicBezTo>
                  <a:pt x="558" y="605"/>
                  <a:pt x="463" y="658"/>
                  <a:pt x="359" y="658"/>
                </a:cubicBezTo>
                <a:close/>
                <a:moveTo>
                  <a:pt x="317" y="58"/>
                </a:moveTo>
                <a:cubicBezTo>
                  <a:pt x="323" y="75"/>
                  <a:pt x="340" y="88"/>
                  <a:pt x="359" y="88"/>
                </a:cubicBezTo>
                <a:cubicBezTo>
                  <a:pt x="378" y="88"/>
                  <a:pt x="394" y="76"/>
                  <a:pt x="401" y="58"/>
                </a:cubicBezTo>
                <a:cubicBezTo>
                  <a:pt x="537" y="77"/>
                  <a:pt x="641" y="185"/>
                  <a:pt x="658" y="319"/>
                </a:cubicBezTo>
                <a:cubicBezTo>
                  <a:pt x="619" y="242"/>
                  <a:pt x="525" y="176"/>
                  <a:pt x="408" y="148"/>
                </a:cubicBezTo>
                <a:cubicBezTo>
                  <a:pt x="293" y="121"/>
                  <a:pt x="179" y="138"/>
                  <a:pt x="109" y="188"/>
                </a:cubicBezTo>
                <a:cubicBezTo>
                  <a:pt x="157" y="117"/>
                  <a:pt x="232" y="70"/>
                  <a:pt x="317" y="58"/>
                </a:cubicBezTo>
                <a:close/>
                <a:moveTo>
                  <a:pt x="359" y="22"/>
                </a:moveTo>
                <a:cubicBezTo>
                  <a:pt x="371" y="22"/>
                  <a:pt x="381" y="32"/>
                  <a:pt x="381" y="44"/>
                </a:cubicBezTo>
                <a:cubicBezTo>
                  <a:pt x="381" y="56"/>
                  <a:pt x="371" y="66"/>
                  <a:pt x="359" y="66"/>
                </a:cubicBezTo>
                <a:cubicBezTo>
                  <a:pt x="347" y="66"/>
                  <a:pt x="338" y="56"/>
                  <a:pt x="337" y="44"/>
                </a:cubicBezTo>
                <a:cubicBezTo>
                  <a:pt x="337" y="44"/>
                  <a:pt x="337" y="44"/>
                  <a:pt x="337" y="44"/>
                </a:cubicBezTo>
                <a:cubicBezTo>
                  <a:pt x="337" y="44"/>
                  <a:pt x="337" y="44"/>
                  <a:pt x="337" y="44"/>
                </a:cubicBezTo>
                <a:cubicBezTo>
                  <a:pt x="337" y="32"/>
                  <a:pt x="347" y="22"/>
                  <a:pt x="359" y="22"/>
                </a:cubicBezTo>
                <a:moveTo>
                  <a:pt x="624" y="478"/>
                </a:moveTo>
                <a:cubicBezTo>
                  <a:pt x="568" y="545"/>
                  <a:pt x="443" y="571"/>
                  <a:pt x="315" y="541"/>
                </a:cubicBezTo>
                <a:cubicBezTo>
                  <a:pt x="177" y="508"/>
                  <a:pt x="71" y="417"/>
                  <a:pt x="63" y="325"/>
                </a:cubicBezTo>
                <a:cubicBezTo>
                  <a:pt x="95" y="324"/>
                  <a:pt x="121" y="297"/>
                  <a:pt x="121" y="265"/>
                </a:cubicBezTo>
                <a:cubicBezTo>
                  <a:pt x="121" y="248"/>
                  <a:pt x="114" y="233"/>
                  <a:pt x="103" y="222"/>
                </a:cubicBezTo>
                <a:cubicBezTo>
                  <a:pt x="165" y="163"/>
                  <a:pt x="283" y="142"/>
                  <a:pt x="403" y="170"/>
                </a:cubicBezTo>
                <a:cubicBezTo>
                  <a:pt x="532" y="201"/>
                  <a:pt x="635" y="284"/>
                  <a:pt x="653" y="370"/>
                </a:cubicBezTo>
                <a:cubicBezTo>
                  <a:pt x="623" y="375"/>
                  <a:pt x="601" y="400"/>
                  <a:pt x="601" y="430"/>
                </a:cubicBezTo>
                <a:cubicBezTo>
                  <a:pt x="601" y="450"/>
                  <a:pt x="610" y="467"/>
                  <a:pt x="624" y="478"/>
                </a:cubicBezTo>
                <a:close/>
                <a:moveTo>
                  <a:pt x="682" y="373"/>
                </a:moveTo>
                <a:cubicBezTo>
                  <a:pt x="683" y="368"/>
                  <a:pt x="683" y="362"/>
                  <a:pt x="683" y="357"/>
                </a:cubicBezTo>
                <a:cubicBezTo>
                  <a:pt x="683" y="193"/>
                  <a:pt x="563" y="57"/>
                  <a:pt x="402" y="36"/>
                </a:cubicBezTo>
                <a:cubicBezTo>
                  <a:pt x="399" y="15"/>
                  <a:pt x="381" y="0"/>
                  <a:pt x="359" y="0"/>
                </a:cubicBezTo>
                <a:cubicBezTo>
                  <a:pt x="337" y="0"/>
                  <a:pt x="319" y="15"/>
                  <a:pt x="316" y="36"/>
                </a:cubicBezTo>
                <a:cubicBezTo>
                  <a:pt x="212" y="50"/>
                  <a:pt x="122" y="112"/>
                  <a:pt x="73" y="206"/>
                </a:cubicBezTo>
                <a:cubicBezTo>
                  <a:pt x="69" y="205"/>
                  <a:pt x="65" y="204"/>
                  <a:pt x="60" y="204"/>
                </a:cubicBezTo>
                <a:cubicBezTo>
                  <a:pt x="27" y="204"/>
                  <a:pt x="0" y="232"/>
                  <a:pt x="0" y="265"/>
                </a:cubicBezTo>
                <a:cubicBezTo>
                  <a:pt x="0" y="290"/>
                  <a:pt x="15" y="312"/>
                  <a:pt x="37" y="321"/>
                </a:cubicBezTo>
                <a:cubicBezTo>
                  <a:pt x="36" y="334"/>
                  <a:pt x="35" y="346"/>
                  <a:pt x="35" y="357"/>
                </a:cubicBezTo>
                <a:cubicBezTo>
                  <a:pt x="35" y="430"/>
                  <a:pt x="60" y="500"/>
                  <a:pt x="105" y="557"/>
                </a:cubicBezTo>
                <a:cubicBezTo>
                  <a:pt x="100" y="564"/>
                  <a:pt x="97" y="573"/>
                  <a:pt x="97" y="582"/>
                </a:cubicBezTo>
                <a:cubicBezTo>
                  <a:pt x="97" y="606"/>
                  <a:pt x="117" y="626"/>
                  <a:pt x="142" y="626"/>
                </a:cubicBezTo>
                <a:cubicBezTo>
                  <a:pt x="151" y="626"/>
                  <a:pt x="160" y="623"/>
                  <a:pt x="167" y="618"/>
                </a:cubicBezTo>
                <a:cubicBezTo>
                  <a:pt x="223" y="659"/>
                  <a:pt x="289" y="681"/>
                  <a:pt x="359" y="681"/>
                </a:cubicBezTo>
                <a:cubicBezTo>
                  <a:pt x="487" y="681"/>
                  <a:pt x="602" y="606"/>
                  <a:pt x="654" y="490"/>
                </a:cubicBezTo>
                <a:cubicBezTo>
                  <a:pt x="657" y="490"/>
                  <a:pt x="659" y="491"/>
                  <a:pt x="661" y="491"/>
                </a:cubicBezTo>
                <a:cubicBezTo>
                  <a:pt x="695" y="491"/>
                  <a:pt x="722" y="464"/>
                  <a:pt x="722" y="430"/>
                </a:cubicBezTo>
                <a:cubicBezTo>
                  <a:pt x="722" y="404"/>
                  <a:pt x="705" y="382"/>
                  <a:pt x="682" y="373"/>
                </a:cubicBezTo>
                <a:close/>
                <a:moveTo>
                  <a:pt x="227" y="452"/>
                </a:moveTo>
                <a:cubicBezTo>
                  <a:pt x="231" y="397"/>
                  <a:pt x="267" y="384"/>
                  <a:pt x="298" y="373"/>
                </a:cubicBezTo>
                <a:cubicBezTo>
                  <a:pt x="311" y="369"/>
                  <a:pt x="322" y="365"/>
                  <a:pt x="329" y="358"/>
                </a:cubicBezTo>
                <a:cubicBezTo>
                  <a:pt x="340" y="363"/>
                  <a:pt x="351" y="366"/>
                  <a:pt x="364" y="366"/>
                </a:cubicBezTo>
                <a:cubicBezTo>
                  <a:pt x="376" y="366"/>
                  <a:pt x="387" y="363"/>
                  <a:pt x="398" y="358"/>
                </a:cubicBezTo>
                <a:cubicBezTo>
                  <a:pt x="405" y="365"/>
                  <a:pt x="416" y="369"/>
                  <a:pt x="429" y="373"/>
                </a:cubicBezTo>
                <a:cubicBezTo>
                  <a:pt x="460" y="384"/>
                  <a:pt x="496" y="397"/>
                  <a:pt x="500" y="452"/>
                </a:cubicBezTo>
                <a:lnTo>
                  <a:pt x="227" y="452"/>
                </a:lnTo>
                <a:close/>
                <a:moveTo>
                  <a:pt x="303" y="282"/>
                </a:moveTo>
                <a:cubicBezTo>
                  <a:pt x="303" y="249"/>
                  <a:pt x="330" y="221"/>
                  <a:pt x="364" y="221"/>
                </a:cubicBezTo>
                <a:cubicBezTo>
                  <a:pt x="397" y="221"/>
                  <a:pt x="424" y="249"/>
                  <a:pt x="424" y="282"/>
                </a:cubicBezTo>
                <a:cubicBezTo>
                  <a:pt x="424" y="316"/>
                  <a:pt x="397" y="343"/>
                  <a:pt x="364" y="343"/>
                </a:cubicBezTo>
                <a:cubicBezTo>
                  <a:pt x="330" y="343"/>
                  <a:pt x="303" y="316"/>
                  <a:pt x="303" y="282"/>
                </a:cubicBezTo>
                <a:close/>
                <a:moveTo>
                  <a:pt x="436" y="352"/>
                </a:moveTo>
                <a:cubicBezTo>
                  <a:pt x="430" y="349"/>
                  <a:pt x="423" y="347"/>
                  <a:pt x="418" y="345"/>
                </a:cubicBezTo>
                <a:cubicBezTo>
                  <a:pt x="436" y="329"/>
                  <a:pt x="447" y="307"/>
                  <a:pt x="447" y="282"/>
                </a:cubicBezTo>
                <a:cubicBezTo>
                  <a:pt x="447" y="236"/>
                  <a:pt x="409" y="199"/>
                  <a:pt x="364" y="199"/>
                </a:cubicBezTo>
                <a:cubicBezTo>
                  <a:pt x="318" y="199"/>
                  <a:pt x="280" y="236"/>
                  <a:pt x="280" y="282"/>
                </a:cubicBezTo>
                <a:cubicBezTo>
                  <a:pt x="280" y="307"/>
                  <a:pt x="291" y="329"/>
                  <a:pt x="309" y="345"/>
                </a:cubicBezTo>
                <a:cubicBezTo>
                  <a:pt x="304" y="347"/>
                  <a:pt x="297" y="349"/>
                  <a:pt x="291" y="352"/>
                </a:cubicBezTo>
                <a:cubicBezTo>
                  <a:pt x="256" y="364"/>
                  <a:pt x="204" y="383"/>
                  <a:pt x="204" y="464"/>
                </a:cubicBezTo>
                <a:cubicBezTo>
                  <a:pt x="204" y="470"/>
                  <a:pt x="209" y="475"/>
                  <a:pt x="215" y="475"/>
                </a:cubicBezTo>
                <a:lnTo>
                  <a:pt x="512" y="475"/>
                </a:lnTo>
                <a:cubicBezTo>
                  <a:pt x="518" y="475"/>
                  <a:pt x="523" y="470"/>
                  <a:pt x="523" y="464"/>
                </a:cubicBezTo>
                <a:cubicBezTo>
                  <a:pt x="523" y="383"/>
                  <a:pt x="471" y="364"/>
                  <a:pt x="436" y="3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4" name="Group 132">
            <a:extLst>
              <a:ext uri="{FF2B5EF4-FFF2-40B4-BE49-F238E27FC236}">
                <a16:creationId xmlns:a16="http://schemas.microsoft.com/office/drawing/2014/main" id="{B9AFDC2D-A9B9-21E1-839B-CBE038DAD1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60711" y="2946671"/>
            <a:ext cx="259814" cy="445544"/>
            <a:chOff x="6631" y="1741"/>
            <a:chExt cx="249" cy="427"/>
          </a:xfrm>
          <a:solidFill>
            <a:schemeClr val="accent1"/>
          </a:solidFill>
        </p:grpSpPr>
        <p:sp>
          <p:nvSpPr>
            <p:cNvPr id="85" name="Freeform 133">
              <a:extLst>
                <a:ext uri="{FF2B5EF4-FFF2-40B4-BE49-F238E27FC236}">
                  <a16:creationId xmlns:a16="http://schemas.microsoft.com/office/drawing/2014/main" id="{B3DB282E-78B3-7834-55F3-72D20D9E6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" y="1741"/>
              <a:ext cx="249" cy="427"/>
            </a:xfrm>
            <a:custGeom>
              <a:avLst/>
              <a:gdLst>
                <a:gd name="T0" fmla="*/ 30 w 168"/>
                <a:gd name="T1" fmla="*/ 0 h 288"/>
                <a:gd name="T2" fmla="*/ 138 w 168"/>
                <a:gd name="T3" fmla="*/ 0 h 288"/>
                <a:gd name="T4" fmla="*/ 168 w 168"/>
                <a:gd name="T5" fmla="*/ 30 h 288"/>
                <a:gd name="T6" fmla="*/ 168 w 168"/>
                <a:gd name="T7" fmla="*/ 258 h 288"/>
                <a:gd name="T8" fmla="*/ 138 w 168"/>
                <a:gd name="T9" fmla="*/ 288 h 288"/>
                <a:gd name="T10" fmla="*/ 30 w 168"/>
                <a:gd name="T11" fmla="*/ 288 h 288"/>
                <a:gd name="T12" fmla="*/ 0 w 168"/>
                <a:gd name="T13" fmla="*/ 258 h 288"/>
                <a:gd name="T14" fmla="*/ 0 w 168"/>
                <a:gd name="T15" fmla="*/ 30 h 288"/>
                <a:gd name="T16" fmla="*/ 30 w 168"/>
                <a:gd name="T17" fmla="*/ 0 h 288"/>
                <a:gd name="T18" fmla="*/ 138 w 168"/>
                <a:gd name="T19" fmla="*/ 276 h 288"/>
                <a:gd name="T20" fmla="*/ 156 w 168"/>
                <a:gd name="T21" fmla="*/ 258 h 288"/>
                <a:gd name="T22" fmla="*/ 156 w 168"/>
                <a:gd name="T23" fmla="*/ 30 h 288"/>
                <a:gd name="T24" fmla="*/ 138 w 168"/>
                <a:gd name="T25" fmla="*/ 12 h 288"/>
                <a:gd name="T26" fmla="*/ 30 w 168"/>
                <a:gd name="T27" fmla="*/ 12 h 288"/>
                <a:gd name="T28" fmla="*/ 12 w 168"/>
                <a:gd name="T29" fmla="*/ 30 h 288"/>
                <a:gd name="T30" fmla="*/ 12 w 168"/>
                <a:gd name="T31" fmla="*/ 258 h 288"/>
                <a:gd name="T32" fmla="*/ 30 w 168"/>
                <a:gd name="T33" fmla="*/ 276 h 288"/>
                <a:gd name="T34" fmla="*/ 138 w 168"/>
                <a:gd name="T3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288">
                  <a:moveTo>
                    <a:pt x="3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54" y="0"/>
                    <a:pt x="168" y="13"/>
                    <a:pt x="168" y="30"/>
                  </a:cubicBezTo>
                  <a:cubicBezTo>
                    <a:pt x="168" y="258"/>
                    <a:pt x="168" y="258"/>
                    <a:pt x="168" y="258"/>
                  </a:cubicBezTo>
                  <a:cubicBezTo>
                    <a:pt x="168" y="274"/>
                    <a:pt x="154" y="288"/>
                    <a:pt x="138" y="288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13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lose/>
                  <a:moveTo>
                    <a:pt x="138" y="276"/>
                  </a:moveTo>
                  <a:cubicBezTo>
                    <a:pt x="148" y="276"/>
                    <a:pt x="156" y="268"/>
                    <a:pt x="156" y="258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0"/>
                    <a:pt x="148" y="12"/>
                    <a:pt x="13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lnTo>
                    <a:pt x="138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  <p:sp>
          <p:nvSpPr>
            <p:cNvPr id="86" name="Freeform 134">
              <a:extLst>
                <a:ext uri="{FF2B5EF4-FFF2-40B4-BE49-F238E27FC236}">
                  <a16:creationId xmlns:a16="http://schemas.microsoft.com/office/drawing/2014/main" id="{4B793AF8-9D6D-8134-7392-EE1F73012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2079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  <p:sp>
          <p:nvSpPr>
            <p:cNvPr id="87" name="Freeform 135">
              <a:extLst>
                <a:ext uri="{FF2B5EF4-FFF2-40B4-BE49-F238E27FC236}">
                  <a16:creationId xmlns:a16="http://schemas.microsoft.com/office/drawing/2014/main" id="{69D67EC1-C8B1-F4AF-9896-67E61AC4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1812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  <p:sp>
          <p:nvSpPr>
            <p:cNvPr id="88" name="Oval 136">
              <a:extLst>
                <a:ext uri="{FF2B5EF4-FFF2-40B4-BE49-F238E27FC236}">
                  <a16:creationId xmlns:a16="http://schemas.microsoft.com/office/drawing/2014/main" id="{A3BA56EC-C5F6-A810-A5F2-DB3A0FD9D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" y="2105"/>
              <a:ext cx="35" cy="3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</p:grpSp>
      <p:cxnSp>
        <p:nvCxnSpPr>
          <p:cNvPr id="90" name="Conector recto 9">
            <a:extLst>
              <a:ext uri="{FF2B5EF4-FFF2-40B4-BE49-F238E27FC236}">
                <a16:creationId xmlns:a16="http://schemas.microsoft.com/office/drawing/2014/main" id="{94DB62BE-D0E5-1969-4620-53D36130268B}"/>
              </a:ext>
            </a:extLst>
          </p:cNvPr>
          <p:cNvCxnSpPr>
            <a:cxnSpLocks/>
          </p:cNvCxnSpPr>
          <p:nvPr/>
        </p:nvCxnSpPr>
        <p:spPr>
          <a:xfrm>
            <a:off x="4714876" y="3980501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recto 9">
            <a:extLst>
              <a:ext uri="{FF2B5EF4-FFF2-40B4-BE49-F238E27FC236}">
                <a16:creationId xmlns:a16="http://schemas.microsoft.com/office/drawing/2014/main" id="{003D5EBD-5D3B-EB46-2EC2-B018D2A49BA0}"/>
              </a:ext>
            </a:extLst>
          </p:cNvPr>
          <p:cNvCxnSpPr>
            <a:cxnSpLocks/>
          </p:cNvCxnSpPr>
          <p:nvPr/>
        </p:nvCxnSpPr>
        <p:spPr>
          <a:xfrm>
            <a:off x="4726599" y="4630453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cto 9">
            <a:extLst>
              <a:ext uri="{FF2B5EF4-FFF2-40B4-BE49-F238E27FC236}">
                <a16:creationId xmlns:a16="http://schemas.microsoft.com/office/drawing/2014/main" id="{21285743-0CF5-8D74-C752-8F66117BDA74}"/>
              </a:ext>
            </a:extLst>
          </p:cNvPr>
          <p:cNvCxnSpPr>
            <a:cxnSpLocks/>
          </p:cNvCxnSpPr>
          <p:nvPr/>
        </p:nvCxnSpPr>
        <p:spPr>
          <a:xfrm>
            <a:off x="4726599" y="5280405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cto 9">
            <a:extLst>
              <a:ext uri="{FF2B5EF4-FFF2-40B4-BE49-F238E27FC236}">
                <a16:creationId xmlns:a16="http://schemas.microsoft.com/office/drawing/2014/main" id="{5304EDFD-550F-B0BE-EAB1-930164F9AB8C}"/>
              </a:ext>
            </a:extLst>
          </p:cNvPr>
          <p:cNvCxnSpPr>
            <a:cxnSpLocks/>
          </p:cNvCxnSpPr>
          <p:nvPr/>
        </p:nvCxnSpPr>
        <p:spPr>
          <a:xfrm>
            <a:off x="4726599" y="5930357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riangle 104">
            <a:extLst>
              <a:ext uri="{FF2B5EF4-FFF2-40B4-BE49-F238E27FC236}">
                <a16:creationId xmlns:a16="http://schemas.microsoft.com/office/drawing/2014/main" id="{555893F3-6867-0AF3-C02C-2170A1ABA2FC}"/>
              </a:ext>
            </a:extLst>
          </p:cNvPr>
          <p:cNvSpPr/>
          <p:nvPr/>
        </p:nvSpPr>
        <p:spPr>
          <a:xfrm rot="5400000">
            <a:off x="3185962" y="5638801"/>
            <a:ext cx="379620" cy="32725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Triangle 105">
            <a:extLst>
              <a:ext uri="{FF2B5EF4-FFF2-40B4-BE49-F238E27FC236}">
                <a16:creationId xmlns:a16="http://schemas.microsoft.com/office/drawing/2014/main" id="{CDB2C5A9-04F4-B664-C537-0FC7B892362F}"/>
              </a:ext>
            </a:extLst>
          </p:cNvPr>
          <p:cNvSpPr/>
          <p:nvPr/>
        </p:nvSpPr>
        <p:spPr>
          <a:xfrm rot="5400000">
            <a:off x="3420177" y="5638801"/>
            <a:ext cx="379620" cy="32725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Triangle 106">
            <a:extLst>
              <a:ext uri="{FF2B5EF4-FFF2-40B4-BE49-F238E27FC236}">
                <a16:creationId xmlns:a16="http://schemas.microsoft.com/office/drawing/2014/main" id="{4590E9AB-6121-4B7C-E666-0DE950CF5F3F}"/>
              </a:ext>
            </a:extLst>
          </p:cNvPr>
          <p:cNvSpPr/>
          <p:nvPr/>
        </p:nvSpPr>
        <p:spPr>
          <a:xfrm rot="5400000">
            <a:off x="3654391" y="5638801"/>
            <a:ext cx="379620" cy="327259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TextBox 24">
            <a:extLst>
              <a:ext uri="{FF2B5EF4-FFF2-40B4-BE49-F238E27FC236}">
                <a16:creationId xmlns:a16="http://schemas.microsoft.com/office/drawing/2014/main" id="{064EE638-5DC2-86E0-D0EE-A2E4FFFFA0A2}"/>
              </a:ext>
            </a:extLst>
          </p:cNvPr>
          <p:cNvSpPr txBox="1"/>
          <p:nvPr/>
        </p:nvSpPr>
        <p:spPr>
          <a:xfrm>
            <a:off x="6717615" y="5197217"/>
            <a:ext cx="2161444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title</a:t>
            </a:r>
          </a:p>
        </p:txBody>
      </p:sp>
      <p:sp>
        <p:nvSpPr>
          <p:cNvPr id="109" name="TextBox 25">
            <a:extLst>
              <a:ext uri="{FF2B5EF4-FFF2-40B4-BE49-F238E27FC236}">
                <a16:creationId xmlns:a16="http://schemas.microsoft.com/office/drawing/2014/main" id="{485CF050-22F5-7B1B-818E-3814CC315A80}"/>
              </a:ext>
            </a:extLst>
          </p:cNvPr>
          <p:cNvSpPr txBox="1"/>
          <p:nvPr/>
        </p:nvSpPr>
        <p:spPr>
          <a:xfrm>
            <a:off x="6802963" y="5901149"/>
            <a:ext cx="21656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text box</a:t>
            </a:r>
          </a:p>
        </p:txBody>
      </p:sp>
      <p:sp>
        <p:nvSpPr>
          <p:cNvPr id="110" name="Text Placeholder 6">
            <a:extLst>
              <a:ext uri="{FF2B5EF4-FFF2-40B4-BE49-F238E27FC236}">
                <a16:creationId xmlns:a16="http://schemas.microsoft.com/office/drawing/2014/main" id="{B9336CD2-94E4-22E6-411C-99C36C9FEAC6}"/>
              </a:ext>
            </a:extLst>
          </p:cNvPr>
          <p:cNvSpPr txBox="1">
            <a:spLocks/>
          </p:cNvSpPr>
          <p:nvPr/>
        </p:nvSpPr>
        <p:spPr>
          <a:xfrm>
            <a:off x="8794142" y="3716216"/>
            <a:ext cx="1408638" cy="25925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with grey background</a:t>
            </a:r>
          </a:p>
        </p:txBody>
      </p:sp>
      <p:sp>
        <p:nvSpPr>
          <p:cNvPr id="111" name="Text Placeholder 6">
            <a:extLst>
              <a:ext uri="{FF2B5EF4-FFF2-40B4-BE49-F238E27FC236}">
                <a16:creationId xmlns:a16="http://schemas.microsoft.com/office/drawing/2014/main" id="{8A5ECB8D-3E37-9F94-F764-166198BE9356}"/>
              </a:ext>
            </a:extLst>
          </p:cNvPr>
          <p:cNvSpPr txBox="1">
            <a:spLocks/>
          </p:cNvSpPr>
          <p:nvPr/>
        </p:nvSpPr>
        <p:spPr>
          <a:xfrm>
            <a:off x="10411887" y="3716216"/>
            <a:ext cx="1408638" cy="2592510"/>
          </a:xfrm>
          <a:prstGeom prst="rect">
            <a:avLst/>
          </a:prstGeom>
          <a:solidFill>
            <a:schemeClr val="tx2"/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with Blue background</a:t>
            </a:r>
          </a:p>
        </p:txBody>
      </p:sp>
      <p:cxnSp>
        <p:nvCxnSpPr>
          <p:cNvPr id="114" name="Elbow Connector 113">
            <a:extLst>
              <a:ext uri="{FF2B5EF4-FFF2-40B4-BE49-F238E27FC236}">
                <a16:creationId xmlns:a16="http://schemas.microsoft.com/office/drawing/2014/main" id="{FEBC14FA-3194-220C-8ED9-1260D9A3E887}"/>
              </a:ext>
            </a:extLst>
          </p:cNvPr>
          <p:cNvCxnSpPr>
            <a:cxnSpLocks/>
          </p:cNvCxnSpPr>
          <p:nvPr/>
        </p:nvCxnSpPr>
        <p:spPr>
          <a:xfrm>
            <a:off x="6717323" y="3950677"/>
            <a:ext cx="1805354" cy="457200"/>
          </a:xfrm>
          <a:prstGeom prst="bentConnector3">
            <a:avLst/>
          </a:prstGeom>
          <a:ln w="12700">
            <a:solidFill>
              <a:schemeClr val="accent1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9B15553B-6375-6440-05C9-4E8D55D60E2F}"/>
              </a:ext>
            </a:extLst>
          </p:cNvPr>
          <p:cNvCxnSpPr>
            <a:cxnSpLocks/>
          </p:cNvCxnSpPr>
          <p:nvPr/>
        </p:nvCxnSpPr>
        <p:spPr>
          <a:xfrm>
            <a:off x="6693877" y="4630615"/>
            <a:ext cx="1805354" cy="457200"/>
          </a:xfrm>
          <a:prstGeom prst="bentConnector3">
            <a:avLst/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95E1696-B10D-2B7A-2A5F-5FD7F4197A71}"/>
              </a:ext>
            </a:extLst>
          </p:cNvPr>
          <p:cNvCxnSpPr>
            <a:cxnSpLocks/>
          </p:cNvCxnSpPr>
          <p:nvPr/>
        </p:nvCxnSpPr>
        <p:spPr>
          <a:xfrm>
            <a:off x="371474" y="2828662"/>
            <a:ext cx="413315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581022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87B154C-865E-3048-253E-9BDAB49107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87B154C-865E-3048-253E-9BDAB4910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44513AA-F8E7-7DC9-3061-10CBF12585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38D7CAA-BC4D-2C03-C857-5424B38D7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Gear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B5A46D5-8C29-F5FB-5DA6-CF03C6581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643A8349-6AAA-997D-8A7E-5EB52B220F5D}"/>
              </a:ext>
            </a:extLst>
          </p:cNvPr>
          <p:cNvGrpSpPr/>
          <p:nvPr/>
        </p:nvGrpSpPr>
        <p:grpSpPr>
          <a:xfrm>
            <a:off x="2056305" y="2504149"/>
            <a:ext cx="1925154" cy="1922728"/>
            <a:chOff x="2516858" y="2103120"/>
            <a:chExt cx="1925154" cy="1922728"/>
          </a:xfrm>
        </p:grpSpPr>
        <p:sp>
          <p:nvSpPr>
            <p:cNvPr id="9" name="Freeform 102">
              <a:extLst>
                <a:ext uri="{FF2B5EF4-FFF2-40B4-BE49-F238E27FC236}">
                  <a16:creationId xmlns:a16="http://schemas.microsoft.com/office/drawing/2014/main" id="{ABF90A37-EFD6-3219-8515-60C2645E4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6858" y="210312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EC6419B7-5F2E-DB04-DA3C-32DA9E5A28E0}"/>
                </a:ext>
              </a:extLst>
            </p:cNvPr>
            <p:cNvSpPr/>
            <p:nvPr/>
          </p:nvSpPr>
          <p:spPr>
            <a:xfrm>
              <a:off x="2767870" y="235291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  <p:grpSp>
        <p:nvGrpSpPr>
          <p:cNvPr id="7173" name="Grupo 7172">
            <a:extLst>
              <a:ext uri="{FF2B5EF4-FFF2-40B4-BE49-F238E27FC236}">
                <a16:creationId xmlns:a16="http://schemas.microsoft.com/office/drawing/2014/main" id="{A943BE5A-802C-CE19-2CA0-C22403277FC8}"/>
              </a:ext>
            </a:extLst>
          </p:cNvPr>
          <p:cNvGrpSpPr/>
          <p:nvPr/>
        </p:nvGrpSpPr>
        <p:grpSpPr>
          <a:xfrm>
            <a:off x="3959556" y="2504149"/>
            <a:ext cx="1925154" cy="1922728"/>
            <a:chOff x="4170846" y="2247900"/>
            <a:chExt cx="1925154" cy="1922728"/>
          </a:xfrm>
        </p:grpSpPr>
        <p:sp>
          <p:nvSpPr>
            <p:cNvPr id="7171" name="Freeform 102">
              <a:extLst>
                <a:ext uri="{FF2B5EF4-FFF2-40B4-BE49-F238E27FC236}">
                  <a16:creationId xmlns:a16="http://schemas.microsoft.com/office/drawing/2014/main" id="{6E7D1C92-1FE9-18E9-D345-223E957ED5CC}"/>
                </a:ext>
              </a:extLst>
            </p:cNvPr>
            <p:cNvSpPr>
              <a:spLocks noEditPoints="1"/>
            </p:cNvSpPr>
            <p:nvPr/>
          </p:nvSpPr>
          <p:spPr bwMode="auto">
            <a:xfrm rot="1364258">
              <a:off x="4170846" y="224790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2" name="Elipse 7171">
              <a:extLst>
                <a:ext uri="{FF2B5EF4-FFF2-40B4-BE49-F238E27FC236}">
                  <a16:creationId xmlns:a16="http://schemas.microsoft.com/office/drawing/2014/main" id="{77036390-1C47-0B12-BECE-32B18264A15E}"/>
                </a:ext>
              </a:extLst>
            </p:cNvPr>
            <p:cNvSpPr/>
            <p:nvPr/>
          </p:nvSpPr>
          <p:spPr>
            <a:xfrm>
              <a:off x="4421858" y="249769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  <p:grpSp>
        <p:nvGrpSpPr>
          <p:cNvPr id="7174" name="Grupo 7173">
            <a:extLst>
              <a:ext uri="{FF2B5EF4-FFF2-40B4-BE49-F238E27FC236}">
                <a16:creationId xmlns:a16="http://schemas.microsoft.com/office/drawing/2014/main" id="{4C8DB81D-9DFA-2CAB-86E0-308D9BE299B5}"/>
              </a:ext>
            </a:extLst>
          </p:cNvPr>
          <p:cNvGrpSpPr/>
          <p:nvPr/>
        </p:nvGrpSpPr>
        <p:grpSpPr>
          <a:xfrm>
            <a:off x="5862807" y="2504149"/>
            <a:ext cx="1925154" cy="1922728"/>
            <a:chOff x="2516858" y="2103120"/>
            <a:chExt cx="1925154" cy="1922728"/>
          </a:xfrm>
        </p:grpSpPr>
        <p:sp>
          <p:nvSpPr>
            <p:cNvPr id="7175" name="Freeform 102">
              <a:extLst>
                <a:ext uri="{FF2B5EF4-FFF2-40B4-BE49-F238E27FC236}">
                  <a16:creationId xmlns:a16="http://schemas.microsoft.com/office/drawing/2014/main" id="{60C8BB81-AC03-44A4-1F7D-9E840FEC07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6858" y="210312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6" name="Elipse 7175">
              <a:extLst>
                <a:ext uri="{FF2B5EF4-FFF2-40B4-BE49-F238E27FC236}">
                  <a16:creationId xmlns:a16="http://schemas.microsoft.com/office/drawing/2014/main" id="{CF4E712B-A925-3DEE-2179-7C87A1B9281D}"/>
                </a:ext>
              </a:extLst>
            </p:cNvPr>
            <p:cNvSpPr/>
            <p:nvPr/>
          </p:nvSpPr>
          <p:spPr>
            <a:xfrm>
              <a:off x="2767870" y="235291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  <p:grpSp>
        <p:nvGrpSpPr>
          <p:cNvPr id="7177" name="Grupo 7176">
            <a:extLst>
              <a:ext uri="{FF2B5EF4-FFF2-40B4-BE49-F238E27FC236}">
                <a16:creationId xmlns:a16="http://schemas.microsoft.com/office/drawing/2014/main" id="{E6B0C697-238D-598F-3148-F4DC5150D6FC}"/>
              </a:ext>
            </a:extLst>
          </p:cNvPr>
          <p:cNvGrpSpPr/>
          <p:nvPr/>
        </p:nvGrpSpPr>
        <p:grpSpPr>
          <a:xfrm>
            <a:off x="7766059" y="2504149"/>
            <a:ext cx="1925154" cy="1922728"/>
            <a:chOff x="4170846" y="2247900"/>
            <a:chExt cx="1925154" cy="1922728"/>
          </a:xfrm>
        </p:grpSpPr>
        <p:sp>
          <p:nvSpPr>
            <p:cNvPr id="7178" name="Freeform 102">
              <a:extLst>
                <a:ext uri="{FF2B5EF4-FFF2-40B4-BE49-F238E27FC236}">
                  <a16:creationId xmlns:a16="http://schemas.microsoft.com/office/drawing/2014/main" id="{0211DF6D-207E-A810-D32A-0227C7A07222}"/>
                </a:ext>
              </a:extLst>
            </p:cNvPr>
            <p:cNvSpPr>
              <a:spLocks noEditPoints="1"/>
            </p:cNvSpPr>
            <p:nvPr/>
          </p:nvSpPr>
          <p:spPr bwMode="auto">
            <a:xfrm rot="1364258">
              <a:off x="4170846" y="224790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9" name="Elipse 7178">
              <a:extLst>
                <a:ext uri="{FF2B5EF4-FFF2-40B4-BE49-F238E27FC236}">
                  <a16:creationId xmlns:a16="http://schemas.microsoft.com/office/drawing/2014/main" id="{B94A57E8-706D-397A-2A7F-9280030C3A5A}"/>
                </a:ext>
              </a:extLst>
            </p:cNvPr>
            <p:cNvSpPr/>
            <p:nvPr/>
          </p:nvSpPr>
          <p:spPr>
            <a:xfrm>
              <a:off x="4421858" y="249769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816056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63D4163-394A-E00F-50CB-AF6DB6DA7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63D4163-394A-E00F-50CB-AF6DB6DA7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uerda 8">
            <a:extLst>
              <a:ext uri="{FF2B5EF4-FFF2-40B4-BE49-F238E27FC236}">
                <a16:creationId xmlns:a16="http://schemas.microsoft.com/office/drawing/2014/main" id="{5458C2EE-D897-A5B8-8F8D-1A87BC17DAED}"/>
              </a:ext>
            </a:extLst>
          </p:cNvPr>
          <p:cNvSpPr/>
          <p:nvPr/>
        </p:nvSpPr>
        <p:spPr>
          <a:xfrm>
            <a:off x="1770739" y="1981200"/>
            <a:ext cx="8655050" cy="8655050"/>
          </a:xfrm>
          <a:prstGeom prst="chord">
            <a:avLst>
              <a:gd name="adj1" fmla="val 10801665"/>
              <a:gd name="adj2" fmla="val 21596065"/>
            </a:avLst>
          </a:prstGeom>
          <a:gradFill>
            <a:gsLst>
              <a:gs pos="0">
                <a:schemeClr val="accent3"/>
              </a:gs>
              <a:gs pos="100000">
                <a:schemeClr val="bg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886FCDB-3F27-CA21-ECB9-4D07C20179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7D08618-0E00-A4D8-3D28-90C4F5375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Semicircl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AC22987-5545-A352-57C5-9B32A5247D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80125E59-8B0F-83D8-FC33-DA8F6F22DA1B}"/>
              </a:ext>
            </a:extLst>
          </p:cNvPr>
          <p:cNvCxnSpPr>
            <a:cxnSpLocks/>
          </p:cNvCxnSpPr>
          <p:nvPr/>
        </p:nvCxnSpPr>
        <p:spPr>
          <a:xfrm>
            <a:off x="2352675" y="4118115"/>
            <a:ext cx="1911350" cy="110793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42B78CE0-72BF-93DA-D02E-DAF80C0C6C7C}"/>
              </a:ext>
            </a:extLst>
          </p:cNvPr>
          <p:cNvCxnSpPr>
            <a:cxnSpLocks/>
          </p:cNvCxnSpPr>
          <p:nvPr/>
        </p:nvCxnSpPr>
        <p:spPr>
          <a:xfrm>
            <a:off x="3948113" y="2538413"/>
            <a:ext cx="1092993" cy="18883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58B7AB8-9423-80CB-C7C7-2B85983FC4E2}"/>
              </a:ext>
            </a:extLst>
          </p:cNvPr>
          <p:cNvCxnSpPr>
            <a:cxnSpLocks/>
          </p:cNvCxnSpPr>
          <p:nvPr/>
        </p:nvCxnSpPr>
        <p:spPr>
          <a:xfrm>
            <a:off x="6096000" y="1896381"/>
            <a:ext cx="4763" cy="228985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E2262223-2618-0E95-3615-FB6076B1DDAB}"/>
              </a:ext>
            </a:extLst>
          </p:cNvPr>
          <p:cNvCxnSpPr>
            <a:cxnSpLocks/>
          </p:cNvCxnSpPr>
          <p:nvPr/>
        </p:nvCxnSpPr>
        <p:spPr>
          <a:xfrm flipH="1">
            <a:off x="7184595" y="2538413"/>
            <a:ext cx="1092993" cy="18883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7B3E2A06-495F-3B0E-4B19-30184BB649DC}"/>
              </a:ext>
            </a:extLst>
          </p:cNvPr>
          <p:cNvCxnSpPr>
            <a:cxnSpLocks/>
          </p:cNvCxnSpPr>
          <p:nvPr/>
        </p:nvCxnSpPr>
        <p:spPr>
          <a:xfrm flipH="1">
            <a:off x="7956552" y="4140200"/>
            <a:ext cx="1873250" cy="108585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erda 7">
            <a:extLst>
              <a:ext uri="{FF2B5EF4-FFF2-40B4-BE49-F238E27FC236}">
                <a16:creationId xmlns:a16="http://schemas.microsoft.com/office/drawing/2014/main" id="{578A9304-6529-F9C9-F696-E3BB5E7107FE}"/>
              </a:ext>
            </a:extLst>
          </p:cNvPr>
          <p:cNvSpPr/>
          <p:nvPr/>
        </p:nvSpPr>
        <p:spPr>
          <a:xfrm>
            <a:off x="3921125" y="4133850"/>
            <a:ext cx="4349750" cy="4349750"/>
          </a:xfrm>
          <a:prstGeom prst="chord">
            <a:avLst>
              <a:gd name="adj1" fmla="val 10801665"/>
              <a:gd name="adj2" fmla="val 2159606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454D8E01-52E9-7F52-CA5E-C96666A56D80}"/>
              </a:ext>
            </a:extLst>
          </p:cNvPr>
          <p:cNvSpPr txBox="1"/>
          <p:nvPr/>
        </p:nvSpPr>
        <p:spPr>
          <a:xfrm>
            <a:off x="2025437" y="5416443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364BBBF2-5506-4E4E-FE75-C446C343DDC0}"/>
              </a:ext>
            </a:extLst>
          </p:cNvPr>
          <p:cNvSpPr txBox="1"/>
          <p:nvPr/>
        </p:nvSpPr>
        <p:spPr>
          <a:xfrm>
            <a:off x="2756878" y="3883845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096F5D97-89C7-A361-DCA5-6E5211C9A373}"/>
              </a:ext>
            </a:extLst>
          </p:cNvPr>
          <p:cNvSpPr txBox="1"/>
          <p:nvPr/>
        </p:nvSpPr>
        <p:spPr>
          <a:xfrm>
            <a:off x="4200312" y="2760671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A0303BA5-AF94-D2DA-648D-58D123018EEC}"/>
              </a:ext>
            </a:extLst>
          </p:cNvPr>
          <p:cNvSpPr txBox="1"/>
          <p:nvPr/>
        </p:nvSpPr>
        <p:spPr>
          <a:xfrm>
            <a:off x="6180069" y="2760671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CA313357-8836-ADF3-EBFC-211B18C496F0}"/>
              </a:ext>
            </a:extLst>
          </p:cNvPr>
          <p:cNvSpPr txBox="1"/>
          <p:nvPr/>
        </p:nvSpPr>
        <p:spPr>
          <a:xfrm>
            <a:off x="7617126" y="3883845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DC9B615B-8F78-971D-2319-8391E5C1E056}"/>
              </a:ext>
            </a:extLst>
          </p:cNvPr>
          <p:cNvSpPr txBox="1"/>
          <p:nvPr/>
        </p:nvSpPr>
        <p:spPr>
          <a:xfrm>
            <a:off x="8277588" y="5416443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4B739F75-3BA0-FCF1-0E3F-EB22A3AE1507}"/>
              </a:ext>
            </a:extLst>
          </p:cNvPr>
          <p:cNvSpPr txBox="1"/>
          <p:nvPr/>
        </p:nvSpPr>
        <p:spPr>
          <a:xfrm>
            <a:off x="5148156" y="5416443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947373707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79C1938-CB5D-1173-C222-39842E3571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79C1938-CB5D-1173-C222-39842E3571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86D47B6-B4A3-7BE5-6B9E-30C50C8F95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E82E92-5FDB-C095-BAE4-1F578773E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Hous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58CFD0D-C3D1-4BDC-1E06-D12DB33DB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300CEE5-89C7-0883-E479-07C5AA15F3B6}"/>
              </a:ext>
            </a:extLst>
          </p:cNvPr>
          <p:cNvSpPr/>
          <p:nvPr/>
        </p:nvSpPr>
        <p:spPr>
          <a:xfrm>
            <a:off x="1406259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F9FE39C0-5AD2-4E25-EA67-1700BF86717C}"/>
              </a:ext>
            </a:extLst>
          </p:cNvPr>
          <p:cNvSpPr/>
          <p:nvPr/>
        </p:nvSpPr>
        <p:spPr>
          <a:xfrm>
            <a:off x="2697773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2B1D599-41CD-4E72-F3A9-E695E77D3AA3}"/>
              </a:ext>
            </a:extLst>
          </p:cNvPr>
          <p:cNvSpPr/>
          <p:nvPr/>
        </p:nvSpPr>
        <p:spPr>
          <a:xfrm>
            <a:off x="3989287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59FB843-AEA5-DCD6-1651-6CD42865F960}"/>
              </a:ext>
            </a:extLst>
          </p:cNvPr>
          <p:cNvSpPr/>
          <p:nvPr/>
        </p:nvSpPr>
        <p:spPr>
          <a:xfrm>
            <a:off x="5280802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A4FC779B-05DE-CBB1-89F5-0E522180D715}"/>
              </a:ext>
            </a:extLst>
          </p:cNvPr>
          <p:cNvSpPr/>
          <p:nvPr/>
        </p:nvSpPr>
        <p:spPr>
          <a:xfrm>
            <a:off x="1406259" y="2960689"/>
            <a:ext cx="4963834" cy="2492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riángulo isósceles 10">
            <a:extLst>
              <a:ext uri="{FF2B5EF4-FFF2-40B4-BE49-F238E27FC236}">
                <a16:creationId xmlns:a16="http://schemas.microsoft.com/office/drawing/2014/main" id="{3D1500F3-0C2E-6536-2DC8-8EE09F334211}"/>
              </a:ext>
            </a:extLst>
          </p:cNvPr>
          <p:cNvSpPr/>
          <p:nvPr/>
        </p:nvSpPr>
        <p:spPr>
          <a:xfrm>
            <a:off x="1406258" y="1530219"/>
            <a:ext cx="4963833" cy="143047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1188DFCE-6946-1FFE-BC0F-A6D6552610F1}"/>
              </a:ext>
            </a:extLst>
          </p:cNvPr>
          <p:cNvCxnSpPr>
            <a:cxnSpLocks/>
          </p:cNvCxnSpPr>
          <p:nvPr/>
        </p:nvCxnSpPr>
        <p:spPr>
          <a:xfrm flipH="1" flipV="1">
            <a:off x="6821875" y="1530219"/>
            <a:ext cx="1" cy="1679706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B13660E7-FA4E-BE43-2DAA-24AC715838AF}"/>
              </a:ext>
            </a:extLst>
          </p:cNvPr>
          <p:cNvCxnSpPr>
            <a:cxnSpLocks/>
          </p:cNvCxnSpPr>
          <p:nvPr/>
        </p:nvCxnSpPr>
        <p:spPr>
          <a:xfrm flipV="1">
            <a:off x="6821876" y="3405188"/>
            <a:ext cx="0" cy="2903537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5CF6ACCF-A985-DFC2-0B1C-D12D3E07D4CD}"/>
              </a:ext>
            </a:extLst>
          </p:cNvPr>
          <p:cNvSpPr txBox="1"/>
          <p:nvPr/>
        </p:nvSpPr>
        <p:spPr>
          <a:xfrm>
            <a:off x="6937559" y="2262350"/>
            <a:ext cx="488296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B02A59E7-80A0-4228-50A0-21FB7FF30BBD}"/>
              </a:ext>
            </a:extLst>
          </p:cNvPr>
          <p:cNvSpPr txBox="1"/>
          <p:nvPr/>
        </p:nvSpPr>
        <p:spPr>
          <a:xfrm>
            <a:off x="6937559" y="4749234"/>
            <a:ext cx="488296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518431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66C63AB-F173-7008-A395-AED130B5F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66C63AB-F173-7008-A395-AED130B5F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4" name="Elipse 14343">
            <a:extLst>
              <a:ext uri="{FF2B5EF4-FFF2-40B4-BE49-F238E27FC236}">
                <a16:creationId xmlns:a16="http://schemas.microsoft.com/office/drawing/2014/main" id="{0A740AFA-7749-95A8-D497-06F0C505DB1C}"/>
              </a:ext>
            </a:extLst>
          </p:cNvPr>
          <p:cNvSpPr/>
          <p:nvPr/>
        </p:nvSpPr>
        <p:spPr>
          <a:xfrm>
            <a:off x="4517557" y="1806080"/>
            <a:ext cx="2843662" cy="28436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45" name="Elipse 14344">
            <a:extLst>
              <a:ext uri="{FF2B5EF4-FFF2-40B4-BE49-F238E27FC236}">
                <a16:creationId xmlns:a16="http://schemas.microsoft.com/office/drawing/2014/main" id="{290A9AB6-E0D1-3428-8953-C7DE10C6F094}"/>
              </a:ext>
            </a:extLst>
          </p:cNvPr>
          <p:cNvSpPr/>
          <p:nvPr/>
        </p:nvSpPr>
        <p:spPr>
          <a:xfrm>
            <a:off x="5318902" y="3184685"/>
            <a:ext cx="2843662" cy="28436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46" name="Elipse 14345">
            <a:extLst>
              <a:ext uri="{FF2B5EF4-FFF2-40B4-BE49-F238E27FC236}">
                <a16:creationId xmlns:a16="http://schemas.microsoft.com/office/drawing/2014/main" id="{0DACC349-749F-12CF-FAA3-39613CE36F94}"/>
              </a:ext>
            </a:extLst>
          </p:cNvPr>
          <p:cNvSpPr/>
          <p:nvPr/>
        </p:nvSpPr>
        <p:spPr>
          <a:xfrm>
            <a:off x="3719271" y="3184685"/>
            <a:ext cx="2843662" cy="28436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347" name="Grupo 14346">
            <a:extLst>
              <a:ext uri="{FF2B5EF4-FFF2-40B4-BE49-F238E27FC236}">
                <a16:creationId xmlns:a16="http://schemas.microsoft.com/office/drawing/2014/main" id="{0B656E3A-CF7C-BFAE-FE9F-63D4A69BCB04}"/>
              </a:ext>
            </a:extLst>
          </p:cNvPr>
          <p:cNvGrpSpPr/>
          <p:nvPr/>
        </p:nvGrpSpPr>
        <p:grpSpPr>
          <a:xfrm>
            <a:off x="4522599" y="3184686"/>
            <a:ext cx="2833651" cy="2597205"/>
            <a:chOff x="4522599" y="3184686"/>
            <a:chExt cx="2833651" cy="2597205"/>
          </a:xfrm>
          <a:solidFill>
            <a:schemeClr val="accent3"/>
          </a:solidFill>
        </p:grpSpPr>
        <p:sp>
          <p:nvSpPr>
            <p:cNvPr id="14348" name="Forma libre: forma 14347">
              <a:extLst>
                <a:ext uri="{FF2B5EF4-FFF2-40B4-BE49-F238E27FC236}">
                  <a16:creationId xmlns:a16="http://schemas.microsoft.com/office/drawing/2014/main" id="{3F479766-3616-3298-5E0C-68FC66E3B781}"/>
                </a:ext>
              </a:extLst>
            </p:cNvPr>
            <p:cNvSpPr/>
            <p:nvPr/>
          </p:nvSpPr>
          <p:spPr>
            <a:xfrm>
              <a:off x="5323872" y="3184686"/>
              <a:ext cx="2032378" cy="1465057"/>
            </a:xfrm>
            <a:custGeom>
              <a:avLst/>
              <a:gdLst>
                <a:gd name="connsiteX0" fmla="*/ 1416861 w 2032378"/>
                <a:gd name="connsiteY0" fmla="*/ 0 h 1465057"/>
                <a:gd name="connsiteX1" fmla="*/ 1970302 w 2032378"/>
                <a:gd name="connsiteY1" fmla="*/ 111735 h 1465057"/>
                <a:gd name="connsiteX2" fmla="*/ 2032378 w 2032378"/>
                <a:gd name="connsiteY2" fmla="*/ 141638 h 1465057"/>
                <a:gd name="connsiteX3" fmla="*/ 2030007 w 2032378"/>
                <a:gd name="connsiteY3" fmla="*/ 188600 h 1465057"/>
                <a:gd name="connsiteX4" fmla="*/ 615516 w 2032378"/>
                <a:gd name="connsiteY4" fmla="*/ 1465057 h 1465057"/>
                <a:gd name="connsiteX5" fmla="*/ 62075 w 2032378"/>
                <a:gd name="connsiteY5" fmla="*/ 1353323 h 1465057"/>
                <a:gd name="connsiteX6" fmla="*/ 0 w 2032378"/>
                <a:gd name="connsiteY6" fmla="*/ 1323419 h 1465057"/>
                <a:gd name="connsiteX7" fmla="*/ 2371 w 2032378"/>
                <a:gd name="connsiteY7" fmla="*/ 1276457 h 1465057"/>
                <a:gd name="connsiteX8" fmla="*/ 1416861 w 2032378"/>
                <a:gd name="connsiteY8" fmla="*/ 0 h 146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2378" h="1465057">
                  <a:moveTo>
                    <a:pt x="1416861" y="0"/>
                  </a:moveTo>
                  <a:cubicBezTo>
                    <a:pt x="1613175" y="0"/>
                    <a:pt x="1800197" y="39786"/>
                    <a:pt x="1970302" y="111735"/>
                  </a:cubicBezTo>
                  <a:lnTo>
                    <a:pt x="2032378" y="141638"/>
                  </a:lnTo>
                  <a:lnTo>
                    <a:pt x="2030007" y="188600"/>
                  </a:lnTo>
                  <a:cubicBezTo>
                    <a:pt x="1957195" y="905567"/>
                    <a:pt x="1351694" y="1465057"/>
                    <a:pt x="615516" y="1465057"/>
                  </a:cubicBezTo>
                  <a:cubicBezTo>
                    <a:pt x="419202" y="1465057"/>
                    <a:pt x="232181" y="1425271"/>
                    <a:pt x="62075" y="1353323"/>
                  </a:cubicBezTo>
                  <a:lnTo>
                    <a:pt x="0" y="1323419"/>
                  </a:lnTo>
                  <a:lnTo>
                    <a:pt x="2371" y="1276457"/>
                  </a:lnTo>
                  <a:cubicBezTo>
                    <a:pt x="75183" y="559490"/>
                    <a:pt x="680684" y="0"/>
                    <a:pt x="1416861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49" name="Forma libre: forma 14348">
              <a:extLst>
                <a:ext uri="{FF2B5EF4-FFF2-40B4-BE49-F238E27FC236}">
                  <a16:creationId xmlns:a16="http://schemas.microsoft.com/office/drawing/2014/main" id="{45CB7871-7457-802D-AC64-E3B55BB1065B}"/>
                </a:ext>
              </a:extLst>
            </p:cNvPr>
            <p:cNvSpPr/>
            <p:nvPr/>
          </p:nvSpPr>
          <p:spPr>
            <a:xfrm>
              <a:off x="4522599" y="3184686"/>
              <a:ext cx="2035292" cy="1465057"/>
            </a:xfrm>
            <a:custGeom>
              <a:avLst/>
              <a:gdLst>
                <a:gd name="connsiteX0" fmla="*/ 618503 w 2035292"/>
                <a:gd name="connsiteY0" fmla="*/ 0 h 1465057"/>
                <a:gd name="connsiteX1" fmla="*/ 2032993 w 2035292"/>
                <a:gd name="connsiteY1" fmla="*/ 1276457 h 1465057"/>
                <a:gd name="connsiteX2" fmla="*/ 2035292 w 2035292"/>
                <a:gd name="connsiteY2" fmla="*/ 1321981 h 1465057"/>
                <a:gd name="connsiteX3" fmla="*/ 1970230 w 2035292"/>
                <a:gd name="connsiteY3" fmla="*/ 1353323 h 1465057"/>
                <a:gd name="connsiteX4" fmla="*/ 1416789 w 2035292"/>
                <a:gd name="connsiteY4" fmla="*/ 1465057 h 1465057"/>
                <a:gd name="connsiteX5" fmla="*/ 2299 w 2035292"/>
                <a:gd name="connsiteY5" fmla="*/ 188600 h 1465057"/>
                <a:gd name="connsiteX6" fmla="*/ 0 w 2035292"/>
                <a:gd name="connsiteY6" fmla="*/ 143077 h 1465057"/>
                <a:gd name="connsiteX7" fmla="*/ 65062 w 2035292"/>
                <a:gd name="connsiteY7" fmla="*/ 111735 h 1465057"/>
                <a:gd name="connsiteX8" fmla="*/ 618503 w 2035292"/>
                <a:gd name="connsiteY8" fmla="*/ 0 h 146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5292" h="1465057">
                  <a:moveTo>
                    <a:pt x="618503" y="0"/>
                  </a:moveTo>
                  <a:cubicBezTo>
                    <a:pt x="1354681" y="0"/>
                    <a:pt x="1960182" y="559490"/>
                    <a:pt x="2032993" y="1276457"/>
                  </a:cubicBezTo>
                  <a:lnTo>
                    <a:pt x="2035292" y="1321981"/>
                  </a:lnTo>
                  <a:lnTo>
                    <a:pt x="1970230" y="1353323"/>
                  </a:lnTo>
                  <a:cubicBezTo>
                    <a:pt x="1800125" y="1425271"/>
                    <a:pt x="1613103" y="1465057"/>
                    <a:pt x="1416789" y="1465057"/>
                  </a:cubicBezTo>
                  <a:cubicBezTo>
                    <a:pt x="680612" y="1465057"/>
                    <a:pt x="75111" y="905567"/>
                    <a:pt x="2299" y="188600"/>
                  </a:cubicBezTo>
                  <a:lnTo>
                    <a:pt x="0" y="143077"/>
                  </a:lnTo>
                  <a:lnTo>
                    <a:pt x="65062" y="111735"/>
                  </a:lnTo>
                  <a:cubicBezTo>
                    <a:pt x="235168" y="39786"/>
                    <a:pt x="422189" y="0"/>
                    <a:pt x="618503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50" name="Forma libre: forma 14349">
              <a:extLst>
                <a:ext uri="{FF2B5EF4-FFF2-40B4-BE49-F238E27FC236}">
                  <a16:creationId xmlns:a16="http://schemas.microsoft.com/office/drawing/2014/main" id="{73265DFB-8068-EB40-0133-3DCEF3220F13}"/>
                </a:ext>
              </a:extLst>
            </p:cNvPr>
            <p:cNvSpPr/>
            <p:nvPr/>
          </p:nvSpPr>
          <p:spPr>
            <a:xfrm>
              <a:off x="5318903" y="3431144"/>
              <a:ext cx="1244031" cy="2350747"/>
            </a:xfrm>
            <a:custGeom>
              <a:avLst/>
              <a:gdLst>
                <a:gd name="connsiteX0" fmla="*/ 622016 w 1244031"/>
                <a:gd name="connsiteY0" fmla="*/ 0 h 2350747"/>
                <a:gd name="connsiteX1" fmla="*/ 726617 w 1244031"/>
                <a:gd name="connsiteY1" fmla="*/ 78219 h 2350747"/>
                <a:gd name="connsiteX2" fmla="*/ 1244031 w 1244031"/>
                <a:gd name="connsiteY2" fmla="*/ 1175373 h 2350747"/>
                <a:gd name="connsiteX3" fmla="*/ 726617 w 1244031"/>
                <a:gd name="connsiteY3" fmla="*/ 2272527 h 2350747"/>
                <a:gd name="connsiteX4" fmla="*/ 622016 w 1244031"/>
                <a:gd name="connsiteY4" fmla="*/ 2350747 h 2350747"/>
                <a:gd name="connsiteX5" fmla="*/ 517415 w 1244031"/>
                <a:gd name="connsiteY5" fmla="*/ 2272527 h 2350747"/>
                <a:gd name="connsiteX6" fmla="*/ 0 w 1244031"/>
                <a:gd name="connsiteY6" fmla="*/ 1175373 h 2350747"/>
                <a:gd name="connsiteX7" fmla="*/ 517415 w 1244031"/>
                <a:gd name="connsiteY7" fmla="*/ 78219 h 2350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4031" h="2350747">
                  <a:moveTo>
                    <a:pt x="622016" y="0"/>
                  </a:moveTo>
                  <a:lnTo>
                    <a:pt x="726617" y="78219"/>
                  </a:lnTo>
                  <a:cubicBezTo>
                    <a:pt x="1042615" y="339004"/>
                    <a:pt x="1244031" y="733667"/>
                    <a:pt x="1244031" y="1175373"/>
                  </a:cubicBezTo>
                  <a:cubicBezTo>
                    <a:pt x="1244031" y="1617080"/>
                    <a:pt x="1042615" y="2011743"/>
                    <a:pt x="726617" y="2272527"/>
                  </a:cubicBezTo>
                  <a:lnTo>
                    <a:pt x="622016" y="2350747"/>
                  </a:lnTo>
                  <a:lnTo>
                    <a:pt x="517415" y="2272527"/>
                  </a:lnTo>
                  <a:cubicBezTo>
                    <a:pt x="201417" y="2011743"/>
                    <a:pt x="0" y="1617080"/>
                    <a:pt x="0" y="1175373"/>
                  </a:cubicBezTo>
                  <a:cubicBezTo>
                    <a:pt x="0" y="733667"/>
                    <a:pt x="201417" y="339004"/>
                    <a:pt x="517415" y="782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4351" name="Forma libre: forma 14350">
            <a:extLst>
              <a:ext uri="{FF2B5EF4-FFF2-40B4-BE49-F238E27FC236}">
                <a16:creationId xmlns:a16="http://schemas.microsoft.com/office/drawing/2014/main" id="{67632FCF-9597-72FE-F3C0-5D6D604E1D19}"/>
              </a:ext>
            </a:extLst>
          </p:cNvPr>
          <p:cNvSpPr/>
          <p:nvPr/>
        </p:nvSpPr>
        <p:spPr>
          <a:xfrm>
            <a:off x="5324475" y="3431144"/>
            <a:ext cx="1232804" cy="1218599"/>
          </a:xfrm>
          <a:custGeom>
            <a:avLst/>
            <a:gdLst>
              <a:gd name="connsiteX0" fmla="*/ 616443 w 1232804"/>
              <a:gd name="connsiteY0" fmla="*/ 0 h 1218599"/>
              <a:gd name="connsiteX1" fmla="*/ 721044 w 1232804"/>
              <a:gd name="connsiteY1" fmla="*/ 78219 h 1218599"/>
              <a:gd name="connsiteX2" fmla="*/ 1229186 w 1232804"/>
              <a:gd name="connsiteY2" fmla="*/ 1012108 h 1218599"/>
              <a:gd name="connsiteX3" fmla="*/ 1232804 w 1232804"/>
              <a:gd name="connsiteY3" fmla="*/ 1075817 h 1218599"/>
              <a:gd name="connsiteX4" fmla="*/ 1168354 w 1232804"/>
              <a:gd name="connsiteY4" fmla="*/ 1106865 h 1218599"/>
              <a:gd name="connsiteX5" fmla="*/ 614913 w 1232804"/>
              <a:gd name="connsiteY5" fmla="*/ 1218599 h 1218599"/>
              <a:gd name="connsiteX6" fmla="*/ 61472 w 1232804"/>
              <a:gd name="connsiteY6" fmla="*/ 1106865 h 1218599"/>
              <a:gd name="connsiteX7" fmla="*/ 0 w 1232804"/>
              <a:gd name="connsiteY7" fmla="*/ 1077252 h 1218599"/>
              <a:gd name="connsiteX8" fmla="*/ 3699 w 1232804"/>
              <a:gd name="connsiteY8" fmla="*/ 1012108 h 1218599"/>
              <a:gd name="connsiteX9" fmla="*/ 511842 w 1232804"/>
              <a:gd name="connsiteY9" fmla="*/ 78219 h 1218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2804" h="1218599">
                <a:moveTo>
                  <a:pt x="616443" y="0"/>
                </a:moveTo>
                <a:lnTo>
                  <a:pt x="721044" y="78219"/>
                </a:lnTo>
                <a:cubicBezTo>
                  <a:pt x="997542" y="306406"/>
                  <a:pt x="1186314" y="637093"/>
                  <a:pt x="1229186" y="1012108"/>
                </a:cubicBezTo>
                <a:lnTo>
                  <a:pt x="1232804" y="1075817"/>
                </a:lnTo>
                <a:lnTo>
                  <a:pt x="1168354" y="1106865"/>
                </a:lnTo>
                <a:cubicBezTo>
                  <a:pt x="998249" y="1178813"/>
                  <a:pt x="811227" y="1218599"/>
                  <a:pt x="614913" y="1218599"/>
                </a:cubicBezTo>
                <a:cubicBezTo>
                  <a:pt x="418599" y="1218599"/>
                  <a:pt x="231578" y="1178813"/>
                  <a:pt x="61472" y="1106865"/>
                </a:cubicBezTo>
                <a:lnTo>
                  <a:pt x="0" y="1077252"/>
                </a:lnTo>
                <a:lnTo>
                  <a:pt x="3699" y="1012108"/>
                </a:lnTo>
                <a:cubicBezTo>
                  <a:pt x="46572" y="637093"/>
                  <a:pt x="235344" y="306406"/>
                  <a:pt x="511842" y="78219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92FFBE8-FEDE-7F77-272D-D20CB00F8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C67B482-8E80-B2F6-A9F0-509FDCA27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Venn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FBEDF91-3DFE-80D8-4410-F6F256A61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70F9C0B1-459C-CA3A-6F02-A3BE750833A7}"/>
              </a:ext>
            </a:extLst>
          </p:cNvPr>
          <p:cNvSpPr txBox="1"/>
          <p:nvPr/>
        </p:nvSpPr>
        <p:spPr>
          <a:xfrm>
            <a:off x="8467728" y="3339376"/>
            <a:ext cx="3352797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32577FBD-14D2-00E0-EB00-9AFFE90E8E24}"/>
              </a:ext>
            </a:extLst>
          </p:cNvPr>
          <p:cNvCxnSpPr>
            <a:cxnSpLocks/>
          </p:cNvCxnSpPr>
          <p:nvPr/>
        </p:nvCxnSpPr>
        <p:spPr>
          <a:xfrm flipH="1">
            <a:off x="6772275" y="3447098"/>
            <a:ext cx="1695453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Box 24">
            <a:extLst>
              <a:ext uri="{FF2B5EF4-FFF2-40B4-BE49-F238E27FC236}">
                <a16:creationId xmlns:a16="http://schemas.microsoft.com/office/drawing/2014/main" id="{175EE80C-99AB-85D8-26F2-63B3E420DCD5}"/>
              </a:ext>
            </a:extLst>
          </p:cNvPr>
          <p:cNvSpPr txBox="1"/>
          <p:nvPr/>
        </p:nvSpPr>
        <p:spPr>
          <a:xfrm>
            <a:off x="8467728" y="4008041"/>
            <a:ext cx="3352797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5B27ABE3-7220-1CBD-8B32-6E5AAFB952C7}"/>
              </a:ext>
            </a:extLst>
          </p:cNvPr>
          <p:cNvCxnSpPr>
            <a:cxnSpLocks/>
          </p:cNvCxnSpPr>
          <p:nvPr/>
        </p:nvCxnSpPr>
        <p:spPr>
          <a:xfrm flipH="1">
            <a:off x="6032500" y="4115763"/>
            <a:ext cx="243522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Box 24">
            <a:extLst>
              <a:ext uri="{FF2B5EF4-FFF2-40B4-BE49-F238E27FC236}">
                <a16:creationId xmlns:a16="http://schemas.microsoft.com/office/drawing/2014/main" id="{2381D769-94EC-FF3A-3F77-589F0784095E}"/>
              </a:ext>
            </a:extLst>
          </p:cNvPr>
          <p:cNvSpPr txBox="1"/>
          <p:nvPr/>
        </p:nvSpPr>
        <p:spPr>
          <a:xfrm>
            <a:off x="384175" y="3339376"/>
            <a:ext cx="32200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C4413055-A361-DD14-A4ED-0A1645D36D5E}"/>
              </a:ext>
            </a:extLst>
          </p:cNvPr>
          <p:cNvCxnSpPr>
            <a:cxnSpLocks/>
          </p:cNvCxnSpPr>
          <p:nvPr/>
        </p:nvCxnSpPr>
        <p:spPr>
          <a:xfrm>
            <a:off x="3604261" y="3447098"/>
            <a:ext cx="1367789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TextBox 24">
            <a:extLst>
              <a:ext uri="{FF2B5EF4-FFF2-40B4-BE49-F238E27FC236}">
                <a16:creationId xmlns:a16="http://schemas.microsoft.com/office/drawing/2014/main" id="{6A366F2D-66AF-E3BE-1DB0-18DB6CFB8ED5}"/>
              </a:ext>
            </a:extLst>
          </p:cNvPr>
          <p:cNvSpPr txBox="1"/>
          <p:nvPr/>
        </p:nvSpPr>
        <p:spPr>
          <a:xfrm>
            <a:off x="384175" y="4964908"/>
            <a:ext cx="32200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4336" name="Conector recto de flecha 14335">
            <a:extLst>
              <a:ext uri="{FF2B5EF4-FFF2-40B4-BE49-F238E27FC236}">
                <a16:creationId xmlns:a16="http://schemas.microsoft.com/office/drawing/2014/main" id="{F5E601F2-FCAB-AC0B-ED54-F424FCB50345}"/>
              </a:ext>
            </a:extLst>
          </p:cNvPr>
          <p:cNvCxnSpPr>
            <a:cxnSpLocks/>
          </p:cNvCxnSpPr>
          <p:nvPr/>
        </p:nvCxnSpPr>
        <p:spPr>
          <a:xfrm>
            <a:off x="3604261" y="5072630"/>
            <a:ext cx="2339339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339" name="TextBox 24">
            <a:extLst>
              <a:ext uri="{FF2B5EF4-FFF2-40B4-BE49-F238E27FC236}">
                <a16:creationId xmlns:a16="http://schemas.microsoft.com/office/drawing/2014/main" id="{81FD7435-BCC3-8A55-C5B9-1F8F23C95FC6}"/>
              </a:ext>
            </a:extLst>
          </p:cNvPr>
          <p:cNvSpPr txBox="1"/>
          <p:nvPr/>
        </p:nvSpPr>
        <p:spPr>
          <a:xfrm>
            <a:off x="4850769" y="2555980"/>
            <a:ext cx="2197732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340" name="TextBox 24">
            <a:extLst>
              <a:ext uri="{FF2B5EF4-FFF2-40B4-BE49-F238E27FC236}">
                <a16:creationId xmlns:a16="http://schemas.microsoft.com/office/drawing/2014/main" id="{842D55DD-C6FD-7A67-B110-15FB2848203D}"/>
              </a:ext>
            </a:extLst>
          </p:cNvPr>
          <p:cNvSpPr txBox="1"/>
          <p:nvPr/>
        </p:nvSpPr>
        <p:spPr>
          <a:xfrm>
            <a:off x="6450010" y="4568985"/>
            <a:ext cx="1627190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341" name="TextBox 24">
            <a:extLst>
              <a:ext uri="{FF2B5EF4-FFF2-40B4-BE49-F238E27FC236}">
                <a16:creationId xmlns:a16="http://schemas.microsoft.com/office/drawing/2014/main" id="{D9167798-7244-0A22-7DFA-9744DBED9AD0}"/>
              </a:ext>
            </a:extLst>
          </p:cNvPr>
          <p:cNvSpPr txBox="1"/>
          <p:nvPr/>
        </p:nvSpPr>
        <p:spPr>
          <a:xfrm>
            <a:off x="3821615" y="4568985"/>
            <a:ext cx="1627190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47701309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9C70686-8369-25F2-71E6-B1E0634669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9C70686-8369-25F2-71E6-B1E0634669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0F67849-75EA-E8A3-9F3C-A8481E561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B093C3F-D22F-4EEA-6460-57B7B5F85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Circl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41295AB-2F79-1F2C-4779-F86393A1E1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63" name="Elipse 18462">
            <a:extLst>
              <a:ext uri="{FF2B5EF4-FFF2-40B4-BE49-F238E27FC236}">
                <a16:creationId xmlns:a16="http://schemas.microsoft.com/office/drawing/2014/main" id="{E7CA0826-11CD-C707-446A-6B98089EE3FE}"/>
              </a:ext>
            </a:extLst>
          </p:cNvPr>
          <p:cNvSpPr/>
          <p:nvPr/>
        </p:nvSpPr>
        <p:spPr>
          <a:xfrm>
            <a:off x="5298279" y="3128168"/>
            <a:ext cx="1592264" cy="15922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4" name="Elipse 18463">
            <a:extLst>
              <a:ext uri="{FF2B5EF4-FFF2-40B4-BE49-F238E27FC236}">
                <a16:creationId xmlns:a16="http://schemas.microsoft.com/office/drawing/2014/main" id="{F828D157-D798-4F9E-44BC-E6BD68F9A98C}"/>
              </a:ext>
            </a:extLst>
          </p:cNvPr>
          <p:cNvSpPr/>
          <p:nvPr/>
        </p:nvSpPr>
        <p:spPr>
          <a:xfrm>
            <a:off x="4397097" y="1539875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5" name="Elipse 18464">
            <a:extLst>
              <a:ext uri="{FF2B5EF4-FFF2-40B4-BE49-F238E27FC236}">
                <a16:creationId xmlns:a16="http://schemas.microsoft.com/office/drawing/2014/main" id="{E91AE72B-A827-0690-68E6-286837E94C77}"/>
              </a:ext>
            </a:extLst>
          </p:cNvPr>
          <p:cNvSpPr/>
          <p:nvPr/>
        </p:nvSpPr>
        <p:spPr>
          <a:xfrm>
            <a:off x="6199461" y="1539875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6" name="Elipse 18465">
            <a:extLst>
              <a:ext uri="{FF2B5EF4-FFF2-40B4-BE49-F238E27FC236}">
                <a16:creationId xmlns:a16="http://schemas.microsoft.com/office/drawing/2014/main" id="{0609DBE0-41D1-704C-C048-20815D22344E}"/>
              </a:ext>
            </a:extLst>
          </p:cNvPr>
          <p:cNvSpPr/>
          <p:nvPr/>
        </p:nvSpPr>
        <p:spPr>
          <a:xfrm>
            <a:off x="7123423" y="3128168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7" name="Elipse 18466">
            <a:extLst>
              <a:ext uri="{FF2B5EF4-FFF2-40B4-BE49-F238E27FC236}">
                <a16:creationId xmlns:a16="http://schemas.microsoft.com/office/drawing/2014/main" id="{CCFDB23B-D6E0-ED53-23EA-C66974E41DE5}"/>
              </a:ext>
            </a:extLst>
          </p:cNvPr>
          <p:cNvSpPr/>
          <p:nvPr/>
        </p:nvSpPr>
        <p:spPr>
          <a:xfrm>
            <a:off x="3473135" y="3128168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72" name="Elipse 18471">
            <a:extLst>
              <a:ext uri="{FF2B5EF4-FFF2-40B4-BE49-F238E27FC236}">
                <a16:creationId xmlns:a16="http://schemas.microsoft.com/office/drawing/2014/main" id="{1E619420-52D3-F1DF-D7AD-329FA415A83E}"/>
              </a:ext>
            </a:extLst>
          </p:cNvPr>
          <p:cNvSpPr/>
          <p:nvPr/>
        </p:nvSpPr>
        <p:spPr>
          <a:xfrm>
            <a:off x="4397097" y="4716461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73" name="Elipse 18472">
            <a:extLst>
              <a:ext uri="{FF2B5EF4-FFF2-40B4-BE49-F238E27FC236}">
                <a16:creationId xmlns:a16="http://schemas.microsoft.com/office/drawing/2014/main" id="{587959F3-2420-1275-E2B9-953A6D05C349}"/>
              </a:ext>
            </a:extLst>
          </p:cNvPr>
          <p:cNvSpPr/>
          <p:nvPr/>
        </p:nvSpPr>
        <p:spPr>
          <a:xfrm>
            <a:off x="6199461" y="4716461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grpSp>
        <p:nvGrpSpPr>
          <p:cNvPr id="18477" name="Grupo 18476">
            <a:extLst>
              <a:ext uri="{FF2B5EF4-FFF2-40B4-BE49-F238E27FC236}">
                <a16:creationId xmlns:a16="http://schemas.microsoft.com/office/drawing/2014/main" id="{81B1A907-297B-36E2-21A5-8F02587478D7}"/>
              </a:ext>
            </a:extLst>
          </p:cNvPr>
          <p:cNvGrpSpPr/>
          <p:nvPr/>
        </p:nvGrpSpPr>
        <p:grpSpPr>
          <a:xfrm>
            <a:off x="5298279" y="3128168"/>
            <a:ext cx="1592264" cy="1592264"/>
            <a:chOff x="9336879" y="3128168"/>
            <a:chExt cx="1592264" cy="1592264"/>
          </a:xfrm>
        </p:grpSpPr>
        <p:sp>
          <p:nvSpPr>
            <p:cNvPr id="18474" name="Arco 18473">
              <a:extLst>
                <a:ext uri="{FF2B5EF4-FFF2-40B4-BE49-F238E27FC236}">
                  <a16:creationId xmlns:a16="http://schemas.microsoft.com/office/drawing/2014/main" id="{F0E90B25-3E73-1490-6FA9-909C171AC2D9}"/>
                </a:ext>
              </a:extLst>
            </p:cNvPr>
            <p:cNvSpPr/>
            <p:nvPr/>
          </p:nvSpPr>
          <p:spPr>
            <a:xfrm>
              <a:off x="9336879" y="3128168"/>
              <a:ext cx="1592264" cy="1592264"/>
            </a:xfrm>
            <a:prstGeom prst="arc">
              <a:avLst>
                <a:gd name="adj1" fmla="val 11185012"/>
                <a:gd name="adj2" fmla="val 21330849"/>
              </a:avLst>
            </a:prstGeom>
            <a:noFill/>
            <a:ln w="57150">
              <a:solidFill>
                <a:srgbClr val="002060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476" name="Arco 18475">
              <a:extLst>
                <a:ext uri="{FF2B5EF4-FFF2-40B4-BE49-F238E27FC236}">
                  <a16:creationId xmlns:a16="http://schemas.microsoft.com/office/drawing/2014/main" id="{E464FFF2-37AF-6EBD-E866-0762E1C37BAE}"/>
                </a:ext>
              </a:extLst>
            </p:cNvPr>
            <p:cNvSpPr/>
            <p:nvPr/>
          </p:nvSpPr>
          <p:spPr>
            <a:xfrm>
              <a:off x="9336879" y="3128168"/>
              <a:ext cx="1592264" cy="1592264"/>
            </a:xfrm>
            <a:prstGeom prst="arc">
              <a:avLst>
                <a:gd name="adj1" fmla="val 158409"/>
                <a:gd name="adj2" fmla="val 10699095"/>
              </a:avLst>
            </a:prstGeom>
            <a:noFill/>
            <a:ln w="57150">
              <a:solidFill>
                <a:srgbClr val="002060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2662393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F6075DA-BDB7-83FC-870A-504879DCB3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F6075DA-BDB7-83FC-870A-504879DCB3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0F99BC-E80D-82B0-191B-439AA1C5A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71EEC50-E639-5524-EAF6-7C858E53C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Circle diagram with segmentation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E49848B-52C7-8A45-EE1A-6821FB463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7EB353E5-158F-CB36-9745-BB76B035C89A}"/>
              </a:ext>
            </a:extLst>
          </p:cNvPr>
          <p:cNvSpPr/>
          <p:nvPr/>
        </p:nvSpPr>
        <p:spPr>
          <a:xfrm>
            <a:off x="3834434" y="1784868"/>
            <a:ext cx="4519955" cy="4519955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0" name="Arco 19">
            <a:extLst>
              <a:ext uri="{FF2B5EF4-FFF2-40B4-BE49-F238E27FC236}">
                <a16:creationId xmlns:a16="http://schemas.microsoft.com/office/drawing/2014/main" id="{6368CAA1-D0C6-5201-777D-0537917A3C1B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14955825"/>
              <a:gd name="adj2" fmla="val 21109453"/>
            </a:avLst>
          </a:prstGeom>
          <a:noFill/>
          <a:ln w="76200">
            <a:solidFill>
              <a:schemeClr val="tx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Arco 20">
            <a:extLst>
              <a:ext uri="{FF2B5EF4-FFF2-40B4-BE49-F238E27FC236}">
                <a16:creationId xmlns:a16="http://schemas.microsoft.com/office/drawing/2014/main" id="{60CCB520-DE00-1BB6-98C3-FBB6DA867F9B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1129310"/>
              <a:gd name="adj2" fmla="val 6470302"/>
            </a:avLst>
          </a:prstGeom>
          <a:noFill/>
          <a:ln w="76200">
            <a:solidFill>
              <a:schemeClr val="accent3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Arco 21">
            <a:extLst>
              <a:ext uri="{FF2B5EF4-FFF2-40B4-BE49-F238E27FC236}">
                <a16:creationId xmlns:a16="http://schemas.microsoft.com/office/drawing/2014/main" id="{67F737EA-699A-46D2-6222-AC7E89F1F467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7986778"/>
              <a:gd name="adj2" fmla="val 13282277"/>
            </a:avLst>
          </a:prstGeom>
          <a:noFill/>
          <a:ln w="76200">
            <a:solidFill>
              <a:schemeClr val="accent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Arco 22">
            <a:extLst>
              <a:ext uri="{FF2B5EF4-FFF2-40B4-BE49-F238E27FC236}">
                <a16:creationId xmlns:a16="http://schemas.microsoft.com/office/drawing/2014/main" id="{78F4406B-AC01-695D-DF53-E61AA46D6EAB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13368381"/>
              <a:gd name="adj2" fmla="val 14859158"/>
            </a:avLst>
          </a:prstGeom>
          <a:noFill/>
          <a:ln w="28575">
            <a:solidFill>
              <a:schemeClr val="accent4"/>
            </a:solidFill>
            <a:headEnd type="arrow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Arco 23">
            <a:extLst>
              <a:ext uri="{FF2B5EF4-FFF2-40B4-BE49-F238E27FC236}">
                <a16:creationId xmlns:a16="http://schemas.microsoft.com/office/drawing/2014/main" id="{646DB49F-7831-94CB-19CF-4FD748363398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21193249"/>
              <a:gd name="adj2" fmla="val 1045493"/>
            </a:avLst>
          </a:prstGeom>
          <a:noFill/>
          <a:ln w="28575">
            <a:solidFill>
              <a:schemeClr val="accent4"/>
            </a:solidFill>
            <a:headEnd type="arrow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B0A618B4-4A06-D25D-E755-EC3CA3073D56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6543517"/>
              <a:gd name="adj2" fmla="val 7936036"/>
            </a:avLst>
          </a:prstGeom>
          <a:noFill/>
          <a:ln w="28575">
            <a:solidFill>
              <a:schemeClr val="accent4"/>
            </a:solidFill>
            <a:headEnd type="arrow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16D7706C-DBE8-5516-DB5C-3BFEB4BFB8DA}"/>
              </a:ext>
            </a:extLst>
          </p:cNvPr>
          <p:cNvSpPr txBox="1"/>
          <p:nvPr/>
        </p:nvSpPr>
        <p:spPr>
          <a:xfrm>
            <a:off x="8561647" y="1536699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41A91476-8664-57E4-6E0A-19741A04EE6C}"/>
              </a:ext>
            </a:extLst>
          </p:cNvPr>
          <p:cNvSpPr txBox="1"/>
          <p:nvPr/>
        </p:nvSpPr>
        <p:spPr>
          <a:xfrm>
            <a:off x="8561647" y="4308474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53BDB4AE-1B01-7343-65E1-97DA6B8F4B68}"/>
              </a:ext>
            </a:extLst>
          </p:cNvPr>
          <p:cNvSpPr txBox="1"/>
          <p:nvPr/>
        </p:nvSpPr>
        <p:spPr>
          <a:xfrm>
            <a:off x="385762" y="1536699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E91CED91-CBE8-F958-19F0-E4080F450031}"/>
              </a:ext>
            </a:extLst>
          </p:cNvPr>
          <p:cNvSpPr txBox="1"/>
          <p:nvPr/>
        </p:nvSpPr>
        <p:spPr>
          <a:xfrm>
            <a:off x="385762" y="4308474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791784155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F6BC2BD-357E-417C-1721-3EC6ACC0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F6BC2BD-357E-417C-1721-3EC6ACC0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409CDD9-B2E7-598C-E48E-0D67DE1509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21C0F13-0CBA-4F40-64DC-ACE96D3D0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Bull’s ey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46FFA69-AFCA-8B55-C334-7850991A6F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54281D6E-3F28-A967-B7C2-AF9A839BDD07}"/>
              </a:ext>
            </a:extLst>
          </p:cNvPr>
          <p:cNvSpPr/>
          <p:nvPr/>
        </p:nvSpPr>
        <p:spPr>
          <a:xfrm>
            <a:off x="4162425" y="1847484"/>
            <a:ext cx="4000865" cy="4000865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B5BE5839-8018-E14C-EDC0-CE3666E1C743}"/>
              </a:ext>
            </a:extLst>
          </p:cNvPr>
          <p:cNvSpPr/>
          <p:nvPr/>
        </p:nvSpPr>
        <p:spPr>
          <a:xfrm>
            <a:off x="4581889" y="2266948"/>
            <a:ext cx="3161936" cy="316193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35991174-CA3F-BAF2-B483-1E77FCD51D8A}"/>
              </a:ext>
            </a:extLst>
          </p:cNvPr>
          <p:cNvSpPr/>
          <p:nvPr/>
        </p:nvSpPr>
        <p:spPr>
          <a:xfrm>
            <a:off x="5101954" y="2787013"/>
            <a:ext cx="2121806" cy="212180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B30EF425-36A6-9844-E4B6-16BFF4EAAE20}"/>
              </a:ext>
            </a:extLst>
          </p:cNvPr>
          <p:cNvSpPr/>
          <p:nvPr/>
        </p:nvSpPr>
        <p:spPr>
          <a:xfrm>
            <a:off x="5572489" y="3257548"/>
            <a:ext cx="1180736" cy="118073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0480" name="TextBox 24">
            <a:extLst>
              <a:ext uri="{FF2B5EF4-FFF2-40B4-BE49-F238E27FC236}">
                <a16:creationId xmlns:a16="http://schemas.microsoft.com/office/drawing/2014/main" id="{5E27DAE0-3AFA-5980-11F5-5C40C089099C}"/>
              </a:ext>
            </a:extLst>
          </p:cNvPr>
          <p:cNvSpPr txBox="1"/>
          <p:nvPr/>
        </p:nvSpPr>
        <p:spPr>
          <a:xfrm>
            <a:off x="5338945" y="2976382"/>
            <a:ext cx="16478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481" name="TextBox 24">
            <a:extLst>
              <a:ext uri="{FF2B5EF4-FFF2-40B4-BE49-F238E27FC236}">
                <a16:creationId xmlns:a16="http://schemas.microsoft.com/office/drawing/2014/main" id="{3A17DDCF-6952-FA46-E8FC-C46BD0C31641}"/>
              </a:ext>
            </a:extLst>
          </p:cNvPr>
          <p:cNvSpPr txBox="1"/>
          <p:nvPr/>
        </p:nvSpPr>
        <p:spPr>
          <a:xfrm>
            <a:off x="5338945" y="5022812"/>
            <a:ext cx="164782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483" name="TextBox 24">
            <a:extLst>
              <a:ext uri="{FF2B5EF4-FFF2-40B4-BE49-F238E27FC236}">
                <a16:creationId xmlns:a16="http://schemas.microsoft.com/office/drawing/2014/main" id="{BBE2FE5A-80EE-896B-7AD6-BA163EB300AD}"/>
              </a:ext>
            </a:extLst>
          </p:cNvPr>
          <p:cNvSpPr txBox="1"/>
          <p:nvPr/>
        </p:nvSpPr>
        <p:spPr>
          <a:xfrm>
            <a:off x="5418184" y="4223295"/>
            <a:ext cx="67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484" name="TextBox 24">
            <a:extLst>
              <a:ext uri="{FF2B5EF4-FFF2-40B4-BE49-F238E27FC236}">
                <a16:creationId xmlns:a16="http://schemas.microsoft.com/office/drawing/2014/main" id="{926A969C-31D5-7F20-2177-50E36B85CD86}"/>
              </a:ext>
            </a:extLst>
          </p:cNvPr>
          <p:cNvSpPr txBox="1"/>
          <p:nvPr/>
        </p:nvSpPr>
        <p:spPr>
          <a:xfrm>
            <a:off x="4960984" y="4823370"/>
            <a:ext cx="67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0485" name="Conector recto de flecha 20484">
            <a:extLst>
              <a:ext uri="{FF2B5EF4-FFF2-40B4-BE49-F238E27FC236}">
                <a16:creationId xmlns:a16="http://schemas.microsoft.com/office/drawing/2014/main" id="{370F26B4-FC95-1599-C6D6-5DE05FC75DD6}"/>
              </a:ext>
            </a:extLst>
          </p:cNvPr>
          <p:cNvCxnSpPr>
            <a:cxnSpLocks/>
          </p:cNvCxnSpPr>
          <p:nvPr/>
        </p:nvCxnSpPr>
        <p:spPr>
          <a:xfrm flipH="1" flipV="1">
            <a:off x="5395913" y="3328988"/>
            <a:ext cx="302418" cy="182976"/>
          </a:xfrm>
          <a:prstGeom prst="straightConnector1">
            <a:avLst/>
          </a:prstGeom>
          <a:noFill/>
          <a:ln w="57150">
            <a:solidFill>
              <a:schemeClr val="accent2">
                <a:lumMod val="20000"/>
                <a:lumOff val="80000"/>
              </a:schemeClr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486" name="Conector recto de flecha 20485">
            <a:extLst>
              <a:ext uri="{FF2B5EF4-FFF2-40B4-BE49-F238E27FC236}">
                <a16:creationId xmlns:a16="http://schemas.microsoft.com/office/drawing/2014/main" id="{1C25C290-8408-A7EF-6FFA-FC8865CAFA9E}"/>
              </a:ext>
            </a:extLst>
          </p:cNvPr>
          <p:cNvCxnSpPr>
            <a:cxnSpLocks/>
          </p:cNvCxnSpPr>
          <p:nvPr/>
        </p:nvCxnSpPr>
        <p:spPr>
          <a:xfrm flipV="1">
            <a:off x="6624638" y="3328988"/>
            <a:ext cx="305591" cy="184896"/>
          </a:xfrm>
          <a:prstGeom prst="straightConnector1">
            <a:avLst/>
          </a:prstGeom>
          <a:noFill/>
          <a:ln w="57150">
            <a:solidFill>
              <a:schemeClr val="accent2">
                <a:lumMod val="20000"/>
                <a:lumOff val="80000"/>
              </a:schemeClr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487" name="Conector recto de flecha 20486">
            <a:extLst>
              <a:ext uri="{FF2B5EF4-FFF2-40B4-BE49-F238E27FC236}">
                <a16:creationId xmlns:a16="http://schemas.microsoft.com/office/drawing/2014/main" id="{C208FE1B-6A46-B040-82A3-705FC466D9CA}"/>
              </a:ext>
            </a:extLst>
          </p:cNvPr>
          <p:cNvCxnSpPr>
            <a:cxnSpLocks/>
          </p:cNvCxnSpPr>
          <p:nvPr/>
        </p:nvCxnSpPr>
        <p:spPr>
          <a:xfrm>
            <a:off x="6162857" y="4438284"/>
            <a:ext cx="0" cy="376604"/>
          </a:xfrm>
          <a:prstGeom prst="straightConnector1">
            <a:avLst/>
          </a:prstGeom>
          <a:noFill/>
          <a:ln w="57150">
            <a:solidFill>
              <a:schemeClr val="accent2">
                <a:lumMod val="20000"/>
                <a:lumOff val="80000"/>
              </a:schemeClr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488" name="Elipse 20487">
            <a:extLst>
              <a:ext uri="{FF2B5EF4-FFF2-40B4-BE49-F238E27FC236}">
                <a16:creationId xmlns:a16="http://schemas.microsoft.com/office/drawing/2014/main" id="{FE235D2D-74A8-09E6-01A0-F612811FA816}"/>
              </a:ext>
            </a:extLst>
          </p:cNvPr>
          <p:cNvSpPr/>
          <p:nvPr/>
        </p:nvSpPr>
        <p:spPr>
          <a:xfrm>
            <a:off x="3301919" y="5072064"/>
            <a:ext cx="1222248" cy="12222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89" name="Elipse 20488">
            <a:extLst>
              <a:ext uri="{FF2B5EF4-FFF2-40B4-BE49-F238E27FC236}">
                <a16:creationId xmlns:a16="http://schemas.microsoft.com/office/drawing/2014/main" id="{D5C9EF18-3602-894C-35F1-2CF257819E12}"/>
              </a:ext>
            </a:extLst>
          </p:cNvPr>
          <p:cNvSpPr/>
          <p:nvPr/>
        </p:nvSpPr>
        <p:spPr>
          <a:xfrm>
            <a:off x="7742947" y="1552670"/>
            <a:ext cx="1143878" cy="11438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cxnSp>
        <p:nvCxnSpPr>
          <p:cNvPr id="20490" name="Conector recto de flecha 20489">
            <a:extLst>
              <a:ext uri="{FF2B5EF4-FFF2-40B4-BE49-F238E27FC236}">
                <a16:creationId xmlns:a16="http://schemas.microsoft.com/office/drawing/2014/main" id="{0C5DC6B2-450D-012C-255E-2F76900BBAAD}"/>
              </a:ext>
            </a:extLst>
          </p:cNvPr>
          <p:cNvCxnSpPr>
            <a:cxnSpLocks/>
          </p:cNvCxnSpPr>
          <p:nvPr/>
        </p:nvCxnSpPr>
        <p:spPr>
          <a:xfrm flipV="1">
            <a:off x="4402931" y="5145881"/>
            <a:ext cx="202407" cy="176213"/>
          </a:xfrm>
          <a:prstGeom prst="straightConnector1">
            <a:avLst/>
          </a:prstGeom>
          <a:noFill/>
          <a:ln w="28575">
            <a:solidFill>
              <a:schemeClr val="bg2"/>
            </a:solidFill>
            <a:prstDash val="sysDot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491" name="TextBox 24">
            <a:extLst>
              <a:ext uri="{FF2B5EF4-FFF2-40B4-BE49-F238E27FC236}">
                <a16:creationId xmlns:a16="http://schemas.microsoft.com/office/drawing/2014/main" id="{52A660A6-906F-2B7B-8668-4BA122395D56}"/>
              </a:ext>
            </a:extLst>
          </p:cNvPr>
          <p:cNvSpPr txBox="1"/>
          <p:nvPr/>
        </p:nvSpPr>
        <p:spPr>
          <a:xfrm>
            <a:off x="5338945" y="5525920"/>
            <a:ext cx="164782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53952506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DBDE5DA-A88C-10EC-EA70-45B987B0D7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DBDE5DA-A88C-10EC-EA70-45B987B0D7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347A386-2E7C-ED2B-D84D-C380D281A3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8BCDAA1-E786-1E2C-670C-951531A36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Balance Scal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F6C2169-E6DB-5AD3-B116-7E189FD125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803A136-06F9-9687-3A42-BB8AC4DCB2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26131" y="3161776"/>
            <a:ext cx="1938150" cy="1521868"/>
            <a:chOff x="526" y="708"/>
            <a:chExt cx="433" cy="340"/>
          </a:xfrm>
          <a:solidFill>
            <a:schemeClr val="bg2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5942DCA-A311-7C21-F3FA-1EE9232AA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760"/>
              <a:ext cx="19" cy="288"/>
            </a:xfrm>
            <a:custGeom>
              <a:avLst/>
              <a:gdLst>
                <a:gd name="T0" fmla="*/ 6 w 12"/>
                <a:gd name="T1" fmla="*/ 193 h 193"/>
                <a:gd name="T2" fmla="*/ 0 w 12"/>
                <a:gd name="T3" fmla="*/ 187 h 193"/>
                <a:gd name="T4" fmla="*/ 0 w 12"/>
                <a:gd name="T5" fmla="*/ 6 h 193"/>
                <a:gd name="T6" fmla="*/ 6 w 12"/>
                <a:gd name="T7" fmla="*/ 0 h 193"/>
                <a:gd name="T8" fmla="*/ 12 w 12"/>
                <a:gd name="T9" fmla="*/ 6 h 193"/>
                <a:gd name="T10" fmla="*/ 12 w 12"/>
                <a:gd name="T11" fmla="*/ 187 h 193"/>
                <a:gd name="T12" fmla="*/ 6 w 12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806E872-5F91-6AEF-6913-3A1AB62D4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1030"/>
              <a:ext cx="126" cy="18"/>
            </a:xfrm>
            <a:custGeom>
              <a:avLst/>
              <a:gdLst>
                <a:gd name="T0" fmla="*/ 76 w 82"/>
                <a:gd name="T1" fmla="*/ 12 h 12"/>
                <a:gd name="T2" fmla="*/ 6 w 82"/>
                <a:gd name="T3" fmla="*/ 12 h 12"/>
                <a:gd name="T4" fmla="*/ 0 w 82"/>
                <a:gd name="T5" fmla="*/ 6 h 12"/>
                <a:gd name="T6" fmla="*/ 6 w 82"/>
                <a:gd name="T7" fmla="*/ 0 h 12"/>
                <a:gd name="T8" fmla="*/ 76 w 82"/>
                <a:gd name="T9" fmla="*/ 0 h 12"/>
                <a:gd name="T10" fmla="*/ 82 w 82"/>
                <a:gd name="T11" fmla="*/ 6 h 12"/>
                <a:gd name="T12" fmla="*/ 76 w 8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2">
                  <a:moveTo>
                    <a:pt x="7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2" y="3"/>
                    <a:pt x="82" y="6"/>
                  </a:cubicBezTo>
                  <a:cubicBezTo>
                    <a:pt x="82" y="10"/>
                    <a:pt x="79" y="12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8E708E2A-E3E4-7AE5-56B1-23DBD3F08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27"/>
              <a:ext cx="146" cy="161"/>
            </a:xfrm>
            <a:custGeom>
              <a:avLst/>
              <a:gdLst>
                <a:gd name="T0" fmla="*/ 88 w 95"/>
                <a:gd name="T1" fmla="*/ 107 h 108"/>
                <a:gd name="T2" fmla="*/ 83 w 95"/>
                <a:gd name="T3" fmla="*/ 104 h 108"/>
                <a:gd name="T4" fmla="*/ 47 w 95"/>
                <a:gd name="T5" fmla="*/ 21 h 108"/>
                <a:gd name="T6" fmla="*/ 12 w 95"/>
                <a:gd name="T7" fmla="*/ 104 h 108"/>
                <a:gd name="T8" fmla="*/ 4 w 95"/>
                <a:gd name="T9" fmla="*/ 107 h 108"/>
                <a:gd name="T10" fmla="*/ 1 w 95"/>
                <a:gd name="T11" fmla="*/ 99 h 108"/>
                <a:gd name="T12" fmla="*/ 42 w 95"/>
                <a:gd name="T13" fmla="*/ 3 h 108"/>
                <a:gd name="T14" fmla="*/ 47 w 95"/>
                <a:gd name="T15" fmla="*/ 0 h 108"/>
                <a:gd name="T16" fmla="*/ 47 w 95"/>
                <a:gd name="T17" fmla="*/ 0 h 108"/>
                <a:gd name="T18" fmla="*/ 53 w 95"/>
                <a:gd name="T19" fmla="*/ 3 h 108"/>
                <a:gd name="T20" fmla="*/ 94 w 95"/>
                <a:gd name="T21" fmla="*/ 99 h 108"/>
                <a:gd name="T22" fmla="*/ 90 w 95"/>
                <a:gd name="T23" fmla="*/ 107 h 108"/>
                <a:gd name="T24" fmla="*/ 88 w 95"/>
                <a:gd name="T25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8">
                  <a:moveTo>
                    <a:pt x="88" y="107"/>
                  </a:moveTo>
                  <a:cubicBezTo>
                    <a:pt x="86" y="107"/>
                    <a:pt x="84" y="106"/>
                    <a:pt x="83" y="10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1" y="107"/>
                    <a:pt x="7" y="108"/>
                    <a:pt x="4" y="107"/>
                  </a:cubicBezTo>
                  <a:cubicBezTo>
                    <a:pt x="1" y="105"/>
                    <a:pt x="0" y="102"/>
                    <a:pt x="1" y="9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1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1"/>
                    <a:pt x="53" y="3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102"/>
                    <a:pt x="94" y="105"/>
                    <a:pt x="90" y="107"/>
                  </a:cubicBezTo>
                  <a:cubicBezTo>
                    <a:pt x="90" y="107"/>
                    <a:pt x="89" y="107"/>
                    <a:pt x="8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177BD626-1804-3767-9D72-B6217716D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708"/>
              <a:ext cx="73" cy="70"/>
            </a:xfrm>
            <a:custGeom>
              <a:avLst/>
              <a:gdLst>
                <a:gd name="T0" fmla="*/ 24 w 48"/>
                <a:gd name="T1" fmla="*/ 47 h 47"/>
                <a:gd name="T2" fmla="*/ 0 w 48"/>
                <a:gd name="T3" fmla="*/ 24 h 47"/>
                <a:gd name="T4" fmla="*/ 24 w 48"/>
                <a:gd name="T5" fmla="*/ 0 h 47"/>
                <a:gd name="T6" fmla="*/ 48 w 48"/>
                <a:gd name="T7" fmla="*/ 24 h 47"/>
                <a:gd name="T8" fmla="*/ 24 w 48"/>
                <a:gd name="T9" fmla="*/ 47 h 47"/>
                <a:gd name="T10" fmla="*/ 24 w 48"/>
                <a:gd name="T11" fmla="*/ 12 h 47"/>
                <a:gd name="T12" fmla="*/ 12 w 48"/>
                <a:gd name="T13" fmla="*/ 24 h 47"/>
                <a:gd name="T14" fmla="*/ 24 w 48"/>
                <a:gd name="T15" fmla="*/ 35 h 47"/>
                <a:gd name="T16" fmla="*/ 36 w 48"/>
                <a:gd name="T17" fmla="*/ 24 h 47"/>
                <a:gd name="T18" fmla="*/ 24 w 48"/>
                <a:gd name="T19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7"/>
                    <a:pt x="24" y="47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5"/>
                    <a:pt x="24" y="35"/>
                  </a:cubicBezTo>
                  <a:cubicBezTo>
                    <a:pt x="30" y="35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B9D0655A-8FC7-9AFD-FD25-427ADFC2D1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869"/>
              <a:ext cx="142" cy="84"/>
            </a:xfrm>
            <a:custGeom>
              <a:avLst/>
              <a:gdLst>
                <a:gd name="T0" fmla="*/ 46 w 93"/>
                <a:gd name="T1" fmla="*/ 56 h 56"/>
                <a:gd name="T2" fmla="*/ 0 w 93"/>
                <a:gd name="T3" fmla="*/ 6 h 56"/>
                <a:gd name="T4" fmla="*/ 6 w 93"/>
                <a:gd name="T5" fmla="*/ 0 h 56"/>
                <a:gd name="T6" fmla="*/ 87 w 93"/>
                <a:gd name="T7" fmla="*/ 0 h 56"/>
                <a:gd name="T8" fmla="*/ 93 w 93"/>
                <a:gd name="T9" fmla="*/ 6 h 56"/>
                <a:gd name="T10" fmla="*/ 46 w 93"/>
                <a:gd name="T11" fmla="*/ 56 h 56"/>
                <a:gd name="T12" fmla="*/ 12 w 93"/>
                <a:gd name="T13" fmla="*/ 12 h 56"/>
                <a:gd name="T14" fmla="*/ 46 w 93"/>
                <a:gd name="T15" fmla="*/ 44 h 56"/>
                <a:gd name="T16" fmla="*/ 81 w 93"/>
                <a:gd name="T17" fmla="*/ 12 h 56"/>
                <a:gd name="T18" fmla="*/ 12 w 93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56">
                  <a:moveTo>
                    <a:pt x="46" y="56"/>
                  </a:moveTo>
                  <a:cubicBezTo>
                    <a:pt x="20" y="56"/>
                    <a:pt x="0" y="35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0"/>
                    <a:pt x="93" y="3"/>
                    <a:pt x="93" y="6"/>
                  </a:cubicBezTo>
                  <a:cubicBezTo>
                    <a:pt x="93" y="35"/>
                    <a:pt x="73" y="56"/>
                    <a:pt x="46" y="56"/>
                  </a:cubicBezTo>
                  <a:close/>
                  <a:moveTo>
                    <a:pt x="12" y="12"/>
                  </a:moveTo>
                  <a:cubicBezTo>
                    <a:pt x="14" y="31"/>
                    <a:pt x="28" y="44"/>
                    <a:pt x="46" y="44"/>
                  </a:cubicBezTo>
                  <a:cubicBezTo>
                    <a:pt x="64" y="44"/>
                    <a:pt x="78" y="31"/>
                    <a:pt x="81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F606BF7A-6B1B-1F33-780F-DD93F83BD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" y="726"/>
              <a:ext cx="146" cy="162"/>
            </a:xfrm>
            <a:custGeom>
              <a:avLst/>
              <a:gdLst>
                <a:gd name="T0" fmla="*/ 6 w 95"/>
                <a:gd name="T1" fmla="*/ 108 h 109"/>
                <a:gd name="T2" fmla="*/ 4 w 95"/>
                <a:gd name="T3" fmla="*/ 108 h 109"/>
                <a:gd name="T4" fmla="*/ 1 w 95"/>
                <a:gd name="T5" fmla="*/ 100 h 109"/>
                <a:gd name="T6" fmla="*/ 42 w 95"/>
                <a:gd name="T7" fmla="*/ 4 h 109"/>
                <a:gd name="T8" fmla="*/ 47 w 95"/>
                <a:gd name="T9" fmla="*/ 0 h 109"/>
                <a:gd name="T10" fmla="*/ 47 w 95"/>
                <a:gd name="T11" fmla="*/ 0 h 109"/>
                <a:gd name="T12" fmla="*/ 53 w 95"/>
                <a:gd name="T13" fmla="*/ 4 h 109"/>
                <a:gd name="T14" fmla="*/ 94 w 95"/>
                <a:gd name="T15" fmla="*/ 100 h 109"/>
                <a:gd name="T16" fmla="*/ 90 w 95"/>
                <a:gd name="T17" fmla="*/ 108 h 109"/>
                <a:gd name="T18" fmla="*/ 83 w 95"/>
                <a:gd name="T19" fmla="*/ 105 h 109"/>
                <a:gd name="T20" fmla="*/ 47 w 95"/>
                <a:gd name="T21" fmla="*/ 22 h 109"/>
                <a:gd name="T22" fmla="*/ 12 w 95"/>
                <a:gd name="T23" fmla="*/ 105 h 109"/>
                <a:gd name="T24" fmla="*/ 6 w 95"/>
                <a:gd name="T25" fmla="*/ 10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9">
                  <a:moveTo>
                    <a:pt x="6" y="108"/>
                  </a:moveTo>
                  <a:cubicBezTo>
                    <a:pt x="6" y="108"/>
                    <a:pt x="5" y="108"/>
                    <a:pt x="4" y="108"/>
                  </a:cubicBezTo>
                  <a:cubicBezTo>
                    <a:pt x="1" y="106"/>
                    <a:pt x="0" y="103"/>
                    <a:pt x="1" y="100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2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3" y="4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5" y="103"/>
                    <a:pt x="93" y="106"/>
                    <a:pt x="90" y="108"/>
                  </a:cubicBezTo>
                  <a:cubicBezTo>
                    <a:pt x="87" y="109"/>
                    <a:pt x="84" y="108"/>
                    <a:pt x="83" y="10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7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8E03911-5B8D-F5BE-4BA3-C3EF0D5FB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" y="869"/>
              <a:ext cx="144" cy="84"/>
            </a:xfrm>
            <a:custGeom>
              <a:avLst/>
              <a:gdLst>
                <a:gd name="T0" fmla="*/ 47 w 94"/>
                <a:gd name="T1" fmla="*/ 56 h 56"/>
                <a:gd name="T2" fmla="*/ 0 w 94"/>
                <a:gd name="T3" fmla="*/ 6 h 56"/>
                <a:gd name="T4" fmla="*/ 6 w 94"/>
                <a:gd name="T5" fmla="*/ 0 h 56"/>
                <a:gd name="T6" fmla="*/ 88 w 94"/>
                <a:gd name="T7" fmla="*/ 0 h 56"/>
                <a:gd name="T8" fmla="*/ 92 w 94"/>
                <a:gd name="T9" fmla="*/ 2 h 56"/>
                <a:gd name="T10" fmla="*/ 94 w 94"/>
                <a:gd name="T11" fmla="*/ 6 h 56"/>
                <a:gd name="T12" fmla="*/ 47 w 94"/>
                <a:gd name="T13" fmla="*/ 56 h 56"/>
                <a:gd name="T14" fmla="*/ 13 w 94"/>
                <a:gd name="T15" fmla="*/ 12 h 56"/>
                <a:gd name="T16" fmla="*/ 47 w 94"/>
                <a:gd name="T17" fmla="*/ 44 h 56"/>
                <a:gd name="T18" fmla="*/ 82 w 94"/>
                <a:gd name="T19" fmla="*/ 12 h 56"/>
                <a:gd name="T20" fmla="*/ 13 w 94"/>
                <a:gd name="T21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56">
                  <a:moveTo>
                    <a:pt x="47" y="56"/>
                  </a:moveTo>
                  <a:cubicBezTo>
                    <a:pt x="21" y="56"/>
                    <a:pt x="0" y="3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1" y="1"/>
                    <a:pt x="92" y="2"/>
                  </a:cubicBezTo>
                  <a:cubicBezTo>
                    <a:pt x="93" y="3"/>
                    <a:pt x="94" y="5"/>
                    <a:pt x="94" y="6"/>
                  </a:cubicBezTo>
                  <a:cubicBezTo>
                    <a:pt x="94" y="34"/>
                    <a:pt x="74" y="56"/>
                    <a:pt x="47" y="56"/>
                  </a:cubicBezTo>
                  <a:close/>
                  <a:moveTo>
                    <a:pt x="13" y="12"/>
                  </a:moveTo>
                  <a:cubicBezTo>
                    <a:pt x="15" y="31"/>
                    <a:pt x="29" y="44"/>
                    <a:pt x="47" y="44"/>
                  </a:cubicBezTo>
                  <a:cubicBezTo>
                    <a:pt x="65" y="44"/>
                    <a:pt x="79" y="31"/>
                    <a:pt x="82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B9BB87F3-7E61-956E-B580-CD6D89072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" y="726"/>
              <a:ext cx="153" cy="18"/>
            </a:xfrm>
            <a:custGeom>
              <a:avLst/>
              <a:gdLst>
                <a:gd name="T0" fmla="*/ 94 w 100"/>
                <a:gd name="T1" fmla="*/ 12 h 12"/>
                <a:gd name="T2" fmla="*/ 6 w 100"/>
                <a:gd name="T3" fmla="*/ 12 h 12"/>
                <a:gd name="T4" fmla="*/ 0 w 100"/>
                <a:gd name="T5" fmla="*/ 6 h 12"/>
                <a:gd name="T6" fmla="*/ 6 w 100"/>
                <a:gd name="T7" fmla="*/ 0 h 12"/>
                <a:gd name="T8" fmla="*/ 94 w 100"/>
                <a:gd name="T9" fmla="*/ 0 h 12"/>
                <a:gd name="T10" fmla="*/ 100 w 100"/>
                <a:gd name="T11" fmla="*/ 6 h 12"/>
                <a:gd name="T12" fmla="*/ 94 w 10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2">
                  <a:moveTo>
                    <a:pt x="9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100" y="3"/>
                    <a:pt x="100" y="6"/>
                  </a:cubicBezTo>
                  <a:cubicBezTo>
                    <a:pt x="100" y="10"/>
                    <a:pt x="98" y="12"/>
                    <a:pt x="9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D5C136B-D587-3191-7D94-7312436B3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726"/>
              <a:ext cx="172" cy="18"/>
            </a:xfrm>
            <a:custGeom>
              <a:avLst/>
              <a:gdLst>
                <a:gd name="T0" fmla="*/ 106 w 112"/>
                <a:gd name="T1" fmla="*/ 12 h 12"/>
                <a:gd name="T2" fmla="*/ 6 w 112"/>
                <a:gd name="T3" fmla="*/ 12 h 12"/>
                <a:gd name="T4" fmla="*/ 0 w 112"/>
                <a:gd name="T5" fmla="*/ 6 h 12"/>
                <a:gd name="T6" fmla="*/ 6 w 112"/>
                <a:gd name="T7" fmla="*/ 0 h 12"/>
                <a:gd name="T8" fmla="*/ 106 w 112"/>
                <a:gd name="T9" fmla="*/ 0 h 12"/>
                <a:gd name="T10" fmla="*/ 112 w 112"/>
                <a:gd name="T11" fmla="*/ 6 h 12"/>
                <a:gd name="T12" fmla="*/ 106 w 1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2">
                  <a:moveTo>
                    <a:pt x="10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9" y="0"/>
                    <a:pt x="112" y="3"/>
                    <a:pt x="112" y="6"/>
                  </a:cubicBezTo>
                  <a:cubicBezTo>
                    <a:pt x="112" y="9"/>
                    <a:pt x="109" y="12"/>
                    <a:pt x="10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TextBox 24">
            <a:extLst>
              <a:ext uri="{FF2B5EF4-FFF2-40B4-BE49-F238E27FC236}">
                <a16:creationId xmlns:a16="http://schemas.microsoft.com/office/drawing/2014/main" id="{F7B4898F-AABC-7BA5-9B08-BC2E400AA840}"/>
              </a:ext>
            </a:extLst>
          </p:cNvPr>
          <p:cNvSpPr txBox="1"/>
          <p:nvPr/>
        </p:nvSpPr>
        <p:spPr>
          <a:xfrm>
            <a:off x="385762" y="1536697"/>
            <a:ext cx="3487738" cy="47720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0" rIns="72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riángulo isósceles 16">
            <a:extLst>
              <a:ext uri="{FF2B5EF4-FFF2-40B4-BE49-F238E27FC236}">
                <a16:creationId xmlns:a16="http://schemas.microsoft.com/office/drawing/2014/main" id="{82E0C9EC-7955-BF37-2C0A-587A71917010}"/>
              </a:ext>
            </a:extLst>
          </p:cNvPr>
          <p:cNvSpPr/>
          <p:nvPr/>
        </p:nvSpPr>
        <p:spPr>
          <a:xfrm rot="5400000">
            <a:off x="3733800" y="3725860"/>
            <a:ext cx="673100" cy="3937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B3CD5659-A577-A0C6-8FD0-BCC91A127E44}"/>
              </a:ext>
            </a:extLst>
          </p:cNvPr>
          <p:cNvSpPr txBox="1"/>
          <p:nvPr/>
        </p:nvSpPr>
        <p:spPr>
          <a:xfrm>
            <a:off x="8337263" y="1536697"/>
            <a:ext cx="3487738" cy="47720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0" rIns="72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riángulo isósceles 18">
            <a:extLst>
              <a:ext uri="{FF2B5EF4-FFF2-40B4-BE49-F238E27FC236}">
                <a16:creationId xmlns:a16="http://schemas.microsoft.com/office/drawing/2014/main" id="{739AD46F-A5D2-0192-7B67-40C0023B62C3}"/>
              </a:ext>
            </a:extLst>
          </p:cNvPr>
          <p:cNvSpPr/>
          <p:nvPr/>
        </p:nvSpPr>
        <p:spPr>
          <a:xfrm rot="16200000">
            <a:off x="7803863" y="3725860"/>
            <a:ext cx="673100" cy="3937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8" name="Group 50">
            <a:extLst>
              <a:ext uri="{FF2B5EF4-FFF2-40B4-BE49-F238E27FC236}">
                <a16:creationId xmlns:a16="http://schemas.microsoft.com/office/drawing/2014/main" id="{992E8FFC-F9FC-06BF-7F7C-BBA7D559681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83193" y="1814952"/>
            <a:ext cx="492877" cy="470946"/>
            <a:chOff x="5693" y="604"/>
            <a:chExt cx="427" cy="408"/>
          </a:xfrm>
          <a:solidFill>
            <a:schemeClr val="bg2"/>
          </a:solidFill>
        </p:grpSpPr>
        <p:sp>
          <p:nvSpPr>
            <p:cNvPr id="29" name="Freeform 51">
              <a:extLst>
                <a:ext uri="{FF2B5EF4-FFF2-40B4-BE49-F238E27FC236}">
                  <a16:creationId xmlns:a16="http://schemas.microsoft.com/office/drawing/2014/main" id="{E598E630-2C85-10DA-D025-15653021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3" y="995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52">
              <a:extLst>
                <a:ext uri="{FF2B5EF4-FFF2-40B4-BE49-F238E27FC236}">
                  <a16:creationId xmlns:a16="http://schemas.microsoft.com/office/drawing/2014/main" id="{612CEF63-FF03-8C8E-2592-8768FB452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" y="943"/>
              <a:ext cx="71" cy="69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6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53">
              <a:extLst>
                <a:ext uri="{FF2B5EF4-FFF2-40B4-BE49-F238E27FC236}">
                  <a16:creationId xmlns:a16="http://schemas.microsoft.com/office/drawing/2014/main" id="{F60C4EE7-031A-1C80-AC84-50E868DDB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8" y="873"/>
              <a:ext cx="71" cy="139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6 h 96"/>
                <a:gd name="T8" fmla="*/ 6 w 48"/>
                <a:gd name="T9" fmla="*/ 0 h 96"/>
                <a:gd name="T10" fmla="*/ 42 w 48"/>
                <a:gd name="T11" fmla="*/ 0 h 96"/>
                <a:gd name="T12" fmla="*/ 48 w 48"/>
                <a:gd name="T13" fmla="*/ 6 h 96"/>
                <a:gd name="T14" fmla="*/ 48 w 48"/>
                <a:gd name="T15" fmla="*/ 90 h 96"/>
                <a:gd name="T16" fmla="*/ 42 w 48"/>
                <a:gd name="T17" fmla="*/ 96 h 96"/>
                <a:gd name="T18" fmla="*/ 12 w 48"/>
                <a:gd name="T19" fmla="*/ 84 h 96"/>
                <a:gd name="T20" fmla="*/ 36 w 48"/>
                <a:gd name="T21" fmla="*/ 84 h 96"/>
                <a:gd name="T22" fmla="*/ 36 w 48"/>
                <a:gd name="T23" fmla="*/ 12 h 96"/>
                <a:gd name="T24" fmla="*/ 12 w 48"/>
                <a:gd name="T25" fmla="*/ 12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4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4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4" name="Freeform 54">
              <a:extLst>
                <a:ext uri="{FF2B5EF4-FFF2-40B4-BE49-F238E27FC236}">
                  <a16:creationId xmlns:a16="http://schemas.microsoft.com/office/drawing/2014/main" id="{ECAA5356-BAD4-7504-0748-DAC478D9C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5" y="804"/>
              <a:ext cx="71" cy="208"/>
            </a:xfrm>
            <a:custGeom>
              <a:avLst/>
              <a:gdLst>
                <a:gd name="T0" fmla="*/ 42 w 48"/>
                <a:gd name="T1" fmla="*/ 144 h 144"/>
                <a:gd name="T2" fmla="*/ 6 w 48"/>
                <a:gd name="T3" fmla="*/ 144 h 144"/>
                <a:gd name="T4" fmla="*/ 0 w 48"/>
                <a:gd name="T5" fmla="*/ 138 h 144"/>
                <a:gd name="T6" fmla="*/ 0 w 48"/>
                <a:gd name="T7" fmla="*/ 6 h 144"/>
                <a:gd name="T8" fmla="*/ 6 w 48"/>
                <a:gd name="T9" fmla="*/ 0 h 144"/>
                <a:gd name="T10" fmla="*/ 42 w 48"/>
                <a:gd name="T11" fmla="*/ 0 h 144"/>
                <a:gd name="T12" fmla="*/ 48 w 48"/>
                <a:gd name="T13" fmla="*/ 6 h 144"/>
                <a:gd name="T14" fmla="*/ 48 w 48"/>
                <a:gd name="T15" fmla="*/ 138 h 144"/>
                <a:gd name="T16" fmla="*/ 42 w 48"/>
                <a:gd name="T17" fmla="*/ 144 h 144"/>
                <a:gd name="T18" fmla="*/ 12 w 48"/>
                <a:gd name="T19" fmla="*/ 132 h 144"/>
                <a:gd name="T20" fmla="*/ 36 w 48"/>
                <a:gd name="T21" fmla="*/ 132 h 144"/>
                <a:gd name="T22" fmla="*/ 36 w 48"/>
                <a:gd name="T23" fmla="*/ 12 h 144"/>
                <a:gd name="T24" fmla="*/ 12 w 48"/>
                <a:gd name="T25" fmla="*/ 12 h 144"/>
                <a:gd name="T26" fmla="*/ 12 w 48"/>
                <a:gd name="T27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44">
                  <a:moveTo>
                    <a:pt x="42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2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42"/>
                    <a:pt x="46" y="144"/>
                    <a:pt x="42" y="144"/>
                  </a:cubicBezTo>
                  <a:close/>
                  <a:moveTo>
                    <a:pt x="12" y="132"/>
                  </a:moveTo>
                  <a:cubicBezTo>
                    <a:pt x="36" y="132"/>
                    <a:pt x="36" y="132"/>
                    <a:pt x="36" y="13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5" name="Freeform 55">
              <a:extLst>
                <a:ext uri="{FF2B5EF4-FFF2-40B4-BE49-F238E27FC236}">
                  <a16:creationId xmlns:a16="http://schemas.microsoft.com/office/drawing/2014/main" id="{8C677D06-05F5-F230-F2D1-2E336D725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1" y="735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3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6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7" name="Freeform 56">
              <a:extLst>
                <a:ext uri="{FF2B5EF4-FFF2-40B4-BE49-F238E27FC236}">
                  <a16:creationId xmlns:a16="http://schemas.microsoft.com/office/drawing/2014/main" id="{81A28EB3-D747-A7EA-9F7D-CC38738EB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" y="612"/>
              <a:ext cx="339" cy="227"/>
            </a:xfrm>
            <a:custGeom>
              <a:avLst/>
              <a:gdLst>
                <a:gd name="T0" fmla="*/ 6 w 229"/>
                <a:gd name="T1" fmla="*/ 157 h 157"/>
                <a:gd name="T2" fmla="*/ 1 w 229"/>
                <a:gd name="T3" fmla="*/ 154 h 157"/>
                <a:gd name="T4" fmla="*/ 3 w 229"/>
                <a:gd name="T5" fmla="*/ 146 h 157"/>
                <a:gd name="T6" fmla="*/ 219 w 229"/>
                <a:gd name="T7" fmla="*/ 2 h 157"/>
                <a:gd name="T8" fmla="*/ 227 w 229"/>
                <a:gd name="T9" fmla="*/ 4 h 157"/>
                <a:gd name="T10" fmla="*/ 226 w 229"/>
                <a:gd name="T11" fmla="*/ 12 h 157"/>
                <a:gd name="T12" fmla="*/ 10 w 229"/>
                <a:gd name="T13" fmla="*/ 156 h 157"/>
                <a:gd name="T14" fmla="*/ 6 w 229"/>
                <a:gd name="T1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57">
                  <a:moveTo>
                    <a:pt x="6" y="157"/>
                  </a:moveTo>
                  <a:cubicBezTo>
                    <a:pt x="5" y="157"/>
                    <a:pt x="3" y="156"/>
                    <a:pt x="1" y="154"/>
                  </a:cubicBezTo>
                  <a:cubicBezTo>
                    <a:pt x="0" y="152"/>
                    <a:pt x="0" y="148"/>
                    <a:pt x="3" y="146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22" y="0"/>
                    <a:pt x="226" y="1"/>
                    <a:pt x="227" y="4"/>
                  </a:cubicBezTo>
                  <a:cubicBezTo>
                    <a:pt x="229" y="7"/>
                    <a:pt x="229" y="10"/>
                    <a:pt x="226" y="12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9" y="157"/>
                    <a:pt x="8" y="157"/>
                    <a:pt x="6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8" name="Freeform 57">
              <a:extLst>
                <a:ext uri="{FF2B5EF4-FFF2-40B4-BE49-F238E27FC236}">
                  <a16:creationId xmlns:a16="http://schemas.microsoft.com/office/drawing/2014/main" id="{BA78A5F9-92CD-2C4D-2D4F-4D2F0051B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" y="604"/>
              <a:ext cx="90" cy="96"/>
            </a:xfrm>
            <a:custGeom>
              <a:avLst/>
              <a:gdLst>
                <a:gd name="T0" fmla="*/ 48 w 61"/>
                <a:gd name="T1" fmla="*/ 66 h 66"/>
                <a:gd name="T2" fmla="*/ 48 w 61"/>
                <a:gd name="T3" fmla="*/ 66 h 66"/>
                <a:gd name="T4" fmla="*/ 42 w 61"/>
                <a:gd name="T5" fmla="*/ 60 h 66"/>
                <a:gd name="T6" fmla="*/ 48 w 61"/>
                <a:gd name="T7" fmla="*/ 17 h 66"/>
                <a:gd name="T8" fmla="*/ 6 w 61"/>
                <a:gd name="T9" fmla="*/ 12 h 66"/>
                <a:gd name="T10" fmla="*/ 0 w 61"/>
                <a:gd name="T11" fmla="*/ 6 h 66"/>
                <a:gd name="T12" fmla="*/ 7 w 61"/>
                <a:gd name="T13" fmla="*/ 0 h 66"/>
                <a:gd name="T14" fmla="*/ 55 w 61"/>
                <a:gd name="T15" fmla="*/ 6 h 66"/>
                <a:gd name="T16" fmla="*/ 59 w 61"/>
                <a:gd name="T17" fmla="*/ 8 h 66"/>
                <a:gd name="T18" fmla="*/ 60 w 61"/>
                <a:gd name="T19" fmla="*/ 13 h 66"/>
                <a:gd name="T20" fmla="*/ 54 w 61"/>
                <a:gd name="T21" fmla="*/ 61 h 66"/>
                <a:gd name="T22" fmla="*/ 48 w 61"/>
                <a:gd name="T2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66">
                  <a:moveTo>
                    <a:pt x="48" y="6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4" y="66"/>
                    <a:pt x="42" y="63"/>
                    <a:pt x="42" y="60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7" y="6"/>
                    <a:pt x="58" y="7"/>
                    <a:pt x="59" y="8"/>
                  </a:cubicBezTo>
                  <a:cubicBezTo>
                    <a:pt x="60" y="10"/>
                    <a:pt x="61" y="11"/>
                    <a:pt x="60" y="13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4"/>
                    <a:pt x="51" y="66"/>
                    <a:pt x="4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1509" name="Group 28">
            <a:extLst>
              <a:ext uri="{FF2B5EF4-FFF2-40B4-BE49-F238E27FC236}">
                <a16:creationId xmlns:a16="http://schemas.microsoft.com/office/drawing/2014/main" id="{C2973F2F-1E8D-9181-5DDC-7A231BDCD0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30193" y="1896040"/>
            <a:ext cx="501879" cy="458826"/>
            <a:chOff x="3446" y="468"/>
            <a:chExt cx="408" cy="373"/>
          </a:xfrm>
          <a:solidFill>
            <a:schemeClr val="bg2"/>
          </a:solidFill>
        </p:grpSpPr>
        <p:sp>
          <p:nvSpPr>
            <p:cNvPr id="21510" name="Freeform 29">
              <a:extLst>
                <a:ext uri="{FF2B5EF4-FFF2-40B4-BE49-F238E27FC236}">
                  <a16:creationId xmlns:a16="http://schemas.microsoft.com/office/drawing/2014/main" id="{CB1C7558-B686-760F-0ED0-54CF9ADD95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6" y="468"/>
              <a:ext cx="408" cy="373"/>
            </a:xfrm>
            <a:custGeom>
              <a:avLst/>
              <a:gdLst>
                <a:gd name="T0" fmla="*/ 138 w 276"/>
                <a:gd name="T1" fmla="*/ 252 h 252"/>
                <a:gd name="T2" fmla="*/ 132 w 276"/>
                <a:gd name="T3" fmla="*/ 246 h 252"/>
                <a:gd name="T4" fmla="*/ 6 w 276"/>
                <a:gd name="T5" fmla="*/ 210 h 252"/>
                <a:gd name="T6" fmla="*/ 0 w 276"/>
                <a:gd name="T7" fmla="*/ 204 h 252"/>
                <a:gd name="T8" fmla="*/ 0 w 276"/>
                <a:gd name="T9" fmla="*/ 6 h 252"/>
                <a:gd name="T10" fmla="*/ 6 w 276"/>
                <a:gd name="T11" fmla="*/ 0 h 252"/>
                <a:gd name="T12" fmla="*/ 138 w 276"/>
                <a:gd name="T13" fmla="*/ 33 h 252"/>
                <a:gd name="T14" fmla="*/ 270 w 276"/>
                <a:gd name="T15" fmla="*/ 0 h 252"/>
                <a:gd name="T16" fmla="*/ 276 w 276"/>
                <a:gd name="T17" fmla="*/ 6 h 252"/>
                <a:gd name="T18" fmla="*/ 276 w 276"/>
                <a:gd name="T19" fmla="*/ 204 h 252"/>
                <a:gd name="T20" fmla="*/ 270 w 276"/>
                <a:gd name="T21" fmla="*/ 210 h 252"/>
                <a:gd name="T22" fmla="*/ 144 w 276"/>
                <a:gd name="T23" fmla="*/ 246 h 252"/>
                <a:gd name="T24" fmla="*/ 138 w 276"/>
                <a:gd name="T25" fmla="*/ 252 h 252"/>
                <a:gd name="T26" fmla="*/ 12 w 276"/>
                <a:gd name="T27" fmla="*/ 198 h 252"/>
                <a:gd name="T28" fmla="*/ 138 w 276"/>
                <a:gd name="T29" fmla="*/ 231 h 252"/>
                <a:gd name="T30" fmla="*/ 264 w 276"/>
                <a:gd name="T31" fmla="*/ 198 h 252"/>
                <a:gd name="T32" fmla="*/ 264 w 276"/>
                <a:gd name="T33" fmla="*/ 12 h 252"/>
                <a:gd name="T34" fmla="*/ 144 w 276"/>
                <a:gd name="T35" fmla="*/ 48 h 252"/>
                <a:gd name="T36" fmla="*/ 138 w 276"/>
                <a:gd name="T37" fmla="*/ 54 h 252"/>
                <a:gd name="T38" fmla="*/ 132 w 276"/>
                <a:gd name="T39" fmla="*/ 48 h 252"/>
                <a:gd name="T40" fmla="*/ 12 w 276"/>
                <a:gd name="T41" fmla="*/ 12 h 252"/>
                <a:gd name="T42" fmla="*/ 12 w 276"/>
                <a:gd name="T43" fmla="*/ 19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6" h="252">
                  <a:moveTo>
                    <a:pt x="138" y="252"/>
                  </a:moveTo>
                  <a:cubicBezTo>
                    <a:pt x="135" y="252"/>
                    <a:pt x="132" y="249"/>
                    <a:pt x="132" y="246"/>
                  </a:cubicBezTo>
                  <a:cubicBezTo>
                    <a:pt x="132" y="229"/>
                    <a:pt x="77" y="210"/>
                    <a:pt x="6" y="210"/>
                  </a:cubicBezTo>
                  <a:cubicBezTo>
                    <a:pt x="3" y="210"/>
                    <a:pt x="0" y="207"/>
                    <a:pt x="0" y="20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2" y="0"/>
                    <a:pt x="120" y="12"/>
                    <a:pt x="138" y="33"/>
                  </a:cubicBezTo>
                  <a:cubicBezTo>
                    <a:pt x="157" y="12"/>
                    <a:pt x="214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6" y="207"/>
                    <a:pt x="274" y="210"/>
                    <a:pt x="270" y="210"/>
                  </a:cubicBezTo>
                  <a:cubicBezTo>
                    <a:pt x="199" y="210"/>
                    <a:pt x="144" y="229"/>
                    <a:pt x="144" y="246"/>
                  </a:cubicBezTo>
                  <a:cubicBezTo>
                    <a:pt x="144" y="249"/>
                    <a:pt x="142" y="252"/>
                    <a:pt x="138" y="252"/>
                  </a:cubicBezTo>
                  <a:close/>
                  <a:moveTo>
                    <a:pt x="12" y="198"/>
                  </a:moveTo>
                  <a:cubicBezTo>
                    <a:pt x="66" y="199"/>
                    <a:pt x="121" y="211"/>
                    <a:pt x="138" y="231"/>
                  </a:cubicBezTo>
                  <a:cubicBezTo>
                    <a:pt x="156" y="211"/>
                    <a:pt x="210" y="199"/>
                    <a:pt x="264" y="198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196" y="13"/>
                    <a:pt x="144" y="32"/>
                    <a:pt x="144" y="48"/>
                  </a:cubicBezTo>
                  <a:cubicBezTo>
                    <a:pt x="144" y="51"/>
                    <a:pt x="142" y="54"/>
                    <a:pt x="138" y="54"/>
                  </a:cubicBezTo>
                  <a:cubicBezTo>
                    <a:pt x="135" y="54"/>
                    <a:pt x="132" y="51"/>
                    <a:pt x="132" y="48"/>
                  </a:cubicBezTo>
                  <a:cubicBezTo>
                    <a:pt x="132" y="32"/>
                    <a:pt x="80" y="13"/>
                    <a:pt x="12" y="12"/>
                  </a:cubicBezTo>
                  <a:lnTo>
                    <a:pt x="12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1" name="Freeform 30">
              <a:extLst>
                <a:ext uri="{FF2B5EF4-FFF2-40B4-BE49-F238E27FC236}">
                  <a16:creationId xmlns:a16="http://schemas.microsoft.com/office/drawing/2014/main" id="{7B93A8F8-B959-D9C3-14CD-32A294C88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530"/>
              <a:ext cx="18" cy="308"/>
            </a:xfrm>
            <a:custGeom>
              <a:avLst/>
              <a:gdLst>
                <a:gd name="T0" fmla="*/ 6 w 12"/>
                <a:gd name="T1" fmla="*/ 208 h 208"/>
                <a:gd name="T2" fmla="*/ 0 w 12"/>
                <a:gd name="T3" fmla="*/ 202 h 208"/>
                <a:gd name="T4" fmla="*/ 0 w 12"/>
                <a:gd name="T5" fmla="*/ 6 h 208"/>
                <a:gd name="T6" fmla="*/ 6 w 12"/>
                <a:gd name="T7" fmla="*/ 0 h 208"/>
                <a:gd name="T8" fmla="*/ 12 w 12"/>
                <a:gd name="T9" fmla="*/ 6 h 208"/>
                <a:gd name="T10" fmla="*/ 12 w 12"/>
                <a:gd name="T11" fmla="*/ 202 h 208"/>
                <a:gd name="T12" fmla="*/ 6 w 12"/>
                <a:gd name="T1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8">
                  <a:moveTo>
                    <a:pt x="6" y="208"/>
                  </a:moveTo>
                  <a:cubicBezTo>
                    <a:pt x="3" y="208"/>
                    <a:pt x="0" y="206"/>
                    <a:pt x="0" y="2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6"/>
                    <a:pt x="10" y="208"/>
                    <a:pt x="6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2" name="Freeform 31">
              <a:extLst>
                <a:ext uri="{FF2B5EF4-FFF2-40B4-BE49-F238E27FC236}">
                  <a16:creationId xmlns:a16="http://schemas.microsoft.com/office/drawing/2014/main" id="{CC094358-F239-A4F7-8C3A-183A6DB4A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548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3" name="Freeform 32">
              <a:extLst>
                <a:ext uri="{FF2B5EF4-FFF2-40B4-BE49-F238E27FC236}">
                  <a16:creationId xmlns:a16="http://schemas.microsoft.com/office/drawing/2014/main" id="{E57A2F3E-2F32-AC57-E1B5-A4C796053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601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4" name="Freeform 33">
              <a:extLst>
                <a:ext uri="{FF2B5EF4-FFF2-40B4-BE49-F238E27FC236}">
                  <a16:creationId xmlns:a16="http://schemas.microsoft.com/office/drawing/2014/main" id="{0F4D02E6-8822-BB7F-40E5-C78266AD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654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5" name="Freeform 34">
              <a:extLst>
                <a:ext uri="{FF2B5EF4-FFF2-40B4-BE49-F238E27FC236}">
                  <a16:creationId xmlns:a16="http://schemas.microsoft.com/office/drawing/2014/main" id="{43803D8F-0B38-D7EE-3EC6-36A389FC2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708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6" name="Freeform 35">
              <a:extLst>
                <a:ext uri="{FF2B5EF4-FFF2-40B4-BE49-F238E27FC236}">
                  <a16:creationId xmlns:a16="http://schemas.microsoft.com/office/drawing/2014/main" id="{E653E6E1-FC64-E4C7-8DED-2B41C2116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654"/>
              <a:ext cx="135" cy="40"/>
            </a:xfrm>
            <a:custGeom>
              <a:avLst/>
              <a:gdLst>
                <a:gd name="T0" fmla="*/ 7 w 91"/>
                <a:gd name="T1" fmla="*/ 27 h 27"/>
                <a:gd name="T2" fmla="*/ 2 w 91"/>
                <a:gd name="T3" fmla="*/ 23 h 27"/>
                <a:gd name="T4" fmla="*/ 5 w 91"/>
                <a:gd name="T5" fmla="*/ 15 h 27"/>
                <a:gd name="T6" fmla="*/ 85 w 91"/>
                <a:gd name="T7" fmla="*/ 0 h 27"/>
                <a:gd name="T8" fmla="*/ 91 w 91"/>
                <a:gd name="T9" fmla="*/ 5 h 27"/>
                <a:gd name="T10" fmla="*/ 86 w 91"/>
                <a:gd name="T11" fmla="*/ 12 h 27"/>
                <a:gd name="T12" fmla="*/ 9 w 91"/>
                <a:gd name="T13" fmla="*/ 26 h 27"/>
                <a:gd name="T14" fmla="*/ 7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7" y="27"/>
                  </a:moveTo>
                  <a:cubicBezTo>
                    <a:pt x="5" y="27"/>
                    <a:pt x="3" y="25"/>
                    <a:pt x="2" y="23"/>
                  </a:cubicBezTo>
                  <a:cubicBezTo>
                    <a:pt x="0" y="20"/>
                    <a:pt x="2" y="16"/>
                    <a:pt x="5" y="15"/>
                  </a:cubicBezTo>
                  <a:cubicBezTo>
                    <a:pt x="25" y="7"/>
                    <a:pt x="54" y="2"/>
                    <a:pt x="85" y="0"/>
                  </a:cubicBezTo>
                  <a:cubicBezTo>
                    <a:pt x="88" y="0"/>
                    <a:pt x="91" y="2"/>
                    <a:pt x="91" y="5"/>
                  </a:cubicBezTo>
                  <a:cubicBezTo>
                    <a:pt x="91" y="9"/>
                    <a:pt x="89" y="12"/>
                    <a:pt x="86" y="12"/>
                  </a:cubicBezTo>
                  <a:cubicBezTo>
                    <a:pt x="56" y="14"/>
                    <a:pt x="28" y="19"/>
                    <a:pt x="9" y="26"/>
                  </a:cubicBezTo>
                  <a:cubicBezTo>
                    <a:pt x="9" y="27"/>
                    <a:pt x="8" y="27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7" name="Freeform 36">
              <a:extLst>
                <a:ext uri="{FF2B5EF4-FFF2-40B4-BE49-F238E27FC236}">
                  <a16:creationId xmlns:a16="http://schemas.microsoft.com/office/drawing/2014/main" id="{6D408E98-275C-DCB2-80C1-691919A63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708"/>
              <a:ext cx="135" cy="40"/>
            </a:xfrm>
            <a:custGeom>
              <a:avLst/>
              <a:gdLst>
                <a:gd name="T0" fmla="*/ 7 w 91"/>
                <a:gd name="T1" fmla="*/ 27 h 27"/>
                <a:gd name="T2" fmla="*/ 2 w 91"/>
                <a:gd name="T3" fmla="*/ 23 h 27"/>
                <a:gd name="T4" fmla="*/ 5 w 91"/>
                <a:gd name="T5" fmla="*/ 15 h 27"/>
                <a:gd name="T6" fmla="*/ 85 w 91"/>
                <a:gd name="T7" fmla="*/ 0 h 27"/>
                <a:gd name="T8" fmla="*/ 91 w 91"/>
                <a:gd name="T9" fmla="*/ 5 h 27"/>
                <a:gd name="T10" fmla="*/ 86 w 91"/>
                <a:gd name="T11" fmla="*/ 12 h 27"/>
                <a:gd name="T12" fmla="*/ 9 w 91"/>
                <a:gd name="T13" fmla="*/ 26 h 27"/>
                <a:gd name="T14" fmla="*/ 7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7" y="27"/>
                  </a:moveTo>
                  <a:cubicBezTo>
                    <a:pt x="5" y="27"/>
                    <a:pt x="3" y="25"/>
                    <a:pt x="2" y="23"/>
                  </a:cubicBezTo>
                  <a:cubicBezTo>
                    <a:pt x="0" y="20"/>
                    <a:pt x="2" y="16"/>
                    <a:pt x="5" y="15"/>
                  </a:cubicBezTo>
                  <a:cubicBezTo>
                    <a:pt x="25" y="7"/>
                    <a:pt x="54" y="2"/>
                    <a:pt x="85" y="0"/>
                  </a:cubicBezTo>
                  <a:cubicBezTo>
                    <a:pt x="88" y="0"/>
                    <a:pt x="91" y="2"/>
                    <a:pt x="91" y="5"/>
                  </a:cubicBezTo>
                  <a:cubicBezTo>
                    <a:pt x="91" y="9"/>
                    <a:pt x="89" y="12"/>
                    <a:pt x="86" y="12"/>
                  </a:cubicBezTo>
                  <a:cubicBezTo>
                    <a:pt x="56" y="14"/>
                    <a:pt x="28" y="19"/>
                    <a:pt x="9" y="26"/>
                  </a:cubicBezTo>
                  <a:cubicBezTo>
                    <a:pt x="9" y="27"/>
                    <a:pt x="8" y="27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8" name="Freeform 37">
              <a:extLst>
                <a:ext uri="{FF2B5EF4-FFF2-40B4-BE49-F238E27FC236}">
                  <a16:creationId xmlns:a16="http://schemas.microsoft.com/office/drawing/2014/main" id="{A0C611C0-1D43-1B32-A411-901572ECB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" y="477"/>
              <a:ext cx="89" cy="160"/>
            </a:xfrm>
            <a:custGeom>
              <a:avLst/>
              <a:gdLst>
                <a:gd name="T0" fmla="*/ 54 w 60"/>
                <a:gd name="T1" fmla="*/ 108 h 108"/>
                <a:gd name="T2" fmla="*/ 50 w 60"/>
                <a:gd name="T3" fmla="*/ 106 h 108"/>
                <a:gd name="T4" fmla="*/ 30 w 60"/>
                <a:gd name="T5" fmla="*/ 86 h 108"/>
                <a:gd name="T6" fmla="*/ 10 w 60"/>
                <a:gd name="T7" fmla="*/ 106 h 108"/>
                <a:gd name="T8" fmla="*/ 4 w 60"/>
                <a:gd name="T9" fmla="*/ 107 h 108"/>
                <a:gd name="T10" fmla="*/ 0 w 60"/>
                <a:gd name="T11" fmla="*/ 102 h 108"/>
                <a:gd name="T12" fmla="*/ 0 w 60"/>
                <a:gd name="T13" fmla="*/ 6 h 108"/>
                <a:gd name="T14" fmla="*/ 12 w 60"/>
                <a:gd name="T15" fmla="*/ 6 h 108"/>
                <a:gd name="T16" fmla="*/ 12 w 60"/>
                <a:gd name="T17" fmla="*/ 87 h 108"/>
                <a:gd name="T18" fmla="*/ 26 w 60"/>
                <a:gd name="T19" fmla="*/ 74 h 108"/>
                <a:gd name="T20" fmla="*/ 34 w 60"/>
                <a:gd name="T21" fmla="*/ 74 h 108"/>
                <a:gd name="T22" fmla="*/ 48 w 60"/>
                <a:gd name="T23" fmla="*/ 87 h 108"/>
                <a:gd name="T24" fmla="*/ 48 w 60"/>
                <a:gd name="T25" fmla="*/ 0 h 108"/>
                <a:gd name="T26" fmla="*/ 60 w 60"/>
                <a:gd name="T27" fmla="*/ 0 h 108"/>
                <a:gd name="T28" fmla="*/ 60 w 60"/>
                <a:gd name="T29" fmla="*/ 102 h 108"/>
                <a:gd name="T30" fmla="*/ 57 w 60"/>
                <a:gd name="T31" fmla="*/ 107 h 108"/>
                <a:gd name="T32" fmla="*/ 54 w 60"/>
                <a:gd name="T3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08">
                  <a:moveTo>
                    <a:pt x="54" y="108"/>
                  </a:moveTo>
                  <a:cubicBezTo>
                    <a:pt x="53" y="108"/>
                    <a:pt x="51" y="107"/>
                    <a:pt x="50" y="10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9" y="108"/>
                    <a:pt x="6" y="108"/>
                    <a:pt x="4" y="107"/>
                  </a:cubicBezTo>
                  <a:cubicBezTo>
                    <a:pt x="2" y="106"/>
                    <a:pt x="0" y="104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8" y="71"/>
                    <a:pt x="32" y="71"/>
                    <a:pt x="34" y="74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60" y="104"/>
                    <a:pt x="59" y="106"/>
                    <a:pt x="57" y="107"/>
                  </a:cubicBezTo>
                  <a:cubicBezTo>
                    <a:pt x="56" y="108"/>
                    <a:pt x="55" y="108"/>
                    <a:pt x="5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519" name="Elipse 21518">
            <a:extLst>
              <a:ext uri="{FF2B5EF4-FFF2-40B4-BE49-F238E27FC236}">
                <a16:creationId xmlns:a16="http://schemas.microsoft.com/office/drawing/2014/main" id="{150C774C-FEA2-DD36-BEF3-47F3D9497CB9}"/>
              </a:ext>
            </a:extLst>
          </p:cNvPr>
          <p:cNvSpPr/>
          <p:nvPr/>
        </p:nvSpPr>
        <p:spPr>
          <a:xfrm>
            <a:off x="9659971" y="1704292"/>
            <a:ext cx="842323" cy="842322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20" name="Elipse 21519">
            <a:extLst>
              <a:ext uri="{FF2B5EF4-FFF2-40B4-BE49-F238E27FC236}">
                <a16:creationId xmlns:a16="http://schemas.microsoft.com/office/drawing/2014/main" id="{019EC137-4033-58B4-6C89-2A9B28D78A1A}"/>
              </a:ext>
            </a:extLst>
          </p:cNvPr>
          <p:cNvSpPr/>
          <p:nvPr/>
        </p:nvSpPr>
        <p:spPr>
          <a:xfrm>
            <a:off x="1708470" y="1704292"/>
            <a:ext cx="842323" cy="842322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802060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E374048-D2A7-7CEC-CE7D-CCC5F420C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E374048-D2A7-7CEC-CE7D-CCC5F420C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o 28">
            <a:extLst>
              <a:ext uri="{FF2B5EF4-FFF2-40B4-BE49-F238E27FC236}">
                <a16:creationId xmlns:a16="http://schemas.microsoft.com/office/drawing/2014/main" id="{779F1565-22AA-CD9C-5F59-3ADAFC3EAE32}"/>
              </a:ext>
            </a:extLst>
          </p:cNvPr>
          <p:cNvGrpSpPr/>
          <p:nvPr/>
        </p:nvGrpSpPr>
        <p:grpSpPr>
          <a:xfrm>
            <a:off x="1919288" y="4252569"/>
            <a:ext cx="3952875" cy="1352550"/>
            <a:chOff x="1919288" y="4365625"/>
            <a:chExt cx="3952875" cy="1352550"/>
          </a:xfrm>
        </p:grpSpPr>
        <p:grpSp>
          <p:nvGrpSpPr>
            <p:cNvPr id="30" name="Grupo 29">
              <a:extLst>
                <a:ext uri="{FF2B5EF4-FFF2-40B4-BE49-F238E27FC236}">
                  <a16:creationId xmlns:a16="http://schemas.microsoft.com/office/drawing/2014/main" id="{0194ECE1-08B8-BF8C-3FEE-1F15E423F339}"/>
                </a:ext>
              </a:extLst>
            </p:cNvPr>
            <p:cNvGrpSpPr/>
            <p:nvPr/>
          </p:nvGrpSpPr>
          <p:grpSpPr>
            <a:xfrm>
              <a:off x="1919288" y="4365625"/>
              <a:ext cx="3952875" cy="1352550"/>
              <a:chOff x="1919288" y="2943225"/>
              <a:chExt cx="3952875" cy="1352550"/>
            </a:xfrm>
          </p:grpSpPr>
          <p:sp>
            <p:nvSpPr>
              <p:cNvPr id="23556" name="Forma libre: forma 23555">
                <a:extLst>
                  <a:ext uri="{FF2B5EF4-FFF2-40B4-BE49-F238E27FC236}">
                    <a16:creationId xmlns:a16="http://schemas.microsoft.com/office/drawing/2014/main" id="{ECCA83DD-63EB-2607-E62C-D217C7DA4BD9}"/>
                  </a:ext>
                </a:extLst>
              </p:cNvPr>
              <p:cNvSpPr/>
              <p:nvPr/>
            </p:nvSpPr>
            <p:spPr>
              <a:xfrm>
                <a:off x="1919288" y="2943225"/>
                <a:ext cx="3952875" cy="1100138"/>
              </a:xfrm>
              <a:custGeom>
                <a:avLst/>
                <a:gdLst>
                  <a:gd name="connsiteX0" fmla="*/ 3952875 w 3952875"/>
                  <a:gd name="connsiteY0" fmla="*/ 642938 h 1100138"/>
                  <a:gd name="connsiteX1" fmla="*/ 1795462 w 3952875"/>
                  <a:gd name="connsiteY1" fmla="*/ 0 h 1100138"/>
                  <a:gd name="connsiteX2" fmla="*/ 0 w 3952875"/>
                  <a:gd name="connsiteY2" fmla="*/ 280988 h 1100138"/>
                  <a:gd name="connsiteX3" fmla="*/ 1938337 w 3952875"/>
                  <a:gd name="connsiteY3" fmla="*/ 1100138 h 1100138"/>
                  <a:gd name="connsiteX4" fmla="*/ 3952875 w 3952875"/>
                  <a:gd name="connsiteY4" fmla="*/ 642938 h 110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75" h="1100138">
                    <a:moveTo>
                      <a:pt x="3952875" y="642938"/>
                    </a:moveTo>
                    <a:lnTo>
                      <a:pt x="1795462" y="0"/>
                    </a:lnTo>
                    <a:lnTo>
                      <a:pt x="0" y="280988"/>
                    </a:lnTo>
                    <a:lnTo>
                      <a:pt x="1938337" y="1100138"/>
                    </a:lnTo>
                    <a:lnTo>
                      <a:pt x="3952875" y="642938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7" name="Forma libre: forma 23556">
                <a:extLst>
                  <a:ext uri="{FF2B5EF4-FFF2-40B4-BE49-F238E27FC236}">
                    <a16:creationId xmlns:a16="http://schemas.microsoft.com/office/drawing/2014/main" id="{80A9DC1D-5D1D-D04F-9FB3-E21E1313974B}"/>
                  </a:ext>
                </a:extLst>
              </p:cNvPr>
              <p:cNvSpPr/>
              <p:nvPr/>
            </p:nvSpPr>
            <p:spPr>
              <a:xfrm>
                <a:off x="1919288" y="3219450"/>
                <a:ext cx="1933575" cy="1076325"/>
              </a:xfrm>
              <a:custGeom>
                <a:avLst/>
                <a:gdLst>
                  <a:gd name="connsiteX0" fmla="*/ 1924050 w 1924050"/>
                  <a:gd name="connsiteY0" fmla="*/ 819150 h 1076325"/>
                  <a:gd name="connsiteX1" fmla="*/ 0 w 1924050"/>
                  <a:gd name="connsiteY1" fmla="*/ 0 h 1076325"/>
                  <a:gd name="connsiteX2" fmla="*/ 0 w 1924050"/>
                  <a:gd name="connsiteY2" fmla="*/ 204788 h 1076325"/>
                  <a:gd name="connsiteX3" fmla="*/ 1924050 w 1924050"/>
                  <a:gd name="connsiteY3" fmla="*/ 1076325 h 1076325"/>
                  <a:gd name="connsiteX4" fmla="*/ 1924050 w 1924050"/>
                  <a:gd name="connsiteY4" fmla="*/ 819150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050" h="1076325">
                    <a:moveTo>
                      <a:pt x="1924050" y="819150"/>
                    </a:moveTo>
                    <a:lnTo>
                      <a:pt x="0" y="0"/>
                    </a:lnTo>
                    <a:lnTo>
                      <a:pt x="0" y="204788"/>
                    </a:lnTo>
                    <a:lnTo>
                      <a:pt x="1924050" y="1076325"/>
                    </a:lnTo>
                    <a:cubicBezTo>
                      <a:pt x="1922462" y="990600"/>
                      <a:pt x="1920875" y="904875"/>
                      <a:pt x="1924050" y="819150"/>
                    </a:cubicBez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8" name="Forma libre: forma 23557">
                <a:extLst>
                  <a:ext uri="{FF2B5EF4-FFF2-40B4-BE49-F238E27FC236}">
                    <a16:creationId xmlns:a16="http://schemas.microsoft.com/office/drawing/2014/main" id="{65114CD7-03DC-8514-206C-0595110E6D96}"/>
                  </a:ext>
                </a:extLst>
              </p:cNvPr>
              <p:cNvSpPr/>
              <p:nvPr/>
            </p:nvSpPr>
            <p:spPr>
              <a:xfrm>
                <a:off x="3850481" y="3588544"/>
                <a:ext cx="2021682" cy="707231"/>
              </a:xfrm>
              <a:custGeom>
                <a:avLst/>
                <a:gdLst>
                  <a:gd name="connsiteX0" fmla="*/ 0 w 2016919"/>
                  <a:gd name="connsiteY0" fmla="*/ 450056 h 707231"/>
                  <a:gd name="connsiteX1" fmla="*/ 2016919 w 2016919"/>
                  <a:gd name="connsiteY1" fmla="*/ 0 h 707231"/>
                  <a:gd name="connsiteX2" fmla="*/ 2016919 w 2016919"/>
                  <a:gd name="connsiteY2" fmla="*/ 211931 h 707231"/>
                  <a:gd name="connsiteX3" fmla="*/ 0 w 2016919"/>
                  <a:gd name="connsiteY3" fmla="*/ 707231 h 707231"/>
                  <a:gd name="connsiteX4" fmla="*/ 0 w 2016919"/>
                  <a:gd name="connsiteY4" fmla="*/ 450056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6919" h="707231">
                    <a:moveTo>
                      <a:pt x="0" y="450056"/>
                    </a:moveTo>
                    <a:lnTo>
                      <a:pt x="2016919" y="0"/>
                    </a:lnTo>
                    <a:lnTo>
                      <a:pt x="2016919" y="211931"/>
                    </a:lnTo>
                    <a:lnTo>
                      <a:pt x="0" y="707231"/>
                    </a:lnTo>
                    <a:lnTo>
                      <a:pt x="0" y="45005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oup 97">
              <a:extLst>
                <a:ext uri="{FF2B5EF4-FFF2-40B4-BE49-F238E27FC236}">
                  <a16:creationId xmlns:a16="http://schemas.microsoft.com/office/drawing/2014/main" id="{E85CE8A6-E5D7-50A0-E475-EC7AF80D3D8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39482" y="4749661"/>
              <a:ext cx="512486" cy="382865"/>
              <a:chOff x="2403" y="1774"/>
              <a:chExt cx="427" cy="319"/>
            </a:xfrm>
            <a:solidFill>
              <a:schemeClr val="tx2"/>
            </a:solidFill>
          </p:grpSpPr>
          <p:sp>
            <p:nvSpPr>
              <p:cNvPr id="23552" name="Freeform 98">
                <a:extLst>
                  <a:ext uri="{FF2B5EF4-FFF2-40B4-BE49-F238E27FC236}">
                    <a16:creationId xmlns:a16="http://schemas.microsoft.com/office/drawing/2014/main" id="{D18E2EB4-E0B9-4073-56BC-5FB5B05883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7" y="1809"/>
                <a:ext cx="319" cy="195"/>
              </a:xfrm>
              <a:custGeom>
                <a:avLst/>
                <a:gdLst>
                  <a:gd name="T0" fmla="*/ 210 w 216"/>
                  <a:gd name="T1" fmla="*/ 132 h 132"/>
                  <a:gd name="T2" fmla="*/ 6 w 216"/>
                  <a:gd name="T3" fmla="*/ 132 h 132"/>
                  <a:gd name="T4" fmla="*/ 0 w 216"/>
                  <a:gd name="T5" fmla="*/ 126 h 132"/>
                  <a:gd name="T6" fmla="*/ 0 w 216"/>
                  <a:gd name="T7" fmla="*/ 6 h 132"/>
                  <a:gd name="T8" fmla="*/ 6 w 216"/>
                  <a:gd name="T9" fmla="*/ 0 h 132"/>
                  <a:gd name="T10" fmla="*/ 210 w 216"/>
                  <a:gd name="T11" fmla="*/ 0 h 132"/>
                  <a:gd name="T12" fmla="*/ 216 w 216"/>
                  <a:gd name="T13" fmla="*/ 6 h 132"/>
                  <a:gd name="T14" fmla="*/ 216 w 216"/>
                  <a:gd name="T15" fmla="*/ 126 h 132"/>
                  <a:gd name="T16" fmla="*/ 210 w 216"/>
                  <a:gd name="T17" fmla="*/ 132 h 132"/>
                  <a:gd name="T18" fmla="*/ 12 w 216"/>
                  <a:gd name="T19" fmla="*/ 120 h 132"/>
                  <a:gd name="T20" fmla="*/ 204 w 216"/>
                  <a:gd name="T21" fmla="*/ 120 h 132"/>
                  <a:gd name="T22" fmla="*/ 204 w 216"/>
                  <a:gd name="T23" fmla="*/ 12 h 132"/>
                  <a:gd name="T24" fmla="*/ 12 w 216"/>
                  <a:gd name="T25" fmla="*/ 12 h 132"/>
                  <a:gd name="T26" fmla="*/ 12 w 216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6" h="132">
                    <a:moveTo>
                      <a:pt x="210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3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3" y="0"/>
                      <a:pt x="216" y="3"/>
                      <a:pt x="216" y="6"/>
                    </a:cubicBezTo>
                    <a:cubicBezTo>
                      <a:pt x="216" y="126"/>
                      <a:pt x="216" y="126"/>
                      <a:pt x="216" y="126"/>
                    </a:cubicBezTo>
                    <a:cubicBezTo>
                      <a:pt x="216" y="130"/>
                      <a:pt x="213" y="132"/>
                      <a:pt x="210" y="132"/>
                    </a:cubicBezTo>
                    <a:close/>
                    <a:moveTo>
                      <a:pt x="12" y="120"/>
                    </a:moveTo>
                    <a:cubicBezTo>
                      <a:pt x="204" y="120"/>
                      <a:pt x="204" y="120"/>
                      <a:pt x="204" y="120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3" name="Freeform 99">
                <a:extLst>
                  <a:ext uri="{FF2B5EF4-FFF2-40B4-BE49-F238E27FC236}">
                    <a16:creationId xmlns:a16="http://schemas.microsoft.com/office/drawing/2014/main" id="{7C9F339B-9C33-18A9-26F3-9318E2539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1774"/>
                <a:ext cx="391" cy="266"/>
              </a:xfrm>
              <a:custGeom>
                <a:avLst/>
                <a:gdLst>
                  <a:gd name="T0" fmla="*/ 258 w 264"/>
                  <a:gd name="T1" fmla="*/ 180 h 180"/>
                  <a:gd name="T2" fmla="*/ 252 w 264"/>
                  <a:gd name="T3" fmla="*/ 174 h 180"/>
                  <a:gd name="T4" fmla="*/ 252 w 264"/>
                  <a:gd name="T5" fmla="*/ 24 h 180"/>
                  <a:gd name="T6" fmla="*/ 240 w 264"/>
                  <a:gd name="T7" fmla="*/ 12 h 180"/>
                  <a:gd name="T8" fmla="*/ 24 w 264"/>
                  <a:gd name="T9" fmla="*/ 12 h 180"/>
                  <a:gd name="T10" fmla="*/ 12 w 264"/>
                  <a:gd name="T11" fmla="*/ 24 h 180"/>
                  <a:gd name="T12" fmla="*/ 12 w 264"/>
                  <a:gd name="T13" fmla="*/ 174 h 180"/>
                  <a:gd name="T14" fmla="*/ 6 w 264"/>
                  <a:gd name="T15" fmla="*/ 180 h 180"/>
                  <a:gd name="T16" fmla="*/ 0 w 264"/>
                  <a:gd name="T17" fmla="*/ 174 h 180"/>
                  <a:gd name="T18" fmla="*/ 0 w 264"/>
                  <a:gd name="T19" fmla="*/ 24 h 180"/>
                  <a:gd name="T20" fmla="*/ 24 w 264"/>
                  <a:gd name="T21" fmla="*/ 0 h 180"/>
                  <a:gd name="T22" fmla="*/ 240 w 264"/>
                  <a:gd name="T23" fmla="*/ 0 h 180"/>
                  <a:gd name="T24" fmla="*/ 264 w 264"/>
                  <a:gd name="T25" fmla="*/ 24 h 180"/>
                  <a:gd name="T26" fmla="*/ 264 w 264"/>
                  <a:gd name="T27" fmla="*/ 174 h 180"/>
                  <a:gd name="T28" fmla="*/ 258 w 264"/>
                  <a:gd name="T29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180">
                    <a:moveTo>
                      <a:pt x="258" y="180"/>
                    </a:moveTo>
                    <a:cubicBezTo>
                      <a:pt x="255" y="180"/>
                      <a:pt x="252" y="178"/>
                      <a:pt x="252" y="174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7" y="12"/>
                      <a:pt x="240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9" y="180"/>
                      <a:pt x="6" y="180"/>
                    </a:cubicBezTo>
                    <a:cubicBezTo>
                      <a:pt x="3" y="180"/>
                      <a:pt x="0" y="178"/>
                      <a:pt x="0" y="17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74"/>
                      <a:pt x="264" y="174"/>
                      <a:pt x="264" y="174"/>
                    </a:cubicBezTo>
                    <a:cubicBezTo>
                      <a:pt x="264" y="178"/>
                      <a:pt x="261" y="180"/>
                      <a:pt x="258" y="1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5" name="Freeform 100">
                <a:extLst>
                  <a:ext uri="{FF2B5EF4-FFF2-40B4-BE49-F238E27FC236}">
                    <a16:creationId xmlns:a16="http://schemas.microsoft.com/office/drawing/2014/main" id="{C0D75B23-0A69-D1E8-417D-68117FD0FC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2022"/>
                <a:ext cx="427" cy="71"/>
              </a:xfrm>
              <a:custGeom>
                <a:avLst/>
                <a:gdLst>
                  <a:gd name="T0" fmla="*/ 270 w 288"/>
                  <a:gd name="T1" fmla="*/ 48 h 48"/>
                  <a:gd name="T2" fmla="*/ 18 w 288"/>
                  <a:gd name="T3" fmla="*/ 48 h 48"/>
                  <a:gd name="T4" fmla="*/ 0 w 288"/>
                  <a:gd name="T5" fmla="*/ 30 h 48"/>
                  <a:gd name="T6" fmla="*/ 0 w 288"/>
                  <a:gd name="T7" fmla="*/ 6 h 48"/>
                  <a:gd name="T8" fmla="*/ 6 w 288"/>
                  <a:gd name="T9" fmla="*/ 0 h 48"/>
                  <a:gd name="T10" fmla="*/ 114 w 288"/>
                  <a:gd name="T11" fmla="*/ 0 h 48"/>
                  <a:gd name="T12" fmla="*/ 120 w 288"/>
                  <a:gd name="T13" fmla="*/ 6 h 48"/>
                  <a:gd name="T14" fmla="*/ 120 w 288"/>
                  <a:gd name="T15" fmla="*/ 12 h 48"/>
                  <a:gd name="T16" fmla="*/ 168 w 288"/>
                  <a:gd name="T17" fmla="*/ 12 h 48"/>
                  <a:gd name="T18" fmla="*/ 168 w 288"/>
                  <a:gd name="T19" fmla="*/ 6 h 48"/>
                  <a:gd name="T20" fmla="*/ 174 w 288"/>
                  <a:gd name="T21" fmla="*/ 0 h 48"/>
                  <a:gd name="T22" fmla="*/ 282 w 288"/>
                  <a:gd name="T23" fmla="*/ 0 h 48"/>
                  <a:gd name="T24" fmla="*/ 288 w 288"/>
                  <a:gd name="T25" fmla="*/ 6 h 48"/>
                  <a:gd name="T26" fmla="*/ 288 w 288"/>
                  <a:gd name="T27" fmla="*/ 30 h 48"/>
                  <a:gd name="T28" fmla="*/ 270 w 288"/>
                  <a:gd name="T29" fmla="*/ 48 h 48"/>
                  <a:gd name="T30" fmla="*/ 12 w 288"/>
                  <a:gd name="T31" fmla="*/ 12 h 48"/>
                  <a:gd name="T32" fmla="*/ 12 w 288"/>
                  <a:gd name="T33" fmla="*/ 30 h 48"/>
                  <a:gd name="T34" fmla="*/ 18 w 288"/>
                  <a:gd name="T35" fmla="*/ 36 h 48"/>
                  <a:gd name="T36" fmla="*/ 270 w 288"/>
                  <a:gd name="T37" fmla="*/ 36 h 48"/>
                  <a:gd name="T38" fmla="*/ 276 w 288"/>
                  <a:gd name="T39" fmla="*/ 30 h 48"/>
                  <a:gd name="T40" fmla="*/ 276 w 288"/>
                  <a:gd name="T41" fmla="*/ 12 h 48"/>
                  <a:gd name="T42" fmla="*/ 180 w 288"/>
                  <a:gd name="T43" fmla="*/ 12 h 48"/>
                  <a:gd name="T44" fmla="*/ 180 w 288"/>
                  <a:gd name="T45" fmla="*/ 18 h 48"/>
                  <a:gd name="T46" fmla="*/ 174 w 288"/>
                  <a:gd name="T47" fmla="*/ 24 h 48"/>
                  <a:gd name="T48" fmla="*/ 114 w 288"/>
                  <a:gd name="T49" fmla="*/ 24 h 48"/>
                  <a:gd name="T50" fmla="*/ 108 w 288"/>
                  <a:gd name="T51" fmla="*/ 18 h 48"/>
                  <a:gd name="T52" fmla="*/ 108 w 288"/>
                  <a:gd name="T53" fmla="*/ 12 h 48"/>
                  <a:gd name="T54" fmla="*/ 12 w 288"/>
                  <a:gd name="T5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48">
                    <a:moveTo>
                      <a:pt x="270" y="48"/>
                    </a:moveTo>
                    <a:cubicBezTo>
                      <a:pt x="18" y="48"/>
                      <a:pt x="18" y="48"/>
                      <a:pt x="18" y="48"/>
                    </a:cubicBezTo>
                    <a:cubicBezTo>
                      <a:pt x="8" y="48"/>
                      <a:pt x="0" y="40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7" y="0"/>
                      <a:pt x="120" y="3"/>
                      <a:pt x="120" y="6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68" y="6"/>
                      <a:pt x="168" y="6"/>
                      <a:pt x="168" y="6"/>
                    </a:cubicBezTo>
                    <a:cubicBezTo>
                      <a:pt x="168" y="3"/>
                      <a:pt x="171" y="0"/>
                      <a:pt x="174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30"/>
                      <a:pt x="288" y="30"/>
                      <a:pt x="288" y="30"/>
                    </a:cubicBezTo>
                    <a:cubicBezTo>
                      <a:pt x="288" y="40"/>
                      <a:pt x="280" y="48"/>
                      <a:pt x="270" y="48"/>
                    </a:cubicBezTo>
                    <a:close/>
                    <a:moveTo>
                      <a:pt x="12" y="12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15" y="36"/>
                      <a:pt x="18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3" y="36"/>
                      <a:pt x="276" y="34"/>
                      <a:pt x="276" y="3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22"/>
                      <a:pt x="177" y="24"/>
                      <a:pt x="174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4"/>
                      <a:pt x="108" y="22"/>
                      <a:pt x="108" y="18"/>
                    </a:cubicBezTo>
                    <a:cubicBezTo>
                      <a:pt x="108" y="12"/>
                      <a:pt x="108" y="12"/>
                      <a:pt x="108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B5814BA-4C02-C1DA-8504-D6AA434DAE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A1127F2-A204-CE6C-8BDB-7853BE346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Level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22ED3FF-7E96-5894-02A8-BC75D29245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6AADC195-C560-ACBE-9713-821DE9FF0AA4}"/>
              </a:ext>
            </a:extLst>
          </p:cNvPr>
          <p:cNvGrpSpPr/>
          <p:nvPr/>
        </p:nvGrpSpPr>
        <p:grpSpPr>
          <a:xfrm>
            <a:off x="1919288" y="3155211"/>
            <a:ext cx="3952875" cy="1352550"/>
            <a:chOff x="1919288" y="2943225"/>
            <a:chExt cx="3952875" cy="1352550"/>
          </a:xfrm>
        </p:grpSpPr>
        <p:grpSp>
          <p:nvGrpSpPr>
            <p:cNvPr id="21" name="Grupo 20">
              <a:extLst>
                <a:ext uri="{FF2B5EF4-FFF2-40B4-BE49-F238E27FC236}">
                  <a16:creationId xmlns:a16="http://schemas.microsoft.com/office/drawing/2014/main" id="{700A6405-5F61-6F76-D704-86A22CA514D7}"/>
                </a:ext>
              </a:extLst>
            </p:cNvPr>
            <p:cNvGrpSpPr/>
            <p:nvPr/>
          </p:nvGrpSpPr>
          <p:grpSpPr>
            <a:xfrm>
              <a:off x="1919288" y="2943225"/>
              <a:ext cx="3952875" cy="1352550"/>
              <a:chOff x="1919288" y="2943225"/>
              <a:chExt cx="3952875" cy="1352550"/>
            </a:xfrm>
          </p:grpSpPr>
          <p:sp>
            <p:nvSpPr>
              <p:cNvPr id="26" name="Forma libre: forma 25">
                <a:extLst>
                  <a:ext uri="{FF2B5EF4-FFF2-40B4-BE49-F238E27FC236}">
                    <a16:creationId xmlns:a16="http://schemas.microsoft.com/office/drawing/2014/main" id="{1559E133-3C1C-2049-452E-677756143A1A}"/>
                  </a:ext>
                </a:extLst>
              </p:cNvPr>
              <p:cNvSpPr/>
              <p:nvPr/>
            </p:nvSpPr>
            <p:spPr>
              <a:xfrm>
                <a:off x="1919288" y="2943225"/>
                <a:ext cx="3952875" cy="1100138"/>
              </a:xfrm>
              <a:custGeom>
                <a:avLst/>
                <a:gdLst>
                  <a:gd name="connsiteX0" fmla="*/ 3952875 w 3952875"/>
                  <a:gd name="connsiteY0" fmla="*/ 642938 h 1100138"/>
                  <a:gd name="connsiteX1" fmla="*/ 1795462 w 3952875"/>
                  <a:gd name="connsiteY1" fmla="*/ 0 h 1100138"/>
                  <a:gd name="connsiteX2" fmla="*/ 0 w 3952875"/>
                  <a:gd name="connsiteY2" fmla="*/ 280988 h 1100138"/>
                  <a:gd name="connsiteX3" fmla="*/ 1938337 w 3952875"/>
                  <a:gd name="connsiteY3" fmla="*/ 1100138 h 1100138"/>
                  <a:gd name="connsiteX4" fmla="*/ 3952875 w 3952875"/>
                  <a:gd name="connsiteY4" fmla="*/ 642938 h 110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75" h="1100138">
                    <a:moveTo>
                      <a:pt x="3952875" y="642938"/>
                    </a:moveTo>
                    <a:lnTo>
                      <a:pt x="1795462" y="0"/>
                    </a:lnTo>
                    <a:lnTo>
                      <a:pt x="0" y="280988"/>
                    </a:lnTo>
                    <a:lnTo>
                      <a:pt x="1938337" y="1100138"/>
                    </a:lnTo>
                    <a:lnTo>
                      <a:pt x="3952875" y="642938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Forma libre: forma 26">
                <a:extLst>
                  <a:ext uri="{FF2B5EF4-FFF2-40B4-BE49-F238E27FC236}">
                    <a16:creationId xmlns:a16="http://schemas.microsoft.com/office/drawing/2014/main" id="{35C803D1-C52B-C560-3AD4-4B7866C3CE3E}"/>
                  </a:ext>
                </a:extLst>
              </p:cNvPr>
              <p:cNvSpPr/>
              <p:nvPr/>
            </p:nvSpPr>
            <p:spPr>
              <a:xfrm>
                <a:off x="1919288" y="3219450"/>
                <a:ext cx="1933575" cy="1076325"/>
              </a:xfrm>
              <a:custGeom>
                <a:avLst/>
                <a:gdLst>
                  <a:gd name="connsiteX0" fmla="*/ 1924050 w 1924050"/>
                  <a:gd name="connsiteY0" fmla="*/ 819150 h 1076325"/>
                  <a:gd name="connsiteX1" fmla="*/ 0 w 1924050"/>
                  <a:gd name="connsiteY1" fmla="*/ 0 h 1076325"/>
                  <a:gd name="connsiteX2" fmla="*/ 0 w 1924050"/>
                  <a:gd name="connsiteY2" fmla="*/ 204788 h 1076325"/>
                  <a:gd name="connsiteX3" fmla="*/ 1924050 w 1924050"/>
                  <a:gd name="connsiteY3" fmla="*/ 1076325 h 1076325"/>
                  <a:gd name="connsiteX4" fmla="*/ 1924050 w 1924050"/>
                  <a:gd name="connsiteY4" fmla="*/ 819150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050" h="1076325">
                    <a:moveTo>
                      <a:pt x="1924050" y="819150"/>
                    </a:moveTo>
                    <a:lnTo>
                      <a:pt x="0" y="0"/>
                    </a:lnTo>
                    <a:lnTo>
                      <a:pt x="0" y="204788"/>
                    </a:lnTo>
                    <a:lnTo>
                      <a:pt x="1924050" y="1076325"/>
                    </a:lnTo>
                    <a:cubicBezTo>
                      <a:pt x="1922462" y="990600"/>
                      <a:pt x="1920875" y="904875"/>
                      <a:pt x="1924050" y="81915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" name="Forma libre: forma 27">
                <a:extLst>
                  <a:ext uri="{FF2B5EF4-FFF2-40B4-BE49-F238E27FC236}">
                    <a16:creationId xmlns:a16="http://schemas.microsoft.com/office/drawing/2014/main" id="{E58DB231-AEA3-C568-BF65-523A35C6A23C}"/>
                  </a:ext>
                </a:extLst>
              </p:cNvPr>
              <p:cNvSpPr/>
              <p:nvPr/>
            </p:nvSpPr>
            <p:spPr>
              <a:xfrm>
                <a:off x="3850481" y="3588544"/>
                <a:ext cx="2021682" cy="707231"/>
              </a:xfrm>
              <a:custGeom>
                <a:avLst/>
                <a:gdLst>
                  <a:gd name="connsiteX0" fmla="*/ 0 w 2016919"/>
                  <a:gd name="connsiteY0" fmla="*/ 450056 h 707231"/>
                  <a:gd name="connsiteX1" fmla="*/ 2016919 w 2016919"/>
                  <a:gd name="connsiteY1" fmla="*/ 0 h 707231"/>
                  <a:gd name="connsiteX2" fmla="*/ 2016919 w 2016919"/>
                  <a:gd name="connsiteY2" fmla="*/ 211931 h 707231"/>
                  <a:gd name="connsiteX3" fmla="*/ 0 w 2016919"/>
                  <a:gd name="connsiteY3" fmla="*/ 707231 h 707231"/>
                  <a:gd name="connsiteX4" fmla="*/ 0 w 2016919"/>
                  <a:gd name="connsiteY4" fmla="*/ 450056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6919" h="707231">
                    <a:moveTo>
                      <a:pt x="0" y="450056"/>
                    </a:moveTo>
                    <a:lnTo>
                      <a:pt x="2016919" y="0"/>
                    </a:lnTo>
                    <a:lnTo>
                      <a:pt x="2016919" y="211931"/>
                    </a:lnTo>
                    <a:lnTo>
                      <a:pt x="0" y="707231"/>
                    </a:lnTo>
                    <a:lnTo>
                      <a:pt x="0" y="4500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97">
              <a:extLst>
                <a:ext uri="{FF2B5EF4-FFF2-40B4-BE49-F238E27FC236}">
                  <a16:creationId xmlns:a16="http://schemas.microsoft.com/office/drawing/2014/main" id="{034F5BC5-A7FB-DF01-0B3C-EEC709620C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39482" y="3307557"/>
              <a:ext cx="512486" cy="382865"/>
              <a:chOff x="2403" y="1774"/>
              <a:chExt cx="427" cy="319"/>
            </a:xfrm>
            <a:solidFill>
              <a:schemeClr val="bg2"/>
            </a:solidFill>
          </p:grpSpPr>
          <p:sp>
            <p:nvSpPr>
              <p:cNvPr id="23" name="Freeform 98">
                <a:extLst>
                  <a:ext uri="{FF2B5EF4-FFF2-40B4-BE49-F238E27FC236}">
                    <a16:creationId xmlns:a16="http://schemas.microsoft.com/office/drawing/2014/main" id="{2FD05342-C99C-AA97-266D-FB2462E0FB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7" y="1809"/>
                <a:ext cx="319" cy="195"/>
              </a:xfrm>
              <a:custGeom>
                <a:avLst/>
                <a:gdLst>
                  <a:gd name="T0" fmla="*/ 210 w 216"/>
                  <a:gd name="T1" fmla="*/ 132 h 132"/>
                  <a:gd name="T2" fmla="*/ 6 w 216"/>
                  <a:gd name="T3" fmla="*/ 132 h 132"/>
                  <a:gd name="T4" fmla="*/ 0 w 216"/>
                  <a:gd name="T5" fmla="*/ 126 h 132"/>
                  <a:gd name="T6" fmla="*/ 0 w 216"/>
                  <a:gd name="T7" fmla="*/ 6 h 132"/>
                  <a:gd name="T8" fmla="*/ 6 w 216"/>
                  <a:gd name="T9" fmla="*/ 0 h 132"/>
                  <a:gd name="T10" fmla="*/ 210 w 216"/>
                  <a:gd name="T11" fmla="*/ 0 h 132"/>
                  <a:gd name="T12" fmla="*/ 216 w 216"/>
                  <a:gd name="T13" fmla="*/ 6 h 132"/>
                  <a:gd name="T14" fmla="*/ 216 w 216"/>
                  <a:gd name="T15" fmla="*/ 126 h 132"/>
                  <a:gd name="T16" fmla="*/ 210 w 216"/>
                  <a:gd name="T17" fmla="*/ 132 h 132"/>
                  <a:gd name="T18" fmla="*/ 12 w 216"/>
                  <a:gd name="T19" fmla="*/ 120 h 132"/>
                  <a:gd name="T20" fmla="*/ 204 w 216"/>
                  <a:gd name="T21" fmla="*/ 120 h 132"/>
                  <a:gd name="T22" fmla="*/ 204 w 216"/>
                  <a:gd name="T23" fmla="*/ 12 h 132"/>
                  <a:gd name="T24" fmla="*/ 12 w 216"/>
                  <a:gd name="T25" fmla="*/ 12 h 132"/>
                  <a:gd name="T26" fmla="*/ 12 w 216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6" h="132">
                    <a:moveTo>
                      <a:pt x="210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3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3" y="0"/>
                      <a:pt x="216" y="3"/>
                      <a:pt x="216" y="6"/>
                    </a:cubicBezTo>
                    <a:cubicBezTo>
                      <a:pt x="216" y="126"/>
                      <a:pt x="216" y="126"/>
                      <a:pt x="216" y="126"/>
                    </a:cubicBezTo>
                    <a:cubicBezTo>
                      <a:pt x="216" y="130"/>
                      <a:pt x="213" y="132"/>
                      <a:pt x="210" y="132"/>
                    </a:cubicBezTo>
                    <a:close/>
                    <a:moveTo>
                      <a:pt x="12" y="120"/>
                    </a:moveTo>
                    <a:cubicBezTo>
                      <a:pt x="204" y="120"/>
                      <a:pt x="204" y="120"/>
                      <a:pt x="204" y="120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Freeform 99">
                <a:extLst>
                  <a:ext uri="{FF2B5EF4-FFF2-40B4-BE49-F238E27FC236}">
                    <a16:creationId xmlns:a16="http://schemas.microsoft.com/office/drawing/2014/main" id="{A93983A5-AEC0-9D88-57DA-FE53AA0B7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1774"/>
                <a:ext cx="391" cy="266"/>
              </a:xfrm>
              <a:custGeom>
                <a:avLst/>
                <a:gdLst>
                  <a:gd name="T0" fmla="*/ 258 w 264"/>
                  <a:gd name="T1" fmla="*/ 180 h 180"/>
                  <a:gd name="T2" fmla="*/ 252 w 264"/>
                  <a:gd name="T3" fmla="*/ 174 h 180"/>
                  <a:gd name="T4" fmla="*/ 252 w 264"/>
                  <a:gd name="T5" fmla="*/ 24 h 180"/>
                  <a:gd name="T6" fmla="*/ 240 w 264"/>
                  <a:gd name="T7" fmla="*/ 12 h 180"/>
                  <a:gd name="T8" fmla="*/ 24 w 264"/>
                  <a:gd name="T9" fmla="*/ 12 h 180"/>
                  <a:gd name="T10" fmla="*/ 12 w 264"/>
                  <a:gd name="T11" fmla="*/ 24 h 180"/>
                  <a:gd name="T12" fmla="*/ 12 w 264"/>
                  <a:gd name="T13" fmla="*/ 174 h 180"/>
                  <a:gd name="T14" fmla="*/ 6 w 264"/>
                  <a:gd name="T15" fmla="*/ 180 h 180"/>
                  <a:gd name="T16" fmla="*/ 0 w 264"/>
                  <a:gd name="T17" fmla="*/ 174 h 180"/>
                  <a:gd name="T18" fmla="*/ 0 w 264"/>
                  <a:gd name="T19" fmla="*/ 24 h 180"/>
                  <a:gd name="T20" fmla="*/ 24 w 264"/>
                  <a:gd name="T21" fmla="*/ 0 h 180"/>
                  <a:gd name="T22" fmla="*/ 240 w 264"/>
                  <a:gd name="T23" fmla="*/ 0 h 180"/>
                  <a:gd name="T24" fmla="*/ 264 w 264"/>
                  <a:gd name="T25" fmla="*/ 24 h 180"/>
                  <a:gd name="T26" fmla="*/ 264 w 264"/>
                  <a:gd name="T27" fmla="*/ 174 h 180"/>
                  <a:gd name="T28" fmla="*/ 258 w 264"/>
                  <a:gd name="T29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180">
                    <a:moveTo>
                      <a:pt x="258" y="180"/>
                    </a:moveTo>
                    <a:cubicBezTo>
                      <a:pt x="255" y="180"/>
                      <a:pt x="252" y="178"/>
                      <a:pt x="252" y="174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7" y="12"/>
                      <a:pt x="240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9" y="180"/>
                      <a:pt x="6" y="180"/>
                    </a:cubicBezTo>
                    <a:cubicBezTo>
                      <a:pt x="3" y="180"/>
                      <a:pt x="0" y="178"/>
                      <a:pt x="0" y="17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74"/>
                      <a:pt x="264" y="174"/>
                      <a:pt x="264" y="174"/>
                    </a:cubicBezTo>
                    <a:cubicBezTo>
                      <a:pt x="264" y="178"/>
                      <a:pt x="261" y="180"/>
                      <a:pt x="258" y="1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" name="Freeform 100">
                <a:extLst>
                  <a:ext uri="{FF2B5EF4-FFF2-40B4-BE49-F238E27FC236}">
                    <a16:creationId xmlns:a16="http://schemas.microsoft.com/office/drawing/2014/main" id="{866DE549-BEAE-D92B-44B3-4A16B0BADC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2022"/>
                <a:ext cx="427" cy="71"/>
              </a:xfrm>
              <a:custGeom>
                <a:avLst/>
                <a:gdLst>
                  <a:gd name="T0" fmla="*/ 270 w 288"/>
                  <a:gd name="T1" fmla="*/ 48 h 48"/>
                  <a:gd name="T2" fmla="*/ 18 w 288"/>
                  <a:gd name="T3" fmla="*/ 48 h 48"/>
                  <a:gd name="T4" fmla="*/ 0 w 288"/>
                  <a:gd name="T5" fmla="*/ 30 h 48"/>
                  <a:gd name="T6" fmla="*/ 0 w 288"/>
                  <a:gd name="T7" fmla="*/ 6 h 48"/>
                  <a:gd name="T8" fmla="*/ 6 w 288"/>
                  <a:gd name="T9" fmla="*/ 0 h 48"/>
                  <a:gd name="T10" fmla="*/ 114 w 288"/>
                  <a:gd name="T11" fmla="*/ 0 h 48"/>
                  <a:gd name="T12" fmla="*/ 120 w 288"/>
                  <a:gd name="T13" fmla="*/ 6 h 48"/>
                  <a:gd name="T14" fmla="*/ 120 w 288"/>
                  <a:gd name="T15" fmla="*/ 12 h 48"/>
                  <a:gd name="T16" fmla="*/ 168 w 288"/>
                  <a:gd name="T17" fmla="*/ 12 h 48"/>
                  <a:gd name="T18" fmla="*/ 168 w 288"/>
                  <a:gd name="T19" fmla="*/ 6 h 48"/>
                  <a:gd name="T20" fmla="*/ 174 w 288"/>
                  <a:gd name="T21" fmla="*/ 0 h 48"/>
                  <a:gd name="T22" fmla="*/ 282 w 288"/>
                  <a:gd name="T23" fmla="*/ 0 h 48"/>
                  <a:gd name="T24" fmla="*/ 288 w 288"/>
                  <a:gd name="T25" fmla="*/ 6 h 48"/>
                  <a:gd name="T26" fmla="*/ 288 w 288"/>
                  <a:gd name="T27" fmla="*/ 30 h 48"/>
                  <a:gd name="T28" fmla="*/ 270 w 288"/>
                  <a:gd name="T29" fmla="*/ 48 h 48"/>
                  <a:gd name="T30" fmla="*/ 12 w 288"/>
                  <a:gd name="T31" fmla="*/ 12 h 48"/>
                  <a:gd name="T32" fmla="*/ 12 w 288"/>
                  <a:gd name="T33" fmla="*/ 30 h 48"/>
                  <a:gd name="T34" fmla="*/ 18 w 288"/>
                  <a:gd name="T35" fmla="*/ 36 h 48"/>
                  <a:gd name="T36" fmla="*/ 270 w 288"/>
                  <a:gd name="T37" fmla="*/ 36 h 48"/>
                  <a:gd name="T38" fmla="*/ 276 w 288"/>
                  <a:gd name="T39" fmla="*/ 30 h 48"/>
                  <a:gd name="T40" fmla="*/ 276 w 288"/>
                  <a:gd name="T41" fmla="*/ 12 h 48"/>
                  <a:gd name="T42" fmla="*/ 180 w 288"/>
                  <a:gd name="T43" fmla="*/ 12 h 48"/>
                  <a:gd name="T44" fmla="*/ 180 w 288"/>
                  <a:gd name="T45" fmla="*/ 18 h 48"/>
                  <a:gd name="T46" fmla="*/ 174 w 288"/>
                  <a:gd name="T47" fmla="*/ 24 h 48"/>
                  <a:gd name="T48" fmla="*/ 114 w 288"/>
                  <a:gd name="T49" fmla="*/ 24 h 48"/>
                  <a:gd name="T50" fmla="*/ 108 w 288"/>
                  <a:gd name="T51" fmla="*/ 18 h 48"/>
                  <a:gd name="T52" fmla="*/ 108 w 288"/>
                  <a:gd name="T53" fmla="*/ 12 h 48"/>
                  <a:gd name="T54" fmla="*/ 12 w 288"/>
                  <a:gd name="T5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48">
                    <a:moveTo>
                      <a:pt x="270" y="48"/>
                    </a:moveTo>
                    <a:cubicBezTo>
                      <a:pt x="18" y="48"/>
                      <a:pt x="18" y="48"/>
                      <a:pt x="18" y="48"/>
                    </a:cubicBezTo>
                    <a:cubicBezTo>
                      <a:pt x="8" y="48"/>
                      <a:pt x="0" y="40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7" y="0"/>
                      <a:pt x="120" y="3"/>
                      <a:pt x="120" y="6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68" y="6"/>
                      <a:pt x="168" y="6"/>
                      <a:pt x="168" y="6"/>
                    </a:cubicBezTo>
                    <a:cubicBezTo>
                      <a:pt x="168" y="3"/>
                      <a:pt x="171" y="0"/>
                      <a:pt x="174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30"/>
                      <a:pt x="288" y="30"/>
                      <a:pt x="288" y="30"/>
                    </a:cubicBezTo>
                    <a:cubicBezTo>
                      <a:pt x="288" y="40"/>
                      <a:pt x="280" y="48"/>
                      <a:pt x="270" y="48"/>
                    </a:cubicBezTo>
                    <a:close/>
                    <a:moveTo>
                      <a:pt x="12" y="12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15" y="36"/>
                      <a:pt x="18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3" y="36"/>
                      <a:pt x="276" y="34"/>
                      <a:pt x="276" y="3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22"/>
                      <a:pt x="177" y="24"/>
                      <a:pt x="174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4"/>
                      <a:pt x="108" y="22"/>
                      <a:pt x="108" y="18"/>
                    </a:cubicBezTo>
                    <a:cubicBezTo>
                      <a:pt x="108" y="12"/>
                      <a:pt x="108" y="12"/>
                      <a:pt x="108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B05173B8-BEB5-F686-380A-B7FE6A7C0ACE}"/>
              </a:ext>
            </a:extLst>
          </p:cNvPr>
          <p:cNvGrpSpPr/>
          <p:nvPr/>
        </p:nvGrpSpPr>
        <p:grpSpPr>
          <a:xfrm>
            <a:off x="1919288" y="2057853"/>
            <a:ext cx="3952875" cy="1352550"/>
            <a:chOff x="1919288" y="1520825"/>
            <a:chExt cx="3952875" cy="1352550"/>
          </a:xfrm>
        </p:grpSpPr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C016972D-48CB-0359-D17D-9419B89A8477}"/>
                </a:ext>
              </a:extLst>
            </p:cNvPr>
            <p:cNvGrpSpPr/>
            <p:nvPr/>
          </p:nvGrpSpPr>
          <p:grpSpPr>
            <a:xfrm>
              <a:off x="1919288" y="1520825"/>
              <a:ext cx="3952875" cy="1352550"/>
              <a:chOff x="1919288" y="2943225"/>
              <a:chExt cx="3952875" cy="1352550"/>
            </a:xfrm>
          </p:grpSpPr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3DC7EA5-799D-9372-6603-0A7F58500834}"/>
                  </a:ext>
                </a:extLst>
              </p:cNvPr>
              <p:cNvSpPr/>
              <p:nvPr/>
            </p:nvSpPr>
            <p:spPr>
              <a:xfrm>
                <a:off x="1919288" y="2943225"/>
                <a:ext cx="3952875" cy="1100138"/>
              </a:xfrm>
              <a:custGeom>
                <a:avLst/>
                <a:gdLst>
                  <a:gd name="connsiteX0" fmla="*/ 3952875 w 3952875"/>
                  <a:gd name="connsiteY0" fmla="*/ 642938 h 1100138"/>
                  <a:gd name="connsiteX1" fmla="*/ 1795462 w 3952875"/>
                  <a:gd name="connsiteY1" fmla="*/ 0 h 1100138"/>
                  <a:gd name="connsiteX2" fmla="*/ 0 w 3952875"/>
                  <a:gd name="connsiteY2" fmla="*/ 280988 h 1100138"/>
                  <a:gd name="connsiteX3" fmla="*/ 1938337 w 3952875"/>
                  <a:gd name="connsiteY3" fmla="*/ 1100138 h 1100138"/>
                  <a:gd name="connsiteX4" fmla="*/ 3952875 w 3952875"/>
                  <a:gd name="connsiteY4" fmla="*/ 642938 h 110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75" h="1100138">
                    <a:moveTo>
                      <a:pt x="3952875" y="642938"/>
                    </a:moveTo>
                    <a:lnTo>
                      <a:pt x="1795462" y="0"/>
                    </a:lnTo>
                    <a:lnTo>
                      <a:pt x="0" y="280988"/>
                    </a:lnTo>
                    <a:lnTo>
                      <a:pt x="1938337" y="1100138"/>
                    </a:lnTo>
                    <a:lnTo>
                      <a:pt x="3952875" y="642938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31CBD251-4F23-FD38-5CFC-8F7812E71B75}"/>
                  </a:ext>
                </a:extLst>
              </p:cNvPr>
              <p:cNvSpPr/>
              <p:nvPr/>
            </p:nvSpPr>
            <p:spPr>
              <a:xfrm>
                <a:off x="1919288" y="3219450"/>
                <a:ext cx="1933575" cy="1076325"/>
              </a:xfrm>
              <a:custGeom>
                <a:avLst/>
                <a:gdLst>
                  <a:gd name="connsiteX0" fmla="*/ 1924050 w 1924050"/>
                  <a:gd name="connsiteY0" fmla="*/ 819150 h 1076325"/>
                  <a:gd name="connsiteX1" fmla="*/ 0 w 1924050"/>
                  <a:gd name="connsiteY1" fmla="*/ 0 h 1076325"/>
                  <a:gd name="connsiteX2" fmla="*/ 0 w 1924050"/>
                  <a:gd name="connsiteY2" fmla="*/ 204788 h 1076325"/>
                  <a:gd name="connsiteX3" fmla="*/ 1924050 w 1924050"/>
                  <a:gd name="connsiteY3" fmla="*/ 1076325 h 1076325"/>
                  <a:gd name="connsiteX4" fmla="*/ 1924050 w 1924050"/>
                  <a:gd name="connsiteY4" fmla="*/ 819150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050" h="1076325">
                    <a:moveTo>
                      <a:pt x="1924050" y="819150"/>
                    </a:moveTo>
                    <a:lnTo>
                      <a:pt x="0" y="0"/>
                    </a:lnTo>
                    <a:lnTo>
                      <a:pt x="0" y="204788"/>
                    </a:lnTo>
                    <a:lnTo>
                      <a:pt x="1924050" y="1076325"/>
                    </a:lnTo>
                    <a:cubicBezTo>
                      <a:pt x="1922462" y="990600"/>
                      <a:pt x="1920875" y="904875"/>
                      <a:pt x="1924050" y="819150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1155EEDD-FA26-1907-4055-4E2923B4656E}"/>
                  </a:ext>
                </a:extLst>
              </p:cNvPr>
              <p:cNvSpPr/>
              <p:nvPr/>
            </p:nvSpPr>
            <p:spPr>
              <a:xfrm>
                <a:off x="3850481" y="3588544"/>
                <a:ext cx="2021682" cy="707231"/>
              </a:xfrm>
              <a:custGeom>
                <a:avLst/>
                <a:gdLst>
                  <a:gd name="connsiteX0" fmla="*/ 0 w 2016919"/>
                  <a:gd name="connsiteY0" fmla="*/ 450056 h 707231"/>
                  <a:gd name="connsiteX1" fmla="*/ 2016919 w 2016919"/>
                  <a:gd name="connsiteY1" fmla="*/ 0 h 707231"/>
                  <a:gd name="connsiteX2" fmla="*/ 2016919 w 2016919"/>
                  <a:gd name="connsiteY2" fmla="*/ 211931 h 707231"/>
                  <a:gd name="connsiteX3" fmla="*/ 0 w 2016919"/>
                  <a:gd name="connsiteY3" fmla="*/ 707231 h 707231"/>
                  <a:gd name="connsiteX4" fmla="*/ 0 w 2016919"/>
                  <a:gd name="connsiteY4" fmla="*/ 450056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6919" h="707231">
                    <a:moveTo>
                      <a:pt x="0" y="450056"/>
                    </a:moveTo>
                    <a:lnTo>
                      <a:pt x="2016919" y="0"/>
                    </a:lnTo>
                    <a:lnTo>
                      <a:pt x="2016919" y="211931"/>
                    </a:lnTo>
                    <a:lnTo>
                      <a:pt x="0" y="707231"/>
                    </a:lnTo>
                    <a:lnTo>
                      <a:pt x="0" y="45005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97">
              <a:extLst>
                <a:ext uri="{FF2B5EF4-FFF2-40B4-BE49-F238E27FC236}">
                  <a16:creationId xmlns:a16="http://schemas.microsoft.com/office/drawing/2014/main" id="{95BD4017-E32D-4405-552B-F52B53090E9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39482" y="1834218"/>
              <a:ext cx="512486" cy="382865"/>
              <a:chOff x="2403" y="1774"/>
              <a:chExt cx="427" cy="319"/>
            </a:xfrm>
            <a:solidFill>
              <a:schemeClr val="accent3"/>
            </a:solidFill>
          </p:grpSpPr>
          <p:sp>
            <p:nvSpPr>
              <p:cNvPr id="14" name="Freeform 98">
                <a:extLst>
                  <a:ext uri="{FF2B5EF4-FFF2-40B4-BE49-F238E27FC236}">
                    <a16:creationId xmlns:a16="http://schemas.microsoft.com/office/drawing/2014/main" id="{410A0DDC-9B3C-4450-B797-1D8B56659B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7" y="1809"/>
                <a:ext cx="319" cy="195"/>
              </a:xfrm>
              <a:custGeom>
                <a:avLst/>
                <a:gdLst>
                  <a:gd name="T0" fmla="*/ 210 w 216"/>
                  <a:gd name="T1" fmla="*/ 132 h 132"/>
                  <a:gd name="T2" fmla="*/ 6 w 216"/>
                  <a:gd name="T3" fmla="*/ 132 h 132"/>
                  <a:gd name="T4" fmla="*/ 0 w 216"/>
                  <a:gd name="T5" fmla="*/ 126 h 132"/>
                  <a:gd name="T6" fmla="*/ 0 w 216"/>
                  <a:gd name="T7" fmla="*/ 6 h 132"/>
                  <a:gd name="T8" fmla="*/ 6 w 216"/>
                  <a:gd name="T9" fmla="*/ 0 h 132"/>
                  <a:gd name="T10" fmla="*/ 210 w 216"/>
                  <a:gd name="T11" fmla="*/ 0 h 132"/>
                  <a:gd name="T12" fmla="*/ 216 w 216"/>
                  <a:gd name="T13" fmla="*/ 6 h 132"/>
                  <a:gd name="T14" fmla="*/ 216 w 216"/>
                  <a:gd name="T15" fmla="*/ 126 h 132"/>
                  <a:gd name="T16" fmla="*/ 210 w 216"/>
                  <a:gd name="T17" fmla="*/ 132 h 132"/>
                  <a:gd name="T18" fmla="*/ 12 w 216"/>
                  <a:gd name="T19" fmla="*/ 120 h 132"/>
                  <a:gd name="T20" fmla="*/ 204 w 216"/>
                  <a:gd name="T21" fmla="*/ 120 h 132"/>
                  <a:gd name="T22" fmla="*/ 204 w 216"/>
                  <a:gd name="T23" fmla="*/ 12 h 132"/>
                  <a:gd name="T24" fmla="*/ 12 w 216"/>
                  <a:gd name="T25" fmla="*/ 12 h 132"/>
                  <a:gd name="T26" fmla="*/ 12 w 216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6" h="132">
                    <a:moveTo>
                      <a:pt x="210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3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3" y="0"/>
                      <a:pt x="216" y="3"/>
                      <a:pt x="216" y="6"/>
                    </a:cubicBezTo>
                    <a:cubicBezTo>
                      <a:pt x="216" y="126"/>
                      <a:pt x="216" y="126"/>
                      <a:pt x="216" y="126"/>
                    </a:cubicBezTo>
                    <a:cubicBezTo>
                      <a:pt x="216" y="130"/>
                      <a:pt x="213" y="132"/>
                      <a:pt x="210" y="132"/>
                    </a:cubicBezTo>
                    <a:close/>
                    <a:moveTo>
                      <a:pt x="12" y="120"/>
                    </a:moveTo>
                    <a:cubicBezTo>
                      <a:pt x="204" y="120"/>
                      <a:pt x="204" y="120"/>
                      <a:pt x="204" y="120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9">
                <a:extLst>
                  <a:ext uri="{FF2B5EF4-FFF2-40B4-BE49-F238E27FC236}">
                    <a16:creationId xmlns:a16="http://schemas.microsoft.com/office/drawing/2014/main" id="{79FAB75D-E6B6-17B4-E128-9EB0A7A9D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1774"/>
                <a:ext cx="391" cy="266"/>
              </a:xfrm>
              <a:custGeom>
                <a:avLst/>
                <a:gdLst>
                  <a:gd name="T0" fmla="*/ 258 w 264"/>
                  <a:gd name="T1" fmla="*/ 180 h 180"/>
                  <a:gd name="T2" fmla="*/ 252 w 264"/>
                  <a:gd name="T3" fmla="*/ 174 h 180"/>
                  <a:gd name="T4" fmla="*/ 252 w 264"/>
                  <a:gd name="T5" fmla="*/ 24 h 180"/>
                  <a:gd name="T6" fmla="*/ 240 w 264"/>
                  <a:gd name="T7" fmla="*/ 12 h 180"/>
                  <a:gd name="T8" fmla="*/ 24 w 264"/>
                  <a:gd name="T9" fmla="*/ 12 h 180"/>
                  <a:gd name="T10" fmla="*/ 12 w 264"/>
                  <a:gd name="T11" fmla="*/ 24 h 180"/>
                  <a:gd name="T12" fmla="*/ 12 w 264"/>
                  <a:gd name="T13" fmla="*/ 174 h 180"/>
                  <a:gd name="T14" fmla="*/ 6 w 264"/>
                  <a:gd name="T15" fmla="*/ 180 h 180"/>
                  <a:gd name="T16" fmla="*/ 0 w 264"/>
                  <a:gd name="T17" fmla="*/ 174 h 180"/>
                  <a:gd name="T18" fmla="*/ 0 w 264"/>
                  <a:gd name="T19" fmla="*/ 24 h 180"/>
                  <a:gd name="T20" fmla="*/ 24 w 264"/>
                  <a:gd name="T21" fmla="*/ 0 h 180"/>
                  <a:gd name="T22" fmla="*/ 240 w 264"/>
                  <a:gd name="T23" fmla="*/ 0 h 180"/>
                  <a:gd name="T24" fmla="*/ 264 w 264"/>
                  <a:gd name="T25" fmla="*/ 24 h 180"/>
                  <a:gd name="T26" fmla="*/ 264 w 264"/>
                  <a:gd name="T27" fmla="*/ 174 h 180"/>
                  <a:gd name="T28" fmla="*/ 258 w 264"/>
                  <a:gd name="T29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180">
                    <a:moveTo>
                      <a:pt x="258" y="180"/>
                    </a:moveTo>
                    <a:cubicBezTo>
                      <a:pt x="255" y="180"/>
                      <a:pt x="252" y="178"/>
                      <a:pt x="252" y="174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7" y="12"/>
                      <a:pt x="240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9" y="180"/>
                      <a:pt x="6" y="180"/>
                    </a:cubicBezTo>
                    <a:cubicBezTo>
                      <a:pt x="3" y="180"/>
                      <a:pt x="0" y="178"/>
                      <a:pt x="0" y="17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74"/>
                      <a:pt x="264" y="174"/>
                      <a:pt x="264" y="174"/>
                    </a:cubicBezTo>
                    <a:cubicBezTo>
                      <a:pt x="264" y="178"/>
                      <a:pt x="261" y="180"/>
                      <a:pt x="258" y="1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" name="Freeform 100">
                <a:extLst>
                  <a:ext uri="{FF2B5EF4-FFF2-40B4-BE49-F238E27FC236}">
                    <a16:creationId xmlns:a16="http://schemas.microsoft.com/office/drawing/2014/main" id="{BBA66C81-CAC5-229E-2D32-924C7D2424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2022"/>
                <a:ext cx="427" cy="71"/>
              </a:xfrm>
              <a:custGeom>
                <a:avLst/>
                <a:gdLst>
                  <a:gd name="T0" fmla="*/ 270 w 288"/>
                  <a:gd name="T1" fmla="*/ 48 h 48"/>
                  <a:gd name="T2" fmla="*/ 18 w 288"/>
                  <a:gd name="T3" fmla="*/ 48 h 48"/>
                  <a:gd name="T4" fmla="*/ 0 w 288"/>
                  <a:gd name="T5" fmla="*/ 30 h 48"/>
                  <a:gd name="T6" fmla="*/ 0 w 288"/>
                  <a:gd name="T7" fmla="*/ 6 h 48"/>
                  <a:gd name="T8" fmla="*/ 6 w 288"/>
                  <a:gd name="T9" fmla="*/ 0 h 48"/>
                  <a:gd name="T10" fmla="*/ 114 w 288"/>
                  <a:gd name="T11" fmla="*/ 0 h 48"/>
                  <a:gd name="T12" fmla="*/ 120 w 288"/>
                  <a:gd name="T13" fmla="*/ 6 h 48"/>
                  <a:gd name="T14" fmla="*/ 120 w 288"/>
                  <a:gd name="T15" fmla="*/ 12 h 48"/>
                  <a:gd name="T16" fmla="*/ 168 w 288"/>
                  <a:gd name="T17" fmla="*/ 12 h 48"/>
                  <a:gd name="T18" fmla="*/ 168 w 288"/>
                  <a:gd name="T19" fmla="*/ 6 h 48"/>
                  <a:gd name="T20" fmla="*/ 174 w 288"/>
                  <a:gd name="T21" fmla="*/ 0 h 48"/>
                  <a:gd name="T22" fmla="*/ 282 w 288"/>
                  <a:gd name="T23" fmla="*/ 0 h 48"/>
                  <a:gd name="T24" fmla="*/ 288 w 288"/>
                  <a:gd name="T25" fmla="*/ 6 h 48"/>
                  <a:gd name="T26" fmla="*/ 288 w 288"/>
                  <a:gd name="T27" fmla="*/ 30 h 48"/>
                  <a:gd name="T28" fmla="*/ 270 w 288"/>
                  <a:gd name="T29" fmla="*/ 48 h 48"/>
                  <a:gd name="T30" fmla="*/ 12 w 288"/>
                  <a:gd name="T31" fmla="*/ 12 h 48"/>
                  <a:gd name="T32" fmla="*/ 12 w 288"/>
                  <a:gd name="T33" fmla="*/ 30 h 48"/>
                  <a:gd name="T34" fmla="*/ 18 w 288"/>
                  <a:gd name="T35" fmla="*/ 36 h 48"/>
                  <a:gd name="T36" fmla="*/ 270 w 288"/>
                  <a:gd name="T37" fmla="*/ 36 h 48"/>
                  <a:gd name="T38" fmla="*/ 276 w 288"/>
                  <a:gd name="T39" fmla="*/ 30 h 48"/>
                  <a:gd name="T40" fmla="*/ 276 w 288"/>
                  <a:gd name="T41" fmla="*/ 12 h 48"/>
                  <a:gd name="T42" fmla="*/ 180 w 288"/>
                  <a:gd name="T43" fmla="*/ 12 h 48"/>
                  <a:gd name="T44" fmla="*/ 180 w 288"/>
                  <a:gd name="T45" fmla="*/ 18 h 48"/>
                  <a:gd name="T46" fmla="*/ 174 w 288"/>
                  <a:gd name="T47" fmla="*/ 24 h 48"/>
                  <a:gd name="T48" fmla="*/ 114 w 288"/>
                  <a:gd name="T49" fmla="*/ 24 h 48"/>
                  <a:gd name="T50" fmla="*/ 108 w 288"/>
                  <a:gd name="T51" fmla="*/ 18 h 48"/>
                  <a:gd name="T52" fmla="*/ 108 w 288"/>
                  <a:gd name="T53" fmla="*/ 12 h 48"/>
                  <a:gd name="T54" fmla="*/ 12 w 288"/>
                  <a:gd name="T5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48">
                    <a:moveTo>
                      <a:pt x="270" y="48"/>
                    </a:moveTo>
                    <a:cubicBezTo>
                      <a:pt x="18" y="48"/>
                      <a:pt x="18" y="48"/>
                      <a:pt x="18" y="48"/>
                    </a:cubicBezTo>
                    <a:cubicBezTo>
                      <a:pt x="8" y="48"/>
                      <a:pt x="0" y="40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7" y="0"/>
                      <a:pt x="120" y="3"/>
                      <a:pt x="120" y="6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68" y="6"/>
                      <a:pt x="168" y="6"/>
                      <a:pt x="168" y="6"/>
                    </a:cubicBezTo>
                    <a:cubicBezTo>
                      <a:pt x="168" y="3"/>
                      <a:pt x="171" y="0"/>
                      <a:pt x="174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30"/>
                      <a:pt x="288" y="30"/>
                      <a:pt x="288" y="30"/>
                    </a:cubicBezTo>
                    <a:cubicBezTo>
                      <a:pt x="288" y="40"/>
                      <a:pt x="280" y="48"/>
                      <a:pt x="270" y="48"/>
                    </a:cubicBezTo>
                    <a:close/>
                    <a:moveTo>
                      <a:pt x="12" y="12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15" y="36"/>
                      <a:pt x="18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3" y="36"/>
                      <a:pt x="276" y="34"/>
                      <a:pt x="276" y="3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22"/>
                      <a:pt x="177" y="24"/>
                      <a:pt x="174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4"/>
                      <a:pt x="108" y="22"/>
                      <a:pt x="108" y="18"/>
                    </a:cubicBezTo>
                    <a:cubicBezTo>
                      <a:pt x="108" y="12"/>
                      <a:pt x="108" y="12"/>
                      <a:pt x="108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560" name="TextBox 24">
            <a:extLst>
              <a:ext uri="{FF2B5EF4-FFF2-40B4-BE49-F238E27FC236}">
                <a16:creationId xmlns:a16="http://schemas.microsoft.com/office/drawing/2014/main" id="{4E4F49B0-8C52-4526-7270-F5C401F7D282}"/>
              </a:ext>
            </a:extLst>
          </p:cNvPr>
          <p:cNvSpPr txBox="1"/>
          <p:nvPr/>
        </p:nvSpPr>
        <p:spPr>
          <a:xfrm>
            <a:off x="6319839" y="2596809"/>
            <a:ext cx="5500686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561" name="TextBox 24">
            <a:extLst>
              <a:ext uri="{FF2B5EF4-FFF2-40B4-BE49-F238E27FC236}">
                <a16:creationId xmlns:a16="http://schemas.microsoft.com/office/drawing/2014/main" id="{1832E87F-F2F4-8CEF-6540-76D746AAD5E4}"/>
              </a:ext>
            </a:extLst>
          </p:cNvPr>
          <p:cNvSpPr txBox="1"/>
          <p:nvPr/>
        </p:nvSpPr>
        <p:spPr>
          <a:xfrm>
            <a:off x="6319839" y="3694167"/>
            <a:ext cx="5500686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562" name="TextBox 24">
            <a:extLst>
              <a:ext uri="{FF2B5EF4-FFF2-40B4-BE49-F238E27FC236}">
                <a16:creationId xmlns:a16="http://schemas.microsoft.com/office/drawing/2014/main" id="{63993AD1-A001-53FB-2C1B-F48D26012004}"/>
              </a:ext>
            </a:extLst>
          </p:cNvPr>
          <p:cNvSpPr txBox="1"/>
          <p:nvPr/>
        </p:nvSpPr>
        <p:spPr>
          <a:xfrm>
            <a:off x="6319839" y="4791525"/>
            <a:ext cx="5500686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2606052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B65ECFE-30BF-FA08-332D-B21F651609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CB65ECFE-30BF-FA08-332D-B21F651609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Two axis diagram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52111109-5D17-88A0-4943-617AE086A7D9}"/>
              </a:ext>
            </a:extLst>
          </p:cNvPr>
          <p:cNvSpPr/>
          <p:nvPr/>
        </p:nvSpPr>
        <p:spPr>
          <a:xfrm rot="16200000">
            <a:off x="2031854" y="3609103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E0CF3233-0BF9-F782-D337-09280853DE63}"/>
              </a:ext>
            </a:extLst>
          </p:cNvPr>
          <p:cNvSpPr/>
          <p:nvPr/>
        </p:nvSpPr>
        <p:spPr>
          <a:xfrm>
            <a:off x="5301730" y="6062505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2D50F3B8-55FA-7FC5-C76B-84A4E9867150}"/>
              </a:ext>
            </a:extLst>
          </p:cNvPr>
          <p:cNvSpPr>
            <a:spLocks/>
          </p:cNvSpPr>
          <p:nvPr/>
        </p:nvSpPr>
        <p:spPr bwMode="auto">
          <a:xfrm>
            <a:off x="3536043" y="4047332"/>
            <a:ext cx="2515507" cy="1896263"/>
          </a:xfrm>
          <a:custGeom>
            <a:avLst/>
            <a:gdLst>
              <a:gd name="T0" fmla="*/ 0 w 858"/>
              <a:gd name="T1" fmla="*/ 0 h 650"/>
              <a:gd name="T2" fmla="*/ 857 w 858"/>
              <a:gd name="T3" fmla="*/ 650 h 650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58" h="650">
                <a:moveTo>
                  <a:pt x="0" y="0"/>
                </a:moveTo>
                <a:cubicBezTo>
                  <a:pt x="479" y="14"/>
                  <a:pt x="858" y="301"/>
                  <a:pt x="857" y="650"/>
                </a:cubicBezTo>
              </a:path>
            </a:pathLst>
          </a:custGeom>
          <a:noFill/>
          <a:ln w="1587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D708E07F-0146-E0BA-CEA9-52DAD8526102}"/>
              </a:ext>
            </a:extLst>
          </p:cNvPr>
          <p:cNvSpPr>
            <a:spLocks/>
          </p:cNvSpPr>
          <p:nvPr/>
        </p:nvSpPr>
        <p:spPr bwMode="auto">
          <a:xfrm>
            <a:off x="3536043" y="2933700"/>
            <a:ext cx="4114052" cy="3009895"/>
          </a:xfrm>
          <a:custGeom>
            <a:avLst/>
            <a:gdLst>
              <a:gd name="T0" fmla="*/ 0 w 858"/>
              <a:gd name="T1" fmla="*/ 0 h 650"/>
              <a:gd name="T2" fmla="*/ 857 w 858"/>
              <a:gd name="T3" fmla="*/ 650 h 650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58" h="650">
                <a:moveTo>
                  <a:pt x="0" y="0"/>
                </a:moveTo>
                <a:cubicBezTo>
                  <a:pt x="479" y="14"/>
                  <a:pt x="858" y="301"/>
                  <a:pt x="857" y="650"/>
                </a:cubicBezTo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C8E557AA-143A-7832-21B4-64B5B7DFCD20}"/>
              </a:ext>
            </a:extLst>
          </p:cNvPr>
          <p:cNvSpPr>
            <a:spLocks/>
          </p:cNvSpPr>
          <p:nvPr/>
        </p:nvSpPr>
        <p:spPr bwMode="auto">
          <a:xfrm>
            <a:off x="3536042" y="1746884"/>
            <a:ext cx="5688748" cy="4196711"/>
          </a:xfrm>
          <a:custGeom>
            <a:avLst/>
            <a:gdLst>
              <a:gd name="T0" fmla="*/ 0 w 858"/>
              <a:gd name="T1" fmla="*/ 0 h 650"/>
              <a:gd name="T2" fmla="*/ 857 w 858"/>
              <a:gd name="T3" fmla="*/ 650 h 650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58" h="650">
                <a:moveTo>
                  <a:pt x="0" y="0"/>
                </a:moveTo>
                <a:cubicBezTo>
                  <a:pt x="479" y="14"/>
                  <a:pt x="858" y="301"/>
                  <a:pt x="857" y="650"/>
                </a:cubicBezTo>
              </a:path>
            </a:pathLst>
          </a:custGeom>
          <a:noFill/>
          <a:ln w="15875" cap="flat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8A267B45-0C85-6C13-94B5-1540C73924FA}"/>
              </a:ext>
            </a:extLst>
          </p:cNvPr>
          <p:cNvSpPr/>
          <p:nvPr/>
        </p:nvSpPr>
        <p:spPr>
          <a:xfrm>
            <a:off x="3590473" y="5567335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4925CD44-60BE-37AB-E17B-B44282939146}"/>
              </a:ext>
            </a:extLst>
          </p:cNvPr>
          <p:cNvSpPr/>
          <p:nvPr/>
        </p:nvSpPr>
        <p:spPr>
          <a:xfrm>
            <a:off x="5594295" y="5567335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439FC7A8-905A-D0D0-9974-92E7CDB44B9E}"/>
              </a:ext>
            </a:extLst>
          </p:cNvPr>
          <p:cNvSpPr/>
          <p:nvPr/>
        </p:nvSpPr>
        <p:spPr>
          <a:xfrm>
            <a:off x="7181964" y="5567335"/>
            <a:ext cx="238646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072655D1-40A7-8E59-6B76-B50A2FC334CD}"/>
              </a:ext>
            </a:extLst>
          </p:cNvPr>
          <p:cNvCxnSpPr>
            <a:cxnSpLocks/>
          </p:cNvCxnSpPr>
          <p:nvPr/>
        </p:nvCxnSpPr>
        <p:spPr>
          <a:xfrm flipV="1">
            <a:off x="3536043" y="1520826"/>
            <a:ext cx="0" cy="4422774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8346E837-A842-26EF-AE68-CDA8D847A59C}"/>
              </a:ext>
            </a:extLst>
          </p:cNvPr>
          <p:cNvCxnSpPr>
            <a:cxnSpLocks/>
          </p:cNvCxnSpPr>
          <p:nvPr/>
        </p:nvCxnSpPr>
        <p:spPr>
          <a:xfrm>
            <a:off x="3536043" y="5943599"/>
            <a:ext cx="5917839" cy="0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7607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F23E3AE-4763-59BE-3BCC-8068BC9E8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3F23E3AE-4763-59BE-3BCC-8068BC9E8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D00E8B8D-65FD-4A06-FE94-ABFC4590E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replace the placeholder logo in this template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9E8BBE2-5E3F-AD77-EF8C-4FB9BD978B04}"/>
              </a:ext>
            </a:extLst>
          </p:cNvPr>
          <p:cNvSpPr/>
          <p:nvPr/>
        </p:nvSpPr>
        <p:spPr>
          <a:xfrm>
            <a:off x="8552329" y="4961966"/>
            <a:ext cx="3268196" cy="134676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atch video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replace the placeholder logo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048C7AD-C1DC-3362-0262-A4AFFCD57286}"/>
              </a:ext>
            </a:extLst>
          </p:cNvPr>
          <p:cNvSpPr txBox="1"/>
          <p:nvPr/>
        </p:nvSpPr>
        <p:spPr>
          <a:xfrm>
            <a:off x="911792" y="2757420"/>
            <a:ext cx="2720495" cy="243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ew &gt; Slide Master</a:t>
            </a:r>
          </a:p>
        </p:txBody>
      </p:sp>
      <p:sp>
        <p:nvSpPr>
          <p:cNvPr id="30" name="Oval 22">
            <a:extLst>
              <a:ext uri="{FF2B5EF4-FFF2-40B4-BE49-F238E27FC236}">
                <a16:creationId xmlns:a16="http://schemas.microsoft.com/office/drawing/2014/main" id="{56381A0B-3873-FB71-D4F0-646BE6401765}"/>
              </a:ext>
            </a:extLst>
          </p:cNvPr>
          <p:cNvSpPr/>
          <p:nvPr/>
        </p:nvSpPr>
        <p:spPr>
          <a:xfrm>
            <a:off x="383111" y="161923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CB455B-2DAC-ADB4-D307-DA090B48027E}"/>
              </a:ext>
            </a:extLst>
          </p:cNvPr>
          <p:cNvSpPr txBox="1"/>
          <p:nvPr/>
        </p:nvSpPr>
        <p:spPr>
          <a:xfrm>
            <a:off x="2689723" y="4259513"/>
            <a:ext cx="713655" cy="5316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lect the top Master slide</a:t>
            </a: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F34E56BC-DAAB-2695-27DB-4BBD30C42490}"/>
              </a:ext>
            </a:extLst>
          </p:cNvPr>
          <p:cNvSpPr/>
          <p:nvPr/>
        </p:nvSpPr>
        <p:spPr>
          <a:xfrm>
            <a:off x="4300289" y="161923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172A8C0-CBA0-1F55-5D7F-15F9501994E1}"/>
              </a:ext>
            </a:extLst>
          </p:cNvPr>
          <p:cNvSpPr txBox="1"/>
          <p:nvPr/>
        </p:nvSpPr>
        <p:spPr>
          <a:xfrm>
            <a:off x="4860554" y="3257793"/>
            <a:ext cx="2720495" cy="243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lete placeholder logo from Master slid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A6DB320-8E9E-980B-25CF-F0DD51A4058C}"/>
              </a:ext>
            </a:extLst>
          </p:cNvPr>
          <p:cNvSpPr txBox="1"/>
          <p:nvPr/>
        </p:nvSpPr>
        <p:spPr>
          <a:xfrm>
            <a:off x="5144206" y="5592724"/>
            <a:ext cx="2720495" cy="243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lect Insert &gt; Pictures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owse and selec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o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logo</a:t>
            </a:r>
          </a:p>
        </p:txBody>
      </p:sp>
      <p:sp>
        <p:nvSpPr>
          <p:cNvPr id="36" name="Oval 22">
            <a:extLst>
              <a:ext uri="{FF2B5EF4-FFF2-40B4-BE49-F238E27FC236}">
                <a16:creationId xmlns:a16="http://schemas.microsoft.com/office/drawing/2014/main" id="{3DC30BDC-8131-0CB9-6519-8D11BDB884DD}"/>
              </a:ext>
            </a:extLst>
          </p:cNvPr>
          <p:cNvSpPr/>
          <p:nvPr/>
        </p:nvSpPr>
        <p:spPr>
          <a:xfrm>
            <a:off x="4300289" y="4158734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38" name="Oval 22">
            <a:extLst>
              <a:ext uri="{FF2B5EF4-FFF2-40B4-BE49-F238E27FC236}">
                <a16:creationId xmlns:a16="http://schemas.microsoft.com/office/drawing/2014/main" id="{A2A78C68-48F7-794B-5D88-055B527A05A0}"/>
              </a:ext>
            </a:extLst>
          </p:cNvPr>
          <p:cNvSpPr/>
          <p:nvPr/>
        </p:nvSpPr>
        <p:spPr>
          <a:xfrm>
            <a:off x="8052796" y="161923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F9CD865-BF61-CB53-0B95-26884298AD86}"/>
              </a:ext>
            </a:extLst>
          </p:cNvPr>
          <p:cNvSpPr txBox="1"/>
          <p:nvPr/>
        </p:nvSpPr>
        <p:spPr>
          <a:xfrm>
            <a:off x="8619566" y="3257793"/>
            <a:ext cx="3146892" cy="1712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ve your own logo into position on the Master slide. 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: Just delete the placeholder logo from the Master and leave that space blan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6BE424-A3FE-264A-B502-E0E3984C2CB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004" y="1640031"/>
            <a:ext cx="2836141" cy="899682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8474AF23-9468-774E-96CC-102601E890C5}"/>
              </a:ext>
            </a:extLst>
          </p:cNvPr>
          <p:cNvSpPr/>
          <p:nvPr/>
        </p:nvSpPr>
        <p:spPr>
          <a:xfrm>
            <a:off x="2798619" y="1856511"/>
            <a:ext cx="734289" cy="73428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EC945BB-8843-1C89-5C4F-3B70334D1D25}"/>
              </a:ext>
            </a:extLst>
          </p:cNvPr>
          <p:cNvGrpSpPr/>
          <p:nvPr/>
        </p:nvGrpSpPr>
        <p:grpSpPr>
          <a:xfrm>
            <a:off x="383111" y="3442856"/>
            <a:ext cx="2143258" cy="2175163"/>
            <a:chOff x="383111" y="3442856"/>
            <a:chExt cx="2143258" cy="2175163"/>
          </a:xfrm>
        </p:grpSpPr>
        <p:sp>
          <p:nvSpPr>
            <p:cNvPr id="31" name="Oval 22">
              <a:extLst>
                <a:ext uri="{FF2B5EF4-FFF2-40B4-BE49-F238E27FC236}">
                  <a16:creationId xmlns:a16="http://schemas.microsoft.com/office/drawing/2014/main" id="{9259D10E-0D64-94DF-287D-C2A981C59571}"/>
                </a:ext>
              </a:extLst>
            </p:cNvPr>
            <p:cNvSpPr/>
            <p:nvPr/>
          </p:nvSpPr>
          <p:spPr>
            <a:xfrm>
              <a:off x="383111" y="3773058"/>
              <a:ext cx="461112" cy="4611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F77A788-1369-A478-D14E-AB3B3C619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4863" y="3664529"/>
              <a:ext cx="1481506" cy="1953490"/>
            </a:xfrm>
            <a:prstGeom prst="rect">
              <a:avLst/>
            </a:pr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7E6846F-71F6-18D2-293A-3045F7E33492}"/>
                </a:ext>
              </a:extLst>
            </p:cNvPr>
            <p:cNvSpPr/>
            <p:nvPr/>
          </p:nvSpPr>
          <p:spPr>
            <a:xfrm>
              <a:off x="1219201" y="3442856"/>
              <a:ext cx="1246908" cy="1246908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546419F1-609A-EBB1-F028-2E23515DE96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0028" y="1648690"/>
            <a:ext cx="2549863" cy="1438088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8AE46603-0960-07E4-B674-78B6F83C0903}"/>
              </a:ext>
            </a:extLst>
          </p:cNvPr>
          <p:cNvSpPr/>
          <p:nvPr/>
        </p:nvSpPr>
        <p:spPr>
          <a:xfrm>
            <a:off x="4890655" y="2812473"/>
            <a:ext cx="443345" cy="44334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F142946-4601-2D1A-37D1-34F291877DD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042" y="4283363"/>
            <a:ext cx="2720084" cy="953655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C730CAEB-CFC8-EFA5-51B1-A02B031DD1EC}"/>
              </a:ext>
            </a:extLst>
          </p:cNvPr>
          <p:cNvSpPr/>
          <p:nvPr/>
        </p:nvSpPr>
        <p:spPr>
          <a:xfrm>
            <a:off x="5070764" y="4281055"/>
            <a:ext cx="706581" cy="70658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AEB291C-5019-1DCA-473F-162D128ABEAB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2545" y="1639114"/>
            <a:ext cx="3117979" cy="1144427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2D725834-4A24-BA26-28EB-8D6CE4529521}"/>
              </a:ext>
            </a:extLst>
          </p:cNvPr>
          <p:cNvSpPr/>
          <p:nvPr/>
        </p:nvSpPr>
        <p:spPr>
          <a:xfrm>
            <a:off x="10144788" y="2255032"/>
            <a:ext cx="706581" cy="70658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116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6E1F8B7-BD61-4F51-2514-3EB300B6BD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6E1F8B7-BD61-4F51-2514-3EB300B6B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71C7F2A-91A5-9142-AC6C-E43A61111D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6599CD-B3DC-349D-3C25-1E71E24F9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4E8D2FED-9101-DEF3-7C65-4E9A4D39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lements</a:t>
            </a:r>
          </a:p>
        </p:txBody>
      </p:sp>
      <p:sp>
        <p:nvSpPr>
          <p:cNvPr id="4" name="Oval 22">
            <a:extLst>
              <a:ext uri="{FF2B5EF4-FFF2-40B4-BE49-F238E27FC236}">
                <a16:creationId xmlns:a16="http://schemas.microsoft.com/office/drawing/2014/main" id="{311C2387-6C53-77A4-FFB7-8F3496394BB1}"/>
              </a:ext>
            </a:extLst>
          </p:cNvPr>
          <p:cNvSpPr/>
          <p:nvPr/>
        </p:nvSpPr>
        <p:spPr>
          <a:xfrm>
            <a:off x="371475" y="1726156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37D3C9D5-CF1B-A896-6C80-246DACA7D73A}"/>
              </a:ext>
            </a:extLst>
          </p:cNvPr>
          <p:cNvSpPr/>
          <p:nvPr/>
        </p:nvSpPr>
        <p:spPr>
          <a:xfrm>
            <a:off x="371475" y="2994064"/>
            <a:ext cx="461112" cy="461175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158DC88-C85C-4AFC-3569-85DF0428188C}"/>
              </a:ext>
            </a:extLst>
          </p:cNvPr>
          <p:cNvSpPr/>
          <p:nvPr/>
        </p:nvSpPr>
        <p:spPr>
          <a:xfrm>
            <a:off x="371475" y="2360110"/>
            <a:ext cx="461112" cy="461175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6" name="Oval 32">
            <a:extLst>
              <a:ext uri="{FF2B5EF4-FFF2-40B4-BE49-F238E27FC236}">
                <a16:creationId xmlns:a16="http://schemas.microsoft.com/office/drawing/2014/main" id="{D07B2ADF-60CE-0567-ED90-17B279C590B9}"/>
              </a:ext>
            </a:extLst>
          </p:cNvPr>
          <p:cNvSpPr/>
          <p:nvPr/>
        </p:nvSpPr>
        <p:spPr>
          <a:xfrm>
            <a:off x="371475" y="3628017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4C7233-1A67-F165-FF41-038292960BDC}"/>
              </a:ext>
            </a:extLst>
          </p:cNvPr>
          <p:cNvGrpSpPr/>
          <p:nvPr/>
        </p:nvGrpSpPr>
        <p:grpSpPr>
          <a:xfrm>
            <a:off x="2395854" y="1520824"/>
            <a:ext cx="1858513" cy="1550622"/>
            <a:chOff x="1904965" y="2999216"/>
            <a:chExt cx="2782538" cy="1726468"/>
          </a:xfrm>
        </p:grpSpPr>
        <p:sp>
          <p:nvSpPr>
            <p:cNvPr id="47" name="Rectangle 6">
              <a:extLst>
                <a:ext uri="{FF2B5EF4-FFF2-40B4-BE49-F238E27FC236}">
                  <a16:creationId xmlns:a16="http://schemas.microsoft.com/office/drawing/2014/main" id="{A09ACF3B-EBC0-60FA-3609-83F917DDE131}"/>
                </a:ext>
              </a:extLst>
            </p:cNvPr>
            <p:cNvSpPr/>
            <p:nvPr/>
          </p:nvSpPr>
          <p:spPr>
            <a:xfrm>
              <a:off x="1904965" y="3439539"/>
              <a:ext cx="2782538" cy="128614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riangle 18">
              <a:extLst>
                <a:ext uri="{FF2B5EF4-FFF2-40B4-BE49-F238E27FC236}">
                  <a16:creationId xmlns:a16="http://schemas.microsoft.com/office/drawing/2014/main" id="{2C70020D-6591-462A-F132-152FF58128C7}"/>
                </a:ext>
              </a:extLst>
            </p:cNvPr>
            <p:cNvSpPr/>
            <p:nvPr/>
          </p:nvSpPr>
          <p:spPr>
            <a:xfrm>
              <a:off x="2568901" y="2999216"/>
              <a:ext cx="1454667" cy="336851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" name="Right Arrow 3">
            <a:extLst>
              <a:ext uri="{FF2B5EF4-FFF2-40B4-BE49-F238E27FC236}">
                <a16:creationId xmlns:a16="http://schemas.microsoft.com/office/drawing/2014/main" id="{E0174A4F-5E09-FFD8-909C-7F0D186D7791}"/>
              </a:ext>
            </a:extLst>
          </p:cNvPr>
          <p:cNvSpPr/>
          <p:nvPr/>
        </p:nvSpPr>
        <p:spPr>
          <a:xfrm>
            <a:off x="2307792" y="3300047"/>
            <a:ext cx="2788537" cy="1133962"/>
          </a:xfrm>
          <a:prstGeom prst="rightArrow">
            <a:avLst>
              <a:gd name="adj1" fmla="val 63559"/>
              <a:gd name="adj2" fmla="val 63581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IDERATION</a:t>
            </a:r>
          </a:p>
        </p:txBody>
      </p:sp>
      <p:sp>
        <p:nvSpPr>
          <p:cNvPr id="53" name="Hexágono 7">
            <a:extLst>
              <a:ext uri="{FF2B5EF4-FFF2-40B4-BE49-F238E27FC236}">
                <a16:creationId xmlns:a16="http://schemas.microsoft.com/office/drawing/2014/main" id="{7EBD57E1-B9FA-B768-9847-41FD6CCE6330}"/>
              </a:ext>
            </a:extLst>
          </p:cNvPr>
          <p:cNvSpPr/>
          <p:nvPr/>
        </p:nvSpPr>
        <p:spPr>
          <a:xfrm rot="5400000">
            <a:off x="4635249" y="1632011"/>
            <a:ext cx="1476178" cy="1445323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" name="Cross 2">
            <a:extLst>
              <a:ext uri="{FF2B5EF4-FFF2-40B4-BE49-F238E27FC236}">
                <a16:creationId xmlns:a16="http://schemas.microsoft.com/office/drawing/2014/main" id="{4B4EA034-62EE-187D-F720-05F0DDCFE5B3}"/>
              </a:ext>
            </a:extLst>
          </p:cNvPr>
          <p:cNvSpPr/>
          <p:nvPr/>
        </p:nvSpPr>
        <p:spPr>
          <a:xfrm>
            <a:off x="1254432" y="1732548"/>
            <a:ext cx="445050" cy="445050"/>
          </a:xfrm>
          <a:prstGeom prst="plus">
            <a:avLst>
              <a:gd name="adj" fmla="val 330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Multiply 5">
            <a:extLst>
              <a:ext uri="{FF2B5EF4-FFF2-40B4-BE49-F238E27FC236}">
                <a16:creationId xmlns:a16="http://schemas.microsoft.com/office/drawing/2014/main" id="{2013DD70-F0B0-D4DC-78A1-8B40E3392609}"/>
              </a:ext>
            </a:extLst>
          </p:cNvPr>
          <p:cNvSpPr/>
          <p:nvPr/>
        </p:nvSpPr>
        <p:spPr>
          <a:xfrm>
            <a:off x="1174723" y="2258633"/>
            <a:ext cx="604468" cy="604468"/>
          </a:xfrm>
          <a:prstGeom prst="mathMultiply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0E2D2982-EB06-7C75-7A0E-C68D067D23FB}"/>
              </a:ext>
            </a:extLst>
          </p:cNvPr>
          <p:cNvSpPr/>
          <p:nvPr/>
        </p:nvSpPr>
        <p:spPr>
          <a:xfrm>
            <a:off x="5451107" y="3444421"/>
            <a:ext cx="2383153" cy="846225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1607B2B1-5F19-9A63-3827-4D74ECB8A469}"/>
              </a:ext>
            </a:extLst>
          </p:cNvPr>
          <p:cNvSpPr/>
          <p:nvPr/>
        </p:nvSpPr>
        <p:spPr>
          <a:xfrm>
            <a:off x="7648257" y="3444421"/>
            <a:ext cx="1531204" cy="846225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Notched Right Arrow 13">
            <a:extLst>
              <a:ext uri="{FF2B5EF4-FFF2-40B4-BE49-F238E27FC236}">
                <a16:creationId xmlns:a16="http://schemas.microsoft.com/office/drawing/2014/main" id="{25E03D24-7985-D7D9-497D-9C797F6DA897}"/>
              </a:ext>
            </a:extLst>
          </p:cNvPr>
          <p:cNvSpPr/>
          <p:nvPr/>
        </p:nvSpPr>
        <p:spPr>
          <a:xfrm>
            <a:off x="10363199" y="3059724"/>
            <a:ext cx="1470159" cy="1617785"/>
          </a:xfrm>
          <a:prstGeom prst="notchedRightArrow">
            <a:avLst>
              <a:gd name="adj1" fmla="val 54138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qual 14">
            <a:extLst>
              <a:ext uri="{FF2B5EF4-FFF2-40B4-BE49-F238E27FC236}">
                <a16:creationId xmlns:a16="http://schemas.microsoft.com/office/drawing/2014/main" id="{94033A41-A715-6B4A-7E2D-0315818C235B}"/>
              </a:ext>
            </a:extLst>
          </p:cNvPr>
          <p:cNvSpPr/>
          <p:nvPr/>
        </p:nvSpPr>
        <p:spPr>
          <a:xfrm>
            <a:off x="1193013" y="2944136"/>
            <a:ext cx="567889" cy="567889"/>
          </a:xfrm>
          <a:prstGeom prst="mathEqual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Minus 15">
            <a:extLst>
              <a:ext uri="{FF2B5EF4-FFF2-40B4-BE49-F238E27FC236}">
                <a16:creationId xmlns:a16="http://schemas.microsoft.com/office/drawing/2014/main" id="{0286AB4D-FE13-FDEF-75E8-6CC797B0C1CE}"/>
              </a:ext>
            </a:extLst>
          </p:cNvPr>
          <p:cNvSpPr/>
          <p:nvPr/>
        </p:nvSpPr>
        <p:spPr>
          <a:xfrm>
            <a:off x="1173761" y="3593060"/>
            <a:ext cx="606392" cy="519765"/>
          </a:xfrm>
          <a:prstGeom prst="mathMin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0B6C2CBA-0EE1-976A-1693-790946CF9749}"/>
              </a:ext>
            </a:extLst>
          </p:cNvPr>
          <p:cNvSpPr/>
          <p:nvPr/>
        </p:nvSpPr>
        <p:spPr>
          <a:xfrm>
            <a:off x="8993457" y="3444421"/>
            <a:ext cx="1531204" cy="846225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Double Bracket 17">
            <a:extLst>
              <a:ext uri="{FF2B5EF4-FFF2-40B4-BE49-F238E27FC236}">
                <a16:creationId xmlns:a16="http://schemas.microsoft.com/office/drawing/2014/main" id="{CADE2B6E-3991-54E9-108C-15A93FFDEF58}"/>
              </a:ext>
            </a:extLst>
          </p:cNvPr>
          <p:cNvSpPr/>
          <p:nvPr/>
        </p:nvSpPr>
        <p:spPr>
          <a:xfrm>
            <a:off x="2250831" y="5466258"/>
            <a:ext cx="518653" cy="823199"/>
          </a:xfrm>
          <a:prstGeom prst="bracketPair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Double Brace 18">
            <a:extLst>
              <a:ext uri="{FF2B5EF4-FFF2-40B4-BE49-F238E27FC236}">
                <a16:creationId xmlns:a16="http://schemas.microsoft.com/office/drawing/2014/main" id="{31713F60-1352-003F-25F3-DEAB3607E49B}"/>
              </a:ext>
            </a:extLst>
          </p:cNvPr>
          <p:cNvSpPr/>
          <p:nvPr/>
        </p:nvSpPr>
        <p:spPr>
          <a:xfrm>
            <a:off x="3048047" y="5464608"/>
            <a:ext cx="691538" cy="834476"/>
          </a:xfrm>
          <a:prstGeom prst="bracePair">
            <a:avLst>
              <a:gd name="adj" fmla="val 11012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7D01F1-A022-07D0-952D-69A3B63D54F9}"/>
              </a:ext>
            </a:extLst>
          </p:cNvPr>
          <p:cNvGrpSpPr/>
          <p:nvPr/>
        </p:nvGrpSpPr>
        <p:grpSpPr>
          <a:xfrm>
            <a:off x="4018148" y="5462954"/>
            <a:ext cx="766661" cy="845771"/>
            <a:chOff x="9316352" y="1659555"/>
            <a:chExt cx="1195138" cy="1443821"/>
          </a:xfrm>
        </p:grpSpPr>
        <p:sp>
          <p:nvSpPr>
            <p:cNvPr id="20" name="Right Brace 19">
              <a:extLst>
                <a:ext uri="{FF2B5EF4-FFF2-40B4-BE49-F238E27FC236}">
                  <a16:creationId xmlns:a16="http://schemas.microsoft.com/office/drawing/2014/main" id="{338407A6-44ED-4D4B-D27E-A879A1DBC59C}"/>
                </a:ext>
              </a:extLst>
            </p:cNvPr>
            <p:cNvSpPr/>
            <p:nvPr/>
          </p:nvSpPr>
          <p:spPr>
            <a:xfrm>
              <a:off x="10078353" y="1659555"/>
              <a:ext cx="433137" cy="1443821"/>
            </a:xfrm>
            <a:prstGeom prst="rightBrace">
              <a:avLst>
                <a:gd name="adj1" fmla="val 8333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Right Brace 21">
              <a:extLst>
                <a:ext uri="{FF2B5EF4-FFF2-40B4-BE49-F238E27FC236}">
                  <a16:creationId xmlns:a16="http://schemas.microsoft.com/office/drawing/2014/main" id="{6E9FCBC8-85D9-C591-F603-5B5DE081F9A2}"/>
                </a:ext>
              </a:extLst>
            </p:cNvPr>
            <p:cNvSpPr/>
            <p:nvPr/>
          </p:nvSpPr>
          <p:spPr>
            <a:xfrm flipH="1">
              <a:off x="9316352" y="1659555"/>
              <a:ext cx="433137" cy="1443821"/>
            </a:xfrm>
            <a:prstGeom prst="rightBrace">
              <a:avLst>
                <a:gd name="adj1" fmla="val 8333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04E6BD-73CA-3743-0E4E-D9D700EFB06F}"/>
              </a:ext>
            </a:extLst>
          </p:cNvPr>
          <p:cNvGrpSpPr/>
          <p:nvPr/>
        </p:nvGrpSpPr>
        <p:grpSpPr>
          <a:xfrm>
            <a:off x="5063371" y="5462954"/>
            <a:ext cx="766661" cy="845771"/>
            <a:chOff x="9316352" y="1659555"/>
            <a:chExt cx="1195138" cy="1443821"/>
          </a:xfrm>
        </p:grpSpPr>
        <p:sp>
          <p:nvSpPr>
            <p:cNvPr id="25" name="Right Brace 24">
              <a:extLst>
                <a:ext uri="{FF2B5EF4-FFF2-40B4-BE49-F238E27FC236}">
                  <a16:creationId xmlns:a16="http://schemas.microsoft.com/office/drawing/2014/main" id="{9FE6F4C1-47FE-7AEA-0E0C-0998104A7B4B}"/>
                </a:ext>
              </a:extLst>
            </p:cNvPr>
            <p:cNvSpPr/>
            <p:nvPr/>
          </p:nvSpPr>
          <p:spPr>
            <a:xfrm>
              <a:off x="10078353" y="1659555"/>
              <a:ext cx="433137" cy="1443821"/>
            </a:xfrm>
            <a:prstGeom prst="rightBrace">
              <a:avLst>
                <a:gd name="adj1" fmla="val 0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Right Brace 25">
              <a:extLst>
                <a:ext uri="{FF2B5EF4-FFF2-40B4-BE49-F238E27FC236}">
                  <a16:creationId xmlns:a16="http://schemas.microsoft.com/office/drawing/2014/main" id="{0CD46E1A-E336-DA0D-58F6-E229633B90FD}"/>
                </a:ext>
              </a:extLst>
            </p:cNvPr>
            <p:cNvSpPr/>
            <p:nvPr/>
          </p:nvSpPr>
          <p:spPr>
            <a:xfrm flipH="1">
              <a:off x="9316352" y="1659555"/>
              <a:ext cx="433137" cy="1443821"/>
            </a:xfrm>
            <a:prstGeom prst="rightBrace">
              <a:avLst>
                <a:gd name="adj1" fmla="val 0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8" name="Block Arc 27">
            <a:extLst>
              <a:ext uri="{FF2B5EF4-FFF2-40B4-BE49-F238E27FC236}">
                <a16:creationId xmlns:a16="http://schemas.microsoft.com/office/drawing/2014/main" id="{BF5CF0E0-939A-442E-DD02-537E643D7905}"/>
              </a:ext>
            </a:extLst>
          </p:cNvPr>
          <p:cNvSpPr/>
          <p:nvPr/>
        </p:nvSpPr>
        <p:spPr>
          <a:xfrm>
            <a:off x="2434328" y="4615869"/>
            <a:ext cx="1164656" cy="1164656"/>
          </a:xfrm>
          <a:prstGeom prst="blockArc">
            <a:avLst>
              <a:gd name="adj1" fmla="val 10691627"/>
              <a:gd name="adj2" fmla="val 0"/>
              <a:gd name="adj3" fmla="val 25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7DD2B95-AB43-C99E-EC21-CF162AA1F82E}"/>
              </a:ext>
            </a:extLst>
          </p:cNvPr>
          <p:cNvSpPr>
            <a:spLocks noChangeAspect="1"/>
          </p:cNvSpPr>
          <p:nvPr/>
        </p:nvSpPr>
        <p:spPr>
          <a:xfrm>
            <a:off x="1276883" y="5562601"/>
            <a:ext cx="619201" cy="619285"/>
          </a:xfrm>
          <a:prstGeom prst="ellipse">
            <a:avLst/>
          </a:prstGeom>
          <a:noFill/>
          <a:ln>
            <a:solidFill>
              <a:schemeClr val="tx2"/>
            </a:solidFill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8393F71-26B4-B7AE-C644-18C61C2BFDA5}"/>
              </a:ext>
            </a:extLst>
          </p:cNvPr>
          <p:cNvGrpSpPr/>
          <p:nvPr/>
        </p:nvGrpSpPr>
        <p:grpSpPr>
          <a:xfrm>
            <a:off x="371475" y="5562601"/>
            <a:ext cx="619201" cy="619285"/>
            <a:chOff x="2436879" y="5007955"/>
            <a:chExt cx="928674" cy="928800"/>
          </a:xfrm>
        </p:grpSpPr>
        <p:sp>
          <p:nvSpPr>
            <p:cNvPr id="27" name="Pie 26">
              <a:extLst>
                <a:ext uri="{FF2B5EF4-FFF2-40B4-BE49-F238E27FC236}">
                  <a16:creationId xmlns:a16="http://schemas.microsoft.com/office/drawing/2014/main" id="{36B52A99-44A0-CA7D-1C26-97E902EEF1F8}"/>
                </a:ext>
              </a:extLst>
            </p:cNvPr>
            <p:cNvSpPr/>
            <p:nvPr/>
          </p:nvSpPr>
          <p:spPr>
            <a:xfrm>
              <a:off x="2437248" y="5008387"/>
              <a:ext cx="927936" cy="927936"/>
            </a:xfrm>
            <a:prstGeom prst="pie">
              <a:avLst>
                <a:gd name="adj1" fmla="val 10744377"/>
                <a:gd name="adj2" fmla="val 5323274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B347F97-7171-B380-FA1B-C2D3E8EDAA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36879" y="5007955"/>
              <a:ext cx="928674" cy="9288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5B7EECC-27E3-B545-2083-8C4C381FB930}"/>
              </a:ext>
            </a:extLst>
          </p:cNvPr>
          <p:cNvGrpSpPr/>
          <p:nvPr/>
        </p:nvGrpSpPr>
        <p:grpSpPr>
          <a:xfrm>
            <a:off x="1276883" y="4700954"/>
            <a:ext cx="619201" cy="619285"/>
            <a:chOff x="1182755" y="5002135"/>
            <a:chExt cx="928674" cy="928800"/>
          </a:xfrm>
        </p:grpSpPr>
        <p:sp>
          <p:nvSpPr>
            <p:cNvPr id="29" name="Pie 28">
              <a:extLst>
                <a:ext uri="{FF2B5EF4-FFF2-40B4-BE49-F238E27FC236}">
                  <a16:creationId xmlns:a16="http://schemas.microsoft.com/office/drawing/2014/main" id="{3C761C40-3FBA-5734-D1C9-12478F58832F}"/>
                </a:ext>
              </a:extLst>
            </p:cNvPr>
            <p:cNvSpPr/>
            <p:nvPr/>
          </p:nvSpPr>
          <p:spPr>
            <a:xfrm>
              <a:off x="1183124" y="5002567"/>
              <a:ext cx="927936" cy="927936"/>
            </a:xfrm>
            <a:prstGeom prst="pie">
              <a:avLst>
                <a:gd name="adj1" fmla="val 10788903"/>
                <a:gd name="adj2" fmla="val 21576725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D2D17C9-3DEB-60BE-8386-7F37B8E7AA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82755" y="5002135"/>
              <a:ext cx="928674" cy="9288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571B5FF-6DBE-A72C-EAFA-E079F04A7523}"/>
              </a:ext>
            </a:extLst>
          </p:cNvPr>
          <p:cNvGrpSpPr/>
          <p:nvPr/>
        </p:nvGrpSpPr>
        <p:grpSpPr>
          <a:xfrm>
            <a:off x="371475" y="4700954"/>
            <a:ext cx="619201" cy="619285"/>
            <a:chOff x="-92862" y="5025014"/>
            <a:chExt cx="928674" cy="928800"/>
          </a:xfrm>
        </p:grpSpPr>
        <p:sp>
          <p:nvSpPr>
            <p:cNvPr id="30" name="Pie 29">
              <a:extLst>
                <a:ext uri="{FF2B5EF4-FFF2-40B4-BE49-F238E27FC236}">
                  <a16:creationId xmlns:a16="http://schemas.microsoft.com/office/drawing/2014/main" id="{F342C59B-CDAC-9C51-F18A-FF8EB0607E36}"/>
                </a:ext>
              </a:extLst>
            </p:cNvPr>
            <p:cNvSpPr/>
            <p:nvPr/>
          </p:nvSpPr>
          <p:spPr>
            <a:xfrm rot="5400000">
              <a:off x="-92493" y="5025446"/>
              <a:ext cx="927936" cy="927936"/>
            </a:xfrm>
            <a:prstGeom prst="pie">
              <a:avLst>
                <a:gd name="adj1" fmla="val 10867052"/>
                <a:gd name="adj2" fmla="val 16200000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4E40920-1AF0-2A46-EDC7-F4035F7F7C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92862" y="5025014"/>
              <a:ext cx="928674" cy="9288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0" name="Block Arc 39">
            <a:extLst>
              <a:ext uri="{FF2B5EF4-FFF2-40B4-BE49-F238E27FC236}">
                <a16:creationId xmlns:a16="http://schemas.microsoft.com/office/drawing/2014/main" id="{1E8853DD-6E8F-AE05-E96D-807B3073FF04}"/>
              </a:ext>
            </a:extLst>
          </p:cNvPr>
          <p:cNvSpPr/>
          <p:nvPr/>
        </p:nvSpPr>
        <p:spPr>
          <a:xfrm rot="10800000">
            <a:off x="3816143" y="4088912"/>
            <a:ext cx="1164656" cy="1164656"/>
          </a:xfrm>
          <a:prstGeom prst="blockArc">
            <a:avLst>
              <a:gd name="adj1" fmla="val 10691627"/>
              <a:gd name="adj2" fmla="val 0"/>
              <a:gd name="adj3" fmla="val 25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Bent Arrow 40">
            <a:extLst>
              <a:ext uri="{FF2B5EF4-FFF2-40B4-BE49-F238E27FC236}">
                <a16:creationId xmlns:a16="http://schemas.microsoft.com/office/drawing/2014/main" id="{5D17CA5F-51CA-DE34-70CD-88FFD0C325FE}"/>
              </a:ext>
            </a:extLst>
          </p:cNvPr>
          <p:cNvSpPr/>
          <p:nvPr/>
        </p:nvSpPr>
        <p:spPr>
          <a:xfrm>
            <a:off x="8495567" y="5291230"/>
            <a:ext cx="953233" cy="1017496"/>
          </a:xfrm>
          <a:prstGeom prst="ben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Right Arrow Callout 41">
            <a:extLst>
              <a:ext uri="{FF2B5EF4-FFF2-40B4-BE49-F238E27FC236}">
                <a16:creationId xmlns:a16="http://schemas.microsoft.com/office/drawing/2014/main" id="{56C41542-59EB-2A52-7B47-FCA979DD5031}"/>
              </a:ext>
            </a:extLst>
          </p:cNvPr>
          <p:cNvSpPr/>
          <p:nvPr/>
        </p:nvSpPr>
        <p:spPr>
          <a:xfrm>
            <a:off x="6167438" y="5382601"/>
            <a:ext cx="1148862" cy="926124"/>
          </a:xfrm>
          <a:prstGeom prst="rightArrowCallo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Data 42">
            <a:extLst>
              <a:ext uri="{FF2B5EF4-FFF2-40B4-BE49-F238E27FC236}">
                <a16:creationId xmlns:a16="http://schemas.microsoft.com/office/drawing/2014/main" id="{CA42FC3F-2FC1-F7C7-6C39-8B06E6949208}"/>
              </a:ext>
            </a:extLst>
          </p:cNvPr>
          <p:cNvSpPr/>
          <p:nvPr/>
        </p:nvSpPr>
        <p:spPr>
          <a:xfrm>
            <a:off x="7455878" y="5347432"/>
            <a:ext cx="808891" cy="984737"/>
          </a:xfrm>
          <a:prstGeom prst="flowChartInputOutp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Diamond 43">
            <a:extLst>
              <a:ext uri="{FF2B5EF4-FFF2-40B4-BE49-F238E27FC236}">
                <a16:creationId xmlns:a16="http://schemas.microsoft.com/office/drawing/2014/main" id="{CBA155F3-B903-25D0-27CA-67E6EDA1EB9B}"/>
              </a:ext>
            </a:extLst>
          </p:cNvPr>
          <p:cNvSpPr/>
          <p:nvPr/>
        </p:nvSpPr>
        <p:spPr>
          <a:xfrm>
            <a:off x="6392618" y="1614610"/>
            <a:ext cx="1594338" cy="1479778"/>
          </a:xfrm>
          <a:prstGeom prst="diamond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x</a:t>
            </a:r>
          </a:p>
        </p:txBody>
      </p:sp>
      <p:sp>
        <p:nvSpPr>
          <p:cNvPr id="45" name="Teardrop 44">
            <a:extLst>
              <a:ext uri="{FF2B5EF4-FFF2-40B4-BE49-F238E27FC236}">
                <a16:creationId xmlns:a16="http://schemas.microsoft.com/office/drawing/2014/main" id="{6D6DB02D-FA41-FE6C-5F52-709F0161123F}"/>
              </a:ext>
            </a:extLst>
          </p:cNvPr>
          <p:cNvSpPr/>
          <p:nvPr/>
        </p:nvSpPr>
        <p:spPr>
          <a:xfrm>
            <a:off x="9589477" y="5359156"/>
            <a:ext cx="949569" cy="949569"/>
          </a:xfrm>
          <a:prstGeom prst="teardrop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Trapezoid 48">
            <a:extLst>
              <a:ext uri="{FF2B5EF4-FFF2-40B4-BE49-F238E27FC236}">
                <a16:creationId xmlns:a16="http://schemas.microsoft.com/office/drawing/2014/main" id="{1CD3CFB8-C5CF-F812-A30B-72EBB1ABE0F9}"/>
              </a:ext>
            </a:extLst>
          </p:cNvPr>
          <p:cNvSpPr/>
          <p:nvPr/>
        </p:nvSpPr>
        <p:spPr>
          <a:xfrm>
            <a:off x="10937631" y="5251938"/>
            <a:ext cx="882894" cy="1056787"/>
          </a:xfrm>
          <a:prstGeom prst="trapezoi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Rectangular Callout 49">
            <a:extLst>
              <a:ext uri="{FF2B5EF4-FFF2-40B4-BE49-F238E27FC236}">
                <a16:creationId xmlns:a16="http://schemas.microsoft.com/office/drawing/2014/main" id="{6B4B6922-AD59-7D6A-5AC4-A4BEF4D07CF2}"/>
              </a:ext>
            </a:extLst>
          </p:cNvPr>
          <p:cNvSpPr/>
          <p:nvPr/>
        </p:nvSpPr>
        <p:spPr>
          <a:xfrm>
            <a:off x="8283575" y="1762738"/>
            <a:ext cx="1536823" cy="1209328"/>
          </a:xfrm>
          <a:prstGeom prst="wedgeRectCallout">
            <a:avLst>
              <a:gd name="adj1" fmla="val -44080"/>
              <a:gd name="adj2" fmla="val 74562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x</a:t>
            </a:r>
          </a:p>
        </p:txBody>
      </p:sp>
      <p:sp>
        <p:nvSpPr>
          <p:cNvPr id="57" name="Oval Callout 56">
            <a:extLst>
              <a:ext uri="{FF2B5EF4-FFF2-40B4-BE49-F238E27FC236}">
                <a16:creationId xmlns:a16="http://schemas.microsoft.com/office/drawing/2014/main" id="{488D5D5B-8E94-639F-75A6-78475082A0E6}"/>
              </a:ext>
            </a:extLst>
          </p:cNvPr>
          <p:cNvSpPr/>
          <p:nvPr/>
        </p:nvSpPr>
        <p:spPr>
          <a:xfrm>
            <a:off x="10117016" y="1727567"/>
            <a:ext cx="1703510" cy="1273541"/>
          </a:xfrm>
          <a:prstGeom prst="wedgeEllipseCallou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x</a:t>
            </a:r>
          </a:p>
        </p:txBody>
      </p:sp>
      <p:sp>
        <p:nvSpPr>
          <p:cNvPr id="58" name="5-Point Star 57">
            <a:extLst>
              <a:ext uri="{FF2B5EF4-FFF2-40B4-BE49-F238E27FC236}">
                <a16:creationId xmlns:a16="http://schemas.microsoft.com/office/drawing/2014/main" id="{007E7577-7F10-78C3-6818-7D8B665D1AE3}"/>
              </a:ext>
            </a:extLst>
          </p:cNvPr>
          <p:cNvSpPr/>
          <p:nvPr/>
        </p:nvSpPr>
        <p:spPr>
          <a:xfrm>
            <a:off x="5310554" y="4566139"/>
            <a:ext cx="539261" cy="539261"/>
          </a:xfrm>
          <a:prstGeom prst="star5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Triangle 58">
            <a:extLst>
              <a:ext uri="{FF2B5EF4-FFF2-40B4-BE49-F238E27FC236}">
                <a16:creationId xmlns:a16="http://schemas.microsoft.com/office/drawing/2014/main" id="{A3E293F1-644F-BF04-503F-D032E6811E6D}"/>
              </a:ext>
            </a:extLst>
          </p:cNvPr>
          <p:cNvSpPr/>
          <p:nvPr/>
        </p:nvSpPr>
        <p:spPr>
          <a:xfrm>
            <a:off x="6117111" y="4621877"/>
            <a:ext cx="496229" cy="42778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Up Arrow 59">
            <a:extLst>
              <a:ext uri="{FF2B5EF4-FFF2-40B4-BE49-F238E27FC236}">
                <a16:creationId xmlns:a16="http://schemas.microsoft.com/office/drawing/2014/main" id="{8C1AF78F-3FF1-2A39-DCF4-46967A4E82ED}"/>
              </a:ext>
            </a:extLst>
          </p:cNvPr>
          <p:cNvSpPr/>
          <p:nvPr/>
        </p:nvSpPr>
        <p:spPr>
          <a:xfrm>
            <a:off x="6880636" y="4589585"/>
            <a:ext cx="410308" cy="492369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Up Arrow 60">
            <a:extLst>
              <a:ext uri="{FF2B5EF4-FFF2-40B4-BE49-F238E27FC236}">
                <a16:creationId xmlns:a16="http://schemas.microsoft.com/office/drawing/2014/main" id="{168C8E5C-8787-F49C-B0C7-FC50FBB680C8}"/>
              </a:ext>
            </a:extLst>
          </p:cNvPr>
          <p:cNvSpPr/>
          <p:nvPr/>
        </p:nvSpPr>
        <p:spPr>
          <a:xfrm rot="5400000">
            <a:off x="7599271" y="4589585"/>
            <a:ext cx="410308" cy="492369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Diamond 61">
            <a:extLst>
              <a:ext uri="{FF2B5EF4-FFF2-40B4-BE49-F238E27FC236}">
                <a16:creationId xmlns:a16="http://schemas.microsoft.com/office/drawing/2014/main" id="{546F5B56-77DA-537B-599A-03F7C664A461}"/>
              </a:ext>
            </a:extLst>
          </p:cNvPr>
          <p:cNvSpPr/>
          <p:nvPr/>
        </p:nvSpPr>
        <p:spPr>
          <a:xfrm>
            <a:off x="8317905" y="4583723"/>
            <a:ext cx="504092" cy="504092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L-Shape 62">
            <a:extLst>
              <a:ext uri="{FF2B5EF4-FFF2-40B4-BE49-F238E27FC236}">
                <a16:creationId xmlns:a16="http://schemas.microsoft.com/office/drawing/2014/main" id="{39F4144D-739C-5B81-193B-D2270E476F98}"/>
              </a:ext>
            </a:extLst>
          </p:cNvPr>
          <p:cNvSpPr/>
          <p:nvPr/>
        </p:nvSpPr>
        <p:spPr>
          <a:xfrm>
            <a:off x="9089293" y="4642339"/>
            <a:ext cx="386862" cy="386861"/>
          </a:xfrm>
          <a:prstGeom prst="corne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Can 63">
            <a:extLst>
              <a:ext uri="{FF2B5EF4-FFF2-40B4-BE49-F238E27FC236}">
                <a16:creationId xmlns:a16="http://schemas.microsoft.com/office/drawing/2014/main" id="{DB62C9C3-457A-FA1D-45B3-3931B32402B2}"/>
              </a:ext>
            </a:extLst>
          </p:cNvPr>
          <p:cNvSpPr/>
          <p:nvPr/>
        </p:nvSpPr>
        <p:spPr>
          <a:xfrm>
            <a:off x="9743451" y="4613031"/>
            <a:ext cx="316523" cy="445477"/>
          </a:xfrm>
          <a:prstGeom prst="ca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D8FDBB25-2DCA-A284-3FE7-BD0FBE15122D}"/>
              </a:ext>
            </a:extLst>
          </p:cNvPr>
          <p:cNvSpPr/>
          <p:nvPr/>
        </p:nvSpPr>
        <p:spPr>
          <a:xfrm flipH="1" flipV="1">
            <a:off x="10327273" y="4622185"/>
            <a:ext cx="493127" cy="42716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523517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299FF44-7AAC-BC8C-2A6D-F7ADCE801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4299FF44-7AAC-BC8C-2A6D-F7ADCE801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Three axis diagram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DFF8A55-9C47-0323-EBC1-CFFF20C5609C}"/>
              </a:ext>
            </a:extLst>
          </p:cNvPr>
          <p:cNvSpPr/>
          <p:nvPr/>
        </p:nvSpPr>
        <p:spPr>
          <a:xfrm>
            <a:off x="4550567" y="2975768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54" name="Forma libre: forma 21553">
            <a:extLst>
              <a:ext uri="{FF2B5EF4-FFF2-40B4-BE49-F238E27FC236}">
                <a16:creationId xmlns:a16="http://schemas.microsoft.com/office/drawing/2014/main" id="{54323C4E-6543-AA8C-9BD8-80E4CF3F6670}"/>
              </a:ext>
            </a:extLst>
          </p:cNvPr>
          <p:cNvSpPr/>
          <p:nvPr/>
        </p:nvSpPr>
        <p:spPr>
          <a:xfrm>
            <a:off x="4586288" y="2705100"/>
            <a:ext cx="976312" cy="216694"/>
          </a:xfrm>
          <a:custGeom>
            <a:avLst/>
            <a:gdLst>
              <a:gd name="connsiteX0" fmla="*/ 976312 w 976312"/>
              <a:gd name="connsiteY0" fmla="*/ 0 h 216694"/>
              <a:gd name="connsiteX1" fmla="*/ 345281 w 976312"/>
              <a:gd name="connsiteY1" fmla="*/ 0 h 216694"/>
              <a:gd name="connsiteX2" fmla="*/ 0 w 976312"/>
              <a:gd name="connsiteY2" fmla="*/ 216694 h 216694"/>
              <a:gd name="connsiteX3" fmla="*/ 657225 w 976312"/>
              <a:gd name="connsiteY3" fmla="*/ 216694 h 216694"/>
              <a:gd name="connsiteX4" fmla="*/ 976312 w 976312"/>
              <a:gd name="connsiteY4" fmla="*/ 0 h 21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6312" h="216694">
                <a:moveTo>
                  <a:pt x="976312" y="0"/>
                </a:moveTo>
                <a:lnTo>
                  <a:pt x="345281" y="0"/>
                </a:lnTo>
                <a:lnTo>
                  <a:pt x="0" y="216694"/>
                </a:lnTo>
                <a:lnTo>
                  <a:pt x="657225" y="216694"/>
                </a:lnTo>
                <a:lnTo>
                  <a:pt x="976312" y="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56" name="Forma libre: forma 21555">
            <a:extLst>
              <a:ext uri="{FF2B5EF4-FFF2-40B4-BE49-F238E27FC236}">
                <a16:creationId xmlns:a16="http://schemas.microsoft.com/office/drawing/2014/main" id="{437F2775-685D-2E99-D06E-649C6F28E28B}"/>
              </a:ext>
            </a:extLst>
          </p:cNvPr>
          <p:cNvSpPr/>
          <p:nvPr/>
        </p:nvSpPr>
        <p:spPr>
          <a:xfrm>
            <a:off x="4993481" y="2483644"/>
            <a:ext cx="897732" cy="188119"/>
          </a:xfrm>
          <a:custGeom>
            <a:avLst/>
            <a:gdLst>
              <a:gd name="connsiteX0" fmla="*/ 616744 w 897732"/>
              <a:gd name="connsiteY0" fmla="*/ 188119 h 188119"/>
              <a:gd name="connsiteX1" fmla="*/ 897732 w 897732"/>
              <a:gd name="connsiteY1" fmla="*/ 0 h 188119"/>
              <a:gd name="connsiteX2" fmla="*/ 304800 w 897732"/>
              <a:gd name="connsiteY2" fmla="*/ 0 h 188119"/>
              <a:gd name="connsiteX3" fmla="*/ 0 w 897732"/>
              <a:gd name="connsiteY3" fmla="*/ 188119 h 188119"/>
              <a:gd name="connsiteX4" fmla="*/ 616744 w 897732"/>
              <a:gd name="connsiteY4" fmla="*/ 188119 h 188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7732" h="188119">
                <a:moveTo>
                  <a:pt x="616744" y="188119"/>
                </a:moveTo>
                <a:lnTo>
                  <a:pt x="897732" y="0"/>
                </a:lnTo>
                <a:lnTo>
                  <a:pt x="304800" y="0"/>
                </a:lnTo>
                <a:lnTo>
                  <a:pt x="0" y="188119"/>
                </a:lnTo>
                <a:lnTo>
                  <a:pt x="616744" y="18811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57" name="Forma libre: forma 21556">
            <a:extLst>
              <a:ext uri="{FF2B5EF4-FFF2-40B4-BE49-F238E27FC236}">
                <a16:creationId xmlns:a16="http://schemas.microsoft.com/office/drawing/2014/main" id="{5A589533-EA07-7E54-7D5D-AD2E2BF6BF36}"/>
              </a:ext>
            </a:extLst>
          </p:cNvPr>
          <p:cNvSpPr/>
          <p:nvPr/>
        </p:nvSpPr>
        <p:spPr>
          <a:xfrm>
            <a:off x="5369719" y="2266950"/>
            <a:ext cx="835819" cy="180975"/>
          </a:xfrm>
          <a:custGeom>
            <a:avLst/>
            <a:gdLst>
              <a:gd name="connsiteX0" fmla="*/ 573881 w 835819"/>
              <a:gd name="connsiteY0" fmla="*/ 180975 h 180975"/>
              <a:gd name="connsiteX1" fmla="*/ 835819 w 835819"/>
              <a:gd name="connsiteY1" fmla="*/ 0 h 180975"/>
              <a:gd name="connsiteX2" fmla="*/ 292894 w 835819"/>
              <a:gd name="connsiteY2" fmla="*/ 0 h 180975"/>
              <a:gd name="connsiteX3" fmla="*/ 0 w 835819"/>
              <a:gd name="connsiteY3" fmla="*/ 176213 h 180975"/>
              <a:gd name="connsiteX4" fmla="*/ 573881 w 835819"/>
              <a:gd name="connsiteY4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5819" h="180975">
                <a:moveTo>
                  <a:pt x="573881" y="180975"/>
                </a:moveTo>
                <a:lnTo>
                  <a:pt x="835819" y="0"/>
                </a:lnTo>
                <a:lnTo>
                  <a:pt x="292894" y="0"/>
                </a:lnTo>
                <a:lnTo>
                  <a:pt x="0" y="176213"/>
                </a:lnTo>
                <a:lnTo>
                  <a:pt x="573881" y="18097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58" name="Forma libre: forma 21557">
            <a:extLst>
              <a:ext uri="{FF2B5EF4-FFF2-40B4-BE49-F238E27FC236}">
                <a16:creationId xmlns:a16="http://schemas.microsoft.com/office/drawing/2014/main" id="{89EBA17E-F943-2E6D-1B83-DB45A71829AD}"/>
              </a:ext>
            </a:extLst>
          </p:cNvPr>
          <p:cNvSpPr/>
          <p:nvPr/>
        </p:nvSpPr>
        <p:spPr>
          <a:xfrm>
            <a:off x="5729288" y="2040731"/>
            <a:ext cx="802481" cy="192882"/>
          </a:xfrm>
          <a:custGeom>
            <a:avLst/>
            <a:gdLst>
              <a:gd name="connsiteX0" fmla="*/ 526256 w 802481"/>
              <a:gd name="connsiteY0" fmla="*/ 192882 h 192882"/>
              <a:gd name="connsiteX1" fmla="*/ 802481 w 802481"/>
              <a:gd name="connsiteY1" fmla="*/ 0 h 192882"/>
              <a:gd name="connsiteX2" fmla="*/ 314325 w 802481"/>
              <a:gd name="connsiteY2" fmla="*/ 0 h 192882"/>
              <a:gd name="connsiteX3" fmla="*/ 0 w 802481"/>
              <a:gd name="connsiteY3" fmla="*/ 190500 h 192882"/>
              <a:gd name="connsiteX4" fmla="*/ 526256 w 802481"/>
              <a:gd name="connsiteY4" fmla="*/ 192882 h 192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481" h="192882">
                <a:moveTo>
                  <a:pt x="526256" y="192882"/>
                </a:moveTo>
                <a:lnTo>
                  <a:pt x="802481" y="0"/>
                </a:lnTo>
                <a:lnTo>
                  <a:pt x="314325" y="0"/>
                </a:lnTo>
                <a:lnTo>
                  <a:pt x="0" y="190500"/>
                </a:lnTo>
                <a:lnTo>
                  <a:pt x="526256" y="192882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1" name="Forma libre: forma 21560">
            <a:extLst>
              <a:ext uri="{FF2B5EF4-FFF2-40B4-BE49-F238E27FC236}">
                <a16:creationId xmlns:a16="http://schemas.microsoft.com/office/drawing/2014/main" id="{A27789BF-9200-AC4A-3B28-64D71FEB269A}"/>
              </a:ext>
            </a:extLst>
          </p:cNvPr>
          <p:cNvSpPr/>
          <p:nvPr/>
        </p:nvSpPr>
        <p:spPr>
          <a:xfrm>
            <a:off x="5322094" y="2705100"/>
            <a:ext cx="931069" cy="214313"/>
          </a:xfrm>
          <a:custGeom>
            <a:avLst/>
            <a:gdLst>
              <a:gd name="connsiteX0" fmla="*/ 0 w 931069"/>
              <a:gd name="connsiteY0" fmla="*/ 214313 h 214313"/>
              <a:gd name="connsiteX1" fmla="*/ 661987 w 931069"/>
              <a:gd name="connsiteY1" fmla="*/ 214313 h 214313"/>
              <a:gd name="connsiteX2" fmla="*/ 931069 w 931069"/>
              <a:gd name="connsiteY2" fmla="*/ 0 h 214313"/>
              <a:gd name="connsiteX3" fmla="*/ 314325 w 931069"/>
              <a:gd name="connsiteY3" fmla="*/ 0 h 214313"/>
              <a:gd name="connsiteX4" fmla="*/ 0 w 931069"/>
              <a:gd name="connsiteY4" fmla="*/ 214313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069" h="214313">
                <a:moveTo>
                  <a:pt x="0" y="214313"/>
                </a:moveTo>
                <a:lnTo>
                  <a:pt x="661987" y="214313"/>
                </a:lnTo>
                <a:lnTo>
                  <a:pt x="931069" y="0"/>
                </a:lnTo>
                <a:lnTo>
                  <a:pt x="314325" y="0"/>
                </a:lnTo>
                <a:lnTo>
                  <a:pt x="0" y="214313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2" name="Forma libre: forma 21561">
            <a:extLst>
              <a:ext uri="{FF2B5EF4-FFF2-40B4-BE49-F238E27FC236}">
                <a16:creationId xmlns:a16="http://schemas.microsoft.com/office/drawing/2014/main" id="{A0C8C464-C823-8600-9F1E-934E69702E89}"/>
              </a:ext>
            </a:extLst>
          </p:cNvPr>
          <p:cNvSpPr/>
          <p:nvPr/>
        </p:nvSpPr>
        <p:spPr>
          <a:xfrm>
            <a:off x="6050756" y="2705100"/>
            <a:ext cx="904875" cy="219075"/>
          </a:xfrm>
          <a:custGeom>
            <a:avLst/>
            <a:gdLst>
              <a:gd name="connsiteX0" fmla="*/ 673894 w 904875"/>
              <a:gd name="connsiteY0" fmla="*/ 216694 h 219075"/>
              <a:gd name="connsiteX1" fmla="*/ 904875 w 904875"/>
              <a:gd name="connsiteY1" fmla="*/ 0 h 219075"/>
              <a:gd name="connsiteX2" fmla="*/ 271463 w 904875"/>
              <a:gd name="connsiteY2" fmla="*/ 0 h 219075"/>
              <a:gd name="connsiteX3" fmla="*/ 0 w 904875"/>
              <a:gd name="connsiteY3" fmla="*/ 219075 h 219075"/>
              <a:gd name="connsiteX4" fmla="*/ 673894 w 904875"/>
              <a:gd name="connsiteY4" fmla="*/ 216694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4875" h="219075">
                <a:moveTo>
                  <a:pt x="673894" y="216694"/>
                </a:moveTo>
                <a:lnTo>
                  <a:pt x="904875" y="0"/>
                </a:lnTo>
                <a:lnTo>
                  <a:pt x="271463" y="0"/>
                </a:lnTo>
                <a:lnTo>
                  <a:pt x="0" y="219075"/>
                </a:lnTo>
                <a:lnTo>
                  <a:pt x="673894" y="216694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3" name="Forma libre: forma 21562">
            <a:extLst>
              <a:ext uri="{FF2B5EF4-FFF2-40B4-BE49-F238E27FC236}">
                <a16:creationId xmlns:a16="http://schemas.microsoft.com/office/drawing/2014/main" id="{F098128A-A4DB-9230-2DE3-CED30481C89C}"/>
              </a:ext>
            </a:extLst>
          </p:cNvPr>
          <p:cNvSpPr/>
          <p:nvPr/>
        </p:nvSpPr>
        <p:spPr>
          <a:xfrm>
            <a:off x="6788944" y="2705100"/>
            <a:ext cx="869156" cy="216694"/>
          </a:xfrm>
          <a:custGeom>
            <a:avLst/>
            <a:gdLst>
              <a:gd name="connsiteX0" fmla="*/ 0 w 869156"/>
              <a:gd name="connsiteY0" fmla="*/ 216694 h 216694"/>
              <a:gd name="connsiteX1" fmla="*/ 690562 w 869156"/>
              <a:gd name="connsiteY1" fmla="*/ 216694 h 216694"/>
              <a:gd name="connsiteX2" fmla="*/ 869156 w 869156"/>
              <a:gd name="connsiteY2" fmla="*/ 0 h 216694"/>
              <a:gd name="connsiteX3" fmla="*/ 223837 w 869156"/>
              <a:gd name="connsiteY3" fmla="*/ 0 h 216694"/>
              <a:gd name="connsiteX4" fmla="*/ 0 w 869156"/>
              <a:gd name="connsiteY4" fmla="*/ 216694 h 21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156" h="216694">
                <a:moveTo>
                  <a:pt x="0" y="216694"/>
                </a:moveTo>
                <a:lnTo>
                  <a:pt x="690562" y="216694"/>
                </a:lnTo>
                <a:lnTo>
                  <a:pt x="869156" y="0"/>
                </a:lnTo>
                <a:lnTo>
                  <a:pt x="223837" y="0"/>
                </a:lnTo>
                <a:lnTo>
                  <a:pt x="0" y="216694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4" name="Forma libre: forma 21563">
            <a:extLst>
              <a:ext uri="{FF2B5EF4-FFF2-40B4-BE49-F238E27FC236}">
                <a16:creationId xmlns:a16="http://schemas.microsoft.com/office/drawing/2014/main" id="{0F4BCED3-4309-518F-0BFD-AA94AC4A53F7}"/>
              </a:ext>
            </a:extLst>
          </p:cNvPr>
          <p:cNvSpPr/>
          <p:nvPr/>
        </p:nvSpPr>
        <p:spPr>
          <a:xfrm>
            <a:off x="5688806" y="2486025"/>
            <a:ext cx="852488" cy="185738"/>
          </a:xfrm>
          <a:custGeom>
            <a:avLst/>
            <a:gdLst>
              <a:gd name="connsiteX0" fmla="*/ 0 w 852488"/>
              <a:gd name="connsiteY0" fmla="*/ 185738 h 185738"/>
              <a:gd name="connsiteX1" fmla="*/ 611982 w 852488"/>
              <a:gd name="connsiteY1" fmla="*/ 185738 h 185738"/>
              <a:gd name="connsiteX2" fmla="*/ 852488 w 852488"/>
              <a:gd name="connsiteY2" fmla="*/ 0 h 185738"/>
              <a:gd name="connsiteX3" fmla="*/ 269082 w 852488"/>
              <a:gd name="connsiteY3" fmla="*/ 0 h 185738"/>
              <a:gd name="connsiteX4" fmla="*/ 0 w 852488"/>
              <a:gd name="connsiteY4" fmla="*/ 185738 h 185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2488" h="185738">
                <a:moveTo>
                  <a:pt x="0" y="185738"/>
                </a:moveTo>
                <a:lnTo>
                  <a:pt x="611982" y="185738"/>
                </a:lnTo>
                <a:lnTo>
                  <a:pt x="852488" y="0"/>
                </a:lnTo>
                <a:lnTo>
                  <a:pt x="269082" y="0"/>
                </a:lnTo>
                <a:lnTo>
                  <a:pt x="0" y="185738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5" name="Forma libre: forma 21564">
            <a:extLst>
              <a:ext uri="{FF2B5EF4-FFF2-40B4-BE49-F238E27FC236}">
                <a16:creationId xmlns:a16="http://schemas.microsoft.com/office/drawing/2014/main" id="{7612747A-652B-A847-8692-928DBEE89F21}"/>
              </a:ext>
            </a:extLst>
          </p:cNvPr>
          <p:cNvSpPr/>
          <p:nvPr/>
        </p:nvSpPr>
        <p:spPr>
          <a:xfrm>
            <a:off x="6015038" y="2266950"/>
            <a:ext cx="802481" cy="180975"/>
          </a:xfrm>
          <a:custGeom>
            <a:avLst/>
            <a:gdLst>
              <a:gd name="connsiteX0" fmla="*/ 566737 w 802481"/>
              <a:gd name="connsiteY0" fmla="*/ 180975 h 180975"/>
              <a:gd name="connsiteX1" fmla="*/ 802481 w 802481"/>
              <a:gd name="connsiteY1" fmla="*/ 0 h 180975"/>
              <a:gd name="connsiteX2" fmla="*/ 257175 w 802481"/>
              <a:gd name="connsiteY2" fmla="*/ 0 h 180975"/>
              <a:gd name="connsiteX3" fmla="*/ 0 w 802481"/>
              <a:gd name="connsiteY3" fmla="*/ 180975 h 180975"/>
              <a:gd name="connsiteX4" fmla="*/ 566737 w 802481"/>
              <a:gd name="connsiteY4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481" h="180975">
                <a:moveTo>
                  <a:pt x="566737" y="180975"/>
                </a:moveTo>
                <a:lnTo>
                  <a:pt x="802481" y="0"/>
                </a:lnTo>
                <a:lnTo>
                  <a:pt x="257175" y="0"/>
                </a:lnTo>
                <a:lnTo>
                  <a:pt x="0" y="180975"/>
                </a:lnTo>
                <a:lnTo>
                  <a:pt x="566737" y="18097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6" name="Forma libre: forma 21565">
            <a:extLst>
              <a:ext uri="{FF2B5EF4-FFF2-40B4-BE49-F238E27FC236}">
                <a16:creationId xmlns:a16="http://schemas.microsoft.com/office/drawing/2014/main" id="{260358C4-AD74-680E-A13B-52DA5589461B}"/>
              </a:ext>
            </a:extLst>
          </p:cNvPr>
          <p:cNvSpPr/>
          <p:nvPr/>
        </p:nvSpPr>
        <p:spPr>
          <a:xfrm>
            <a:off x="6329363" y="2038350"/>
            <a:ext cx="778668" cy="195263"/>
          </a:xfrm>
          <a:custGeom>
            <a:avLst/>
            <a:gdLst>
              <a:gd name="connsiteX0" fmla="*/ 531018 w 778668"/>
              <a:gd name="connsiteY0" fmla="*/ 195263 h 195263"/>
              <a:gd name="connsiteX1" fmla="*/ 778668 w 778668"/>
              <a:gd name="connsiteY1" fmla="*/ 0 h 195263"/>
              <a:gd name="connsiteX2" fmla="*/ 276225 w 778668"/>
              <a:gd name="connsiteY2" fmla="*/ 0 h 195263"/>
              <a:gd name="connsiteX3" fmla="*/ 0 w 778668"/>
              <a:gd name="connsiteY3" fmla="*/ 195263 h 195263"/>
              <a:gd name="connsiteX4" fmla="*/ 531018 w 778668"/>
              <a:gd name="connsiteY4" fmla="*/ 195263 h 1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8668" h="195263">
                <a:moveTo>
                  <a:pt x="531018" y="195263"/>
                </a:moveTo>
                <a:lnTo>
                  <a:pt x="778668" y="0"/>
                </a:lnTo>
                <a:lnTo>
                  <a:pt x="276225" y="0"/>
                </a:lnTo>
                <a:lnTo>
                  <a:pt x="0" y="195263"/>
                </a:lnTo>
                <a:lnTo>
                  <a:pt x="531018" y="195263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7" name="Forma libre: forma 21566">
            <a:extLst>
              <a:ext uri="{FF2B5EF4-FFF2-40B4-BE49-F238E27FC236}">
                <a16:creationId xmlns:a16="http://schemas.microsoft.com/office/drawing/2014/main" id="{FC93EBD8-9F94-CA6F-642F-B72295D06D25}"/>
              </a:ext>
            </a:extLst>
          </p:cNvPr>
          <p:cNvSpPr/>
          <p:nvPr/>
        </p:nvSpPr>
        <p:spPr>
          <a:xfrm>
            <a:off x="6365081" y="2486025"/>
            <a:ext cx="828675" cy="188119"/>
          </a:xfrm>
          <a:custGeom>
            <a:avLst/>
            <a:gdLst>
              <a:gd name="connsiteX0" fmla="*/ 623888 w 828675"/>
              <a:gd name="connsiteY0" fmla="*/ 183356 h 188119"/>
              <a:gd name="connsiteX1" fmla="*/ 828675 w 828675"/>
              <a:gd name="connsiteY1" fmla="*/ 0 h 188119"/>
              <a:gd name="connsiteX2" fmla="*/ 230982 w 828675"/>
              <a:gd name="connsiteY2" fmla="*/ 0 h 188119"/>
              <a:gd name="connsiteX3" fmla="*/ 0 w 828675"/>
              <a:gd name="connsiteY3" fmla="*/ 188119 h 188119"/>
              <a:gd name="connsiteX4" fmla="*/ 623888 w 828675"/>
              <a:gd name="connsiteY4" fmla="*/ 183356 h 188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675" h="188119">
                <a:moveTo>
                  <a:pt x="623888" y="183356"/>
                </a:moveTo>
                <a:lnTo>
                  <a:pt x="828675" y="0"/>
                </a:lnTo>
                <a:lnTo>
                  <a:pt x="230982" y="0"/>
                </a:lnTo>
                <a:lnTo>
                  <a:pt x="0" y="188119"/>
                </a:lnTo>
                <a:lnTo>
                  <a:pt x="623888" y="183356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8" name="Forma libre: forma 21567">
            <a:extLst>
              <a:ext uri="{FF2B5EF4-FFF2-40B4-BE49-F238E27FC236}">
                <a16:creationId xmlns:a16="http://schemas.microsoft.com/office/drawing/2014/main" id="{B6506116-67BE-DA83-BDE3-AAA2A21E8FC1}"/>
              </a:ext>
            </a:extLst>
          </p:cNvPr>
          <p:cNvSpPr/>
          <p:nvPr/>
        </p:nvSpPr>
        <p:spPr>
          <a:xfrm>
            <a:off x="6655594" y="2269331"/>
            <a:ext cx="773906" cy="178594"/>
          </a:xfrm>
          <a:custGeom>
            <a:avLst/>
            <a:gdLst>
              <a:gd name="connsiteX0" fmla="*/ 578644 w 773906"/>
              <a:gd name="connsiteY0" fmla="*/ 176213 h 178594"/>
              <a:gd name="connsiteX1" fmla="*/ 773906 w 773906"/>
              <a:gd name="connsiteY1" fmla="*/ 0 h 178594"/>
              <a:gd name="connsiteX2" fmla="*/ 228600 w 773906"/>
              <a:gd name="connsiteY2" fmla="*/ 0 h 178594"/>
              <a:gd name="connsiteX3" fmla="*/ 0 w 773906"/>
              <a:gd name="connsiteY3" fmla="*/ 178594 h 178594"/>
              <a:gd name="connsiteX4" fmla="*/ 578644 w 773906"/>
              <a:gd name="connsiteY4" fmla="*/ 176213 h 17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3906" h="178594">
                <a:moveTo>
                  <a:pt x="578644" y="176213"/>
                </a:moveTo>
                <a:lnTo>
                  <a:pt x="773906" y="0"/>
                </a:lnTo>
                <a:lnTo>
                  <a:pt x="228600" y="0"/>
                </a:lnTo>
                <a:lnTo>
                  <a:pt x="0" y="178594"/>
                </a:lnTo>
                <a:lnTo>
                  <a:pt x="578644" y="176213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69" name="Forma libre: forma 21568">
            <a:extLst>
              <a:ext uri="{FF2B5EF4-FFF2-40B4-BE49-F238E27FC236}">
                <a16:creationId xmlns:a16="http://schemas.microsoft.com/office/drawing/2014/main" id="{1CC6B7E2-A285-BDBA-2ED9-BAB62D77128E}"/>
              </a:ext>
            </a:extLst>
          </p:cNvPr>
          <p:cNvSpPr/>
          <p:nvPr/>
        </p:nvSpPr>
        <p:spPr>
          <a:xfrm>
            <a:off x="6929438" y="2040731"/>
            <a:ext cx="747712" cy="192882"/>
          </a:xfrm>
          <a:custGeom>
            <a:avLst/>
            <a:gdLst>
              <a:gd name="connsiteX0" fmla="*/ 535781 w 747712"/>
              <a:gd name="connsiteY0" fmla="*/ 192882 h 192882"/>
              <a:gd name="connsiteX1" fmla="*/ 747712 w 747712"/>
              <a:gd name="connsiteY1" fmla="*/ 0 h 192882"/>
              <a:gd name="connsiteX2" fmla="*/ 242887 w 747712"/>
              <a:gd name="connsiteY2" fmla="*/ 0 h 192882"/>
              <a:gd name="connsiteX3" fmla="*/ 0 w 747712"/>
              <a:gd name="connsiteY3" fmla="*/ 188119 h 192882"/>
              <a:gd name="connsiteX4" fmla="*/ 535781 w 747712"/>
              <a:gd name="connsiteY4" fmla="*/ 192882 h 192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712" h="192882">
                <a:moveTo>
                  <a:pt x="535781" y="192882"/>
                </a:moveTo>
                <a:lnTo>
                  <a:pt x="747712" y="0"/>
                </a:lnTo>
                <a:lnTo>
                  <a:pt x="242887" y="0"/>
                </a:lnTo>
                <a:lnTo>
                  <a:pt x="0" y="188119"/>
                </a:lnTo>
                <a:lnTo>
                  <a:pt x="535781" y="192882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0" name="Forma libre: forma 21569">
            <a:extLst>
              <a:ext uri="{FF2B5EF4-FFF2-40B4-BE49-F238E27FC236}">
                <a16:creationId xmlns:a16="http://schemas.microsoft.com/office/drawing/2014/main" id="{17299E6B-C838-2348-B172-D9417AEBFB12}"/>
              </a:ext>
            </a:extLst>
          </p:cNvPr>
          <p:cNvSpPr/>
          <p:nvPr/>
        </p:nvSpPr>
        <p:spPr>
          <a:xfrm>
            <a:off x="7053263" y="2481263"/>
            <a:ext cx="802481" cy="190500"/>
          </a:xfrm>
          <a:custGeom>
            <a:avLst/>
            <a:gdLst>
              <a:gd name="connsiteX0" fmla="*/ 635793 w 802481"/>
              <a:gd name="connsiteY0" fmla="*/ 190500 h 190500"/>
              <a:gd name="connsiteX1" fmla="*/ 802481 w 802481"/>
              <a:gd name="connsiteY1" fmla="*/ 0 h 190500"/>
              <a:gd name="connsiteX2" fmla="*/ 200025 w 802481"/>
              <a:gd name="connsiteY2" fmla="*/ 0 h 190500"/>
              <a:gd name="connsiteX3" fmla="*/ 0 w 802481"/>
              <a:gd name="connsiteY3" fmla="*/ 188118 h 190500"/>
              <a:gd name="connsiteX4" fmla="*/ 635793 w 802481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481" h="190500">
                <a:moveTo>
                  <a:pt x="635793" y="190500"/>
                </a:moveTo>
                <a:lnTo>
                  <a:pt x="802481" y="0"/>
                </a:lnTo>
                <a:lnTo>
                  <a:pt x="200025" y="0"/>
                </a:lnTo>
                <a:lnTo>
                  <a:pt x="0" y="188118"/>
                </a:lnTo>
                <a:lnTo>
                  <a:pt x="635793" y="1905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1" name="Forma libre: forma 21570">
            <a:extLst>
              <a:ext uri="{FF2B5EF4-FFF2-40B4-BE49-F238E27FC236}">
                <a16:creationId xmlns:a16="http://schemas.microsoft.com/office/drawing/2014/main" id="{77F654A0-B793-CA00-C988-12CDDD5B8FE7}"/>
              </a:ext>
            </a:extLst>
          </p:cNvPr>
          <p:cNvSpPr/>
          <p:nvPr/>
        </p:nvSpPr>
        <p:spPr>
          <a:xfrm>
            <a:off x="7293769" y="2266950"/>
            <a:ext cx="745331" cy="180975"/>
          </a:xfrm>
          <a:custGeom>
            <a:avLst/>
            <a:gdLst>
              <a:gd name="connsiteX0" fmla="*/ 583406 w 745331"/>
              <a:gd name="connsiteY0" fmla="*/ 178594 h 180975"/>
              <a:gd name="connsiteX1" fmla="*/ 745331 w 745331"/>
              <a:gd name="connsiteY1" fmla="*/ 0 h 180975"/>
              <a:gd name="connsiteX2" fmla="*/ 200025 w 745331"/>
              <a:gd name="connsiteY2" fmla="*/ 0 h 180975"/>
              <a:gd name="connsiteX3" fmla="*/ 0 w 745331"/>
              <a:gd name="connsiteY3" fmla="*/ 180975 h 180975"/>
              <a:gd name="connsiteX4" fmla="*/ 583406 w 745331"/>
              <a:gd name="connsiteY4" fmla="*/ 178594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331" h="180975">
                <a:moveTo>
                  <a:pt x="583406" y="178594"/>
                </a:moveTo>
                <a:lnTo>
                  <a:pt x="745331" y="0"/>
                </a:lnTo>
                <a:lnTo>
                  <a:pt x="200025" y="0"/>
                </a:lnTo>
                <a:lnTo>
                  <a:pt x="0" y="180975"/>
                </a:lnTo>
                <a:lnTo>
                  <a:pt x="583406" y="178594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2" name="Forma libre: forma 21571">
            <a:extLst>
              <a:ext uri="{FF2B5EF4-FFF2-40B4-BE49-F238E27FC236}">
                <a16:creationId xmlns:a16="http://schemas.microsoft.com/office/drawing/2014/main" id="{E6704FEF-37C0-EBB0-560B-5A181CA182BB}"/>
              </a:ext>
            </a:extLst>
          </p:cNvPr>
          <p:cNvSpPr/>
          <p:nvPr/>
        </p:nvSpPr>
        <p:spPr>
          <a:xfrm>
            <a:off x="7529513" y="2038350"/>
            <a:ext cx="719137" cy="200025"/>
          </a:xfrm>
          <a:custGeom>
            <a:avLst/>
            <a:gdLst>
              <a:gd name="connsiteX0" fmla="*/ 550068 w 719137"/>
              <a:gd name="connsiteY0" fmla="*/ 195263 h 200025"/>
              <a:gd name="connsiteX1" fmla="*/ 719137 w 719137"/>
              <a:gd name="connsiteY1" fmla="*/ 0 h 200025"/>
              <a:gd name="connsiteX2" fmla="*/ 204787 w 719137"/>
              <a:gd name="connsiteY2" fmla="*/ 0 h 200025"/>
              <a:gd name="connsiteX3" fmla="*/ 0 w 719137"/>
              <a:gd name="connsiteY3" fmla="*/ 200025 h 200025"/>
              <a:gd name="connsiteX4" fmla="*/ 550068 w 719137"/>
              <a:gd name="connsiteY4" fmla="*/ 195263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137" h="200025">
                <a:moveTo>
                  <a:pt x="550068" y="195263"/>
                </a:moveTo>
                <a:lnTo>
                  <a:pt x="719137" y="0"/>
                </a:lnTo>
                <a:lnTo>
                  <a:pt x="204787" y="0"/>
                </a:lnTo>
                <a:lnTo>
                  <a:pt x="0" y="200025"/>
                </a:lnTo>
                <a:lnTo>
                  <a:pt x="550068" y="195263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3" name="Rectángulo 21572">
            <a:extLst>
              <a:ext uri="{FF2B5EF4-FFF2-40B4-BE49-F238E27FC236}">
                <a16:creationId xmlns:a16="http://schemas.microsoft.com/office/drawing/2014/main" id="{8E198443-D68D-604F-F54C-05EFA18D3B99}"/>
              </a:ext>
            </a:extLst>
          </p:cNvPr>
          <p:cNvSpPr/>
          <p:nvPr/>
        </p:nvSpPr>
        <p:spPr>
          <a:xfrm>
            <a:off x="5296693" y="2975768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4" name="Rectángulo 21573">
            <a:extLst>
              <a:ext uri="{FF2B5EF4-FFF2-40B4-BE49-F238E27FC236}">
                <a16:creationId xmlns:a16="http://schemas.microsoft.com/office/drawing/2014/main" id="{3A10D74B-7456-0530-BF1D-C016DA9CBEA9}"/>
              </a:ext>
            </a:extLst>
          </p:cNvPr>
          <p:cNvSpPr/>
          <p:nvPr/>
        </p:nvSpPr>
        <p:spPr>
          <a:xfrm>
            <a:off x="6042819" y="2975768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5" name="Rectángulo 21574">
            <a:extLst>
              <a:ext uri="{FF2B5EF4-FFF2-40B4-BE49-F238E27FC236}">
                <a16:creationId xmlns:a16="http://schemas.microsoft.com/office/drawing/2014/main" id="{7C16CE46-D45D-729D-870A-9570FFEF8FC6}"/>
              </a:ext>
            </a:extLst>
          </p:cNvPr>
          <p:cNvSpPr/>
          <p:nvPr/>
        </p:nvSpPr>
        <p:spPr>
          <a:xfrm>
            <a:off x="6788944" y="2975768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6" name="Rectángulo 21575">
            <a:extLst>
              <a:ext uri="{FF2B5EF4-FFF2-40B4-BE49-F238E27FC236}">
                <a16:creationId xmlns:a16="http://schemas.microsoft.com/office/drawing/2014/main" id="{F62A682A-75DC-91FD-4649-B51918A9A774}"/>
              </a:ext>
            </a:extLst>
          </p:cNvPr>
          <p:cNvSpPr/>
          <p:nvPr/>
        </p:nvSpPr>
        <p:spPr>
          <a:xfrm>
            <a:off x="4550567" y="3720336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7" name="Rectángulo 21576">
            <a:extLst>
              <a:ext uri="{FF2B5EF4-FFF2-40B4-BE49-F238E27FC236}">
                <a16:creationId xmlns:a16="http://schemas.microsoft.com/office/drawing/2014/main" id="{7AFBAE30-FA0E-0BCA-BD2F-298FB4AE86D8}"/>
              </a:ext>
            </a:extLst>
          </p:cNvPr>
          <p:cNvSpPr/>
          <p:nvPr/>
        </p:nvSpPr>
        <p:spPr>
          <a:xfrm>
            <a:off x="5296693" y="3720336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8" name="Rectángulo 21577">
            <a:extLst>
              <a:ext uri="{FF2B5EF4-FFF2-40B4-BE49-F238E27FC236}">
                <a16:creationId xmlns:a16="http://schemas.microsoft.com/office/drawing/2014/main" id="{225905C4-AF0B-5687-ACF1-297F9E386DBF}"/>
              </a:ext>
            </a:extLst>
          </p:cNvPr>
          <p:cNvSpPr/>
          <p:nvPr/>
        </p:nvSpPr>
        <p:spPr>
          <a:xfrm>
            <a:off x="6042819" y="3720336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79" name="Rectángulo 21578">
            <a:extLst>
              <a:ext uri="{FF2B5EF4-FFF2-40B4-BE49-F238E27FC236}">
                <a16:creationId xmlns:a16="http://schemas.microsoft.com/office/drawing/2014/main" id="{6929CD94-007E-2C88-1F4A-6E3E3308FFAE}"/>
              </a:ext>
            </a:extLst>
          </p:cNvPr>
          <p:cNvSpPr/>
          <p:nvPr/>
        </p:nvSpPr>
        <p:spPr>
          <a:xfrm>
            <a:off x="6788944" y="3720336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2" name="Rectángulo 21581">
            <a:extLst>
              <a:ext uri="{FF2B5EF4-FFF2-40B4-BE49-F238E27FC236}">
                <a16:creationId xmlns:a16="http://schemas.microsoft.com/office/drawing/2014/main" id="{D2F3D82E-54B8-4F7E-1E12-BF7FB10164C4}"/>
              </a:ext>
            </a:extLst>
          </p:cNvPr>
          <p:cNvSpPr/>
          <p:nvPr/>
        </p:nvSpPr>
        <p:spPr>
          <a:xfrm>
            <a:off x="4550567" y="4464904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3" name="Rectángulo 21582">
            <a:extLst>
              <a:ext uri="{FF2B5EF4-FFF2-40B4-BE49-F238E27FC236}">
                <a16:creationId xmlns:a16="http://schemas.microsoft.com/office/drawing/2014/main" id="{676CDB65-3255-5F62-7361-D876C02C4D2F}"/>
              </a:ext>
            </a:extLst>
          </p:cNvPr>
          <p:cNvSpPr/>
          <p:nvPr/>
        </p:nvSpPr>
        <p:spPr>
          <a:xfrm>
            <a:off x="5296693" y="4464904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4" name="Rectángulo 21583">
            <a:extLst>
              <a:ext uri="{FF2B5EF4-FFF2-40B4-BE49-F238E27FC236}">
                <a16:creationId xmlns:a16="http://schemas.microsoft.com/office/drawing/2014/main" id="{0B8A83F9-A3D3-0CDA-399F-6999CAFC4C94}"/>
              </a:ext>
            </a:extLst>
          </p:cNvPr>
          <p:cNvSpPr/>
          <p:nvPr/>
        </p:nvSpPr>
        <p:spPr>
          <a:xfrm>
            <a:off x="6042819" y="4464904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5" name="Rectángulo 21584">
            <a:extLst>
              <a:ext uri="{FF2B5EF4-FFF2-40B4-BE49-F238E27FC236}">
                <a16:creationId xmlns:a16="http://schemas.microsoft.com/office/drawing/2014/main" id="{45A89199-237C-DFB7-6A29-D495BC469E9A}"/>
              </a:ext>
            </a:extLst>
          </p:cNvPr>
          <p:cNvSpPr/>
          <p:nvPr/>
        </p:nvSpPr>
        <p:spPr>
          <a:xfrm>
            <a:off x="6788944" y="4464904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7" name="Rectángulo 21586">
            <a:extLst>
              <a:ext uri="{FF2B5EF4-FFF2-40B4-BE49-F238E27FC236}">
                <a16:creationId xmlns:a16="http://schemas.microsoft.com/office/drawing/2014/main" id="{D45DCF3F-2CFB-BEC0-9636-DCE52E0CEBE4}"/>
              </a:ext>
            </a:extLst>
          </p:cNvPr>
          <p:cNvSpPr/>
          <p:nvPr/>
        </p:nvSpPr>
        <p:spPr>
          <a:xfrm>
            <a:off x="4550567" y="5209473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8" name="Rectángulo 21587">
            <a:extLst>
              <a:ext uri="{FF2B5EF4-FFF2-40B4-BE49-F238E27FC236}">
                <a16:creationId xmlns:a16="http://schemas.microsoft.com/office/drawing/2014/main" id="{3D38655D-5BD2-7DDE-4A57-F17AE5359329}"/>
              </a:ext>
            </a:extLst>
          </p:cNvPr>
          <p:cNvSpPr/>
          <p:nvPr/>
        </p:nvSpPr>
        <p:spPr>
          <a:xfrm>
            <a:off x="5296693" y="5209473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89" name="Rectángulo 21588">
            <a:extLst>
              <a:ext uri="{FF2B5EF4-FFF2-40B4-BE49-F238E27FC236}">
                <a16:creationId xmlns:a16="http://schemas.microsoft.com/office/drawing/2014/main" id="{27ED0620-94F4-C6F4-EDF5-32A5FE8A87A5}"/>
              </a:ext>
            </a:extLst>
          </p:cNvPr>
          <p:cNvSpPr/>
          <p:nvPr/>
        </p:nvSpPr>
        <p:spPr>
          <a:xfrm>
            <a:off x="6042819" y="5209473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0" name="Rectángulo 21589">
            <a:extLst>
              <a:ext uri="{FF2B5EF4-FFF2-40B4-BE49-F238E27FC236}">
                <a16:creationId xmlns:a16="http://schemas.microsoft.com/office/drawing/2014/main" id="{EB7BD44A-2DDB-A777-05CC-9915EE965032}"/>
              </a:ext>
            </a:extLst>
          </p:cNvPr>
          <p:cNvSpPr/>
          <p:nvPr/>
        </p:nvSpPr>
        <p:spPr>
          <a:xfrm>
            <a:off x="6788944" y="5209473"/>
            <a:ext cx="678658" cy="67865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1" name="Forma libre: forma 21590">
            <a:extLst>
              <a:ext uri="{FF2B5EF4-FFF2-40B4-BE49-F238E27FC236}">
                <a16:creationId xmlns:a16="http://schemas.microsoft.com/office/drawing/2014/main" id="{CE7B51BB-4FA7-5819-9FD0-3156D625C566}"/>
              </a:ext>
            </a:extLst>
          </p:cNvPr>
          <p:cNvSpPr/>
          <p:nvPr/>
        </p:nvSpPr>
        <p:spPr>
          <a:xfrm>
            <a:off x="7515225" y="2730500"/>
            <a:ext cx="193675" cy="895350"/>
          </a:xfrm>
          <a:custGeom>
            <a:avLst/>
            <a:gdLst>
              <a:gd name="connsiteX0" fmla="*/ 0 w 193675"/>
              <a:gd name="connsiteY0" fmla="*/ 895350 h 895350"/>
              <a:gd name="connsiteX1" fmla="*/ 193675 w 193675"/>
              <a:gd name="connsiteY1" fmla="*/ 657225 h 895350"/>
              <a:gd name="connsiteX2" fmla="*/ 193675 w 193675"/>
              <a:gd name="connsiteY2" fmla="*/ 0 h 895350"/>
              <a:gd name="connsiteX3" fmla="*/ 3175 w 193675"/>
              <a:gd name="connsiteY3" fmla="*/ 228600 h 895350"/>
              <a:gd name="connsiteX4" fmla="*/ 0 w 193675"/>
              <a:gd name="connsiteY4" fmla="*/ 89535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75" h="895350">
                <a:moveTo>
                  <a:pt x="0" y="895350"/>
                </a:moveTo>
                <a:lnTo>
                  <a:pt x="193675" y="657225"/>
                </a:lnTo>
                <a:lnTo>
                  <a:pt x="193675" y="0"/>
                </a:lnTo>
                <a:lnTo>
                  <a:pt x="3175" y="228600"/>
                </a:lnTo>
                <a:cubicBezTo>
                  <a:pt x="2117" y="450850"/>
                  <a:pt x="1058" y="673100"/>
                  <a:pt x="0" y="89535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2" name="Forma libre: forma 21591">
            <a:extLst>
              <a:ext uri="{FF2B5EF4-FFF2-40B4-BE49-F238E27FC236}">
                <a16:creationId xmlns:a16="http://schemas.microsoft.com/office/drawing/2014/main" id="{06B08BDE-4036-DBA5-4E0A-02475D04DFC6}"/>
              </a:ext>
            </a:extLst>
          </p:cNvPr>
          <p:cNvSpPr/>
          <p:nvPr/>
        </p:nvSpPr>
        <p:spPr>
          <a:xfrm>
            <a:off x="7743825" y="2508250"/>
            <a:ext cx="165100" cy="835025"/>
          </a:xfrm>
          <a:custGeom>
            <a:avLst/>
            <a:gdLst>
              <a:gd name="connsiteX0" fmla="*/ 0 w 165100"/>
              <a:gd name="connsiteY0" fmla="*/ 835025 h 835025"/>
              <a:gd name="connsiteX1" fmla="*/ 165100 w 165100"/>
              <a:gd name="connsiteY1" fmla="*/ 647700 h 835025"/>
              <a:gd name="connsiteX2" fmla="*/ 165100 w 165100"/>
              <a:gd name="connsiteY2" fmla="*/ 0 h 835025"/>
              <a:gd name="connsiteX3" fmla="*/ 0 w 165100"/>
              <a:gd name="connsiteY3" fmla="*/ 190500 h 835025"/>
              <a:gd name="connsiteX4" fmla="*/ 0 w 165100"/>
              <a:gd name="connsiteY4" fmla="*/ 835025 h 83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00" h="835025">
                <a:moveTo>
                  <a:pt x="0" y="835025"/>
                </a:moveTo>
                <a:lnTo>
                  <a:pt x="165100" y="647700"/>
                </a:lnTo>
                <a:lnTo>
                  <a:pt x="165100" y="0"/>
                </a:lnTo>
                <a:lnTo>
                  <a:pt x="0" y="190500"/>
                </a:lnTo>
                <a:lnTo>
                  <a:pt x="0" y="835025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3" name="Forma libre: forma 21592">
            <a:extLst>
              <a:ext uri="{FF2B5EF4-FFF2-40B4-BE49-F238E27FC236}">
                <a16:creationId xmlns:a16="http://schemas.microsoft.com/office/drawing/2014/main" id="{09B7686F-2EAE-AC41-7C78-C8B35D74DD36}"/>
              </a:ext>
            </a:extLst>
          </p:cNvPr>
          <p:cNvSpPr/>
          <p:nvPr/>
        </p:nvSpPr>
        <p:spPr>
          <a:xfrm>
            <a:off x="7940675" y="2286000"/>
            <a:ext cx="161925" cy="815975"/>
          </a:xfrm>
          <a:custGeom>
            <a:avLst/>
            <a:gdLst>
              <a:gd name="connsiteX0" fmla="*/ 0 w 161925"/>
              <a:gd name="connsiteY0" fmla="*/ 815975 h 815975"/>
              <a:gd name="connsiteX1" fmla="*/ 161925 w 161925"/>
              <a:gd name="connsiteY1" fmla="*/ 625475 h 815975"/>
              <a:gd name="connsiteX2" fmla="*/ 161925 w 161925"/>
              <a:gd name="connsiteY2" fmla="*/ 0 h 815975"/>
              <a:gd name="connsiteX3" fmla="*/ 3175 w 161925"/>
              <a:gd name="connsiteY3" fmla="*/ 180975 h 815975"/>
              <a:gd name="connsiteX4" fmla="*/ 0 w 161925"/>
              <a:gd name="connsiteY4" fmla="*/ 815975 h 81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925" h="815975">
                <a:moveTo>
                  <a:pt x="0" y="815975"/>
                </a:moveTo>
                <a:lnTo>
                  <a:pt x="161925" y="625475"/>
                </a:lnTo>
                <a:lnTo>
                  <a:pt x="161925" y="0"/>
                </a:lnTo>
                <a:lnTo>
                  <a:pt x="3175" y="180975"/>
                </a:lnTo>
                <a:cubicBezTo>
                  <a:pt x="2117" y="392642"/>
                  <a:pt x="1058" y="604308"/>
                  <a:pt x="0" y="815975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4" name="Forma libre: forma 21593">
            <a:extLst>
              <a:ext uri="{FF2B5EF4-FFF2-40B4-BE49-F238E27FC236}">
                <a16:creationId xmlns:a16="http://schemas.microsoft.com/office/drawing/2014/main" id="{C366600D-F87E-DDA2-E564-B1AC7FF9559B}"/>
              </a:ext>
            </a:extLst>
          </p:cNvPr>
          <p:cNvSpPr/>
          <p:nvPr/>
        </p:nvSpPr>
        <p:spPr>
          <a:xfrm>
            <a:off x="8131175" y="2057400"/>
            <a:ext cx="168275" cy="812800"/>
          </a:xfrm>
          <a:custGeom>
            <a:avLst/>
            <a:gdLst>
              <a:gd name="connsiteX0" fmla="*/ 3175 w 168275"/>
              <a:gd name="connsiteY0" fmla="*/ 812800 h 812800"/>
              <a:gd name="connsiteX1" fmla="*/ 168275 w 168275"/>
              <a:gd name="connsiteY1" fmla="*/ 609600 h 812800"/>
              <a:gd name="connsiteX2" fmla="*/ 168275 w 168275"/>
              <a:gd name="connsiteY2" fmla="*/ 0 h 812800"/>
              <a:gd name="connsiteX3" fmla="*/ 0 w 168275"/>
              <a:gd name="connsiteY3" fmla="*/ 193675 h 812800"/>
              <a:gd name="connsiteX4" fmla="*/ 3175 w 168275"/>
              <a:gd name="connsiteY4" fmla="*/ 81280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75" h="812800">
                <a:moveTo>
                  <a:pt x="3175" y="812800"/>
                </a:moveTo>
                <a:lnTo>
                  <a:pt x="168275" y="609600"/>
                </a:lnTo>
                <a:lnTo>
                  <a:pt x="168275" y="0"/>
                </a:lnTo>
                <a:lnTo>
                  <a:pt x="0" y="193675"/>
                </a:lnTo>
                <a:cubicBezTo>
                  <a:pt x="1058" y="400050"/>
                  <a:pt x="2117" y="606425"/>
                  <a:pt x="3175" y="81280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5" name="Forma libre: forma 21594">
            <a:extLst>
              <a:ext uri="{FF2B5EF4-FFF2-40B4-BE49-F238E27FC236}">
                <a16:creationId xmlns:a16="http://schemas.microsoft.com/office/drawing/2014/main" id="{77AF7345-A6E5-86F5-1DF1-33740675DDA9}"/>
              </a:ext>
            </a:extLst>
          </p:cNvPr>
          <p:cNvSpPr/>
          <p:nvPr/>
        </p:nvSpPr>
        <p:spPr>
          <a:xfrm>
            <a:off x="7515225" y="3482975"/>
            <a:ext cx="200025" cy="876300"/>
          </a:xfrm>
          <a:custGeom>
            <a:avLst/>
            <a:gdLst>
              <a:gd name="connsiteX0" fmla="*/ 0 w 200025"/>
              <a:gd name="connsiteY0" fmla="*/ 876300 h 876300"/>
              <a:gd name="connsiteX1" fmla="*/ 200025 w 200025"/>
              <a:gd name="connsiteY1" fmla="*/ 600075 h 876300"/>
              <a:gd name="connsiteX2" fmla="*/ 200025 w 200025"/>
              <a:gd name="connsiteY2" fmla="*/ 0 h 876300"/>
              <a:gd name="connsiteX3" fmla="*/ 3175 w 200025"/>
              <a:gd name="connsiteY3" fmla="*/ 238125 h 876300"/>
              <a:gd name="connsiteX4" fmla="*/ 0 w 200025"/>
              <a:gd name="connsiteY4" fmla="*/ 87630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025" h="876300">
                <a:moveTo>
                  <a:pt x="0" y="876300"/>
                </a:moveTo>
                <a:lnTo>
                  <a:pt x="200025" y="600075"/>
                </a:lnTo>
                <a:lnTo>
                  <a:pt x="200025" y="0"/>
                </a:lnTo>
                <a:lnTo>
                  <a:pt x="3175" y="238125"/>
                </a:lnTo>
                <a:cubicBezTo>
                  <a:pt x="2117" y="450850"/>
                  <a:pt x="1058" y="663575"/>
                  <a:pt x="0" y="87630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6" name="Forma libre: forma 21595">
            <a:extLst>
              <a:ext uri="{FF2B5EF4-FFF2-40B4-BE49-F238E27FC236}">
                <a16:creationId xmlns:a16="http://schemas.microsoft.com/office/drawing/2014/main" id="{2367DC32-742B-89B8-93CF-866625C4D12F}"/>
              </a:ext>
            </a:extLst>
          </p:cNvPr>
          <p:cNvSpPr/>
          <p:nvPr/>
        </p:nvSpPr>
        <p:spPr>
          <a:xfrm>
            <a:off x="7740650" y="3235325"/>
            <a:ext cx="168275" cy="793750"/>
          </a:xfrm>
          <a:custGeom>
            <a:avLst/>
            <a:gdLst>
              <a:gd name="connsiteX0" fmla="*/ 3175 w 168275"/>
              <a:gd name="connsiteY0" fmla="*/ 793750 h 793750"/>
              <a:gd name="connsiteX1" fmla="*/ 168275 w 168275"/>
              <a:gd name="connsiteY1" fmla="*/ 574675 h 793750"/>
              <a:gd name="connsiteX2" fmla="*/ 168275 w 168275"/>
              <a:gd name="connsiteY2" fmla="*/ 0 h 793750"/>
              <a:gd name="connsiteX3" fmla="*/ 0 w 168275"/>
              <a:gd name="connsiteY3" fmla="*/ 203200 h 793750"/>
              <a:gd name="connsiteX4" fmla="*/ 3175 w 168275"/>
              <a:gd name="connsiteY4" fmla="*/ 793750 h 79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75" h="793750">
                <a:moveTo>
                  <a:pt x="3175" y="793750"/>
                </a:moveTo>
                <a:lnTo>
                  <a:pt x="168275" y="574675"/>
                </a:lnTo>
                <a:lnTo>
                  <a:pt x="168275" y="0"/>
                </a:lnTo>
                <a:lnTo>
                  <a:pt x="0" y="203200"/>
                </a:lnTo>
                <a:cubicBezTo>
                  <a:pt x="1058" y="400050"/>
                  <a:pt x="2117" y="596900"/>
                  <a:pt x="3175" y="79375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7" name="Forma libre: forma 21596">
            <a:extLst>
              <a:ext uri="{FF2B5EF4-FFF2-40B4-BE49-F238E27FC236}">
                <a16:creationId xmlns:a16="http://schemas.microsoft.com/office/drawing/2014/main" id="{242558FC-5495-FE74-4324-C75121A9D831}"/>
              </a:ext>
            </a:extLst>
          </p:cNvPr>
          <p:cNvSpPr/>
          <p:nvPr/>
        </p:nvSpPr>
        <p:spPr>
          <a:xfrm>
            <a:off x="7940675" y="3006725"/>
            <a:ext cx="158750" cy="746125"/>
          </a:xfrm>
          <a:custGeom>
            <a:avLst/>
            <a:gdLst>
              <a:gd name="connsiteX0" fmla="*/ 158750 w 158750"/>
              <a:gd name="connsiteY0" fmla="*/ 520700 h 746125"/>
              <a:gd name="connsiteX1" fmla="*/ 158750 w 158750"/>
              <a:gd name="connsiteY1" fmla="*/ 0 h 746125"/>
              <a:gd name="connsiteX2" fmla="*/ 0 w 158750"/>
              <a:gd name="connsiteY2" fmla="*/ 190500 h 746125"/>
              <a:gd name="connsiteX3" fmla="*/ 0 w 158750"/>
              <a:gd name="connsiteY3" fmla="*/ 746125 h 746125"/>
              <a:gd name="connsiteX4" fmla="*/ 158750 w 158750"/>
              <a:gd name="connsiteY4" fmla="*/ 520700 h 746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750" h="746125">
                <a:moveTo>
                  <a:pt x="158750" y="520700"/>
                </a:moveTo>
                <a:lnTo>
                  <a:pt x="158750" y="0"/>
                </a:lnTo>
                <a:lnTo>
                  <a:pt x="0" y="190500"/>
                </a:lnTo>
                <a:lnTo>
                  <a:pt x="0" y="746125"/>
                </a:lnTo>
                <a:lnTo>
                  <a:pt x="158750" y="52070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8" name="Forma libre: forma 21597">
            <a:extLst>
              <a:ext uri="{FF2B5EF4-FFF2-40B4-BE49-F238E27FC236}">
                <a16:creationId xmlns:a16="http://schemas.microsoft.com/office/drawing/2014/main" id="{F435BEEE-A24A-1CD6-A38E-BE8EA4A7CA1D}"/>
              </a:ext>
            </a:extLst>
          </p:cNvPr>
          <p:cNvSpPr/>
          <p:nvPr/>
        </p:nvSpPr>
        <p:spPr>
          <a:xfrm>
            <a:off x="8131175" y="2759075"/>
            <a:ext cx="171450" cy="708025"/>
          </a:xfrm>
          <a:custGeom>
            <a:avLst/>
            <a:gdLst>
              <a:gd name="connsiteX0" fmla="*/ 3175 w 171450"/>
              <a:gd name="connsiteY0" fmla="*/ 708025 h 708025"/>
              <a:gd name="connsiteX1" fmla="*/ 171450 w 171450"/>
              <a:gd name="connsiteY1" fmla="*/ 479425 h 708025"/>
              <a:gd name="connsiteX2" fmla="*/ 171450 w 171450"/>
              <a:gd name="connsiteY2" fmla="*/ 0 h 708025"/>
              <a:gd name="connsiteX3" fmla="*/ 0 w 171450"/>
              <a:gd name="connsiteY3" fmla="*/ 209550 h 708025"/>
              <a:gd name="connsiteX4" fmla="*/ 3175 w 171450"/>
              <a:gd name="connsiteY4" fmla="*/ 708025 h 70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450" h="708025">
                <a:moveTo>
                  <a:pt x="3175" y="708025"/>
                </a:moveTo>
                <a:lnTo>
                  <a:pt x="171450" y="479425"/>
                </a:lnTo>
                <a:lnTo>
                  <a:pt x="171450" y="0"/>
                </a:lnTo>
                <a:lnTo>
                  <a:pt x="0" y="209550"/>
                </a:lnTo>
                <a:cubicBezTo>
                  <a:pt x="1058" y="375708"/>
                  <a:pt x="2117" y="541867"/>
                  <a:pt x="3175" y="708025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99" name="Forma libre: forma 21598">
            <a:extLst>
              <a:ext uri="{FF2B5EF4-FFF2-40B4-BE49-F238E27FC236}">
                <a16:creationId xmlns:a16="http://schemas.microsoft.com/office/drawing/2014/main" id="{84E80821-C908-F9BA-2822-DF46252DD3FC}"/>
              </a:ext>
            </a:extLst>
          </p:cNvPr>
          <p:cNvSpPr/>
          <p:nvPr/>
        </p:nvSpPr>
        <p:spPr>
          <a:xfrm>
            <a:off x="7515225" y="4181475"/>
            <a:ext cx="196850" cy="917575"/>
          </a:xfrm>
          <a:custGeom>
            <a:avLst/>
            <a:gdLst>
              <a:gd name="connsiteX0" fmla="*/ 0 w 196850"/>
              <a:gd name="connsiteY0" fmla="*/ 917575 h 917575"/>
              <a:gd name="connsiteX1" fmla="*/ 196850 w 196850"/>
              <a:gd name="connsiteY1" fmla="*/ 612775 h 917575"/>
              <a:gd name="connsiteX2" fmla="*/ 196850 w 196850"/>
              <a:gd name="connsiteY2" fmla="*/ 0 h 917575"/>
              <a:gd name="connsiteX3" fmla="*/ 0 w 196850"/>
              <a:gd name="connsiteY3" fmla="*/ 279400 h 917575"/>
              <a:gd name="connsiteX4" fmla="*/ 0 w 196850"/>
              <a:gd name="connsiteY4" fmla="*/ 917575 h 917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850" h="917575">
                <a:moveTo>
                  <a:pt x="0" y="917575"/>
                </a:moveTo>
                <a:lnTo>
                  <a:pt x="196850" y="612775"/>
                </a:lnTo>
                <a:lnTo>
                  <a:pt x="196850" y="0"/>
                </a:lnTo>
                <a:lnTo>
                  <a:pt x="0" y="279400"/>
                </a:lnTo>
                <a:lnTo>
                  <a:pt x="0" y="917575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0" name="Forma libre: forma 21599">
            <a:extLst>
              <a:ext uri="{FF2B5EF4-FFF2-40B4-BE49-F238E27FC236}">
                <a16:creationId xmlns:a16="http://schemas.microsoft.com/office/drawing/2014/main" id="{98F4D112-BDCF-DF94-3BFD-068DB4806998}"/>
              </a:ext>
            </a:extLst>
          </p:cNvPr>
          <p:cNvSpPr/>
          <p:nvPr/>
        </p:nvSpPr>
        <p:spPr>
          <a:xfrm>
            <a:off x="7743825" y="3895725"/>
            <a:ext cx="165100" cy="831850"/>
          </a:xfrm>
          <a:custGeom>
            <a:avLst/>
            <a:gdLst>
              <a:gd name="connsiteX0" fmla="*/ 3175 w 165100"/>
              <a:gd name="connsiteY0" fmla="*/ 831850 h 831850"/>
              <a:gd name="connsiteX1" fmla="*/ 165100 w 165100"/>
              <a:gd name="connsiteY1" fmla="*/ 574675 h 831850"/>
              <a:gd name="connsiteX2" fmla="*/ 165100 w 165100"/>
              <a:gd name="connsiteY2" fmla="*/ 0 h 831850"/>
              <a:gd name="connsiteX3" fmla="*/ 0 w 165100"/>
              <a:gd name="connsiteY3" fmla="*/ 244475 h 831850"/>
              <a:gd name="connsiteX4" fmla="*/ 3175 w 165100"/>
              <a:gd name="connsiteY4" fmla="*/ 831850 h 831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00" h="831850">
                <a:moveTo>
                  <a:pt x="3175" y="831850"/>
                </a:moveTo>
                <a:lnTo>
                  <a:pt x="165100" y="574675"/>
                </a:lnTo>
                <a:lnTo>
                  <a:pt x="165100" y="0"/>
                </a:lnTo>
                <a:lnTo>
                  <a:pt x="0" y="244475"/>
                </a:lnTo>
                <a:cubicBezTo>
                  <a:pt x="1058" y="440267"/>
                  <a:pt x="2117" y="636058"/>
                  <a:pt x="3175" y="83185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1" name="Forma libre: forma 21600">
            <a:extLst>
              <a:ext uri="{FF2B5EF4-FFF2-40B4-BE49-F238E27FC236}">
                <a16:creationId xmlns:a16="http://schemas.microsoft.com/office/drawing/2014/main" id="{92A8F36B-4AD2-78EA-A5C9-44B51BDF18DB}"/>
              </a:ext>
            </a:extLst>
          </p:cNvPr>
          <p:cNvSpPr/>
          <p:nvPr/>
        </p:nvSpPr>
        <p:spPr>
          <a:xfrm>
            <a:off x="7940675" y="3619500"/>
            <a:ext cx="158750" cy="784225"/>
          </a:xfrm>
          <a:custGeom>
            <a:avLst/>
            <a:gdLst>
              <a:gd name="connsiteX0" fmla="*/ 0 w 158750"/>
              <a:gd name="connsiteY0" fmla="*/ 784225 h 784225"/>
              <a:gd name="connsiteX1" fmla="*/ 158750 w 158750"/>
              <a:gd name="connsiteY1" fmla="*/ 527050 h 784225"/>
              <a:gd name="connsiteX2" fmla="*/ 158750 w 158750"/>
              <a:gd name="connsiteY2" fmla="*/ 0 h 784225"/>
              <a:gd name="connsiteX3" fmla="*/ 0 w 158750"/>
              <a:gd name="connsiteY3" fmla="*/ 234950 h 784225"/>
              <a:gd name="connsiteX4" fmla="*/ 0 w 158750"/>
              <a:gd name="connsiteY4" fmla="*/ 784225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750" h="784225">
                <a:moveTo>
                  <a:pt x="0" y="784225"/>
                </a:moveTo>
                <a:lnTo>
                  <a:pt x="158750" y="527050"/>
                </a:lnTo>
                <a:lnTo>
                  <a:pt x="158750" y="0"/>
                </a:lnTo>
                <a:lnTo>
                  <a:pt x="0" y="234950"/>
                </a:lnTo>
                <a:lnTo>
                  <a:pt x="0" y="784225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2" name="Forma libre: forma 21601">
            <a:extLst>
              <a:ext uri="{FF2B5EF4-FFF2-40B4-BE49-F238E27FC236}">
                <a16:creationId xmlns:a16="http://schemas.microsoft.com/office/drawing/2014/main" id="{C6741A90-5F29-6AA0-08BB-9BA52F467279}"/>
              </a:ext>
            </a:extLst>
          </p:cNvPr>
          <p:cNvSpPr/>
          <p:nvPr/>
        </p:nvSpPr>
        <p:spPr>
          <a:xfrm>
            <a:off x="8128000" y="3330575"/>
            <a:ext cx="171450" cy="762000"/>
          </a:xfrm>
          <a:custGeom>
            <a:avLst/>
            <a:gdLst>
              <a:gd name="connsiteX0" fmla="*/ 6350 w 171450"/>
              <a:gd name="connsiteY0" fmla="*/ 762000 h 762000"/>
              <a:gd name="connsiteX1" fmla="*/ 171450 w 171450"/>
              <a:gd name="connsiteY1" fmla="*/ 485775 h 762000"/>
              <a:gd name="connsiteX2" fmla="*/ 171450 w 171450"/>
              <a:gd name="connsiteY2" fmla="*/ 0 h 762000"/>
              <a:gd name="connsiteX3" fmla="*/ 0 w 171450"/>
              <a:gd name="connsiteY3" fmla="*/ 247650 h 762000"/>
              <a:gd name="connsiteX4" fmla="*/ 6350 w 171450"/>
              <a:gd name="connsiteY4" fmla="*/ 76200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450" h="762000">
                <a:moveTo>
                  <a:pt x="6350" y="762000"/>
                </a:moveTo>
                <a:lnTo>
                  <a:pt x="171450" y="485775"/>
                </a:lnTo>
                <a:lnTo>
                  <a:pt x="171450" y="0"/>
                </a:lnTo>
                <a:lnTo>
                  <a:pt x="0" y="247650"/>
                </a:lnTo>
                <a:cubicBezTo>
                  <a:pt x="2117" y="419100"/>
                  <a:pt x="4233" y="590550"/>
                  <a:pt x="6350" y="76200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3" name="Forma libre: forma 21602">
            <a:extLst>
              <a:ext uri="{FF2B5EF4-FFF2-40B4-BE49-F238E27FC236}">
                <a16:creationId xmlns:a16="http://schemas.microsoft.com/office/drawing/2014/main" id="{CD310FEF-5B2E-64DE-9E5E-DA81E3124020}"/>
              </a:ext>
            </a:extLst>
          </p:cNvPr>
          <p:cNvSpPr/>
          <p:nvPr/>
        </p:nvSpPr>
        <p:spPr>
          <a:xfrm>
            <a:off x="7515225" y="4883150"/>
            <a:ext cx="193675" cy="974725"/>
          </a:xfrm>
          <a:custGeom>
            <a:avLst/>
            <a:gdLst>
              <a:gd name="connsiteX0" fmla="*/ 0 w 193675"/>
              <a:gd name="connsiteY0" fmla="*/ 974725 h 974725"/>
              <a:gd name="connsiteX1" fmla="*/ 193675 w 193675"/>
              <a:gd name="connsiteY1" fmla="*/ 625475 h 974725"/>
              <a:gd name="connsiteX2" fmla="*/ 193675 w 193675"/>
              <a:gd name="connsiteY2" fmla="*/ 0 h 974725"/>
              <a:gd name="connsiteX3" fmla="*/ 0 w 193675"/>
              <a:gd name="connsiteY3" fmla="*/ 323850 h 974725"/>
              <a:gd name="connsiteX4" fmla="*/ 0 w 193675"/>
              <a:gd name="connsiteY4" fmla="*/ 974725 h 974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75" h="974725">
                <a:moveTo>
                  <a:pt x="0" y="974725"/>
                </a:moveTo>
                <a:lnTo>
                  <a:pt x="193675" y="625475"/>
                </a:lnTo>
                <a:lnTo>
                  <a:pt x="193675" y="0"/>
                </a:lnTo>
                <a:lnTo>
                  <a:pt x="0" y="323850"/>
                </a:lnTo>
                <a:lnTo>
                  <a:pt x="0" y="974725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4" name="Forma libre: forma 21603">
            <a:extLst>
              <a:ext uri="{FF2B5EF4-FFF2-40B4-BE49-F238E27FC236}">
                <a16:creationId xmlns:a16="http://schemas.microsoft.com/office/drawing/2014/main" id="{D7EA6F2C-8E14-57E0-93C7-152D7F25BE8A}"/>
              </a:ext>
            </a:extLst>
          </p:cNvPr>
          <p:cNvSpPr/>
          <p:nvPr/>
        </p:nvSpPr>
        <p:spPr>
          <a:xfrm>
            <a:off x="7740650" y="4549775"/>
            <a:ext cx="168275" cy="895350"/>
          </a:xfrm>
          <a:custGeom>
            <a:avLst/>
            <a:gdLst>
              <a:gd name="connsiteX0" fmla="*/ 0 w 168275"/>
              <a:gd name="connsiteY0" fmla="*/ 895350 h 895350"/>
              <a:gd name="connsiteX1" fmla="*/ 168275 w 168275"/>
              <a:gd name="connsiteY1" fmla="*/ 587375 h 895350"/>
              <a:gd name="connsiteX2" fmla="*/ 168275 w 168275"/>
              <a:gd name="connsiteY2" fmla="*/ 0 h 895350"/>
              <a:gd name="connsiteX3" fmla="*/ 3175 w 168275"/>
              <a:gd name="connsiteY3" fmla="*/ 279400 h 895350"/>
              <a:gd name="connsiteX4" fmla="*/ 0 w 168275"/>
              <a:gd name="connsiteY4" fmla="*/ 89535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75" h="895350">
                <a:moveTo>
                  <a:pt x="0" y="895350"/>
                </a:moveTo>
                <a:lnTo>
                  <a:pt x="168275" y="587375"/>
                </a:lnTo>
                <a:lnTo>
                  <a:pt x="168275" y="0"/>
                </a:lnTo>
                <a:lnTo>
                  <a:pt x="3175" y="279400"/>
                </a:lnTo>
                <a:cubicBezTo>
                  <a:pt x="2117" y="484717"/>
                  <a:pt x="1058" y="690033"/>
                  <a:pt x="0" y="89535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5" name="Forma libre: forma 21604">
            <a:extLst>
              <a:ext uri="{FF2B5EF4-FFF2-40B4-BE49-F238E27FC236}">
                <a16:creationId xmlns:a16="http://schemas.microsoft.com/office/drawing/2014/main" id="{4FC2110F-0B46-2486-CF34-D003204BDA16}"/>
              </a:ext>
            </a:extLst>
          </p:cNvPr>
          <p:cNvSpPr/>
          <p:nvPr/>
        </p:nvSpPr>
        <p:spPr>
          <a:xfrm>
            <a:off x="7937500" y="4232275"/>
            <a:ext cx="161925" cy="831850"/>
          </a:xfrm>
          <a:custGeom>
            <a:avLst/>
            <a:gdLst>
              <a:gd name="connsiteX0" fmla="*/ 0 w 161925"/>
              <a:gd name="connsiteY0" fmla="*/ 831850 h 831850"/>
              <a:gd name="connsiteX1" fmla="*/ 161925 w 161925"/>
              <a:gd name="connsiteY1" fmla="*/ 536575 h 831850"/>
              <a:gd name="connsiteX2" fmla="*/ 161925 w 161925"/>
              <a:gd name="connsiteY2" fmla="*/ 0 h 831850"/>
              <a:gd name="connsiteX3" fmla="*/ 3175 w 161925"/>
              <a:gd name="connsiteY3" fmla="*/ 266700 h 831850"/>
              <a:gd name="connsiteX4" fmla="*/ 0 w 161925"/>
              <a:gd name="connsiteY4" fmla="*/ 831850 h 831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925" h="831850">
                <a:moveTo>
                  <a:pt x="0" y="831850"/>
                </a:moveTo>
                <a:lnTo>
                  <a:pt x="161925" y="536575"/>
                </a:lnTo>
                <a:lnTo>
                  <a:pt x="161925" y="0"/>
                </a:lnTo>
                <a:lnTo>
                  <a:pt x="3175" y="266700"/>
                </a:lnTo>
                <a:cubicBezTo>
                  <a:pt x="2117" y="455083"/>
                  <a:pt x="1058" y="643467"/>
                  <a:pt x="0" y="83185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06" name="Forma libre: forma 21605">
            <a:extLst>
              <a:ext uri="{FF2B5EF4-FFF2-40B4-BE49-F238E27FC236}">
                <a16:creationId xmlns:a16="http://schemas.microsoft.com/office/drawing/2014/main" id="{739E436F-F340-5AA7-9F7A-0022E5E237C0}"/>
              </a:ext>
            </a:extLst>
          </p:cNvPr>
          <p:cNvSpPr/>
          <p:nvPr/>
        </p:nvSpPr>
        <p:spPr>
          <a:xfrm>
            <a:off x="8131175" y="3905250"/>
            <a:ext cx="171450" cy="790575"/>
          </a:xfrm>
          <a:custGeom>
            <a:avLst/>
            <a:gdLst>
              <a:gd name="connsiteX0" fmla="*/ 0 w 171450"/>
              <a:gd name="connsiteY0" fmla="*/ 790575 h 790575"/>
              <a:gd name="connsiteX1" fmla="*/ 171450 w 171450"/>
              <a:gd name="connsiteY1" fmla="*/ 476250 h 790575"/>
              <a:gd name="connsiteX2" fmla="*/ 171450 w 171450"/>
              <a:gd name="connsiteY2" fmla="*/ 0 h 790575"/>
              <a:gd name="connsiteX3" fmla="*/ 0 w 171450"/>
              <a:gd name="connsiteY3" fmla="*/ 279400 h 790575"/>
              <a:gd name="connsiteX4" fmla="*/ 0 w 171450"/>
              <a:gd name="connsiteY4" fmla="*/ 790575 h 790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450" h="790575">
                <a:moveTo>
                  <a:pt x="0" y="790575"/>
                </a:moveTo>
                <a:lnTo>
                  <a:pt x="171450" y="476250"/>
                </a:lnTo>
                <a:lnTo>
                  <a:pt x="171450" y="0"/>
                </a:lnTo>
                <a:lnTo>
                  <a:pt x="0" y="279400"/>
                </a:lnTo>
                <a:lnTo>
                  <a:pt x="0" y="790575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1608" name="Conector recto 21607">
            <a:extLst>
              <a:ext uri="{FF2B5EF4-FFF2-40B4-BE49-F238E27FC236}">
                <a16:creationId xmlns:a16="http://schemas.microsoft.com/office/drawing/2014/main" id="{2B0A8192-602E-0593-31B5-F712BD0F8A9E}"/>
              </a:ext>
            </a:extLst>
          </p:cNvPr>
          <p:cNvCxnSpPr>
            <a:cxnSpLocks/>
          </p:cNvCxnSpPr>
          <p:nvPr/>
        </p:nvCxnSpPr>
        <p:spPr>
          <a:xfrm>
            <a:off x="4550567" y="5999652"/>
            <a:ext cx="2917035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12" name="Conector recto 21611">
            <a:extLst>
              <a:ext uri="{FF2B5EF4-FFF2-40B4-BE49-F238E27FC236}">
                <a16:creationId xmlns:a16="http://schemas.microsoft.com/office/drawing/2014/main" id="{EA73E334-6CF7-509F-05F6-6C330E751B0A}"/>
              </a:ext>
            </a:extLst>
          </p:cNvPr>
          <p:cNvCxnSpPr>
            <a:cxnSpLocks/>
          </p:cNvCxnSpPr>
          <p:nvPr/>
        </p:nvCxnSpPr>
        <p:spPr>
          <a:xfrm flipH="1">
            <a:off x="7624762" y="4392613"/>
            <a:ext cx="790576" cy="149551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16" name="Conector recto 21615">
            <a:extLst>
              <a:ext uri="{FF2B5EF4-FFF2-40B4-BE49-F238E27FC236}">
                <a16:creationId xmlns:a16="http://schemas.microsoft.com/office/drawing/2014/main" id="{70254DA9-CA1F-8461-6850-A2069D3AC3C2}"/>
              </a:ext>
            </a:extLst>
          </p:cNvPr>
          <p:cNvCxnSpPr>
            <a:cxnSpLocks/>
          </p:cNvCxnSpPr>
          <p:nvPr/>
        </p:nvCxnSpPr>
        <p:spPr>
          <a:xfrm>
            <a:off x="4448571" y="2975768"/>
            <a:ext cx="0" cy="2912363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19" name="Rectángulo 21618">
            <a:extLst>
              <a:ext uri="{FF2B5EF4-FFF2-40B4-BE49-F238E27FC236}">
                <a16:creationId xmlns:a16="http://schemas.microsoft.com/office/drawing/2014/main" id="{ACB4479D-0F79-255E-8455-683D35EBCF5E}"/>
              </a:ext>
            </a:extLst>
          </p:cNvPr>
          <p:cNvSpPr/>
          <p:nvPr/>
        </p:nvSpPr>
        <p:spPr>
          <a:xfrm>
            <a:off x="3209924" y="3222764"/>
            <a:ext cx="116720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0" name="Rectángulo 21619">
            <a:extLst>
              <a:ext uri="{FF2B5EF4-FFF2-40B4-BE49-F238E27FC236}">
                <a16:creationId xmlns:a16="http://schemas.microsoft.com/office/drawing/2014/main" id="{92790052-F4C5-BEC9-7457-66E0DC3D8D40}"/>
              </a:ext>
            </a:extLst>
          </p:cNvPr>
          <p:cNvSpPr/>
          <p:nvPr/>
        </p:nvSpPr>
        <p:spPr>
          <a:xfrm>
            <a:off x="3209924" y="4339616"/>
            <a:ext cx="116720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1" name="Rectángulo 21620">
            <a:extLst>
              <a:ext uri="{FF2B5EF4-FFF2-40B4-BE49-F238E27FC236}">
                <a16:creationId xmlns:a16="http://schemas.microsoft.com/office/drawing/2014/main" id="{CEE1F4F6-0C41-F165-7408-D08D28B0E17B}"/>
              </a:ext>
            </a:extLst>
          </p:cNvPr>
          <p:cNvSpPr/>
          <p:nvPr/>
        </p:nvSpPr>
        <p:spPr>
          <a:xfrm>
            <a:off x="3209924" y="5456469"/>
            <a:ext cx="1167209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2" name="Rectángulo 21621">
            <a:extLst>
              <a:ext uri="{FF2B5EF4-FFF2-40B4-BE49-F238E27FC236}">
                <a16:creationId xmlns:a16="http://schemas.microsoft.com/office/drawing/2014/main" id="{3F831049-6464-6041-B417-EAB5DAA7362B}"/>
              </a:ext>
            </a:extLst>
          </p:cNvPr>
          <p:cNvSpPr/>
          <p:nvPr/>
        </p:nvSpPr>
        <p:spPr>
          <a:xfrm>
            <a:off x="4550568" y="6071010"/>
            <a:ext cx="678658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3" name="Rectángulo 21622">
            <a:extLst>
              <a:ext uri="{FF2B5EF4-FFF2-40B4-BE49-F238E27FC236}">
                <a16:creationId xmlns:a16="http://schemas.microsoft.com/office/drawing/2014/main" id="{88ED7FAC-8ECA-C077-77C6-C7AE3E3AEC88}"/>
              </a:ext>
            </a:extLst>
          </p:cNvPr>
          <p:cNvSpPr/>
          <p:nvPr/>
        </p:nvSpPr>
        <p:spPr>
          <a:xfrm>
            <a:off x="5296693" y="6071010"/>
            <a:ext cx="678658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4" name="Rectángulo 21623">
            <a:extLst>
              <a:ext uri="{FF2B5EF4-FFF2-40B4-BE49-F238E27FC236}">
                <a16:creationId xmlns:a16="http://schemas.microsoft.com/office/drawing/2014/main" id="{B9BC1BE0-6D82-D41B-F60B-1AC1BF78063A}"/>
              </a:ext>
            </a:extLst>
          </p:cNvPr>
          <p:cNvSpPr/>
          <p:nvPr/>
        </p:nvSpPr>
        <p:spPr>
          <a:xfrm>
            <a:off x="6042819" y="6071010"/>
            <a:ext cx="678658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5" name="Rectángulo 21624">
            <a:extLst>
              <a:ext uri="{FF2B5EF4-FFF2-40B4-BE49-F238E27FC236}">
                <a16:creationId xmlns:a16="http://schemas.microsoft.com/office/drawing/2014/main" id="{B740087C-D210-4918-2CFF-B972DD6978EF}"/>
              </a:ext>
            </a:extLst>
          </p:cNvPr>
          <p:cNvSpPr/>
          <p:nvPr/>
        </p:nvSpPr>
        <p:spPr>
          <a:xfrm>
            <a:off x="6788944" y="6071010"/>
            <a:ext cx="678658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6" name="Rectángulo 21625">
            <a:extLst>
              <a:ext uri="{FF2B5EF4-FFF2-40B4-BE49-F238E27FC236}">
                <a16:creationId xmlns:a16="http://schemas.microsoft.com/office/drawing/2014/main" id="{6E6AFF35-7ACF-56C0-AB2B-A58906395145}"/>
              </a:ext>
            </a:extLst>
          </p:cNvPr>
          <p:cNvSpPr/>
          <p:nvPr/>
        </p:nvSpPr>
        <p:spPr>
          <a:xfrm>
            <a:off x="7869235" y="5612819"/>
            <a:ext cx="99377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7" name="Rectángulo 21626">
            <a:extLst>
              <a:ext uri="{FF2B5EF4-FFF2-40B4-BE49-F238E27FC236}">
                <a16:creationId xmlns:a16="http://schemas.microsoft.com/office/drawing/2014/main" id="{DCE6E429-B008-D9CF-2802-78CF15C497DA}"/>
              </a:ext>
            </a:extLst>
          </p:cNvPr>
          <p:cNvSpPr/>
          <p:nvPr/>
        </p:nvSpPr>
        <p:spPr>
          <a:xfrm>
            <a:off x="8018462" y="5219232"/>
            <a:ext cx="99377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8" name="Rectángulo 21627">
            <a:extLst>
              <a:ext uri="{FF2B5EF4-FFF2-40B4-BE49-F238E27FC236}">
                <a16:creationId xmlns:a16="http://schemas.microsoft.com/office/drawing/2014/main" id="{0DF3D9D5-9334-0361-2B63-0E7622A84C20}"/>
              </a:ext>
            </a:extLst>
          </p:cNvPr>
          <p:cNvSpPr/>
          <p:nvPr/>
        </p:nvSpPr>
        <p:spPr>
          <a:xfrm>
            <a:off x="8237535" y="4850932"/>
            <a:ext cx="99377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29" name="Rectángulo 21628">
            <a:extLst>
              <a:ext uri="{FF2B5EF4-FFF2-40B4-BE49-F238E27FC236}">
                <a16:creationId xmlns:a16="http://schemas.microsoft.com/office/drawing/2014/main" id="{DC8818CE-2857-38F2-D3F8-2F5F905EECDC}"/>
              </a:ext>
            </a:extLst>
          </p:cNvPr>
          <p:cNvSpPr/>
          <p:nvPr/>
        </p:nvSpPr>
        <p:spPr>
          <a:xfrm>
            <a:off x="8415338" y="4496896"/>
            <a:ext cx="99377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30" name="Rectángulo 21629">
            <a:extLst>
              <a:ext uri="{FF2B5EF4-FFF2-40B4-BE49-F238E27FC236}">
                <a16:creationId xmlns:a16="http://schemas.microsoft.com/office/drawing/2014/main" id="{94EC6D08-63A1-C5F4-39E3-AE2031452A0E}"/>
              </a:ext>
            </a:extLst>
          </p:cNvPr>
          <p:cNvSpPr/>
          <p:nvPr/>
        </p:nvSpPr>
        <p:spPr>
          <a:xfrm>
            <a:off x="384174" y="1601065"/>
            <a:ext cx="275430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31" name="Rectángulo 21630">
            <a:extLst>
              <a:ext uri="{FF2B5EF4-FFF2-40B4-BE49-F238E27FC236}">
                <a16:creationId xmlns:a16="http://schemas.microsoft.com/office/drawing/2014/main" id="{16B3A20D-ED80-5988-C200-CC7B1309AB08}"/>
              </a:ext>
            </a:extLst>
          </p:cNvPr>
          <p:cNvSpPr/>
          <p:nvPr/>
        </p:nvSpPr>
        <p:spPr>
          <a:xfrm>
            <a:off x="384174" y="4512628"/>
            <a:ext cx="275430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32" name="Rectángulo 21631">
            <a:extLst>
              <a:ext uri="{FF2B5EF4-FFF2-40B4-BE49-F238E27FC236}">
                <a16:creationId xmlns:a16="http://schemas.microsoft.com/office/drawing/2014/main" id="{CC6AFC0C-5731-866E-1B2E-CB88310093C7}"/>
              </a:ext>
            </a:extLst>
          </p:cNvPr>
          <p:cNvSpPr/>
          <p:nvPr/>
        </p:nvSpPr>
        <p:spPr>
          <a:xfrm>
            <a:off x="9251949" y="4512628"/>
            <a:ext cx="256857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588957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3968995076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ECD79CD-DB1D-AB20-2B7D-777A9E4BBB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ECD79CD-DB1D-AB20-2B7D-777A9E4BB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43CE933-F607-D47E-A0CE-3CD2C3891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0901E90-69D9-6D53-5641-16F6D4F1B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Maps showing data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FDCE83F-1411-8F2A-3DDA-9BBD943CB3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0BF5AEB-9DA6-79C4-B91C-FF3D57473C0F}"/>
              </a:ext>
            </a:extLst>
          </p:cNvPr>
          <p:cNvSpPr txBox="1"/>
          <p:nvPr/>
        </p:nvSpPr>
        <p:spPr>
          <a:xfrm>
            <a:off x="371475" y="1520825"/>
            <a:ext cx="3267075" cy="455613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DE266B4-0920-0476-8871-203AE4A995DA}"/>
              </a:ext>
            </a:extLst>
          </p:cNvPr>
          <p:cNvSpPr txBox="1"/>
          <p:nvPr/>
        </p:nvSpPr>
        <p:spPr>
          <a:xfrm>
            <a:off x="3638550" y="1520825"/>
            <a:ext cx="4095749" cy="455613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957D4291-9233-90B8-20CE-0F753E62DF55}"/>
              </a:ext>
            </a:extLst>
          </p:cNvPr>
          <p:cNvSpPr txBox="1"/>
          <p:nvPr/>
        </p:nvSpPr>
        <p:spPr>
          <a:xfrm>
            <a:off x="7734300" y="1520825"/>
            <a:ext cx="4086226" cy="4556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111C324F-507E-5F44-98AB-BEAC5B099105}"/>
              </a:ext>
            </a:extLst>
          </p:cNvPr>
          <p:cNvSpPr txBox="1"/>
          <p:nvPr/>
        </p:nvSpPr>
        <p:spPr>
          <a:xfrm>
            <a:off x="371475" y="1976439"/>
            <a:ext cx="3267075" cy="43322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FC532D09-4A95-7580-A7AE-16B0C8F954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06850" y="2009775"/>
            <a:ext cx="7335838" cy="4267201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14" name="Group 205">
              <a:extLst>
                <a:ext uri="{FF2B5EF4-FFF2-40B4-BE49-F238E27FC236}">
                  <a16:creationId xmlns:a16="http://schemas.microsoft.com/office/drawing/2014/main" id="{90B646AE-1ED5-3ED2-AE52-D976970C21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6324" name="Freeform 5">
                <a:extLst>
                  <a:ext uri="{FF2B5EF4-FFF2-40B4-BE49-F238E27FC236}">
                    <a16:creationId xmlns:a16="http://schemas.microsoft.com/office/drawing/2014/main" id="{71031D50-0270-51AD-5FD6-4924CAFAE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5" name="Freeform 6">
                <a:extLst>
                  <a:ext uri="{FF2B5EF4-FFF2-40B4-BE49-F238E27FC236}">
                    <a16:creationId xmlns:a16="http://schemas.microsoft.com/office/drawing/2014/main" id="{04FDD4B8-AF29-8899-BA49-160ADA881A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6" name="Freeform 7">
                <a:extLst>
                  <a:ext uri="{FF2B5EF4-FFF2-40B4-BE49-F238E27FC236}">
                    <a16:creationId xmlns:a16="http://schemas.microsoft.com/office/drawing/2014/main" id="{4FFDB68A-BD4E-519E-90A7-070ADEDC9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7" name="Freeform 8">
                <a:extLst>
                  <a:ext uri="{FF2B5EF4-FFF2-40B4-BE49-F238E27FC236}">
                    <a16:creationId xmlns:a16="http://schemas.microsoft.com/office/drawing/2014/main" id="{768EB516-2771-1A29-1197-ECB631C5BF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8" name="Freeform 9">
                <a:extLst>
                  <a:ext uri="{FF2B5EF4-FFF2-40B4-BE49-F238E27FC236}">
                    <a16:creationId xmlns:a16="http://schemas.microsoft.com/office/drawing/2014/main" id="{A58E24E2-CFC5-E734-EFDE-B95AFA5DC1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9" name="Freeform 10">
                <a:extLst>
                  <a:ext uri="{FF2B5EF4-FFF2-40B4-BE49-F238E27FC236}">
                    <a16:creationId xmlns:a16="http://schemas.microsoft.com/office/drawing/2014/main" id="{3FAB69A7-872F-FEFB-2F07-0509CE3624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0" name="Freeform 11">
                <a:extLst>
                  <a:ext uri="{FF2B5EF4-FFF2-40B4-BE49-F238E27FC236}">
                    <a16:creationId xmlns:a16="http://schemas.microsoft.com/office/drawing/2014/main" id="{CDB86528-5F71-0A6A-BD90-9B460575B6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1" name="Freeform 12">
                <a:extLst>
                  <a:ext uri="{FF2B5EF4-FFF2-40B4-BE49-F238E27FC236}">
                    <a16:creationId xmlns:a16="http://schemas.microsoft.com/office/drawing/2014/main" id="{CA1C1018-3564-9D1D-0DB8-A057B1D461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2" name="Freeform 13">
                <a:extLst>
                  <a:ext uri="{FF2B5EF4-FFF2-40B4-BE49-F238E27FC236}">
                    <a16:creationId xmlns:a16="http://schemas.microsoft.com/office/drawing/2014/main" id="{649A0BDA-4631-0C74-3C41-18EEA83F8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3" name="Freeform 14">
                <a:extLst>
                  <a:ext uri="{FF2B5EF4-FFF2-40B4-BE49-F238E27FC236}">
                    <a16:creationId xmlns:a16="http://schemas.microsoft.com/office/drawing/2014/main" id="{3C4D07DC-C180-76FA-F9DC-DA59409F65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4" name="Freeform 15">
                <a:extLst>
                  <a:ext uri="{FF2B5EF4-FFF2-40B4-BE49-F238E27FC236}">
                    <a16:creationId xmlns:a16="http://schemas.microsoft.com/office/drawing/2014/main" id="{D859CCB2-EE5F-A91F-AE82-92B3A8783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5" name="Freeform 16">
                <a:extLst>
                  <a:ext uri="{FF2B5EF4-FFF2-40B4-BE49-F238E27FC236}">
                    <a16:creationId xmlns:a16="http://schemas.microsoft.com/office/drawing/2014/main" id="{78CDF23E-CD38-17DC-E84E-FB327F5E21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6" name="Freeform 17">
                <a:extLst>
                  <a:ext uri="{FF2B5EF4-FFF2-40B4-BE49-F238E27FC236}">
                    <a16:creationId xmlns:a16="http://schemas.microsoft.com/office/drawing/2014/main" id="{F0C8C8D3-6D53-085D-47B5-76FA209AD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7" name="Freeform 18">
                <a:extLst>
                  <a:ext uri="{FF2B5EF4-FFF2-40B4-BE49-F238E27FC236}">
                    <a16:creationId xmlns:a16="http://schemas.microsoft.com/office/drawing/2014/main" id="{69398F78-7D7B-9877-84DB-246D2079D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8" name="Freeform 19">
                <a:extLst>
                  <a:ext uri="{FF2B5EF4-FFF2-40B4-BE49-F238E27FC236}">
                    <a16:creationId xmlns:a16="http://schemas.microsoft.com/office/drawing/2014/main" id="{1B497DE5-5E8F-2648-6300-B39A4C636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9" name="Freeform 20">
                <a:extLst>
                  <a:ext uri="{FF2B5EF4-FFF2-40B4-BE49-F238E27FC236}">
                    <a16:creationId xmlns:a16="http://schemas.microsoft.com/office/drawing/2014/main" id="{1B661F9F-A20F-C600-502B-E7ABAB3BC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0" name="Freeform 21">
                <a:extLst>
                  <a:ext uri="{FF2B5EF4-FFF2-40B4-BE49-F238E27FC236}">
                    <a16:creationId xmlns:a16="http://schemas.microsoft.com/office/drawing/2014/main" id="{EB7A094F-E3CD-D72D-F8B8-DC63AD546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1" name="Freeform 22">
                <a:extLst>
                  <a:ext uri="{FF2B5EF4-FFF2-40B4-BE49-F238E27FC236}">
                    <a16:creationId xmlns:a16="http://schemas.microsoft.com/office/drawing/2014/main" id="{45439F8F-E0C9-1466-EFFF-2DB9EF864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2" name="Freeform 23">
                <a:extLst>
                  <a:ext uri="{FF2B5EF4-FFF2-40B4-BE49-F238E27FC236}">
                    <a16:creationId xmlns:a16="http://schemas.microsoft.com/office/drawing/2014/main" id="{DE8D672E-96DD-5B51-0775-9298A083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3" name="Freeform 24">
                <a:extLst>
                  <a:ext uri="{FF2B5EF4-FFF2-40B4-BE49-F238E27FC236}">
                    <a16:creationId xmlns:a16="http://schemas.microsoft.com/office/drawing/2014/main" id="{2143802E-DBEB-B67F-4E92-469A39E2B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4" name="Freeform 25">
                <a:extLst>
                  <a:ext uri="{FF2B5EF4-FFF2-40B4-BE49-F238E27FC236}">
                    <a16:creationId xmlns:a16="http://schemas.microsoft.com/office/drawing/2014/main" id="{CF14456D-8D60-7628-9B20-3DDDAE32C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5" name="Freeform 26">
                <a:extLst>
                  <a:ext uri="{FF2B5EF4-FFF2-40B4-BE49-F238E27FC236}">
                    <a16:creationId xmlns:a16="http://schemas.microsoft.com/office/drawing/2014/main" id="{9A886A54-5E03-26A6-D235-B3DB916E3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6" name="Freeform 27">
                <a:extLst>
                  <a:ext uri="{FF2B5EF4-FFF2-40B4-BE49-F238E27FC236}">
                    <a16:creationId xmlns:a16="http://schemas.microsoft.com/office/drawing/2014/main" id="{BD7F637C-A3D9-1644-03E5-0D3E1EFC9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7" name="Freeform 28">
                <a:extLst>
                  <a:ext uri="{FF2B5EF4-FFF2-40B4-BE49-F238E27FC236}">
                    <a16:creationId xmlns:a16="http://schemas.microsoft.com/office/drawing/2014/main" id="{E99D9373-F6AC-3731-35D3-F30AC563C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8" name="Freeform 29">
                <a:extLst>
                  <a:ext uri="{FF2B5EF4-FFF2-40B4-BE49-F238E27FC236}">
                    <a16:creationId xmlns:a16="http://schemas.microsoft.com/office/drawing/2014/main" id="{09B2CEC9-0A22-A203-9663-E5D08C8D3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9" name="Freeform 30">
                <a:extLst>
                  <a:ext uri="{FF2B5EF4-FFF2-40B4-BE49-F238E27FC236}">
                    <a16:creationId xmlns:a16="http://schemas.microsoft.com/office/drawing/2014/main" id="{DD3E6717-7A49-C5CE-009D-49E37CCDF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0" name="Freeform 31">
                <a:extLst>
                  <a:ext uri="{FF2B5EF4-FFF2-40B4-BE49-F238E27FC236}">
                    <a16:creationId xmlns:a16="http://schemas.microsoft.com/office/drawing/2014/main" id="{E9E540F7-2822-6082-09E8-65E07416A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1" name="Freeform 32">
                <a:extLst>
                  <a:ext uri="{FF2B5EF4-FFF2-40B4-BE49-F238E27FC236}">
                    <a16:creationId xmlns:a16="http://schemas.microsoft.com/office/drawing/2014/main" id="{915B81FF-F7F1-61B3-E10E-1A2331013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2" name="Freeform 33">
                <a:extLst>
                  <a:ext uri="{FF2B5EF4-FFF2-40B4-BE49-F238E27FC236}">
                    <a16:creationId xmlns:a16="http://schemas.microsoft.com/office/drawing/2014/main" id="{808B98DB-5B4E-BB07-E2E0-E11BB2E970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3" name="Freeform 34">
                <a:extLst>
                  <a:ext uri="{FF2B5EF4-FFF2-40B4-BE49-F238E27FC236}">
                    <a16:creationId xmlns:a16="http://schemas.microsoft.com/office/drawing/2014/main" id="{FF4A4B98-68E2-3314-EB51-8F330CDD32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4" name="Freeform 35">
                <a:extLst>
                  <a:ext uri="{FF2B5EF4-FFF2-40B4-BE49-F238E27FC236}">
                    <a16:creationId xmlns:a16="http://schemas.microsoft.com/office/drawing/2014/main" id="{5A4F1498-CC0B-B397-BF43-62EB3E043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5" name="Freeform 36">
                <a:extLst>
                  <a:ext uri="{FF2B5EF4-FFF2-40B4-BE49-F238E27FC236}">
                    <a16:creationId xmlns:a16="http://schemas.microsoft.com/office/drawing/2014/main" id="{2FD0F741-8781-F445-2630-2B8F2E20AF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6" name="Freeform 37">
                <a:extLst>
                  <a:ext uri="{FF2B5EF4-FFF2-40B4-BE49-F238E27FC236}">
                    <a16:creationId xmlns:a16="http://schemas.microsoft.com/office/drawing/2014/main" id="{F933256D-7354-9E02-A401-2079DB70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7" name="Freeform 38">
                <a:extLst>
                  <a:ext uri="{FF2B5EF4-FFF2-40B4-BE49-F238E27FC236}">
                    <a16:creationId xmlns:a16="http://schemas.microsoft.com/office/drawing/2014/main" id="{C60EA35C-233B-D562-050F-803F415DEC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8" name="Freeform 39">
                <a:extLst>
                  <a:ext uri="{FF2B5EF4-FFF2-40B4-BE49-F238E27FC236}">
                    <a16:creationId xmlns:a16="http://schemas.microsoft.com/office/drawing/2014/main" id="{537C38AB-0ED6-6BC7-EF6D-99B958D74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9" name="Freeform 40">
                <a:extLst>
                  <a:ext uri="{FF2B5EF4-FFF2-40B4-BE49-F238E27FC236}">
                    <a16:creationId xmlns:a16="http://schemas.microsoft.com/office/drawing/2014/main" id="{7E090D43-561B-7E6E-7BF1-644AC5311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0" name="Freeform 41">
                <a:extLst>
                  <a:ext uri="{FF2B5EF4-FFF2-40B4-BE49-F238E27FC236}">
                    <a16:creationId xmlns:a16="http://schemas.microsoft.com/office/drawing/2014/main" id="{8B01838D-CE6D-4627-9B5F-0C2572F70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1" name="Freeform 42">
                <a:extLst>
                  <a:ext uri="{FF2B5EF4-FFF2-40B4-BE49-F238E27FC236}">
                    <a16:creationId xmlns:a16="http://schemas.microsoft.com/office/drawing/2014/main" id="{501F6FE3-CC31-C970-EE4E-A4F1EFFBA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2" name="Freeform 43">
                <a:extLst>
                  <a:ext uri="{FF2B5EF4-FFF2-40B4-BE49-F238E27FC236}">
                    <a16:creationId xmlns:a16="http://schemas.microsoft.com/office/drawing/2014/main" id="{4D362D5A-CD30-A62E-9884-FDB0D8F4B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3" name="Freeform 44">
                <a:extLst>
                  <a:ext uri="{FF2B5EF4-FFF2-40B4-BE49-F238E27FC236}">
                    <a16:creationId xmlns:a16="http://schemas.microsoft.com/office/drawing/2014/main" id="{1650DA0C-9EF2-FDF8-BA2F-3C95A70A8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4" name="Freeform 45">
                <a:extLst>
                  <a:ext uri="{FF2B5EF4-FFF2-40B4-BE49-F238E27FC236}">
                    <a16:creationId xmlns:a16="http://schemas.microsoft.com/office/drawing/2014/main" id="{0C97DE88-E5DF-1417-9CC6-F187A497C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5" name="Freeform 46">
                <a:extLst>
                  <a:ext uri="{FF2B5EF4-FFF2-40B4-BE49-F238E27FC236}">
                    <a16:creationId xmlns:a16="http://schemas.microsoft.com/office/drawing/2014/main" id="{AAF812C2-EC4D-C878-CDDE-71025AF59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6" name="Freeform 47">
                <a:extLst>
                  <a:ext uri="{FF2B5EF4-FFF2-40B4-BE49-F238E27FC236}">
                    <a16:creationId xmlns:a16="http://schemas.microsoft.com/office/drawing/2014/main" id="{CF0257A7-301D-5FEF-8236-953AAD5CA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7" name="Freeform 48">
                <a:extLst>
                  <a:ext uri="{FF2B5EF4-FFF2-40B4-BE49-F238E27FC236}">
                    <a16:creationId xmlns:a16="http://schemas.microsoft.com/office/drawing/2014/main" id="{0EA1AC01-38FF-A456-4B14-CA0DF68F9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8" name="Freeform 49">
                <a:extLst>
                  <a:ext uri="{FF2B5EF4-FFF2-40B4-BE49-F238E27FC236}">
                    <a16:creationId xmlns:a16="http://schemas.microsoft.com/office/drawing/2014/main" id="{64725F92-0761-345F-4C55-A1E3C58158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9" name="Freeform 50">
                <a:extLst>
                  <a:ext uri="{FF2B5EF4-FFF2-40B4-BE49-F238E27FC236}">
                    <a16:creationId xmlns:a16="http://schemas.microsoft.com/office/drawing/2014/main" id="{8EF5C4A6-740C-84C2-6D20-69D272936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0" name="Freeform 51">
                <a:extLst>
                  <a:ext uri="{FF2B5EF4-FFF2-40B4-BE49-F238E27FC236}">
                    <a16:creationId xmlns:a16="http://schemas.microsoft.com/office/drawing/2014/main" id="{4BC8A8D1-F681-AD9A-36A6-602E313738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1" name="Freeform 52">
                <a:extLst>
                  <a:ext uri="{FF2B5EF4-FFF2-40B4-BE49-F238E27FC236}">
                    <a16:creationId xmlns:a16="http://schemas.microsoft.com/office/drawing/2014/main" id="{621E9D2C-2E0D-B40E-11DA-7B14A9F29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2" name="Freeform 53">
                <a:extLst>
                  <a:ext uri="{FF2B5EF4-FFF2-40B4-BE49-F238E27FC236}">
                    <a16:creationId xmlns:a16="http://schemas.microsoft.com/office/drawing/2014/main" id="{7E770C66-3623-AF91-23F1-FA72DE899A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3" name="Freeform 54">
                <a:extLst>
                  <a:ext uri="{FF2B5EF4-FFF2-40B4-BE49-F238E27FC236}">
                    <a16:creationId xmlns:a16="http://schemas.microsoft.com/office/drawing/2014/main" id="{A89428C4-9408-676A-8989-3BB4E31087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4" name="Freeform 55">
                <a:extLst>
                  <a:ext uri="{FF2B5EF4-FFF2-40B4-BE49-F238E27FC236}">
                    <a16:creationId xmlns:a16="http://schemas.microsoft.com/office/drawing/2014/main" id="{33F46D42-0A24-FE7C-5134-15E204EEEE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5" name="Freeform 56">
                <a:extLst>
                  <a:ext uri="{FF2B5EF4-FFF2-40B4-BE49-F238E27FC236}">
                    <a16:creationId xmlns:a16="http://schemas.microsoft.com/office/drawing/2014/main" id="{B8002AA4-BB97-F44E-A81E-B562D0A700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6" name="Freeform 57">
                <a:extLst>
                  <a:ext uri="{FF2B5EF4-FFF2-40B4-BE49-F238E27FC236}">
                    <a16:creationId xmlns:a16="http://schemas.microsoft.com/office/drawing/2014/main" id="{D3C24D72-2497-FA79-A54D-217B5C15D7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7" name="Freeform 58">
                <a:extLst>
                  <a:ext uri="{FF2B5EF4-FFF2-40B4-BE49-F238E27FC236}">
                    <a16:creationId xmlns:a16="http://schemas.microsoft.com/office/drawing/2014/main" id="{67332842-BFEF-9187-42A6-0206E2C42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8" name="Freeform 59">
                <a:extLst>
                  <a:ext uri="{FF2B5EF4-FFF2-40B4-BE49-F238E27FC236}">
                    <a16:creationId xmlns:a16="http://schemas.microsoft.com/office/drawing/2014/main" id="{57E9F1BC-66AE-D1A5-E8EA-8CC69ABD6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9" name="Freeform 60">
                <a:extLst>
                  <a:ext uri="{FF2B5EF4-FFF2-40B4-BE49-F238E27FC236}">
                    <a16:creationId xmlns:a16="http://schemas.microsoft.com/office/drawing/2014/main" id="{0CCB458C-1A8F-F614-2C9E-EBCC89766D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0" name="Freeform 61">
                <a:extLst>
                  <a:ext uri="{FF2B5EF4-FFF2-40B4-BE49-F238E27FC236}">
                    <a16:creationId xmlns:a16="http://schemas.microsoft.com/office/drawing/2014/main" id="{5542BC01-2AD4-53E3-352F-D6E5617643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1" name="Freeform 62">
                <a:extLst>
                  <a:ext uri="{FF2B5EF4-FFF2-40B4-BE49-F238E27FC236}">
                    <a16:creationId xmlns:a16="http://schemas.microsoft.com/office/drawing/2014/main" id="{07613F6D-2E10-8350-84D7-056832A503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2" name="Freeform 63">
                <a:extLst>
                  <a:ext uri="{FF2B5EF4-FFF2-40B4-BE49-F238E27FC236}">
                    <a16:creationId xmlns:a16="http://schemas.microsoft.com/office/drawing/2014/main" id="{58F7E53D-097A-C6E6-FF35-1F0E9A219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3" name="Freeform 64">
                <a:extLst>
                  <a:ext uri="{FF2B5EF4-FFF2-40B4-BE49-F238E27FC236}">
                    <a16:creationId xmlns:a16="http://schemas.microsoft.com/office/drawing/2014/main" id="{A34C1200-B071-F86C-9370-B49C3EF6A8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4" name="Freeform 65">
                <a:extLst>
                  <a:ext uri="{FF2B5EF4-FFF2-40B4-BE49-F238E27FC236}">
                    <a16:creationId xmlns:a16="http://schemas.microsoft.com/office/drawing/2014/main" id="{7EF1C0EB-40E9-0AD9-3325-7232DFA7A8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5" name="Freeform 66">
                <a:extLst>
                  <a:ext uri="{FF2B5EF4-FFF2-40B4-BE49-F238E27FC236}">
                    <a16:creationId xmlns:a16="http://schemas.microsoft.com/office/drawing/2014/main" id="{AA1BB952-0CFD-481C-1E74-48D61B26A4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6" name="Freeform 67">
                <a:extLst>
                  <a:ext uri="{FF2B5EF4-FFF2-40B4-BE49-F238E27FC236}">
                    <a16:creationId xmlns:a16="http://schemas.microsoft.com/office/drawing/2014/main" id="{59F40DBC-2CDB-D0FF-966A-175172613C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7" name="Freeform 68">
                <a:extLst>
                  <a:ext uri="{FF2B5EF4-FFF2-40B4-BE49-F238E27FC236}">
                    <a16:creationId xmlns:a16="http://schemas.microsoft.com/office/drawing/2014/main" id="{1A56ADD0-01C0-0ACC-6EED-3CD5921A4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8" name="Freeform 69">
                <a:extLst>
                  <a:ext uri="{FF2B5EF4-FFF2-40B4-BE49-F238E27FC236}">
                    <a16:creationId xmlns:a16="http://schemas.microsoft.com/office/drawing/2014/main" id="{AA68E765-4DEE-5345-1F3E-C3169E98F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9" name="Freeform 70">
                <a:extLst>
                  <a:ext uri="{FF2B5EF4-FFF2-40B4-BE49-F238E27FC236}">
                    <a16:creationId xmlns:a16="http://schemas.microsoft.com/office/drawing/2014/main" id="{BE8C806B-1BFB-BB66-E3E1-341E20161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0" name="Freeform 71">
                <a:extLst>
                  <a:ext uri="{FF2B5EF4-FFF2-40B4-BE49-F238E27FC236}">
                    <a16:creationId xmlns:a16="http://schemas.microsoft.com/office/drawing/2014/main" id="{F7EBE70A-6BF6-2CE8-F39C-DA5431DFF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1" name="Freeform 72">
                <a:extLst>
                  <a:ext uri="{FF2B5EF4-FFF2-40B4-BE49-F238E27FC236}">
                    <a16:creationId xmlns:a16="http://schemas.microsoft.com/office/drawing/2014/main" id="{7A9DD05B-C80D-5E4A-9A5D-8E9DD8AAF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2" name="Freeform 73">
                <a:extLst>
                  <a:ext uri="{FF2B5EF4-FFF2-40B4-BE49-F238E27FC236}">
                    <a16:creationId xmlns:a16="http://schemas.microsoft.com/office/drawing/2014/main" id="{C343DA95-0D52-EEBF-6F4C-347D63A130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3" name="Freeform 74">
                <a:extLst>
                  <a:ext uri="{FF2B5EF4-FFF2-40B4-BE49-F238E27FC236}">
                    <a16:creationId xmlns:a16="http://schemas.microsoft.com/office/drawing/2014/main" id="{25FC357A-F228-A2EC-F2E7-B9063DD363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4" name="Freeform 75">
                <a:extLst>
                  <a:ext uri="{FF2B5EF4-FFF2-40B4-BE49-F238E27FC236}">
                    <a16:creationId xmlns:a16="http://schemas.microsoft.com/office/drawing/2014/main" id="{0D642203-DA1D-0FA9-082A-AFE58A2E0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5" name="Freeform 76">
                <a:extLst>
                  <a:ext uri="{FF2B5EF4-FFF2-40B4-BE49-F238E27FC236}">
                    <a16:creationId xmlns:a16="http://schemas.microsoft.com/office/drawing/2014/main" id="{33FCC483-C41E-02A0-1184-6363C3C835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6" name="Freeform 77">
                <a:extLst>
                  <a:ext uri="{FF2B5EF4-FFF2-40B4-BE49-F238E27FC236}">
                    <a16:creationId xmlns:a16="http://schemas.microsoft.com/office/drawing/2014/main" id="{F3880538-E950-A63B-237B-B44EC4F65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7" name="Freeform 78">
                <a:extLst>
                  <a:ext uri="{FF2B5EF4-FFF2-40B4-BE49-F238E27FC236}">
                    <a16:creationId xmlns:a16="http://schemas.microsoft.com/office/drawing/2014/main" id="{7643A962-2208-1ADF-890D-5682A66139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8" name="Freeform 79">
                <a:extLst>
                  <a:ext uri="{FF2B5EF4-FFF2-40B4-BE49-F238E27FC236}">
                    <a16:creationId xmlns:a16="http://schemas.microsoft.com/office/drawing/2014/main" id="{03AB6FC1-1AB0-193E-4C23-5F570C524A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9" name="Freeform 80">
                <a:extLst>
                  <a:ext uri="{FF2B5EF4-FFF2-40B4-BE49-F238E27FC236}">
                    <a16:creationId xmlns:a16="http://schemas.microsoft.com/office/drawing/2014/main" id="{02419D57-F0C7-4ECF-7E33-F4725EFEA7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0" name="Freeform 81">
                <a:extLst>
                  <a:ext uri="{FF2B5EF4-FFF2-40B4-BE49-F238E27FC236}">
                    <a16:creationId xmlns:a16="http://schemas.microsoft.com/office/drawing/2014/main" id="{B75E2D00-5E4B-C745-E8AE-82C56E8EF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1" name="Freeform 82">
                <a:extLst>
                  <a:ext uri="{FF2B5EF4-FFF2-40B4-BE49-F238E27FC236}">
                    <a16:creationId xmlns:a16="http://schemas.microsoft.com/office/drawing/2014/main" id="{EB2081E1-3C7D-B66E-045C-FD4C3F625E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2" name="Freeform 83">
                <a:extLst>
                  <a:ext uri="{FF2B5EF4-FFF2-40B4-BE49-F238E27FC236}">
                    <a16:creationId xmlns:a16="http://schemas.microsoft.com/office/drawing/2014/main" id="{A44FAB0C-92CF-C222-939D-050FFA1FD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3" name="Freeform 84">
                <a:extLst>
                  <a:ext uri="{FF2B5EF4-FFF2-40B4-BE49-F238E27FC236}">
                    <a16:creationId xmlns:a16="http://schemas.microsoft.com/office/drawing/2014/main" id="{F29CF2B2-4053-39AF-8048-3F02A83F0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4" name="Freeform 85">
                <a:extLst>
                  <a:ext uri="{FF2B5EF4-FFF2-40B4-BE49-F238E27FC236}">
                    <a16:creationId xmlns:a16="http://schemas.microsoft.com/office/drawing/2014/main" id="{B08FBE46-9A46-0753-C0A4-FE20E5FB6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5" name="Freeform 86">
                <a:extLst>
                  <a:ext uri="{FF2B5EF4-FFF2-40B4-BE49-F238E27FC236}">
                    <a16:creationId xmlns:a16="http://schemas.microsoft.com/office/drawing/2014/main" id="{7496CACC-4AE0-86BA-0537-5FAED9ACA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6" name="Freeform 87">
                <a:extLst>
                  <a:ext uri="{FF2B5EF4-FFF2-40B4-BE49-F238E27FC236}">
                    <a16:creationId xmlns:a16="http://schemas.microsoft.com/office/drawing/2014/main" id="{56F2A420-BF86-B3AC-DD3E-04B9AD3E6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7" name="Freeform 88">
                <a:extLst>
                  <a:ext uri="{FF2B5EF4-FFF2-40B4-BE49-F238E27FC236}">
                    <a16:creationId xmlns:a16="http://schemas.microsoft.com/office/drawing/2014/main" id="{517268B2-61CB-67A0-E780-F668D00C0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8" name="Freeform 89">
                <a:extLst>
                  <a:ext uri="{FF2B5EF4-FFF2-40B4-BE49-F238E27FC236}">
                    <a16:creationId xmlns:a16="http://schemas.microsoft.com/office/drawing/2014/main" id="{0B764106-BA32-D814-21B0-3BBF77BF2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9" name="Freeform 90">
                <a:extLst>
                  <a:ext uri="{FF2B5EF4-FFF2-40B4-BE49-F238E27FC236}">
                    <a16:creationId xmlns:a16="http://schemas.microsoft.com/office/drawing/2014/main" id="{71D5D221-AD98-E2F2-024F-B3585D214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0" name="Freeform 91">
                <a:extLst>
                  <a:ext uri="{FF2B5EF4-FFF2-40B4-BE49-F238E27FC236}">
                    <a16:creationId xmlns:a16="http://schemas.microsoft.com/office/drawing/2014/main" id="{47E5511D-879E-CC6E-4C3C-97DE0B4ED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1" name="Freeform 92">
                <a:extLst>
                  <a:ext uri="{FF2B5EF4-FFF2-40B4-BE49-F238E27FC236}">
                    <a16:creationId xmlns:a16="http://schemas.microsoft.com/office/drawing/2014/main" id="{27CF4741-4555-9FAF-1EBF-84B741B77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2" name="Freeform 93">
                <a:extLst>
                  <a:ext uri="{FF2B5EF4-FFF2-40B4-BE49-F238E27FC236}">
                    <a16:creationId xmlns:a16="http://schemas.microsoft.com/office/drawing/2014/main" id="{E16215C0-3F18-9E84-AA53-44A61CAB3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3" name="Freeform 94">
                <a:extLst>
                  <a:ext uri="{FF2B5EF4-FFF2-40B4-BE49-F238E27FC236}">
                    <a16:creationId xmlns:a16="http://schemas.microsoft.com/office/drawing/2014/main" id="{BF0B3F5B-C7A4-ACD5-CE92-41FA3D319D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4" name="Freeform 95">
                <a:extLst>
                  <a:ext uri="{FF2B5EF4-FFF2-40B4-BE49-F238E27FC236}">
                    <a16:creationId xmlns:a16="http://schemas.microsoft.com/office/drawing/2014/main" id="{6E10A4E7-360D-8ECA-DF4A-4552D67F9F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5" name="Freeform 96">
                <a:extLst>
                  <a:ext uri="{FF2B5EF4-FFF2-40B4-BE49-F238E27FC236}">
                    <a16:creationId xmlns:a16="http://schemas.microsoft.com/office/drawing/2014/main" id="{ABD5E863-8753-D9B6-6801-817EE54B83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6" name="Freeform 97">
                <a:extLst>
                  <a:ext uri="{FF2B5EF4-FFF2-40B4-BE49-F238E27FC236}">
                    <a16:creationId xmlns:a16="http://schemas.microsoft.com/office/drawing/2014/main" id="{F37CF4DF-DBDD-80BD-CD47-C73D6C573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7" name="Freeform 98">
                <a:extLst>
                  <a:ext uri="{FF2B5EF4-FFF2-40B4-BE49-F238E27FC236}">
                    <a16:creationId xmlns:a16="http://schemas.microsoft.com/office/drawing/2014/main" id="{260E7FE3-56BD-F2A6-CF8A-F0F59FFD8A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8" name="Freeform 99">
                <a:extLst>
                  <a:ext uri="{FF2B5EF4-FFF2-40B4-BE49-F238E27FC236}">
                    <a16:creationId xmlns:a16="http://schemas.microsoft.com/office/drawing/2014/main" id="{38EBD852-C597-7343-B079-D74445E57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9" name="Freeform 100">
                <a:extLst>
                  <a:ext uri="{FF2B5EF4-FFF2-40B4-BE49-F238E27FC236}">
                    <a16:creationId xmlns:a16="http://schemas.microsoft.com/office/drawing/2014/main" id="{2941F0BC-1553-DB8E-069A-45CD511C3C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0" name="Freeform 101">
                <a:extLst>
                  <a:ext uri="{FF2B5EF4-FFF2-40B4-BE49-F238E27FC236}">
                    <a16:creationId xmlns:a16="http://schemas.microsoft.com/office/drawing/2014/main" id="{34DBE33D-0421-F61B-3D9C-16021A7989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1" name="Freeform 102">
                <a:extLst>
                  <a:ext uri="{FF2B5EF4-FFF2-40B4-BE49-F238E27FC236}">
                    <a16:creationId xmlns:a16="http://schemas.microsoft.com/office/drawing/2014/main" id="{E9BB58AA-2C61-E9DC-014F-0C98B33AC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2" name="Freeform 103">
                <a:extLst>
                  <a:ext uri="{FF2B5EF4-FFF2-40B4-BE49-F238E27FC236}">
                    <a16:creationId xmlns:a16="http://schemas.microsoft.com/office/drawing/2014/main" id="{F7DE99D4-B7D3-22FD-278F-0D718C9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3" name="Freeform 104">
                <a:extLst>
                  <a:ext uri="{FF2B5EF4-FFF2-40B4-BE49-F238E27FC236}">
                    <a16:creationId xmlns:a16="http://schemas.microsoft.com/office/drawing/2014/main" id="{66F283BA-2556-9BF6-DD50-64DAB4687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4" name="Freeform 105">
                <a:extLst>
                  <a:ext uri="{FF2B5EF4-FFF2-40B4-BE49-F238E27FC236}">
                    <a16:creationId xmlns:a16="http://schemas.microsoft.com/office/drawing/2014/main" id="{5EC3449C-19EF-F1D7-74C0-709C4597FA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5" name="Freeform 106">
                <a:extLst>
                  <a:ext uri="{FF2B5EF4-FFF2-40B4-BE49-F238E27FC236}">
                    <a16:creationId xmlns:a16="http://schemas.microsoft.com/office/drawing/2014/main" id="{AD01DFB1-3F82-97CB-DE1D-FBC129BD4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6" name="Freeform 107">
                <a:extLst>
                  <a:ext uri="{FF2B5EF4-FFF2-40B4-BE49-F238E27FC236}">
                    <a16:creationId xmlns:a16="http://schemas.microsoft.com/office/drawing/2014/main" id="{41580384-2F1D-7D94-FCD8-99F23C5FD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7" name="Freeform 108">
                <a:extLst>
                  <a:ext uri="{FF2B5EF4-FFF2-40B4-BE49-F238E27FC236}">
                    <a16:creationId xmlns:a16="http://schemas.microsoft.com/office/drawing/2014/main" id="{5DCA1525-9F86-8454-1053-2A60FAAC9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8" name="Freeform 109">
                <a:extLst>
                  <a:ext uri="{FF2B5EF4-FFF2-40B4-BE49-F238E27FC236}">
                    <a16:creationId xmlns:a16="http://schemas.microsoft.com/office/drawing/2014/main" id="{302877BA-811F-73BF-4752-05E7524EE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9" name="Freeform 110">
                <a:extLst>
                  <a:ext uri="{FF2B5EF4-FFF2-40B4-BE49-F238E27FC236}">
                    <a16:creationId xmlns:a16="http://schemas.microsoft.com/office/drawing/2014/main" id="{4E4ECC68-CD5C-0922-BE46-CD3F365ED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0" name="Freeform 111">
                <a:extLst>
                  <a:ext uri="{FF2B5EF4-FFF2-40B4-BE49-F238E27FC236}">
                    <a16:creationId xmlns:a16="http://schemas.microsoft.com/office/drawing/2014/main" id="{0D238B05-CA68-74EA-5F25-7B785B98F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1" name="Freeform 112">
                <a:extLst>
                  <a:ext uri="{FF2B5EF4-FFF2-40B4-BE49-F238E27FC236}">
                    <a16:creationId xmlns:a16="http://schemas.microsoft.com/office/drawing/2014/main" id="{7520BCAE-5711-4FED-8D07-126461C8D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2" name="Freeform 113">
                <a:extLst>
                  <a:ext uri="{FF2B5EF4-FFF2-40B4-BE49-F238E27FC236}">
                    <a16:creationId xmlns:a16="http://schemas.microsoft.com/office/drawing/2014/main" id="{D315E4D3-B6D8-A46D-5AB3-83AFB4FD0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3" name="Freeform 114">
                <a:extLst>
                  <a:ext uri="{FF2B5EF4-FFF2-40B4-BE49-F238E27FC236}">
                    <a16:creationId xmlns:a16="http://schemas.microsoft.com/office/drawing/2014/main" id="{44F65DE4-371A-2ED6-2EDC-C104984FA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4" name="Freeform 115">
                <a:extLst>
                  <a:ext uri="{FF2B5EF4-FFF2-40B4-BE49-F238E27FC236}">
                    <a16:creationId xmlns:a16="http://schemas.microsoft.com/office/drawing/2014/main" id="{E3495678-F462-3E9D-FD05-F3F48C26E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5" name="Freeform 116">
                <a:extLst>
                  <a:ext uri="{FF2B5EF4-FFF2-40B4-BE49-F238E27FC236}">
                    <a16:creationId xmlns:a16="http://schemas.microsoft.com/office/drawing/2014/main" id="{CAE3D8DC-CB4A-7B07-6E65-99409EA95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6" name="Freeform 117">
                <a:extLst>
                  <a:ext uri="{FF2B5EF4-FFF2-40B4-BE49-F238E27FC236}">
                    <a16:creationId xmlns:a16="http://schemas.microsoft.com/office/drawing/2014/main" id="{9878818D-A0CB-21EC-A01E-F7C42A72B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7" name="Freeform 118">
                <a:extLst>
                  <a:ext uri="{FF2B5EF4-FFF2-40B4-BE49-F238E27FC236}">
                    <a16:creationId xmlns:a16="http://schemas.microsoft.com/office/drawing/2014/main" id="{84528A9F-8A74-7B69-2ED4-7F1E7B8FF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8" name="Freeform 119">
                <a:extLst>
                  <a:ext uri="{FF2B5EF4-FFF2-40B4-BE49-F238E27FC236}">
                    <a16:creationId xmlns:a16="http://schemas.microsoft.com/office/drawing/2014/main" id="{0C91B260-D0E8-F30C-95C1-EEC31FBF9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9" name="Freeform 120">
                <a:extLst>
                  <a:ext uri="{FF2B5EF4-FFF2-40B4-BE49-F238E27FC236}">
                    <a16:creationId xmlns:a16="http://schemas.microsoft.com/office/drawing/2014/main" id="{CAFE8A5B-CFD4-26EE-A5C2-AA4EC574E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0" name="Freeform 121">
                <a:extLst>
                  <a:ext uri="{FF2B5EF4-FFF2-40B4-BE49-F238E27FC236}">
                    <a16:creationId xmlns:a16="http://schemas.microsoft.com/office/drawing/2014/main" id="{92ED431F-B25D-A804-61EB-1CCCE7A99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1" name="Freeform 122">
                <a:extLst>
                  <a:ext uri="{FF2B5EF4-FFF2-40B4-BE49-F238E27FC236}">
                    <a16:creationId xmlns:a16="http://schemas.microsoft.com/office/drawing/2014/main" id="{D5BCA312-190B-57DD-DBE1-B99D29469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2" name="Freeform 123">
                <a:extLst>
                  <a:ext uri="{FF2B5EF4-FFF2-40B4-BE49-F238E27FC236}">
                    <a16:creationId xmlns:a16="http://schemas.microsoft.com/office/drawing/2014/main" id="{8AEB374F-CE5F-CD41-EE31-54F8353E5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3" name="Freeform 124">
                <a:extLst>
                  <a:ext uri="{FF2B5EF4-FFF2-40B4-BE49-F238E27FC236}">
                    <a16:creationId xmlns:a16="http://schemas.microsoft.com/office/drawing/2014/main" id="{94F2E56E-4F47-3AB2-3836-0FAC84560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4" name="Freeform 125">
                <a:extLst>
                  <a:ext uri="{FF2B5EF4-FFF2-40B4-BE49-F238E27FC236}">
                    <a16:creationId xmlns:a16="http://schemas.microsoft.com/office/drawing/2014/main" id="{6BFE956D-3BCB-48F2-F7F5-6F99C0CAAF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5" name="Freeform 126">
                <a:extLst>
                  <a:ext uri="{FF2B5EF4-FFF2-40B4-BE49-F238E27FC236}">
                    <a16:creationId xmlns:a16="http://schemas.microsoft.com/office/drawing/2014/main" id="{FEB25FD7-E728-683A-B622-6082E5E38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6" name="Freeform 127">
                <a:extLst>
                  <a:ext uri="{FF2B5EF4-FFF2-40B4-BE49-F238E27FC236}">
                    <a16:creationId xmlns:a16="http://schemas.microsoft.com/office/drawing/2014/main" id="{E1D75BB0-84A2-7588-92AA-2FED6429A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7" name="Freeform 128">
                <a:extLst>
                  <a:ext uri="{FF2B5EF4-FFF2-40B4-BE49-F238E27FC236}">
                    <a16:creationId xmlns:a16="http://schemas.microsoft.com/office/drawing/2014/main" id="{6A4D4C50-E770-5CB5-2E59-03F89E119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8" name="Freeform 129">
                <a:extLst>
                  <a:ext uri="{FF2B5EF4-FFF2-40B4-BE49-F238E27FC236}">
                    <a16:creationId xmlns:a16="http://schemas.microsoft.com/office/drawing/2014/main" id="{0E00FD6F-3023-E3C1-F689-A1B2B88158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9" name="Freeform 130">
                <a:extLst>
                  <a:ext uri="{FF2B5EF4-FFF2-40B4-BE49-F238E27FC236}">
                    <a16:creationId xmlns:a16="http://schemas.microsoft.com/office/drawing/2014/main" id="{AD7505C6-C421-E8F4-4A32-A2B202DFC0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0" name="Freeform 131">
                <a:extLst>
                  <a:ext uri="{FF2B5EF4-FFF2-40B4-BE49-F238E27FC236}">
                    <a16:creationId xmlns:a16="http://schemas.microsoft.com/office/drawing/2014/main" id="{BA094232-6999-1297-D441-272380344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1" name="Freeform 132">
                <a:extLst>
                  <a:ext uri="{FF2B5EF4-FFF2-40B4-BE49-F238E27FC236}">
                    <a16:creationId xmlns:a16="http://schemas.microsoft.com/office/drawing/2014/main" id="{3AF6788F-D9F7-1001-2333-CBD76580E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2" name="Freeform 133">
                <a:extLst>
                  <a:ext uri="{FF2B5EF4-FFF2-40B4-BE49-F238E27FC236}">
                    <a16:creationId xmlns:a16="http://schemas.microsoft.com/office/drawing/2014/main" id="{C6030D2B-F11E-DC16-EBF7-6426C9C17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3" name="Freeform 134">
                <a:extLst>
                  <a:ext uri="{FF2B5EF4-FFF2-40B4-BE49-F238E27FC236}">
                    <a16:creationId xmlns:a16="http://schemas.microsoft.com/office/drawing/2014/main" id="{8DD3B874-0122-D2EC-08EF-1C51C40F3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4" name="Freeform 135">
                <a:extLst>
                  <a:ext uri="{FF2B5EF4-FFF2-40B4-BE49-F238E27FC236}">
                    <a16:creationId xmlns:a16="http://schemas.microsoft.com/office/drawing/2014/main" id="{516D4F74-6AD4-6522-7CC6-2DCAFD273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5" name="Freeform 136">
                <a:extLst>
                  <a:ext uri="{FF2B5EF4-FFF2-40B4-BE49-F238E27FC236}">
                    <a16:creationId xmlns:a16="http://schemas.microsoft.com/office/drawing/2014/main" id="{4296EC0C-57FB-7128-2AED-1F285A36D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6" name="Freeform 137">
                <a:extLst>
                  <a:ext uri="{FF2B5EF4-FFF2-40B4-BE49-F238E27FC236}">
                    <a16:creationId xmlns:a16="http://schemas.microsoft.com/office/drawing/2014/main" id="{0FFF5454-3F46-7E35-C8ED-9EE44FC89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7" name="Freeform 138">
                <a:extLst>
                  <a:ext uri="{FF2B5EF4-FFF2-40B4-BE49-F238E27FC236}">
                    <a16:creationId xmlns:a16="http://schemas.microsoft.com/office/drawing/2014/main" id="{5BC9975D-D740-7806-A6AA-DF5F55E8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8" name="Freeform 139">
                <a:extLst>
                  <a:ext uri="{FF2B5EF4-FFF2-40B4-BE49-F238E27FC236}">
                    <a16:creationId xmlns:a16="http://schemas.microsoft.com/office/drawing/2014/main" id="{9EC1EC2D-F5F2-C998-01A5-08B7C2A71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9" name="Freeform 140">
                <a:extLst>
                  <a:ext uri="{FF2B5EF4-FFF2-40B4-BE49-F238E27FC236}">
                    <a16:creationId xmlns:a16="http://schemas.microsoft.com/office/drawing/2014/main" id="{0B3DF234-AE0F-109D-97AA-3578B4375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0" name="Freeform 141">
                <a:extLst>
                  <a:ext uri="{FF2B5EF4-FFF2-40B4-BE49-F238E27FC236}">
                    <a16:creationId xmlns:a16="http://schemas.microsoft.com/office/drawing/2014/main" id="{C2263576-ACD6-E1C4-EDC4-6993B0F0E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1" name="Freeform 142">
                <a:extLst>
                  <a:ext uri="{FF2B5EF4-FFF2-40B4-BE49-F238E27FC236}">
                    <a16:creationId xmlns:a16="http://schemas.microsoft.com/office/drawing/2014/main" id="{0E74A9D7-7C73-767A-2F47-56A61A182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2" name="Freeform 143">
                <a:extLst>
                  <a:ext uri="{FF2B5EF4-FFF2-40B4-BE49-F238E27FC236}">
                    <a16:creationId xmlns:a16="http://schemas.microsoft.com/office/drawing/2014/main" id="{4BB8CF6F-4598-6597-95E5-6F7B00A5E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3" name="Freeform 144">
                <a:extLst>
                  <a:ext uri="{FF2B5EF4-FFF2-40B4-BE49-F238E27FC236}">
                    <a16:creationId xmlns:a16="http://schemas.microsoft.com/office/drawing/2014/main" id="{7FC88C79-105C-F281-E36B-30FAEE6B1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4" name="Freeform 145">
                <a:extLst>
                  <a:ext uri="{FF2B5EF4-FFF2-40B4-BE49-F238E27FC236}">
                    <a16:creationId xmlns:a16="http://schemas.microsoft.com/office/drawing/2014/main" id="{B1B195FC-87AA-2298-957C-2238E33B5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5" name="Freeform 146">
                <a:extLst>
                  <a:ext uri="{FF2B5EF4-FFF2-40B4-BE49-F238E27FC236}">
                    <a16:creationId xmlns:a16="http://schemas.microsoft.com/office/drawing/2014/main" id="{EE975405-A475-00DE-6907-ECF9CAB04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6" name="Freeform 147">
                <a:extLst>
                  <a:ext uri="{FF2B5EF4-FFF2-40B4-BE49-F238E27FC236}">
                    <a16:creationId xmlns:a16="http://schemas.microsoft.com/office/drawing/2014/main" id="{B35E73A0-A4F5-BBDB-E4A9-EA97D74344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7" name="Freeform 148">
                <a:extLst>
                  <a:ext uri="{FF2B5EF4-FFF2-40B4-BE49-F238E27FC236}">
                    <a16:creationId xmlns:a16="http://schemas.microsoft.com/office/drawing/2014/main" id="{8B4F0ED5-FA5B-F7EE-6CA8-3D62154FDB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8" name="Freeform 149">
                <a:extLst>
                  <a:ext uri="{FF2B5EF4-FFF2-40B4-BE49-F238E27FC236}">
                    <a16:creationId xmlns:a16="http://schemas.microsoft.com/office/drawing/2014/main" id="{72A318AD-2B55-04CA-4332-71B0558F4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9" name="Freeform 150">
                <a:extLst>
                  <a:ext uri="{FF2B5EF4-FFF2-40B4-BE49-F238E27FC236}">
                    <a16:creationId xmlns:a16="http://schemas.microsoft.com/office/drawing/2014/main" id="{8CFF61C7-6888-B00E-9DEE-8EE4FED6C5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0" name="Freeform 151">
                <a:extLst>
                  <a:ext uri="{FF2B5EF4-FFF2-40B4-BE49-F238E27FC236}">
                    <a16:creationId xmlns:a16="http://schemas.microsoft.com/office/drawing/2014/main" id="{659D68ED-68F6-3D39-C81C-4C94F6940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1" name="Freeform 152">
                <a:extLst>
                  <a:ext uri="{FF2B5EF4-FFF2-40B4-BE49-F238E27FC236}">
                    <a16:creationId xmlns:a16="http://schemas.microsoft.com/office/drawing/2014/main" id="{9F4F72F8-6512-3682-CCAB-4C1AA3FA3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2" name="Freeform 153">
                <a:extLst>
                  <a:ext uri="{FF2B5EF4-FFF2-40B4-BE49-F238E27FC236}">
                    <a16:creationId xmlns:a16="http://schemas.microsoft.com/office/drawing/2014/main" id="{C7E36E4C-B481-ED5B-C58A-8C2B354F0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3" name="Freeform 154">
                <a:extLst>
                  <a:ext uri="{FF2B5EF4-FFF2-40B4-BE49-F238E27FC236}">
                    <a16:creationId xmlns:a16="http://schemas.microsoft.com/office/drawing/2014/main" id="{8DA36512-4CFB-4E1D-7455-83211673C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4" name="Freeform 155">
                <a:extLst>
                  <a:ext uri="{FF2B5EF4-FFF2-40B4-BE49-F238E27FC236}">
                    <a16:creationId xmlns:a16="http://schemas.microsoft.com/office/drawing/2014/main" id="{2FC109E1-9A8C-5AC8-4DDB-1C0FD1B63E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5" name="Freeform 156">
                <a:extLst>
                  <a:ext uri="{FF2B5EF4-FFF2-40B4-BE49-F238E27FC236}">
                    <a16:creationId xmlns:a16="http://schemas.microsoft.com/office/drawing/2014/main" id="{1FD1DAAC-147F-12F7-F754-DB5511530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6" name="Freeform 157">
                <a:extLst>
                  <a:ext uri="{FF2B5EF4-FFF2-40B4-BE49-F238E27FC236}">
                    <a16:creationId xmlns:a16="http://schemas.microsoft.com/office/drawing/2014/main" id="{8B0034CD-5A03-8742-68CE-7A0492877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7" name="Freeform 158">
                <a:extLst>
                  <a:ext uri="{FF2B5EF4-FFF2-40B4-BE49-F238E27FC236}">
                    <a16:creationId xmlns:a16="http://schemas.microsoft.com/office/drawing/2014/main" id="{09719ADA-F6C2-E152-2208-611273B49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8" name="Freeform 159">
                <a:extLst>
                  <a:ext uri="{FF2B5EF4-FFF2-40B4-BE49-F238E27FC236}">
                    <a16:creationId xmlns:a16="http://schemas.microsoft.com/office/drawing/2014/main" id="{C8966246-1AA7-B989-46A7-60028F439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9" name="Freeform 160">
                <a:extLst>
                  <a:ext uri="{FF2B5EF4-FFF2-40B4-BE49-F238E27FC236}">
                    <a16:creationId xmlns:a16="http://schemas.microsoft.com/office/drawing/2014/main" id="{92A93241-DBA1-E850-8D9B-1F7F3A1EAF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0" name="Freeform 161">
                <a:extLst>
                  <a:ext uri="{FF2B5EF4-FFF2-40B4-BE49-F238E27FC236}">
                    <a16:creationId xmlns:a16="http://schemas.microsoft.com/office/drawing/2014/main" id="{1F543E1D-E616-2AF7-E798-204D969F05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1" name="Freeform 162">
                <a:extLst>
                  <a:ext uri="{FF2B5EF4-FFF2-40B4-BE49-F238E27FC236}">
                    <a16:creationId xmlns:a16="http://schemas.microsoft.com/office/drawing/2014/main" id="{FDD8FEF8-1ADE-FED4-4B6F-93033B360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2" name="Freeform 163">
                <a:extLst>
                  <a:ext uri="{FF2B5EF4-FFF2-40B4-BE49-F238E27FC236}">
                    <a16:creationId xmlns:a16="http://schemas.microsoft.com/office/drawing/2014/main" id="{1BE31043-4102-5550-0E3B-F2909BBC47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3" name="Freeform 164">
                <a:extLst>
                  <a:ext uri="{FF2B5EF4-FFF2-40B4-BE49-F238E27FC236}">
                    <a16:creationId xmlns:a16="http://schemas.microsoft.com/office/drawing/2014/main" id="{9D181ACA-4CBC-D04F-05B2-D077CBD9C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4" name="Freeform 165">
                <a:extLst>
                  <a:ext uri="{FF2B5EF4-FFF2-40B4-BE49-F238E27FC236}">
                    <a16:creationId xmlns:a16="http://schemas.microsoft.com/office/drawing/2014/main" id="{30851A43-A224-A04A-3156-4CD3B0BBA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5" name="Freeform 166">
                <a:extLst>
                  <a:ext uri="{FF2B5EF4-FFF2-40B4-BE49-F238E27FC236}">
                    <a16:creationId xmlns:a16="http://schemas.microsoft.com/office/drawing/2014/main" id="{6CF95310-3CDA-3B4D-FC13-EB4D0C713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6" name="Freeform 167">
                <a:extLst>
                  <a:ext uri="{FF2B5EF4-FFF2-40B4-BE49-F238E27FC236}">
                    <a16:creationId xmlns:a16="http://schemas.microsoft.com/office/drawing/2014/main" id="{ABEF8C08-85F7-AF0C-AA1A-FC1FA593A8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7" name="Freeform 168">
                <a:extLst>
                  <a:ext uri="{FF2B5EF4-FFF2-40B4-BE49-F238E27FC236}">
                    <a16:creationId xmlns:a16="http://schemas.microsoft.com/office/drawing/2014/main" id="{12D12E57-855E-F544-2AAB-1A6A6AF1AA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8" name="Freeform 169">
                <a:extLst>
                  <a:ext uri="{FF2B5EF4-FFF2-40B4-BE49-F238E27FC236}">
                    <a16:creationId xmlns:a16="http://schemas.microsoft.com/office/drawing/2014/main" id="{24EF269D-24B5-EA11-D788-B41474B931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9" name="Freeform 170">
                <a:extLst>
                  <a:ext uri="{FF2B5EF4-FFF2-40B4-BE49-F238E27FC236}">
                    <a16:creationId xmlns:a16="http://schemas.microsoft.com/office/drawing/2014/main" id="{32FD0668-4050-81AD-2691-82063EE1AF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0" name="Freeform 171">
                <a:extLst>
                  <a:ext uri="{FF2B5EF4-FFF2-40B4-BE49-F238E27FC236}">
                    <a16:creationId xmlns:a16="http://schemas.microsoft.com/office/drawing/2014/main" id="{787798A8-4289-00EF-15BF-5E5A77F63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1" name="Freeform 172">
                <a:extLst>
                  <a:ext uri="{FF2B5EF4-FFF2-40B4-BE49-F238E27FC236}">
                    <a16:creationId xmlns:a16="http://schemas.microsoft.com/office/drawing/2014/main" id="{08DE06A9-372E-D4BF-BD09-8A5D2C543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2" name="Freeform 173">
                <a:extLst>
                  <a:ext uri="{FF2B5EF4-FFF2-40B4-BE49-F238E27FC236}">
                    <a16:creationId xmlns:a16="http://schemas.microsoft.com/office/drawing/2014/main" id="{E52D3F2F-135A-7FA1-6468-D1AC46535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3" name="Freeform 174">
                <a:extLst>
                  <a:ext uri="{FF2B5EF4-FFF2-40B4-BE49-F238E27FC236}">
                    <a16:creationId xmlns:a16="http://schemas.microsoft.com/office/drawing/2014/main" id="{3A570DC9-CC2F-22A2-90A6-AAA69E006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4" name="Freeform 175">
                <a:extLst>
                  <a:ext uri="{FF2B5EF4-FFF2-40B4-BE49-F238E27FC236}">
                    <a16:creationId xmlns:a16="http://schemas.microsoft.com/office/drawing/2014/main" id="{9AA46E3B-2FEA-6E44-3490-6E89B4A46C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5" name="Freeform 176">
                <a:extLst>
                  <a:ext uri="{FF2B5EF4-FFF2-40B4-BE49-F238E27FC236}">
                    <a16:creationId xmlns:a16="http://schemas.microsoft.com/office/drawing/2014/main" id="{F7901C0C-0ADA-54FF-0AB9-19F3ED7FE2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6" name="Freeform 177">
                <a:extLst>
                  <a:ext uri="{FF2B5EF4-FFF2-40B4-BE49-F238E27FC236}">
                    <a16:creationId xmlns:a16="http://schemas.microsoft.com/office/drawing/2014/main" id="{2B4B9165-D064-0608-ABF2-9389C056F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7" name="Freeform 178">
                <a:extLst>
                  <a:ext uri="{FF2B5EF4-FFF2-40B4-BE49-F238E27FC236}">
                    <a16:creationId xmlns:a16="http://schemas.microsoft.com/office/drawing/2014/main" id="{CBAD96EC-E41A-EC26-5E93-885820022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8" name="Freeform 179">
                <a:extLst>
                  <a:ext uri="{FF2B5EF4-FFF2-40B4-BE49-F238E27FC236}">
                    <a16:creationId xmlns:a16="http://schemas.microsoft.com/office/drawing/2014/main" id="{C955D25F-90B6-13B6-9725-D1805BE3D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9" name="Freeform 180">
                <a:extLst>
                  <a:ext uri="{FF2B5EF4-FFF2-40B4-BE49-F238E27FC236}">
                    <a16:creationId xmlns:a16="http://schemas.microsoft.com/office/drawing/2014/main" id="{CDE490E0-FDEC-CD74-FC64-4DAC1F1F9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0" name="Freeform 181">
                <a:extLst>
                  <a:ext uri="{FF2B5EF4-FFF2-40B4-BE49-F238E27FC236}">
                    <a16:creationId xmlns:a16="http://schemas.microsoft.com/office/drawing/2014/main" id="{165A9693-3D46-E5C2-4F70-E5C438C32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1" name="Freeform 182">
                <a:extLst>
                  <a:ext uri="{FF2B5EF4-FFF2-40B4-BE49-F238E27FC236}">
                    <a16:creationId xmlns:a16="http://schemas.microsoft.com/office/drawing/2014/main" id="{3820C50C-4DDF-2471-561F-5E77CD944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2" name="Freeform 183">
                <a:extLst>
                  <a:ext uri="{FF2B5EF4-FFF2-40B4-BE49-F238E27FC236}">
                    <a16:creationId xmlns:a16="http://schemas.microsoft.com/office/drawing/2014/main" id="{37AA13A4-EC9A-E662-313A-C9311B48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3" name="Freeform 184">
                <a:extLst>
                  <a:ext uri="{FF2B5EF4-FFF2-40B4-BE49-F238E27FC236}">
                    <a16:creationId xmlns:a16="http://schemas.microsoft.com/office/drawing/2014/main" id="{84D0AEC2-9CF6-60C0-10C8-E32271967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4" name="Freeform 185">
                <a:extLst>
                  <a:ext uri="{FF2B5EF4-FFF2-40B4-BE49-F238E27FC236}">
                    <a16:creationId xmlns:a16="http://schemas.microsoft.com/office/drawing/2014/main" id="{2FF24A05-97CF-0047-07C9-FF98AB783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5" name="Freeform 186">
                <a:extLst>
                  <a:ext uri="{FF2B5EF4-FFF2-40B4-BE49-F238E27FC236}">
                    <a16:creationId xmlns:a16="http://schemas.microsoft.com/office/drawing/2014/main" id="{44E7C73F-F952-833A-B102-9C3D5B09A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6" name="Freeform 187">
                <a:extLst>
                  <a:ext uri="{FF2B5EF4-FFF2-40B4-BE49-F238E27FC236}">
                    <a16:creationId xmlns:a16="http://schemas.microsoft.com/office/drawing/2014/main" id="{FBA2CDF2-F47D-5F54-4D6A-6CADAD96F7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7" name="Freeform 188">
                <a:extLst>
                  <a:ext uri="{FF2B5EF4-FFF2-40B4-BE49-F238E27FC236}">
                    <a16:creationId xmlns:a16="http://schemas.microsoft.com/office/drawing/2014/main" id="{AD7E5E46-4E6D-D2C7-A7EB-25226C7995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8" name="Freeform 189">
                <a:extLst>
                  <a:ext uri="{FF2B5EF4-FFF2-40B4-BE49-F238E27FC236}">
                    <a16:creationId xmlns:a16="http://schemas.microsoft.com/office/drawing/2014/main" id="{32F55787-D8BE-9538-A12B-620EED3CE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9" name="Freeform 190">
                <a:extLst>
                  <a:ext uri="{FF2B5EF4-FFF2-40B4-BE49-F238E27FC236}">
                    <a16:creationId xmlns:a16="http://schemas.microsoft.com/office/drawing/2014/main" id="{327C5B06-6F65-7678-1EF1-55C5DA931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0" name="Freeform 191">
                <a:extLst>
                  <a:ext uri="{FF2B5EF4-FFF2-40B4-BE49-F238E27FC236}">
                    <a16:creationId xmlns:a16="http://schemas.microsoft.com/office/drawing/2014/main" id="{683920CF-DDAA-935E-54F4-1C49898B4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1" name="Freeform 192">
                <a:extLst>
                  <a:ext uri="{FF2B5EF4-FFF2-40B4-BE49-F238E27FC236}">
                    <a16:creationId xmlns:a16="http://schemas.microsoft.com/office/drawing/2014/main" id="{240605B5-EF04-3AD6-5D36-2A469FD92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2" name="Freeform 193">
                <a:extLst>
                  <a:ext uri="{FF2B5EF4-FFF2-40B4-BE49-F238E27FC236}">
                    <a16:creationId xmlns:a16="http://schemas.microsoft.com/office/drawing/2014/main" id="{B6B2A54F-E12A-1439-9550-B1FEDE07B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3" name="Freeform 194">
                <a:extLst>
                  <a:ext uri="{FF2B5EF4-FFF2-40B4-BE49-F238E27FC236}">
                    <a16:creationId xmlns:a16="http://schemas.microsoft.com/office/drawing/2014/main" id="{78D600F6-1C8A-9279-76AC-A08D3807A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4" name="Freeform 195">
                <a:extLst>
                  <a:ext uri="{FF2B5EF4-FFF2-40B4-BE49-F238E27FC236}">
                    <a16:creationId xmlns:a16="http://schemas.microsoft.com/office/drawing/2014/main" id="{C18607D5-91A0-DD4D-4E4E-08A4CB93B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5" name="Freeform 196">
                <a:extLst>
                  <a:ext uri="{FF2B5EF4-FFF2-40B4-BE49-F238E27FC236}">
                    <a16:creationId xmlns:a16="http://schemas.microsoft.com/office/drawing/2014/main" id="{260DDAD0-936C-B0BE-C421-C501879E7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6" name="Freeform 197">
                <a:extLst>
                  <a:ext uri="{FF2B5EF4-FFF2-40B4-BE49-F238E27FC236}">
                    <a16:creationId xmlns:a16="http://schemas.microsoft.com/office/drawing/2014/main" id="{4F92A4A1-49BE-BD7F-843C-BD8FD7A8C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7" name="Freeform 198">
                <a:extLst>
                  <a:ext uri="{FF2B5EF4-FFF2-40B4-BE49-F238E27FC236}">
                    <a16:creationId xmlns:a16="http://schemas.microsoft.com/office/drawing/2014/main" id="{0D005ED1-2C68-DC1F-0BE8-8B405A705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8" name="Freeform 199">
                <a:extLst>
                  <a:ext uri="{FF2B5EF4-FFF2-40B4-BE49-F238E27FC236}">
                    <a16:creationId xmlns:a16="http://schemas.microsoft.com/office/drawing/2014/main" id="{D3E52397-0C5B-0DF2-8DFF-0DB912502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9" name="Freeform 200">
                <a:extLst>
                  <a:ext uri="{FF2B5EF4-FFF2-40B4-BE49-F238E27FC236}">
                    <a16:creationId xmlns:a16="http://schemas.microsoft.com/office/drawing/2014/main" id="{C0570C68-B196-A721-31EE-F17F0F199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0" name="Freeform 201">
                <a:extLst>
                  <a:ext uri="{FF2B5EF4-FFF2-40B4-BE49-F238E27FC236}">
                    <a16:creationId xmlns:a16="http://schemas.microsoft.com/office/drawing/2014/main" id="{18029EB4-7BB5-78D8-10F3-EE00D8852D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1" name="Freeform 202">
                <a:extLst>
                  <a:ext uri="{FF2B5EF4-FFF2-40B4-BE49-F238E27FC236}">
                    <a16:creationId xmlns:a16="http://schemas.microsoft.com/office/drawing/2014/main" id="{AF495FD5-48C0-DC27-97BE-FE055A74BE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2" name="Freeform 203">
                <a:extLst>
                  <a:ext uri="{FF2B5EF4-FFF2-40B4-BE49-F238E27FC236}">
                    <a16:creationId xmlns:a16="http://schemas.microsoft.com/office/drawing/2014/main" id="{C66484A9-45F2-0497-F78C-CA0A4545D0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3" name="Freeform 204">
                <a:extLst>
                  <a:ext uri="{FF2B5EF4-FFF2-40B4-BE49-F238E27FC236}">
                    <a16:creationId xmlns:a16="http://schemas.microsoft.com/office/drawing/2014/main" id="{3FE4F10E-A910-1082-F607-3D1EAF0633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206">
              <a:extLst>
                <a:ext uri="{FF2B5EF4-FFF2-40B4-BE49-F238E27FC236}">
                  <a16:creationId xmlns:a16="http://schemas.microsoft.com/office/drawing/2014/main" id="{FF90755A-F7FA-6D99-2D77-0950897AF5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07">
              <a:extLst>
                <a:ext uri="{FF2B5EF4-FFF2-40B4-BE49-F238E27FC236}">
                  <a16:creationId xmlns:a16="http://schemas.microsoft.com/office/drawing/2014/main" id="{AFFFEBDC-7FBC-C1B7-8A9F-24F3FEFCE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208">
              <a:extLst>
                <a:ext uri="{FF2B5EF4-FFF2-40B4-BE49-F238E27FC236}">
                  <a16:creationId xmlns:a16="http://schemas.microsoft.com/office/drawing/2014/main" id="{03CA182C-112F-9937-DA3F-ABDF994B2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09">
              <a:extLst>
                <a:ext uri="{FF2B5EF4-FFF2-40B4-BE49-F238E27FC236}">
                  <a16:creationId xmlns:a16="http://schemas.microsoft.com/office/drawing/2014/main" id="{E1AE9F29-F51B-F8F9-988A-4BA72C61E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210">
              <a:extLst>
                <a:ext uri="{FF2B5EF4-FFF2-40B4-BE49-F238E27FC236}">
                  <a16:creationId xmlns:a16="http://schemas.microsoft.com/office/drawing/2014/main" id="{286BF5D8-8467-0F41-7B41-2825EE96F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11">
              <a:extLst>
                <a:ext uri="{FF2B5EF4-FFF2-40B4-BE49-F238E27FC236}">
                  <a16:creationId xmlns:a16="http://schemas.microsoft.com/office/drawing/2014/main" id="{7ED63750-DED9-D32E-128B-B5226756A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212">
              <a:extLst>
                <a:ext uri="{FF2B5EF4-FFF2-40B4-BE49-F238E27FC236}">
                  <a16:creationId xmlns:a16="http://schemas.microsoft.com/office/drawing/2014/main" id="{96B52505-076C-7653-153F-67BA157A5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13">
              <a:extLst>
                <a:ext uri="{FF2B5EF4-FFF2-40B4-BE49-F238E27FC236}">
                  <a16:creationId xmlns:a16="http://schemas.microsoft.com/office/drawing/2014/main" id="{A0E871CF-699F-3DEF-E7A2-1BE4F1561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14">
              <a:extLst>
                <a:ext uri="{FF2B5EF4-FFF2-40B4-BE49-F238E27FC236}">
                  <a16:creationId xmlns:a16="http://schemas.microsoft.com/office/drawing/2014/main" id="{C4812641-EA75-980C-F04F-3B46AD640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215">
              <a:extLst>
                <a:ext uri="{FF2B5EF4-FFF2-40B4-BE49-F238E27FC236}">
                  <a16:creationId xmlns:a16="http://schemas.microsoft.com/office/drawing/2014/main" id="{9CBD5069-94B8-C776-37E1-8A16F0E05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16">
              <a:extLst>
                <a:ext uri="{FF2B5EF4-FFF2-40B4-BE49-F238E27FC236}">
                  <a16:creationId xmlns:a16="http://schemas.microsoft.com/office/drawing/2014/main" id="{A46D322A-EF6E-AB03-8B4D-54506405C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17">
              <a:extLst>
                <a:ext uri="{FF2B5EF4-FFF2-40B4-BE49-F238E27FC236}">
                  <a16:creationId xmlns:a16="http://schemas.microsoft.com/office/drawing/2014/main" id="{37AFA7F7-9D55-4CF2-DBED-942683323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18">
              <a:extLst>
                <a:ext uri="{FF2B5EF4-FFF2-40B4-BE49-F238E27FC236}">
                  <a16:creationId xmlns:a16="http://schemas.microsoft.com/office/drawing/2014/main" id="{84ED99DD-BE92-066C-C6B1-12D11B9B1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19">
              <a:extLst>
                <a:ext uri="{FF2B5EF4-FFF2-40B4-BE49-F238E27FC236}">
                  <a16:creationId xmlns:a16="http://schemas.microsoft.com/office/drawing/2014/main" id="{52272B3F-B265-1066-9AD1-299E5A32E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220">
              <a:extLst>
                <a:ext uri="{FF2B5EF4-FFF2-40B4-BE49-F238E27FC236}">
                  <a16:creationId xmlns:a16="http://schemas.microsoft.com/office/drawing/2014/main" id="{9FD6F2FB-F311-AD8F-4508-F0B6E22977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221">
              <a:extLst>
                <a:ext uri="{FF2B5EF4-FFF2-40B4-BE49-F238E27FC236}">
                  <a16:creationId xmlns:a16="http://schemas.microsoft.com/office/drawing/2014/main" id="{8BB40777-339C-EEA3-8FD4-6C5AD730A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222">
              <a:extLst>
                <a:ext uri="{FF2B5EF4-FFF2-40B4-BE49-F238E27FC236}">
                  <a16:creationId xmlns:a16="http://schemas.microsoft.com/office/drawing/2014/main" id="{32E706FC-7D1A-D01D-E1A4-71FDD70F3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4" name="Freeform 223">
              <a:extLst>
                <a:ext uri="{FF2B5EF4-FFF2-40B4-BE49-F238E27FC236}">
                  <a16:creationId xmlns:a16="http://schemas.microsoft.com/office/drawing/2014/main" id="{C9054291-86C0-3AFA-4022-36414E1D4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5" name="Freeform 224">
              <a:extLst>
                <a:ext uri="{FF2B5EF4-FFF2-40B4-BE49-F238E27FC236}">
                  <a16:creationId xmlns:a16="http://schemas.microsoft.com/office/drawing/2014/main" id="{0763A7F0-C543-1A30-80C1-996DDF9E9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7" name="Freeform 225">
              <a:extLst>
                <a:ext uri="{FF2B5EF4-FFF2-40B4-BE49-F238E27FC236}">
                  <a16:creationId xmlns:a16="http://schemas.microsoft.com/office/drawing/2014/main" id="{ED0D9A2D-979A-391A-7C9B-EF9B70A71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8" name="Freeform 226">
              <a:extLst>
                <a:ext uri="{FF2B5EF4-FFF2-40B4-BE49-F238E27FC236}">
                  <a16:creationId xmlns:a16="http://schemas.microsoft.com/office/drawing/2014/main" id="{556BF98A-3EA4-C774-BA7C-FE12494C9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9" name="Freeform 227">
              <a:extLst>
                <a:ext uri="{FF2B5EF4-FFF2-40B4-BE49-F238E27FC236}">
                  <a16:creationId xmlns:a16="http://schemas.microsoft.com/office/drawing/2014/main" id="{A5EACAD7-BD92-3390-9E61-51C600C8E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0" name="Freeform 228">
              <a:extLst>
                <a:ext uri="{FF2B5EF4-FFF2-40B4-BE49-F238E27FC236}">
                  <a16:creationId xmlns:a16="http://schemas.microsoft.com/office/drawing/2014/main" id="{EC79391A-8D17-20C4-A7BA-FE6CE83DF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1" name="Freeform 229">
              <a:extLst>
                <a:ext uri="{FF2B5EF4-FFF2-40B4-BE49-F238E27FC236}">
                  <a16:creationId xmlns:a16="http://schemas.microsoft.com/office/drawing/2014/main" id="{9C766FFE-E36F-3113-40CE-AAD6E46CB1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2" name="Freeform 230">
              <a:extLst>
                <a:ext uri="{FF2B5EF4-FFF2-40B4-BE49-F238E27FC236}">
                  <a16:creationId xmlns:a16="http://schemas.microsoft.com/office/drawing/2014/main" id="{FA447047-AD1F-0288-07A6-7C30FEB0E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3" name="Freeform 231">
              <a:extLst>
                <a:ext uri="{FF2B5EF4-FFF2-40B4-BE49-F238E27FC236}">
                  <a16:creationId xmlns:a16="http://schemas.microsoft.com/office/drawing/2014/main" id="{9364BBD4-3FBA-18B0-816D-432B91B41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4" name="Freeform 232">
              <a:extLst>
                <a:ext uri="{FF2B5EF4-FFF2-40B4-BE49-F238E27FC236}">
                  <a16:creationId xmlns:a16="http://schemas.microsoft.com/office/drawing/2014/main" id="{EC4A3766-8875-CE6E-4DC9-DAC4346D3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5" name="Freeform 233">
              <a:extLst>
                <a:ext uri="{FF2B5EF4-FFF2-40B4-BE49-F238E27FC236}">
                  <a16:creationId xmlns:a16="http://schemas.microsoft.com/office/drawing/2014/main" id="{91B9343D-974D-5996-0FA9-D0B14E5FB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6" name="Freeform 234">
              <a:extLst>
                <a:ext uri="{FF2B5EF4-FFF2-40B4-BE49-F238E27FC236}">
                  <a16:creationId xmlns:a16="http://schemas.microsoft.com/office/drawing/2014/main" id="{2DC549F4-8E27-2724-6EA3-B4E94A038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7" name="Freeform 235">
              <a:extLst>
                <a:ext uri="{FF2B5EF4-FFF2-40B4-BE49-F238E27FC236}">
                  <a16:creationId xmlns:a16="http://schemas.microsoft.com/office/drawing/2014/main" id="{48A372CB-D7A2-4A71-079E-D98F97C97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8" name="Freeform 236">
              <a:extLst>
                <a:ext uri="{FF2B5EF4-FFF2-40B4-BE49-F238E27FC236}">
                  <a16:creationId xmlns:a16="http://schemas.microsoft.com/office/drawing/2014/main" id="{B5C0A504-521F-CCD5-63A3-EF701A24E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9" name="Freeform 237">
              <a:extLst>
                <a:ext uri="{FF2B5EF4-FFF2-40B4-BE49-F238E27FC236}">
                  <a16:creationId xmlns:a16="http://schemas.microsoft.com/office/drawing/2014/main" id="{9D0F22E5-967E-44EA-9B55-251B4F5C2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0" name="Freeform 238">
              <a:extLst>
                <a:ext uri="{FF2B5EF4-FFF2-40B4-BE49-F238E27FC236}">
                  <a16:creationId xmlns:a16="http://schemas.microsoft.com/office/drawing/2014/main" id="{8F04C6F3-C760-49E8-79CD-8214BAD6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1" name="Freeform 239">
              <a:extLst>
                <a:ext uri="{FF2B5EF4-FFF2-40B4-BE49-F238E27FC236}">
                  <a16:creationId xmlns:a16="http://schemas.microsoft.com/office/drawing/2014/main" id="{D381574D-2367-FF23-3AFF-ACF8694E3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2" name="Freeform 240">
              <a:extLst>
                <a:ext uri="{FF2B5EF4-FFF2-40B4-BE49-F238E27FC236}">
                  <a16:creationId xmlns:a16="http://schemas.microsoft.com/office/drawing/2014/main" id="{2B2E081B-8078-C905-5F8D-1A09E2751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3" name="Freeform 241">
              <a:extLst>
                <a:ext uri="{FF2B5EF4-FFF2-40B4-BE49-F238E27FC236}">
                  <a16:creationId xmlns:a16="http://schemas.microsoft.com/office/drawing/2014/main" id="{9F7C155B-5471-922B-2DB5-B2D1374B2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4" name="Freeform 242">
              <a:extLst>
                <a:ext uri="{FF2B5EF4-FFF2-40B4-BE49-F238E27FC236}">
                  <a16:creationId xmlns:a16="http://schemas.microsoft.com/office/drawing/2014/main" id="{96E1DF08-D9F5-79F8-E314-D2C065777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5" name="Freeform 243">
              <a:extLst>
                <a:ext uri="{FF2B5EF4-FFF2-40B4-BE49-F238E27FC236}">
                  <a16:creationId xmlns:a16="http://schemas.microsoft.com/office/drawing/2014/main" id="{8EC0B3CB-3C2E-C52F-2669-9AD44D29D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6" name="Freeform 244">
              <a:extLst>
                <a:ext uri="{FF2B5EF4-FFF2-40B4-BE49-F238E27FC236}">
                  <a16:creationId xmlns:a16="http://schemas.microsoft.com/office/drawing/2014/main" id="{58D10DC2-024C-BDC2-6013-EC0F5DE59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7" name="Freeform 245">
              <a:extLst>
                <a:ext uri="{FF2B5EF4-FFF2-40B4-BE49-F238E27FC236}">
                  <a16:creationId xmlns:a16="http://schemas.microsoft.com/office/drawing/2014/main" id="{914E728A-789B-A422-1528-00745D8A1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8" name="Freeform 246">
              <a:extLst>
                <a:ext uri="{FF2B5EF4-FFF2-40B4-BE49-F238E27FC236}">
                  <a16:creationId xmlns:a16="http://schemas.microsoft.com/office/drawing/2014/main" id="{B92EC28E-D933-1196-FB63-67CC0E297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9" name="Freeform 247">
              <a:extLst>
                <a:ext uri="{FF2B5EF4-FFF2-40B4-BE49-F238E27FC236}">
                  <a16:creationId xmlns:a16="http://schemas.microsoft.com/office/drawing/2014/main" id="{C06CB555-E2FD-C647-3F2E-03C76C8AE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0" name="Freeform 248">
              <a:extLst>
                <a:ext uri="{FF2B5EF4-FFF2-40B4-BE49-F238E27FC236}">
                  <a16:creationId xmlns:a16="http://schemas.microsoft.com/office/drawing/2014/main" id="{852789F8-4CC1-1728-6C4C-4E9F869E7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1" name="Freeform 249">
              <a:extLst>
                <a:ext uri="{FF2B5EF4-FFF2-40B4-BE49-F238E27FC236}">
                  <a16:creationId xmlns:a16="http://schemas.microsoft.com/office/drawing/2014/main" id="{7B3FA51E-BB4A-D3DB-6466-71A1484C0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2" name="Freeform 250">
              <a:extLst>
                <a:ext uri="{FF2B5EF4-FFF2-40B4-BE49-F238E27FC236}">
                  <a16:creationId xmlns:a16="http://schemas.microsoft.com/office/drawing/2014/main" id="{39E490C7-592B-0EC6-961B-AA4CFC4F92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3" name="Freeform 251">
              <a:extLst>
                <a:ext uri="{FF2B5EF4-FFF2-40B4-BE49-F238E27FC236}">
                  <a16:creationId xmlns:a16="http://schemas.microsoft.com/office/drawing/2014/main" id="{84CD21DA-0FF2-2344-870D-576C03D68B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4" name="Freeform 252">
              <a:extLst>
                <a:ext uri="{FF2B5EF4-FFF2-40B4-BE49-F238E27FC236}">
                  <a16:creationId xmlns:a16="http://schemas.microsoft.com/office/drawing/2014/main" id="{B0663211-0EE6-BAB1-4F25-191A60CE1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5" name="Freeform 253">
              <a:extLst>
                <a:ext uri="{FF2B5EF4-FFF2-40B4-BE49-F238E27FC236}">
                  <a16:creationId xmlns:a16="http://schemas.microsoft.com/office/drawing/2014/main" id="{FC1F9AC4-24E8-4DB7-F7D2-A9C6CE5C0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6" name="Freeform 254">
              <a:extLst>
                <a:ext uri="{FF2B5EF4-FFF2-40B4-BE49-F238E27FC236}">
                  <a16:creationId xmlns:a16="http://schemas.microsoft.com/office/drawing/2014/main" id="{3B4732AC-DF59-638B-51A6-E79AD1787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7" name="Freeform 255">
              <a:extLst>
                <a:ext uri="{FF2B5EF4-FFF2-40B4-BE49-F238E27FC236}">
                  <a16:creationId xmlns:a16="http://schemas.microsoft.com/office/drawing/2014/main" id="{FD79DEBC-D5C7-464F-3216-3C1D266E6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8" name="Freeform 256">
              <a:extLst>
                <a:ext uri="{FF2B5EF4-FFF2-40B4-BE49-F238E27FC236}">
                  <a16:creationId xmlns:a16="http://schemas.microsoft.com/office/drawing/2014/main" id="{076BCC30-6066-98FE-59EF-EA570F667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9" name="Freeform 257">
              <a:extLst>
                <a:ext uri="{FF2B5EF4-FFF2-40B4-BE49-F238E27FC236}">
                  <a16:creationId xmlns:a16="http://schemas.microsoft.com/office/drawing/2014/main" id="{B6E7CAFD-22E7-7C44-83E5-10C7147F0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0" name="Freeform 258">
              <a:extLst>
                <a:ext uri="{FF2B5EF4-FFF2-40B4-BE49-F238E27FC236}">
                  <a16:creationId xmlns:a16="http://schemas.microsoft.com/office/drawing/2014/main" id="{21ED5DA3-804A-9767-3F3D-4FA267877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1" name="Freeform 259">
              <a:extLst>
                <a:ext uri="{FF2B5EF4-FFF2-40B4-BE49-F238E27FC236}">
                  <a16:creationId xmlns:a16="http://schemas.microsoft.com/office/drawing/2014/main" id="{9ACB4636-4818-FF6F-7D89-8A576AD18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2" name="Freeform 260">
              <a:extLst>
                <a:ext uri="{FF2B5EF4-FFF2-40B4-BE49-F238E27FC236}">
                  <a16:creationId xmlns:a16="http://schemas.microsoft.com/office/drawing/2014/main" id="{00D27CFC-40B9-DBB1-A65A-78BC2BDB8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3" name="Freeform 261">
              <a:extLst>
                <a:ext uri="{FF2B5EF4-FFF2-40B4-BE49-F238E27FC236}">
                  <a16:creationId xmlns:a16="http://schemas.microsoft.com/office/drawing/2014/main" id="{8CD047D2-88EA-0DFB-C4B8-EC8CB86D0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4" name="Freeform 262">
              <a:extLst>
                <a:ext uri="{FF2B5EF4-FFF2-40B4-BE49-F238E27FC236}">
                  <a16:creationId xmlns:a16="http://schemas.microsoft.com/office/drawing/2014/main" id="{4A277CDB-321E-3F78-83EC-E0FE7853C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5" name="Freeform 263">
              <a:extLst>
                <a:ext uri="{FF2B5EF4-FFF2-40B4-BE49-F238E27FC236}">
                  <a16:creationId xmlns:a16="http://schemas.microsoft.com/office/drawing/2014/main" id="{F984705C-918A-7CEE-D817-230664BC9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6" name="Freeform 264">
              <a:extLst>
                <a:ext uri="{FF2B5EF4-FFF2-40B4-BE49-F238E27FC236}">
                  <a16:creationId xmlns:a16="http://schemas.microsoft.com/office/drawing/2014/main" id="{3BE7478D-351C-FC33-3D9E-AA95F3335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7" name="Freeform 265">
              <a:extLst>
                <a:ext uri="{FF2B5EF4-FFF2-40B4-BE49-F238E27FC236}">
                  <a16:creationId xmlns:a16="http://schemas.microsoft.com/office/drawing/2014/main" id="{97B3C162-7551-E942-AF6E-2551C0C53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8" name="Freeform 266">
              <a:extLst>
                <a:ext uri="{FF2B5EF4-FFF2-40B4-BE49-F238E27FC236}">
                  <a16:creationId xmlns:a16="http://schemas.microsoft.com/office/drawing/2014/main" id="{2643AFBF-16BE-275C-68B1-1A4045A2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9" name="Freeform 267">
              <a:extLst>
                <a:ext uri="{FF2B5EF4-FFF2-40B4-BE49-F238E27FC236}">
                  <a16:creationId xmlns:a16="http://schemas.microsoft.com/office/drawing/2014/main" id="{45558229-4F82-7826-24B0-144DA3E60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0" name="Freeform 268">
              <a:extLst>
                <a:ext uri="{FF2B5EF4-FFF2-40B4-BE49-F238E27FC236}">
                  <a16:creationId xmlns:a16="http://schemas.microsoft.com/office/drawing/2014/main" id="{CABD10C4-CC39-2864-3EA0-6449A03F7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1" name="Freeform 269">
              <a:extLst>
                <a:ext uri="{FF2B5EF4-FFF2-40B4-BE49-F238E27FC236}">
                  <a16:creationId xmlns:a16="http://schemas.microsoft.com/office/drawing/2014/main" id="{BA72040E-FFBF-FF22-9239-A1D839BEB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2" name="Freeform 270">
              <a:extLst>
                <a:ext uri="{FF2B5EF4-FFF2-40B4-BE49-F238E27FC236}">
                  <a16:creationId xmlns:a16="http://schemas.microsoft.com/office/drawing/2014/main" id="{5BE6B97F-06FB-294A-502A-16C7E48B0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3" name="Freeform 271">
              <a:extLst>
                <a:ext uri="{FF2B5EF4-FFF2-40B4-BE49-F238E27FC236}">
                  <a16:creationId xmlns:a16="http://schemas.microsoft.com/office/drawing/2014/main" id="{132D004E-21C8-0E06-0BAF-89B6FDDE9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4" name="Freeform 272">
              <a:extLst>
                <a:ext uri="{FF2B5EF4-FFF2-40B4-BE49-F238E27FC236}">
                  <a16:creationId xmlns:a16="http://schemas.microsoft.com/office/drawing/2014/main" id="{40145F37-2DE1-8CA7-EBA8-FB149319E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5" name="Freeform 273">
              <a:extLst>
                <a:ext uri="{FF2B5EF4-FFF2-40B4-BE49-F238E27FC236}">
                  <a16:creationId xmlns:a16="http://schemas.microsoft.com/office/drawing/2014/main" id="{522C10C0-86B8-153C-C1E6-D69E02C5E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6" name="Freeform 274">
              <a:extLst>
                <a:ext uri="{FF2B5EF4-FFF2-40B4-BE49-F238E27FC236}">
                  <a16:creationId xmlns:a16="http://schemas.microsoft.com/office/drawing/2014/main" id="{6E958F84-2A15-A8A9-334A-6194A9DCA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7" name="Freeform 275">
              <a:extLst>
                <a:ext uri="{FF2B5EF4-FFF2-40B4-BE49-F238E27FC236}">
                  <a16:creationId xmlns:a16="http://schemas.microsoft.com/office/drawing/2014/main" id="{C03382D1-F69A-5EB4-5ACC-7AE44F19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8" name="Freeform 276">
              <a:extLst>
                <a:ext uri="{FF2B5EF4-FFF2-40B4-BE49-F238E27FC236}">
                  <a16:creationId xmlns:a16="http://schemas.microsoft.com/office/drawing/2014/main" id="{7C21CEA8-5034-09BF-C62A-7C93923CA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9" name="Freeform 277">
              <a:extLst>
                <a:ext uri="{FF2B5EF4-FFF2-40B4-BE49-F238E27FC236}">
                  <a16:creationId xmlns:a16="http://schemas.microsoft.com/office/drawing/2014/main" id="{AE19E4C8-0E01-3A0E-B944-864477D3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0" name="Freeform 278">
              <a:extLst>
                <a:ext uri="{FF2B5EF4-FFF2-40B4-BE49-F238E27FC236}">
                  <a16:creationId xmlns:a16="http://schemas.microsoft.com/office/drawing/2014/main" id="{839AB594-4A9C-CD2F-040E-C558A6D56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1" name="Freeform 279">
              <a:extLst>
                <a:ext uri="{FF2B5EF4-FFF2-40B4-BE49-F238E27FC236}">
                  <a16:creationId xmlns:a16="http://schemas.microsoft.com/office/drawing/2014/main" id="{8C05F793-1860-166B-C0DB-D2A1C196A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2" name="Freeform 280">
              <a:extLst>
                <a:ext uri="{FF2B5EF4-FFF2-40B4-BE49-F238E27FC236}">
                  <a16:creationId xmlns:a16="http://schemas.microsoft.com/office/drawing/2014/main" id="{87AC1424-A2B6-69B9-A6EF-2F2358B4E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3" name="Freeform 281">
              <a:extLst>
                <a:ext uri="{FF2B5EF4-FFF2-40B4-BE49-F238E27FC236}">
                  <a16:creationId xmlns:a16="http://schemas.microsoft.com/office/drawing/2014/main" id="{E00AC2FD-4891-B61F-A586-F28068BF2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4" name="Freeform 282">
              <a:extLst>
                <a:ext uri="{FF2B5EF4-FFF2-40B4-BE49-F238E27FC236}">
                  <a16:creationId xmlns:a16="http://schemas.microsoft.com/office/drawing/2014/main" id="{27FFAA24-6510-0E45-448E-5DEEE6A5A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5" name="Freeform 283">
              <a:extLst>
                <a:ext uri="{FF2B5EF4-FFF2-40B4-BE49-F238E27FC236}">
                  <a16:creationId xmlns:a16="http://schemas.microsoft.com/office/drawing/2014/main" id="{5E64D05A-FD65-EEE8-62A3-58CEF8872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6" name="Freeform 284">
              <a:extLst>
                <a:ext uri="{FF2B5EF4-FFF2-40B4-BE49-F238E27FC236}">
                  <a16:creationId xmlns:a16="http://schemas.microsoft.com/office/drawing/2014/main" id="{63D791D8-1894-B415-F26A-09F78393E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7" name="Freeform 285">
              <a:extLst>
                <a:ext uri="{FF2B5EF4-FFF2-40B4-BE49-F238E27FC236}">
                  <a16:creationId xmlns:a16="http://schemas.microsoft.com/office/drawing/2014/main" id="{04C48B4A-90FC-9D4A-012C-9982BA88D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8" name="Freeform 286">
              <a:extLst>
                <a:ext uri="{FF2B5EF4-FFF2-40B4-BE49-F238E27FC236}">
                  <a16:creationId xmlns:a16="http://schemas.microsoft.com/office/drawing/2014/main" id="{2191FBD7-BE6D-7456-31E5-8596FDB88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9" name="Freeform 287">
              <a:extLst>
                <a:ext uri="{FF2B5EF4-FFF2-40B4-BE49-F238E27FC236}">
                  <a16:creationId xmlns:a16="http://schemas.microsoft.com/office/drawing/2014/main" id="{510D55EB-9D66-FEC6-25AE-703A8BBED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0" name="Freeform 288">
              <a:extLst>
                <a:ext uri="{FF2B5EF4-FFF2-40B4-BE49-F238E27FC236}">
                  <a16:creationId xmlns:a16="http://schemas.microsoft.com/office/drawing/2014/main" id="{D669A646-2A92-8F66-0A67-38FAB3B06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1" name="Freeform 289">
              <a:extLst>
                <a:ext uri="{FF2B5EF4-FFF2-40B4-BE49-F238E27FC236}">
                  <a16:creationId xmlns:a16="http://schemas.microsoft.com/office/drawing/2014/main" id="{43AD1D0B-FF33-ECBC-9951-47FE17F8B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2" name="Freeform 290">
              <a:extLst>
                <a:ext uri="{FF2B5EF4-FFF2-40B4-BE49-F238E27FC236}">
                  <a16:creationId xmlns:a16="http://schemas.microsoft.com/office/drawing/2014/main" id="{5E94A0CC-4748-F32A-05AE-3C0017126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3" name="Freeform 291">
              <a:extLst>
                <a:ext uri="{FF2B5EF4-FFF2-40B4-BE49-F238E27FC236}">
                  <a16:creationId xmlns:a16="http://schemas.microsoft.com/office/drawing/2014/main" id="{61B3EF8D-F99A-D10C-787B-253D8359A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4" name="Freeform 292">
              <a:extLst>
                <a:ext uri="{FF2B5EF4-FFF2-40B4-BE49-F238E27FC236}">
                  <a16:creationId xmlns:a16="http://schemas.microsoft.com/office/drawing/2014/main" id="{2FF94269-7866-FFD1-5532-9221854E3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5" name="Freeform 293">
              <a:extLst>
                <a:ext uri="{FF2B5EF4-FFF2-40B4-BE49-F238E27FC236}">
                  <a16:creationId xmlns:a16="http://schemas.microsoft.com/office/drawing/2014/main" id="{9EF81544-1CB3-CE93-3470-C69B09277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6" name="Freeform 294">
              <a:extLst>
                <a:ext uri="{FF2B5EF4-FFF2-40B4-BE49-F238E27FC236}">
                  <a16:creationId xmlns:a16="http://schemas.microsoft.com/office/drawing/2014/main" id="{D7AC055E-15A3-AE20-9771-E67AD69B3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7" name="Freeform 295">
              <a:extLst>
                <a:ext uri="{FF2B5EF4-FFF2-40B4-BE49-F238E27FC236}">
                  <a16:creationId xmlns:a16="http://schemas.microsoft.com/office/drawing/2014/main" id="{522159CF-F4A3-E6D9-5580-35A4AB17F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8" name="Freeform 296">
              <a:extLst>
                <a:ext uri="{FF2B5EF4-FFF2-40B4-BE49-F238E27FC236}">
                  <a16:creationId xmlns:a16="http://schemas.microsoft.com/office/drawing/2014/main" id="{AF5500F6-0CA8-9BFC-10F7-5EA24DD31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9" name="Freeform 297">
              <a:extLst>
                <a:ext uri="{FF2B5EF4-FFF2-40B4-BE49-F238E27FC236}">
                  <a16:creationId xmlns:a16="http://schemas.microsoft.com/office/drawing/2014/main" id="{2548FFF0-8300-6F79-698B-67358F868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0" name="Freeform 298">
              <a:extLst>
                <a:ext uri="{FF2B5EF4-FFF2-40B4-BE49-F238E27FC236}">
                  <a16:creationId xmlns:a16="http://schemas.microsoft.com/office/drawing/2014/main" id="{B19A5991-FE6B-F4F8-7400-B643919D4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1" name="Freeform 299">
              <a:extLst>
                <a:ext uri="{FF2B5EF4-FFF2-40B4-BE49-F238E27FC236}">
                  <a16:creationId xmlns:a16="http://schemas.microsoft.com/office/drawing/2014/main" id="{49CCEA7A-98BE-FF8D-20DB-9FF87D164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2" name="Freeform 300">
              <a:extLst>
                <a:ext uri="{FF2B5EF4-FFF2-40B4-BE49-F238E27FC236}">
                  <a16:creationId xmlns:a16="http://schemas.microsoft.com/office/drawing/2014/main" id="{D3FB6E8F-7F7F-E8ED-0649-27923E5E1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3" name="Freeform 301">
              <a:extLst>
                <a:ext uri="{FF2B5EF4-FFF2-40B4-BE49-F238E27FC236}">
                  <a16:creationId xmlns:a16="http://schemas.microsoft.com/office/drawing/2014/main" id="{5EE10A89-AD38-4ABD-9A0C-4F3887200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4" name="Freeform 302">
              <a:extLst>
                <a:ext uri="{FF2B5EF4-FFF2-40B4-BE49-F238E27FC236}">
                  <a16:creationId xmlns:a16="http://schemas.microsoft.com/office/drawing/2014/main" id="{0E69031B-D61B-402E-BAC8-2E5B2B70C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5" name="Freeform 303">
              <a:extLst>
                <a:ext uri="{FF2B5EF4-FFF2-40B4-BE49-F238E27FC236}">
                  <a16:creationId xmlns:a16="http://schemas.microsoft.com/office/drawing/2014/main" id="{9C417592-B306-E981-D483-10D0EA9B5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6" name="Freeform 304">
              <a:extLst>
                <a:ext uri="{FF2B5EF4-FFF2-40B4-BE49-F238E27FC236}">
                  <a16:creationId xmlns:a16="http://schemas.microsoft.com/office/drawing/2014/main" id="{4870173B-6DB5-6406-6604-EBE5F0E0B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7" name="Freeform 305">
              <a:extLst>
                <a:ext uri="{FF2B5EF4-FFF2-40B4-BE49-F238E27FC236}">
                  <a16:creationId xmlns:a16="http://schemas.microsoft.com/office/drawing/2014/main" id="{7C98DBF8-257B-B94D-07A1-EF41898CC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8" name="Freeform 306">
              <a:extLst>
                <a:ext uri="{FF2B5EF4-FFF2-40B4-BE49-F238E27FC236}">
                  <a16:creationId xmlns:a16="http://schemas.microsoft.com/office/drawing/2014/main" id="{BE92E27E-15B2-D909-8914-EA72678A1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9" name="Freeform 307">
              <a:extLst>
                <a:ext uri="{FF2B5EF4-FFF2-40B4-BE49-F238E27FC236}">
                  <a16:creationId xmlns:a16="http://schemas.microsoft.com/office/drawing/2014/main" id="{7220AA21-6D06-649D-5578-7DA2BD9F9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0" name="Freeform 308">
              <a:extLst>
                <a:ext uri="{FF2B5EF4-FFF2-40B4-BE49-F238E27FC236}">
                  <a16:creationId xmlns:a16="http://schemas.microsoft.com/office/drawing/2014/main" id="{4AD8FF85-3A18-ED34-D558-218A523B8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1" name="Freeform 309">
              <a:extLst>
                <a:ext uri="{FF2B5EF4-FFF2-40B4-BE49-F238E27FC236}">
                  <a16:creationId xmlns:a16="http://schemas.microsoft.com/office/drawing/2014/main" id="{1CEB66A3-186C-15D4-0933-22405A1CF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2" name="Freeform 310">
              <a:extLst>
                <a:ext uri="{FF2B5EF4-FFF2-40B4-BE49-F238E27FC236}">
                  <a16:creationId xmlns:a16="http://schemas.microsoft.com/office/drawing/2014/main" id="{F53711AB-D182-E967-44A9-ED4971756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3" name="Freeform 311">
              <a:extLst>
                <a:ext uri="{FF2B5EF4-FFF2-40B4-BE49-F238E27FC236}">
                  <a16:creationId xmlns:a16="http://schemas.microsoft.com/office/drawing/2014/main" id="{E7409B16-3FFD-09F4-A92B-FC50342EEE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4" name="Freeform 312">
              <a:extLst>
                <a:ext uri="{FF2B5EF4-FFF2-40B4-BE49-F238E27FC236}">
                  <a16:creationId xmlns:a16="http://schemas.microsoft.com/office/drawing/2014/main" id="{06D35264-E374-EE61-AE36-C9E0A1B59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5" name="Freeform 313">
              <a:extLst>
                <a:ext uri="{FF2B5EF4-FFF2-40B4-BE49-F238E27FC236}">
                  <a16:creationId xmlns:a16="http://schemas.microsoft.com/office/drawing/2014/main" id="{ACCA6B6A-0974-861C-EEE0-9780A4C10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6" name="Freeform 314">
              <a:extLst>
                <a:ext uri="{FF2B5EF4-FFF2-40B4-BE49-F238E27FC236}">
                  <a16:creationId xmlns:a16="http://schemas.microsoft.com/office/drawing/2014/main" id="{6C26D61A-885C-46E5-2793-D942C6960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7" name="Freeform 315">
              <a:extLst>
                <a:ext uri="{FF2B5EF4-FFF2-40B4-BE49-F238E27FC236}">
                  <a16:creationId xmlns:a16="http://schemas.microsoft.com/office/drawing/2014/main" id="{FDA891B2-4B47-02B6-3EC2-9364A6FFE5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8" name="Freeform 316">
              <a:extLst>
                <a:ext uri="{FF2B5EF4-FFF2-40B4-BE49-F238E27FC236}">
                  <a16:creationId xmlns:a16="http://schemas.microsoft.com/office/drawing/2014/main" id="{77313CBF-35FB-405D-6AAF-3CFDBB71B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9" name="Freeform 317">
              <a:extLst>
                <a:ext uri="{FF2B5EF4-FFF2-40B4-BE49-F238E27FC236}">
                  <a16:creationId xmlns:a16="http://schemas.microsoft.com/office/drawing/2014/main" id="{5EC4A644-6909-B854-BEA5-BD4933EE6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0" name="Freeform 318">
              <a:extLst>
                <a:ext uri="{FF2B5EF4-FFF2-40B4-BE49-F238E27FC236}">
                  <a16:creationId xmlns:a16="http://schemas.microsoft.com/office/drawing/2014/main" id="{73C9DFA2-1AC2-79B7-D525-2C8199640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1" name="Freeform 319">
              <a:extLst>
                <a:ext uri="{FF2B5EF4-FFF2-40B4-BE49-F238E27FC236}">
                  <a16:creationId xmlns:a16="http://schemas.microsoft.com/office/drawing/2014/main" id="{219AA815-D43D-6A1C-A596-D72E970D8C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2" name="Freeform 320">
              <a:extLst>
                <a:ext uri="{FF2B5EF4-FFF2-40B4-BE49-F238E27FC236}">
                  <a16:creationId xmlns:a16="http://schemas.microsoft.com/office/drawing/2014/main" id="{244A8817-585C-1BEA-1172-26A6A0112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3" name="Freeform 321">
              <a:extLst>
                <a:ext uri="{FF2B5EF4-FFF2-40B4-BE49-F238E27FC236}">
                  <a16:creationId xmlns:a16="http://schemas.microsoft.com/office/drawing/2014/main" id="{646EE481-1269-5E0D-0CE5-F33933CAD4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4" name="Freeform 322">
              <a:extLst>
                <a:ext uri="{FF2B5EF4-FFF2-40B4-BE49-F238E27FC236}">
                  <a16:creationId xmlns:a16="http://schemas.microsoft.com/office/drawing/2014/main" id="{3892E9D4-13C7-54E1-0B8F-C0161883E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5" name="Freeform 323">
              <a:extLst>
                <a:ext uri="{FF2B5EF4-FFF2-40B4-BE49-F238E27FC236}">
                  <a16:creationId xmlns:a16="http://schemas.microsoft.com/office/drawing/2014/main" id="{AD8A839E-CAD9-57D1-5E15-BB04E872C2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6" name="Freeform 324">
              <a:extLst>
                <a:ext uri="{FF2B5EF4-FFF2-40B4-BE49-F238E27FC236}">
                  <a16:creationId xmlns:a16="http://schemas.microsoft.com/office/drawing/2014/main" id="{B0A6A229-8066-19BC-021C-C10968FB26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7" name="Freeform 325">
              <a:extLst>
                <a:ext uri="{FF2B5EF4-FFF2-40B4-BE49-F238E27FC236}">
                  <a16:creationId xmlns:a16="http://schemas.microsoft.com/office/drawing/2014/main" id="{19FB318E-3891-2874-4C47-CBE8E0558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8" name="Freeform 326">
              <a:extLst>
                <a:ext uri="{FF2B5EF4-FFF2-40B4-BE49-F238E27FC236}">
                  <a16:creationId xmlns:a16="http://schemas.microsoft.com/office/drawing/2014/main" id="{D5D0B5B2-B8A7-6342-71F9-EAFBA47136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9" name="Freeform 327">
              <a:extLst>
                <a:ext uri="{FF2B5EF4-FFF2-40B4-BE49-F238E27FC236}">
                  <a16:creationId xmlns:a16="http://schemas.microsoft.com/office/drawing/2014/main" id="{6C4B7E01-1B70-F73B-5F2E-B05CC4D9E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0" name="Freeform 328">
              <a:extLst>
                <a:ext uri="{FF2B5EF4-FFF2-40B4-BE49-F238E27FC236}">
                  <a16:creationId xmlns:a16="http://schemas.microsoft.com/office/drawing/2014/main" id="{4D4F2557-E307-960D-F79F-D688140ED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1" name="Freeform 329">
              <a:extLst>
                <a:ext uri="{FF2B5EF4-FFF2-40B4-BE49-F238E27FC236}">
                  <a16:creationId xmlns:a16="http://schemas.microsoft.com/office/drawing/2014/main" id="{1DB28537-F6F3-4CFF-8A12-C4AE959CD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2" name="Freeform 330">
              <a:extLst>
                <a:ext uri="{FF2B5EF4-FFF2-40B4-BE49-F238E27FC236}">
                  <a16:creationId xmlns:a16="http://schemas.microsoft.com/office/drawing/2014/main" id="{DD5CDA28-E66D-B9BB-64D3-0800455FF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3" name="Freeform 331">
              <a:extLst>
                <a:ext uri="{FF2B5EF4-FFF2-40B4-BE49-F238E27FC236}">
                  <a16:creationId xmlns:a16="http://schemas.microsoft.com/office/drawing/2014/main" id="{B12768B5-F513-437B-08A8-A2C1F4C0F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4" name="Freeform 332">
              <a:extLst>
                <a:ext uri="{FF2B5EF4-FFF2-40B4-BE49-F238E27FC236}">
                  <a16:creationId xmlns:a16="http://schemas.microsoft.com/office/drawing/2014/main" id="{04567556-A8D6-A7C0-C85D-07619BAAA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5" name="Freeform 333">
              <a:extLst>
                <a:ext uri="{FF2B5EF4-FFF2-40B4-BE49-F238E27FC236}">
                  <a16:creationId xmlns:a16="http://schemas.microsoft.com/office/drawing/2014/main" id="{1DBA8034-82F0-9767-41E1-8F7E1C282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6" name="Freeform 334">
              <a:extLst>
                <a:ext uri="{FF2B5EF4-FFF2-40B4-BE49-F238E27FC236}">
                  <a16:creationId xmlns:a16="http://schemas.microsoft.com/office/drawing/2014/main" id="{6D4DA2FA-DE24-5F14-13E2-F3673CE8E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7" name="Freeform 335">
              <a:extLst>
                <a:ext uri="{FF2B5EF4-FFF2-40B4-BE49-F238E27FC236}">
                  <a16:creationId xmlns:a16="http://schemas.microsoft.com/office/drawing/2014/main" id="{DD914764-0D6F-2781-AD95-D3A9A54D6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8" name="Freeform 336">
              <a:extLst>
                <a:ext uri="{FF2B5EF4-FFF2-40B4-BE49-F238E27FC236}">
                  <a16:creationId xmlns:a16="http://schemas.microsoft.com/office/drawing/2014/main" id="{3F0738A5-6477-E9B6-478C-7FEF7FA15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9" name="Freeform 337">
              <a:extLst>
                <a:ext uri="{FF2B5EF4-FFF2-40B4-BE49-F238E27FC236}">
                  <a16:creationId xmlns:a16="http://schemas.microsoft.com/office/drawing/2014/main" id="{BBBF95F3-C62D-4511-0DE8-106D21318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0" name="Freeform 338">
              <a:extLst>
                <a:ext uri="{FF2B5EF4-FFF2-40B4-BE49-F238E27FC236}">
                  <a16:creationId xmlns:a16="http://schemas.microsoft.com/office/drawing/2014/main" id="{99E10536-1473-B667-D4CF-209FA934B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1" name="Freeform 339">
              <a:extLst>
                <a:ext uri="{FF2B5EF4-FFF2-40B4-BE49-F238E27FC236}">
                  <a16:creationId xmlns:a16="http://schemas.microsoft.com/office/drawing/2014/main" id="{98ABE921-FF21-CDBE-D879-7247C352B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2" name="Freeform 340">
              <a:extLst>
                <a:ext uri="{FF2B5EF4-FFF2-40B4-BE49-F238E27FC236}">
                  <a16:creationId xmlns:a16="http://schemas.microsoft.com/office/drawing/2014/main" id="{C59A37FB-3218-D12B-8A3E-E3D4BD5E0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3" name="Freeform 341">
              <a:extLst>
                <a:ext uri="{FF2B5EF4-FFF2-40B4-BE49-F238E27FC236}">
                  <a16:creationId xmlns:a16="http://schemas.microsoft.com/office/drawing/2014/main" id="{EC7C4533-8F50-B8CF-38E6-A7F1B7220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4" name="Freeform 342">
              <a:extLst>
                <a:ext uri="{FF2B5EF4-FFF2-40B4-BE49-F238E27FC236}">
                  <a16:creationId xmlns:a16="http://schemas.microsoft.com/office/drawing/2014/main" id="{A76CAF56-3C00-AB63-109A-932E854E6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5" name="Freeform 343">
              <a:extLst>
                <a:ext uri="{FF2B5EF4-FFF2-40B4-BE49-F238E27FC236}">
                  <a16:creationId xmlns:a16="http://schemas.microsoft.com/office/drawing/2014/main" id="{1CBD153E-8223-1E58-DEED-B3A53B879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6" name="Freeform 344">
              <a:extLst>
                <a:ext uri="{FF2B5EF4-FFF2-40B4-BE49-F238E27FC236}">
                  <a16:creationId xmlns:a16="http://schemas.microsoft.com/office/drawing/2014/main" id="{5D2025A2-29E5-2DD9-4058-3C3F1C45DF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7" name="Freeform 345">
              <a:extLst>
                <a:ext uri="{FF2B5EF4-FFF2-40B4-BE49-F238E27FC236}">
                  <a16:creationId xmlns:a16="http://schemas.microsoft.com/office/drawing/2014/main" id="{08347E45-74BF-C17A-DED8-B94964542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8" name="Freeform 346">
              <a:extLst>
                <a:ext uri="{FF2B5EF4-FFF2-40B4-BE49-F238E27FC236}">
                  <a16:creationId xmlns:a16="http://schemas.microsoft.com/office/drawing/2014/main" id="{AE0D49B5-D9B2-0F6C-CD9C-DE72E6D0A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9" name="Freeform 347">
              <a:extLst>
                <a:ext uri="{FF2B5EF4-FFF2-40B4-BE49-F238E27FC236}">
                  <a16:creationId xmlns:a16="http://schemas.microsoft.com/office/drawing/2014/main" id="{F4CF7814-9FA9-3DAF-E803-E2E5CBEF8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0" name="Freeform 348">
              <a:extLst>
                <a:ext uri="{FF2B5EF4-FFF2-40B4-BE49-F238E27FC236}">
                  <a16:creationId xmlns:a16="http://schemas.microsoft.com/office/drawing/2014/main" id="{E41DAD2B-A3F7-D1A5-EA6A-4D4F08FC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1" name="Freeform 349">
              <a:extLst>
                <a:ext uri="{FF2B5EF4-FFF2-40B4-BE49-F238E27FC236}">
                  <a16:creationId xmlns:a16="http://schemas.microsoft.com/office/drawing/2014/main" id="{6B60AAD1-4BD3-F73F-7A2A-3DE954C63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2" name="Freeform 350">
              <a:extLst>
                <a:ext uri="{FF2B5EF4-FFF2-40B4-BE49-F238E27FC236}">
                  <a16:creationId xmlns:a16="http://schemas.microsoft.com/office/drawing/2014/main" id="{0DDE8C42-B16F-DF46-B48E-3B2B22C7A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3" name="Freeform 351">
              <a:extLst>
                <a:ext uri="{FF2B5EF4-FFF2-40B4-BE49-F238E27FC236}">
                  <a16:creationId xmlns:a16="http://schemas.microsoft.com/office/drawing/2014/main" id="{1DC6316F-0ACC-D963-1E02-37AC227E0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4" name="Freeform 352">
              <a:extLst>
                <a:ext uri="{FF2B5EF4-FFF2-40B4-BE49-F238E27FC236}">
                  <a16:creationId xmlns:a16="http://schemas.microsoft.com/office/drawing/2014/main" id="{1A2BE080-1450-8916-3172-ECEF57CA8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5" name="Freeform 353">
              <a:extLst>
                <a:ext uri="{FF2B5EF4-FFF2-40B4-BE49-F238E27FC236}">
                  <a16:creationId xmlns:a16="http://schemas.microsoft.com/office/drawing/2014/main" id="{05C27FF7-10B9-53AC-CBE8-AB27DFF70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6" name="Freeform 354">
              <a:extLst>
                <a:ext uri="{FF2B5EF4-FFF2-40B4-BE49-F238E27FC236}">
                  <a16:creationId xmlns:a16="http://schemas.microsoft.com/office/drawing/2014/main" id="{28B4CE1C-01E3-31A9-D101-730A20655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7" name="Freeform 355">
              <a:extLst>
                <a:ext uri="{FF2B5EF4-FFF2-40B4-BE49-F238E27FC236}">
                  <a16:creationId xmlns:a16="http://schemas.microsoft.com/office/drawing/2014/main" id="{93AD9920-D036-23BE-9482-F16A70C0E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8" name="Freeform 356">
              <a:extLst>
                <a:ext uri="{FF2B5EF4-FFF2-40B4-BE49-F238E27FC236}">
                  <a16:creationId xmlns:a16="http://schemas.microsoft.com/office/drawing/2014/main" id="{594CDC06-90DE-615E-F769-9E24D6863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9" name="Freeform 357">
              <a:extLst>
                <a:ext uri="{FF2B5EF4-FFF2-40B4-BE49-F238E27FC236}">
                  <a16:creationId xmlns:a16="http://schemas.microsoft.com/office/drawing/2014/main" id="{ED851F7B-8424-42F1-509A-58E694049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0" name="Freeform 358">
              <a:extLst>
                <a:ext uri="{FF2B5EF4-FFF2-40B4-BE49-F238E27FC236}">
                  <a16:creationId xmlns:a16="http://schemas.microsoft.com/office/drawing/2014/main" id="{9B1846B5-8847-35EA-E4A5-0BEB93934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1" name="Freeform 359">
              <a:extLst>
                <a:ext uri="{FF2B5EF4-FFF2-40B4-BE49-F238E27FC236}">
                  <a16:creationId xmlns:a16="http://schemas.microsoft.com/office/drawing/2014/main" id="{35D0A7FF-DC17-96F3-B99E-515E152CE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2" name="Freeform 360">
              <a:extLst>
                <a:ext uri="{FF2B5EF4-FFF2-40B4-BE49-F238E27FC236}">
                  <a16:creationId xmlns:a16="http://schemas.microsoft.com/office/drawing/2014/main" id="{4F02ECFD-3731-BA20-E884-72D4160AAB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3" name="Freeform 361">
              <a:extLst>
                <a:ext uri="{FF2B5EF4-FFF2-40B4-BE49-F238E27FC236}">
                  <a16:creationId xmlns:a16="http://schemas.microsoft.com/office/drawing/2014/main" id="{6F3DE23F-6D24-165F-9108-A2134CB34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4" name="Freeform 362">
              <a:extLst>
                <a:ext uri="{FF2B5EF4-FFF2-40B4-BE49-F238E27FC236}">
                  <a16:creationId xmlns:a16="http://schemas.microsoft.com/office/drawing/2014/main" id="{9B73085C-975B-7D2A-6C03-4557B9759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5" name="Freeform 363">
              <a:extLst>
                <a:ext uri="{FF2B5EF4-FFF2-40B4-BE49-F238E27FC236}">
                  <a16:creationId xmlns:a16="http://schemas.microsoft.com/office/drawing/2014/main" id="{E0269A6D-8AEB-92B6-C575-AEF36150D6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6" name="Freeform 364">
              <a:extLst>
                <a:ext uri="{FF2B5EF4-FFF2-40B4-BE49-F238E27FC236}">
                  <a16:creationId xmlns:a16="http://schemas.microsoft.com/office/drawing/2014/main" id="{2A15EFA4-E786-8082-5FB6-2058A8282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7" name="Freeform 365">
              <a:extLst>
                <a:ext uri="{FF2B5EF4-FFF2-40B4-BE49-F238E27FC236}">
                  <a16:creationId xmlns:a16="http://schemas.microsoft.com/office/drawing/2014/main" id="{E5D609C7-8747-4152-1BFA-B1F6F8FA9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8" name="Freeform 366">
              <a:extLst>
                <a:ext uri="{FF2B5EF4-FFF2-40B4-BE49-F238E27FC236}">
                  <a16:creationId xmlns:a16="http://schemas.microsoft.com/office/drawing/2014/main" id="{62BA2CB6-3A8D-ED31-FFE7-B154012E1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9" name="Freeform 367">
              <a:extLst>
                <a:ext uri="{FF2B5EF4-FFF2-40B4-BE49-F238E27FC236}">
                  <a16:creationId xmlns:a16="http://schemas.microsoft.com/office/drawing/2014/main" id="{AFEDE82D-D931-B58F-9408-58FBAE8AE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0" name="Freeform 368">
              <a:extLst>
                <a:ext uri="{FF2B5EF4-FFF2-40B4-BE49-F238E27FC236}">
                  <a16:creationId xmlns:a16="http://schemas.microsoft.com/office/drawing/2014/main" id="{6D499B32-76D4-2C0D-51AE-5AB5DCEB2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1" name="Freeform 369">
              <a:extLst>
                <a:ext uri="{FF2B5EF4-FFF2-40B4-BE49-F238E27FC236}">
                  <a16:creationId xmlns:a16="http://schemas.microsoft.com/office/drawing/2014/main" id="{9C6A9DC6-3985-F172-BB6F-471387194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2" name="Freeform 370">
              <a:extLst>
                <a:ext uri="{FF2B5EF4-FFF2-40B4-BE49-F238E27FC236}">
                  <a16:creationId xmlns:a16="http://schemas.microsoft.com/office/drawing/2014/main" id="{B5C53126-F5C0-C628-402B-CB5CF1D32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3" name="Freeform 371">
              <a:extLst>
                <a:ext uri="{FF2B5EF4-FFF2-40B4-BE49-F238E27FC236}">
                  <a16:creationId xmlns:a16="http://schemas.microsoft.com/office/drawing/2014/main" id="{7F2AACC3-D862-704F-0141-4E0E6FEFB7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4" name="Freeform 372">
              <a:extLst>
                <a:ext uri="{FF2B5EF4-FFF2-40B4-BE49-F238E27FC236}">
                  <a16:creationId xmlns:a16="http://schemas.microsoft.com/office/drawing/2014/main" id="{EA2B1BC5-DF41-5E7D-1720-2B65F5B65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5" name="Freeform 373">
              <a:extLst>
                <a:ext uri="{FF2B5EF4-FFF2-40B4-BE49-F238E27FC236}">
                  <a16:creationId xmlns:a16="http://schemas.microsoft.com/office/drawing/2014/main" id="{835C12C5-B3BD-D30A-ED93-B5AF55960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6" name="Freeform 374">
              <a:extLst>
                <a:ext uri="{FF2B5EF4-FFF2-40B4-BE49-F238E27FC236}">
                  <a16:creationId xmlns:a16="http://schemas.microsoft.com/office/drawing/2014/main" id="{ABA4F4F2-FA53-BD7E-8C46-46E55AFDC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7" name="Freeform 375">
              <a:extLst>
                <a:ext uri="{FF2B5EF4-FFF2-40B4-BE49-F238E27FC236}">
                  <a16:creationId xmlns:a16="http://schemas.microsoft.com/office/drawing/2014/main" id="{B5C4E602-8971-99E5-FAE5-6BBBB384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8" name="Freeform 376">
              <a:extLst>
                <a:ext uri="{FF2B5EF4-FFF2-40B4-BE49-F238E27FC236}">
                  <a16:creationId xmlns:a16="http://schemas.microsoft.com/office/drawing/2014/main" id="{0E7463F8-3B89-4603-578D-EDF5520A3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9" name="Freeform 377">
              <a:extLst>
                <a:ext uri="{FF2B5EF4-FFF2-40B4-BE49-F238E27FC236}">
                  <a16:creationId xmlns:a16="http://schemas.microsoft.com/office/drawing/2014/main" id="{56A46C23-9672-4E9B-F321-C02C7904E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0" name="Freeform 378">
              <a:extLst>
                <a:ext uri="{FF2B5EF4-FFF2-40B4-BE49-F238E27FC236}">
                  <a16:creationId xmlns:a16="http://schemas.microsoft.com/office/drawing/2014/main" id="{C359C6C4-46F4-88C5-E28F-F7D3C8BE2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1" name="Freeform 379">
              <a:extLst>
                <a:ext uri="{FF2B5EF4-FFF2-40B4-BE49-F238E27FC236}">
                  <a16:creationId xmlns:a16="http://schemas.microsoft.com/office/drawing/2014/main" id="{BED10E36-B45D-F72F-29E9-0C78F638E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2" name="Freeform 380">
              <a:extLst>
                <a:ext uri="{FF2B5EF4-FFF2-40B4-BE49-F238E27FC236}">
                  <a16:creationId xmlns:a16="http://schemas.microsoft.com/office/drawing/2014/main" id="{BC9732A4-840E-E3CA-56B6-EAABDFB37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3" name="Freeform 381">
              <a:extLst>
                <a:ext uri="{FF2B5EF4-FFF2-40B4-BE49-F238E27FC236}">
                  <a16:creationId xmlns:a16="http://schemas.microsoft.com/office/drawing/2014/main" id="{84AB4E6C-4648-D0EA-1902-C70424526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4" name="Freeform 382">
              <a:extLst>
                <a:ext uri="{FF2B5EF4-FFF2-40B4-BE49-F238E27FC236}">
                  <a16:creationId xmlns:a16="http://schemas.microsoft.com/office/drawing/2014/main" id="{9C3B1B3E-BC09-33F2-EB11-D825596AC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5" name="Freeform 383">
              <a:extLst>
                <a:ext uri="{FF2B5EF4-FFF2-40B4-BE49-F238E27FC236}">
                  <a16:creationId xmlns:a16="http://schemas.microsoft.com/office/drawing/2014/main" id="{3A79DA0C-0CEF-3A16-F713-93806E37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6" name="Freeform 384">
              <a:extLst>
                <a:ext uri="{FF2B5EF4-FFF2-40B4-BE49-F238E27FC236}">
                  <a16:creationId xmlns:a16="http://schemas.microsoft.com/office/drawing/2014/main" id="{F51EE277-AC09-1A4A-A126-A5191391D4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7" name="Freeform 385">
              <a:extLst>
                <a:ext uri="{FF2B5EF4-FFF2-40B4-BE49-F238E27FC236}">
                  <a16:creationId xmlns:a16="http://schemas.microsoft.com/office/drawing/2014/main" id="{629400DF-3943-1402-FBCD-0FCA7A691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8" name="Freeform 386">
              <a:extLst>
                <a:ext uri="{FF2B5EF4-FFF2-40B4-BE49-F238E27FC236}">
                  <a16:creationId xmlns:a16="http://schemas.microsoft.com/office/drawing/2014/main" id="{F39F4489-4127-CCDB-9A91-CF466BF7C7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9" name="Freeform 387">
              <a:extLst>
                <a:ext uri="{FF2B5EF4-FFF2-40B4-BE49-F238E27FC236}">
                  <a16:creationId xmlns:a16="http://schemas.microsoft.com/office/drawing/2014/main" id="{06EB5AF2-2C2C-B5C9-9D4C-C8539EB1F9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0" name="Freeform 388">
              <a:extLst>
                <a:ext uri="{FF2B5EF4-FFF2-40B4-BE49-F238E27FC236}">
                  <a16:creationId xmlns:a16="http://schemas.microsoft.com/office/drawing/2014/main" id="{29A45CC1-F5AD-5587-E22B-C4CBA70D8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1" name="Freeform 389">
              <a:extLst>
                <a:ext uri="{FF2B5EF4-FFF2-40B4-BE49-F238E27FC236}">
                  <a16:creationId xmlns:a16="http://schemas.microsoft.com/office/drawing/2014/main" id="{CB147771-EABF-34BC-A968-1D33541E8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2" name="Freeform 390">
              <a:extLst>
                <a:ext uri="{FF2B5EF4-FFF2-40B4-BE49-F238E27FC236}">
                  <a16:creationId xmlns:a16="http://schemas.microsoft.com/office/drawing/2014/main" id="{BF45B5D9-39F4-E835-95CF-679B6BA3F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3" name="Freeform 391">
              <a:extLst>
                <a:ext uri="{FF2B5EF4-FFF2-40B4-BE49-F238E27FC236}">
                  <a16:creationId xmlns:a16="http://schemas.microsoft.com/office/drawing/2014/main" id="{99AAFADF-96FC-3474-9876-3F99C61B6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4" name="Freeform 392">
              <a:extLst>
                <a:ext uri="{FF2B5EF4-FFF2-40B4-BE49-F238E27FC236}">
                  <a16:creationId xmlns:a16="http://schemas.microsoft.com/office/drawing/2014/main" id="{E8207291-CC8A-B5FC-706D-876DFBADC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5" name="Freeform 393">
              <a:extLst>
                <a:ext uri="{FF2B5EF4-FFF2-40B4-BE49-F238E27FC236}">
                  <a16:creationId xmlns:a16="http://schemas.microsoft.com/office/drawing/2014/main" id="{0E969EC4-8E46-D51A-FDEA-19C03C90D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6" name="Freeform 394">
              <a:extLst>
                <a:ext uri="{FF2B5EF4-FFF2-40B4-BE49-F238E27FC236}">
                  <a16:creationId xmlns:a16="http://schemas.microsoft.com/office/drawing/2014/main" id="{1652A066-47F0-8C0F-9A3E-37096451A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7" name="Freeform 395">
              <a:extLst>
                <a:ext uri="{FF2B5EF4-FFF2-40B4-BE49-F238E27FC236}">
                  <a16:creationId xmlns:a16="http://schemas.microsoft.com/office/drawing/2014/main" id="{E60ED75B-F5D1-747D-E041-D691ECCF1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8" name="Freeform 396">
              <a:extLst>
                <a:ext uri="{FF2B5EF4-FFF2-40B4-BE49-F238E27FC236}">
                  <a16:creationId xmlns:a16="http://schemas.microsoft.com/office/drawing/2014/main" id="{F29DD440-E048-EBCA-7D45-624C43803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9" name="Freeform 397">
              <a:extLst>
                <a:ext uri="{FF2B5EF4-FFF2-40B4-BE49-F238E27FC236}">
                  <a16:creationId xmlns:a16="http://schemas.microsoft.com/office/drawing/2014/main" id="{744D163A-35E1-CA44-2ADA-F7CBF0A1F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0" name="Freeform 398">
              <a:extLst>
                <a:ext uri="{FF2B5EF4-FFF2-40B4-BE49-F238E27FC236}">
                  <a16:creationId xmlns:a16="http://schemas.microsoft.com/office/drawing/2014/main" id="{E9B18B30-19F2-B0E3-D3B3-35092BE09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1" name="Freeform 399">
              <a:extLst>
                <a:ext uri="{FF2B5EF4-FFF2-40B4-BE49-F238E27FC236}">
                  <a16:creationId xmlns:a16="http://schemas.microsoft.com/office/drawing/2014/main" id="{74677FEE-0C30-C0D8-78E1-C2E783E3F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2" name="Freeform 400">
              <a:extLst>
                <a:ext uri="{FF2B5EF4-FFF2-40B4-BE49-F238E27FC236}">
                  <a16:creationId xmlns:a16="http://schemas.microsoft.com/office/drawing/2014/main" id="{9BA7E9B8-4FE5-6455-6DF0-B2A6A88B3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3" name="Freeform 401">
              <a:extLst>
                <a:ext uri="{FF2B5EF4-FFF2-40B4-BE49-F238E27FC236}">
                  <a16:creationId xmlns:a16="http://schemas.microsoft.com/office/drawing/2014/main" id="{CACC3EED-6992-4881-0430-7B21A6EEE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524" name="TextBox 24">
            <a:extLst>
              <a:ext uri="{FF2B5EF4-FFF2-40B4-BE49-F238E27FC236}">
                <a16:creationId xmlns:a16="http://schemas.microsoft.com/office/drawing/2014/main" id="{311CDFBA-84EA-9842-CB5A-B8FBD539D94C}"/>
              </a:ext>
            </a:extLst>
          </p:cNvPr>
          <p:cNvSpPr txBox="1"/>
          <p:nvPr/>
        </p:nvSpPr>
        <p:spPr>
          <a:xfrm>
            <a:off x="8595626" y="5254112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525" name="TextBox 24">
            <a:extLst>
              <a:ext uri="{FF2B5EF4-FFF2-40B4-BE49-F238E27FC236}">
                <a16:creationId xmlns:a16="http://schemas.microsoft.com/office/drawing/2014/main" id="{018102FD-D2F4-1CE9-A2D0-B2C324E3039D}"/>
              </a:ext>
            </a:extLst>
          </p:cNvPr>
          <p:cNvSpPr txBox="1"/>
          <p:nvPr/>
        </p:nvSpPr>
        <p:spPr>
          <a:xfrm>
            <a:off x="10589315" y="3490655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526" name="TextBox 24">
            <a:extLst>
              <a:ext uri="{FF2B5EF4-FFF2-40B4-BE49-F238E27FC236}">
                <a16:creationId xmlns:a16="http://schemas.microsoft.com/office/drawing/2014/main" id="{7CF3D491-BC48-4EF1-E45C-C6CD3AFBBD20}"/>
              </a:ext>
            </a:extLst>
          </p:cNvPr>
          <p:cNvSpPr txBox="1"/>
          <p:nvPr/>
        </p:nvSpPr>
        <p:spPr>
          <a:xfrm>
            <a:off x="10555977" y="4556129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527" name="TextBox 24">
            <a:extLst>
              <a:ext uri="{FF2B5EF4-FFF2-40B4-BE49-F238E27FC236}">
                <a16:creationId xmlns:a16="http://schemas.microsoft.com/office/drawing/2014/main" id="{28D727B7-2977-5E1C-262D-211177194486}"/>
              </a:ext>
            </a:extLst>
          </p:cNvPr>
          <p:cNvSpPr txBox="1"/>
          <p:nvPr/>
        </p:nvSpPr>
        <p:spPr>
          <a:xfrm>
            <a:off x="7187544" y="4181476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528" name="Conector recto de flecha 6527">
            <a:extLst>
              <a:ext uri="{FF2B5EF4-FFF2-40B4-BE49-F238E27FC236}">
                <a16:creationId xmlns:a16="http://schemas.microsoft.com/office/drawing/2014/main" id="{BE432A5C-F085-2BB7-E625-E7FBB9622594}"/>
              </a:ext>
            </a:extLst>
          </p:cNvPr>
          <p:cNvCxnSpPr>
            <a:cxnSpLocks/>
          </p:cNvCxnSpPr>
          <p:nvPr/>
        </p:nvCxnSpPr>
        <p:spPr>
          <a:xfrm>
            <a:off x="8343659" y="4273809"/>
            <a:ext cx="824154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30" name="Conector recto de flecha 6529">
            <a:extLst>
              <a:ext uri="{FF2B5EF4-FFF2-40B4-BE49-F238E27FC236}">
                <a16:creationId xmlns:a16="http://schemas.microsoft.com/office/drawing/2014/main" id="{9973898F-9126-1D1E-973F-78164701E79E}"/>
              </a:ext>
            </a:extLst>
          </p:cNvPr>
          <p:cNvCxnSpPr>
            <a:cxnSpLocks/>
          </p:cNvCxnSpPr>
          <p:nvPr/>
        </p:nvCxnSpPr>
        <p:spPr>
          <a:xfrm>
            <a:off x="9751741" y="5346445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32" name="Conector recto de flecha 6531">
            <a:extLst>
              <a:ext uri="{FF2B5EF4-FFF2-40B4-BE49-F238E27FC236}">
                <a16:creationId xmlns:a16="http://schemas.microsoft.com/office/drawing/2014/main" id="{40F447BB-6E9A-A22A-C936-22AA813F99FC}"/>
              </a:ext>
            </a:extLst>
          </p:cNvPr>
          <p:cNvCxnSpPr>
            <a:cxnSpLocks/>
          </p:cNvCxnSpPr>
          <p:nvPr/>
        </p:nvCxnSpPr>
        <p:spPr>
          <a:xfrm flipH="1" flipV="1">
            <a:off x="10051258" y="3582988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33" name="Conector recto de flecha 6532">
            <a:extLst>
              <a:ext uri="{FF2B5EF4-FFF2-40B4-BE49-F238E27FC236}">
                <a16:creationId xmlns:a16="http://schemas.microsoft.com/office/drawing/2014/main" id="{C3CDB55E-B9E9-F3DF-9B14-2C8A16386B44}"/>
              </a:ext>
            </a:extLst>
          </p:cNvPr>
          <p:cNvCxnSpPr>
            <a:cxnSpLocks/>
          </p:cNvCxnSpPr>
          <p:nvPr/>
        </p:nvCxnSpPr>
        <p:spPr>
          <a:xfrm flipH="1" flipV="1">
            <a:off x="10019509" y="4648462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34" name="TextBox 24">
            <a:extLst>
              <a:ext uri="{FF2B5EF4-FFF2-40B4-BE49-F238E27FC236}">
                <a16:creationId xmlns:a16="http://schemas.microsoft.com/office/drawing/2014/main" id="{39DE2E1F-E81B-BD83-F21D-E47A13616F3C}"/>
              </a:ext>
            </a:extLst>
          </p:cNvPr>
          <p:cNvSpPr txBox="1"/>
          <p:nvPr/>
        </p:nvSpPr>
        <p:spPr>
          <a:xfrm>
            <a:off x="10632177" y="4251071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6535" name="Conector recto de flecha 6534">
            <a:extLst>
              <a:ext uri="{FF2B5EF4-FFF2-40B4-BE49-F238E27FC236}">
                <a16:creationId xmlns:a16="http://schemas.microsoft.com/office/drawing/2014/main" id="{0DD570C5-A447-13E3-D2F6-D5D557BAC4D9}"/>
              </a:ext>
            </a:extLst>
          </p:cNvPr>
          <p:cNvCxnSpPr>
            <a:cxnSpLocks/>
          </p:cNvCxnSpPr>
          <p:nvPr/>
        </p:nvCxnSpPr>
        <p:spPr>
          <a:xfrm flipH="1" flipV="1">
            <a:off x="10095709" y="4343404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632232156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53B564A-F3C5-0EFD-8B37-A807009293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53B564A-F3C5-0EFD-8B37-A80700929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A65A2CF-B701-5763-1C97-F251344AE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286AE79-0502-BC73-0A24-F9226D855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Flow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2AAB915-B0E2-05C4-C758-CF182E2A89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3C71587A-7B19-AF85-7F28-9BDE6D2B8D7F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4"/>
          <a:ext cx="11449056" cy="1077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1132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2238470947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178520945"/>
                    </a:ext>
                  </a:extLst>
                </a:gridCol>
              </a:tblGrid>
              <a:tr h="538798">
                <a:tc>
                  <a:txBody>
                    <a:bodyPr/>
                    <a:lstStyle/>
                    <a:p>
                      <a:pPr algn="l"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538798">
                <a:tc>
                  <a:txBody>
                    <a:bodyPr/>
                    <a:lstStyle/>
                    <a:p>
                      <a:pPr algn="l"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</a:tbl>
          </a:graphicData>
        </a:graphic>
      </p:graphicFrame>
      <p:sp>
        <p:nvSpPr>
          <p:cNvPr id="7" name="TextBox 24">
            <a:extLst>
              <a:ext uri="{FF2B5EF4-FFF2-40B4-BE49-F238E27FC236}">
                <a16:creationId xmlns:a16="http://schemas.microsoft.com/office/drawing/2014/main" id="{BC9C91A0-C919-D98E-C947-8E0700A20B1D}"/>
              </a:ext>
            </a:extLst>
          </p:cNvPr>
          <p:cNvSpPr txBox="1"/>
          <p:nvPr/>
        </p:nvSpPr>
        <p:spPr>
          <a:xfrm>
            <a:off x="371475" y="2740683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09A3A405-51DB-8835-94BD-751B4A83D78F}"/>
              </a:ext>
            </a:extLst>
          </p:cNvPr>
          <p:cNvSpPr txBox="1"/>
          <p:nvPr/>
        </p:nvSpPr>
        <p:spPr>
          <a:xfrm>
            <a:off x="6444615" y="2740683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AA8ABEEF-4A78-78CE-B61E-2529774534D3}"/>
              </a:ext>
            </a:extLst>
          </p:cNvPr>
          <p:cNvSpPr txBox="1"/>
          <p:nvPr/>
        </p:nvSpPr>
        <p:spPr>
          <a:xfrm>
            <a:off x="10637519" y="2740683"/>
            <a:ext cx="1183005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7CF0AE2F-90AC-112D-9BC9-2D898A741E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9697" y="3171570"/>
            <a:ext cx="5637720" cy="3279419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11" name="Group 205">
              <a:extLst>
                <a:ext uri="{FF2B5EF4-FFF2-40B4-BE49-F238E27FC236}">
                  <a16:creationId xmlns:a16="http://schemas.microsoft.com/office/drawing/2014/main" id="{FB4C7699-9F6B-8957-2B0A-D629D7E5EC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7345" name="Freeform 5">
                <a:extLst>
                  <a:ext uri="{FF2B5EF4-FFF2-40B4-BE49-F238E27FC236}">
                    <a16:creationId xmlns:a16="http://schemas.microsoft.com/office/drawing/2014/main" id="{F5C2251E-2BE1-FBC7-809D-0785F89C9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6" name="Freeform 6">
                <a:extLst>
                  <a:ext uri="{FF2B5EF4-FFF2-40B4-BE49-F238E27FC236}">
                    <a16:creationId xmlns:a16="http://schemas.microsoft.com/office/drawing/2014/main" id="{D75223FD-9998-785A-494E-330736EE6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7" name="Freeform 7">
                <a:extLst>
                  <a:ext uri="{FF2B5EF4-FFF2-40B4-BE49-F238E27FC236}">
                    <a16:creationId xmlns:a16="http://schemas.microsoft.com/office/drawing/2014/main" id="{9589983E-1288-0538-0200-C40F842A97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8" name="Freeform 8">
                <a:extLst>
                  <a:ext uri="{FF2B5EF4-FFF2-40B4-BE49-F238E27FC236}">
                    <a16:creationId xmlns:a16="http://schemas.microsoft.com/office/drawing/2014/main" id="{C819D694-8DA3-2C6A-7548-468667B2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9" name="Freeform 9">
                <a:extLst>
                  <a:ext uri="{FF2B5EF4-FFF2-40B4-BE49-F238E27FC236}">
                    <a16:creationId xmlns:a16="http://schemas.microsoft.com/office/drawing/2014/main" id="{B12B7477-9EF2-DDB0-D525-159DB403D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0" name="Freeform 10">
                <a:extLst>
                  <a:ext uri="{FF2B5EF4-FFF2-40B4-BE49-F238E27FC236}">
                    <a16:creationId xmlns:a16="http://schemas.microsoft.com/office/drawing/2014/main" id="{04BB5F65-D795-4665-8D5F-7CE4337ACE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1" name="Freeform 11">
                <a:extLst>
                  <a:ext uri="{FF2B5EF4-FFF2-40B4-BE49-F238E27FC236}">
                    <a16:creationId xmlns:a16="http://schemas.microsoft.com/office/drawing/2014/main" id="{FB7C7D8D-E410-F05C-AC12-7D63E20B5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2" name="Freeform 12">
                <a:extLst>
                  <a:ext uri="{FF2B5EF4-FFF2-40B4-BE49-F238E27FC236}">
                    <a16:creationId xmlns:a16="http://schemas.microsoft.com/office/drawing/2014/main" id="{CB6D3E58-5619-3306-0513-883323839A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3" name="Freeform 13">
                <a:extLst>
                  <a:ext uri="{FF2B5EF4-FFF2-40B4-BE49-F238E27FC236}">
                    <a16:creationId xmlns:a16="http://schemas.microsoft.com/office/drawing/2014/main" id="{C69DF83C-5632-419D-4310-F2DDC5765B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4" name="Freeform 14">
                <a:extLst>
                  <a:ext uri="{FF2B5EF4-FFF2-40B4-BE49-F238E27FC236}">
                    <a16:creationId xmlns:a16="http://schemas.microsoft.com/office/drawing/2014/main" id="{ECD6BD7D-B6B8-C377-119B-29234EB93A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5" name="Freeform 15">
                <a:extLst>
                  <a:ext uri="{FF2B5EF4-FFF2-40B4-BE49-F238E27FC236}">
                    <a16:creationId xmlns:a16="http://schemas.microsoft.com/office/drawing/2014/main" id="{3C205BFE-0703-1F2B-140A-F29310BBC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6" name="Freeform 16">
                <a:extLst>
                  <a:ext uri="{FF2B5EF4-FFF2-40B4-BE49-F238E27FC236}">
                    <a16:creationId xmlns:a16="http://schemas.microsoft.com/office/drawing/2014/main" id="{239DA4F8-0FE3-6E92-0E46-6692205D36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7" name="Freeform 17">
                <a:extLst>
                  <a:ext uri="{FF2B5EF4-FFF2-40B4-BE49-F238E27FC236}">
                    <a16:creationId xmlns:a16="http://schemas.microsoft.com/office/drawing/2014/main" id="{2BE1F203-FF0A-3634-B93A-D6E07AA6C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8" name="Freeform 18">
                <a:extLst>
                  <a:ext uri="{FF2B5EF4-FFF2-40B4-BE49-F238E27FC236}">
                    <a16:creationId xmlns:a16="http://schemas.microsoft.com/office/drawing/2014/main" id="{A48C656B-4872-7CE0-992E-1F7BF8E685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9" name="Freeform 19">
                <a:extLst>
                  <a:ext uri="{FF2B5EF4-FFF2-40B4-BE49-F238E27FC236}">
                    <a16:creationId xmlns:a16="http://schemas.microsoft.com/office/drawing/2014/main" id="{0F601F5F-0C14-147D-5BAC-A82B85903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0" name="Freeform 20">
                <a:extLst>
                  <a:ext uri="{FF2B5EF4-FFF2-40B4-BE49-F238E27FC236}">
                    <a16:creationId xmlns:a16="http://schemas.microsoft.com/office/drawing/2014/main" id="{389DD3A3-3392-E69D-5DFF-8E00FF0A1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1" name="Freeform 21">
                <a:extLst>
                  <a:ext uri="{FF2B5EF4-FFF2-40B4-BE49-F238E27FC236}">
                    <a16:creationId xmlns:a16="http://schemas.microsoft.com/office/drawing/2014/main" id="{DF1021A1-D558-D7CB-A38D-119DC7BFA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2" name="Freeform 22">
                <a:extLst>
                  <a:ext uri="{FF2B5EF4-FFF2-40B4-BE49-F238E27FC236}">
                    <a16:creationId xmlns:a16="http://schemas.microsoft.com/office/drawing/2014/main" id="{60882E79-14D0-CF99-6178-E4A4453FA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3" name="Freeform 23">
                <a:extLst>
                  <a:ext uri="{FF2B5EF4-FFF2-40B4-BE49-F238E27FC236}">
                    <a16:creationId xmlns:a16="http://schemas.microsoft.com/office/drawing/2014/main" id="{28D2E240-0750-9ECB-587D-803BE35E8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4" name="Freeform 24">
                <a:extLst>
                  <a:ext uri="{FF2B5EF4-FFF2-40B4-BE49-F238E27FC236}">
                    <a16:creationId xmlns:a16="http://schemas.microsoft.com/office/drawing/2014/main" id="{59024842-2BC3-4DA3-4771-72E715A24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5" name="Freeform 25">
                <a:extLst>
                  <a:ext uri="{FF2B5EF4-FFF2-40B4-BE49-F238E27FC236}">
                    <a16:creationId xmlns:a16="http://schemas.microsoft.com/office/drawing/2014/main" id="{DCE1236C-60C9-322F-BE27-F1DDD627F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6" name="Freeform 26">
                <a:extLst>
                  <a:ext uri="{FF2B5EF4-FFF2-40B4-BE49-F238E27FC236}">
                    <a16:creationId xmlns:a16="http://schemas.microsoft.com/office/drawing/2014/main" id="{5A985CC5-86E5-0AFD-9E69-B39163E06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7" name="Freeform 27">
                <a:extLst>
                  <a:ext uri="{FF2B5EF4-FFF2-40B4-BE49-F238E27FC236}">
                    <a16:creationId xmlns:a16="http://schemas.microsoft.com/office/drawing/2014/main" id="{A180D051-FEA3-D8BC-E904-E99766BB2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8" name="Freeform 28">
                <a:extLst>
                  <a:ext uri="{FF2B5EF4-FFF2-40B4-BE49-F238E27FC236}">
                    <a16:creationId xmlns:a16="http://schemas.microsoft.com/office/drawing/2014/main" id="{561B4F03-8754-E9EC-36FD-ED886F24A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9" name="Freeform 29">
                <a:extLst>
                  <a:ext uri="{FF2B5EF4-FFF2-40B4-BE49-F238E27FC236}">
                    <a16:creationId xmlns:a16="http://schemas.microsoft.com/office/drawing/2014/main" id="{EC1E7FAF-B8E1-49CF-25AA-A8CB6E401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0" name="Freeform 30">
                <a:extLst>
                  <a:ext uri="{FF2B5EF4-FFF2-40B4-BE49-F238E27FC236}">
                    <a16:creationId xmlns:a16="http://schemas.microsoft.com/office/drawing/2014/main" id="{1BE0284E-34AF-9492-E2DD-7FEA4DFF7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1" name="Freeform 31">
                <a:extLst>
                  <a:ext uri="{FF2B5EF4-FFF2-40B4-BE49-F238E27FC236}">
                    <a16:creationId xmlns:a16="http://schemas.microsoft.com/office/drawing/2014/main" id="{09AD5F9B-A778-672F-D296-07B9AC339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2" name="Freeform 32">
                <a:extLst>
                  <a:ext uri="{FF2B5EF4-FFF2-40B4-BE49-F238E27FC236}">
                    <a16:creationId xmlns:a16="http://schemas.microsoft.com/office/drawing/2014/main" id="{84825411-735B-C3D3-9B39-EB73B5872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3" name="Freeform 33">
                <a:extLst>
                  <a:ext uri="{FF2B5EF4-FFF2-40B4-BE49-F238E27FC236}">
                    <a16:creationId xmlns:a16="http://schemas.microsoft.com/office/drawing/2014/main" id="{A530E76C-5810-DD8A-02A9-CDF78C9BA5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4" name="Freeform 34">
                <a:extLst>
                  <a:ext uri="{FF2B5EF4-FFF2-40B4-BE49-F238E27FC236}">
                    <a16:creationId xmlns:a16="http://schemas.microsoft.com/office/drawing/2014/main" id="{4888D405-C2B4-0E0A-AC89-1D66CAAF83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5" name="Freeform 35">
                <a:extLst>
                  <a:ext uri="{FF2B5EF4-FFF2-40B4-BE49-F238E27FC236}">
                    <a16:creationId xmlns:a16="http://schemas.microsoft.com/office/drawing/2014/main" id="{96625780-E9AE-601C-2501-DF7C454909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6" name="Freeform 36">
                <a:extLst>
                  <a:ext uri="{FF2B5EF4-FFF2-40B4-BE49-F238E27FC236}">
                    <a16:creationId xmlns:a16="http://schemas.microsoft.com/office/drawing/2014/main" id="{7E804E61-5C83-E63A-3578-73F5B36A8A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7" name="Freeform 37">
                <a:extLst>
                  <a:ext uri="{FF2B5EF4-FFF2-40B4-BE49-F238E27FC236}">
                    <a16:creationId xmlns:a16="http://schemas.microsoft.com/office/drawing/2014/main" id="{901A53B5-B951-B190-1511-4F59304FBD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8" name="Freeform 38">
                <a:extLst>
                  <a:ext uri="{FF2B5EF4-FFF2-40B4-BE49-F238E27FC236}">
                    <a16:creationId xmlns:a16="http://schemas.microsoft.com/office/drawing/2014/main" id="{7C84A5EF-DF46-9781-B76B-856EED7C4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9" name="Freeform 39">
                <a:extLst>
                  <a:ext uri="{FF2B5EF4-FFF2-40B4-BE49-F238E27FC236}">
                    <a16:creationId xmlns:a16="http://schemas.microsoft.com/office/drawing/2014/main" id="{80CF25A2-38BD-B3DE-EBAE-BD18011C6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0" name="Freeform 40">
                <a:extLst>
                  <a:ext uri="{FF2B5EF4-FFF2-40B4-BE49-F238E27FC236}">
                    <a16:creationId xmlns:a16="http://schemas.microsoft.com/office/drawing/2014/main" id="{3758D71F-03DD-470A-C14C-0FE81DDA5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1" name="Freeform 41">
                <a:extLst>
                  <a:ext uri="{FF2B5EF4-FFF2-40B4-BE49-F238E27FC236}">
                    <a16:creationId xmlns:a16="http://schemas.microsoft.com/office/drawing/2014/main" id="{4D177D12-3F83-3BEA-166E-9D1D78D7F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2" name="Freeform 42">
                <a:extLst>
                  <a:ext uri="{FF2B5EF4-FFF2-40B4-BE49-F238E27FC236}">
                    <a16:creationId xmlns:a16="http://schemas.microsoft.com/office/drawing/2014/main" id="{5998031E-492D-525E-0C8E-70B5FACA8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3" name="Freeform 43">
                <a:extLst>
                  <a:ext uri="{FF2B5EF4-FFF2-40B4-BE49-F238E27FC236}">
                    <a16:creationId xmlns:a16="http://schemas.microsoft.com/office/drawing/2014/main" id="{3E5C1E01-D9AE-8EA6-42E5-87790CDF7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4" name="Freeform 44">
                <a:extLst>
                  <a:ext uri="{FF2B5EF4-FFF2-40B4-BE49-F238E27FC236}">
                    <a16:creationId xmlns:a16="http://schemas.microsoft.com/office/drawing/2014/main" id="{7D32AD28-4049-B392-785B-DC262AB4A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5" name="Freeform 45">
                <a:extLst>
                  <a:ext uri="{FF2B5EF4-FFF2-40B4-BE49-F238E27FC236}">
                    <a16:creationId xmlns:a16="http://schemas.microsoft.com/office/drawing/2014/main" id="{307323D4-C31E-E6E6-DE8B-F447FF33E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6" name="Freeform 46">
                <a:extLst>
                  <a:ext uri="{FF2B5EF4-FFF2-40B4-BE49-F238E27FC236}">
                    <a16:creationId xmlns:a16="http://schemas.microsoft.com/office/drawing/2014/main" id="{9EC0F5D7-B6AC-B916-8CC3-A885E7F4D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7" name="Freeform 47">
                <a:extLst>
                  <a:ext uri="{FF2B5EF4-FFF2-40B4-BE49-F238E27FC236}">
                    <a16:creationId xmlns:a16="http://schemas.microsoft.com/office/drawing/2014/main" id="{BD3A3D2D-2FF9-04E8-B739-D3DDB4D95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8" name="Freeform 48">
                <a:extLst>
                  <a:ext uri="{FF2B5EF4-FFF2-40B4-BE49-F238E27FC236}">
                    <a16:creationId xmlns:a16="http://schemas.microsoft.com/office/drawing/2014/main" id="{1E0A5BB5-4A3B-E467-BD25-347214623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9" name="Freeform 49">
                <a:extLst>
                  <a:ext uri="{FF2B5EF4-FFF2-40B4-BE49-F238E27FC236}">
                    <a16:creationId xmlns:a16="http://schemas.microsoft.com/office/drawing/2014/main" id="{7DE0A558-4A46-B450-13BA-E612C41847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0" name="Freeform 50">
                <a:extLst>
                  <a:ext uri="{FF2B5EF4-FFF2-40B4-BE49-F238E27FC236}">
                    <a16:creationId xmlns:a16="http://schemas.microsoft.com/office/drawing/2014/main" id="{23D4837B-AFC5-2CA3-EF76-883B666F09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1" name="Freeform 51">
                <a:extLst>
                  <a:ext uri="{FF2B5EF4-FFF2-40B4-BE49-F238E27FC236}">
                    <a16:creationId xmlns:a16="http://schemas.microsoft.com/office/drawing/2014/main" id="{5411E30F-F56E-8740-B7A9-AB68FB973E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2" name="Freeform 52">
                <a:extLst>
                  <a:ext uri="{FF2B5EF4-FFF2-40B4-BE49-F238E27FC236}">
                    <a16:creationId xmlns:a16="http://schemas.microsoft.com/office/drawing/2014/main" id="{BB461D25-FCC0-3D15-8B0B-38ADD00903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3" name="Freeform 53">
                <a:extLst>
                  <a:ext uri="{FF2B5EF4-FFF2-40B4-BE49-F238E27FC236}">
                    <a16:creationId xmlns:a16="http://schemas.microsoft.com/office/drawing/2014/main" id="{382A2758-1384-E501-AE62-88AC5953C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4" name="Freeform 54">
                <a:extLst>
                  <a:ext uri="{FF2B5EF4-FFF2-40B4-BE49-F238E27FC236}">
                    <a16:creationId xmlns:a16="http://schemas.microsoft.com/office/drawing/2014/main" id="{0278D58A-CBE7-F4F1-D1A3-BA5AC2231D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5" name="Freeform 55">
                <a:extLst>
                  <a:ext uri="{FF2B5EF4-FFF2-40B4-BE49-F238E27FC236}">
                    <a16:creationId xmlns:a16="http://schemas.microsoft.com/office/drawing/2014/main" id="{AB08059C-0FDE-DAF8-E74E-7CE3CDB147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6" name="Freeform 56">
                <a:extLst>
                  <a:ext uri="{FF2B5EF4-FFF2-40B4-BE49-F238E27FC236}">
                    <a16:creationId xmlns:a16="http://schemas.microsoft.com/office/drawing/2014/main" id="{4939B8E8-AF5B-4B23-6C35-BA5DFA45B3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7" name="Freeform 57">
                <a:extLst>
                  <a:ext uri="{FF2B5EF4-FFF2-40B4-BE49-F238E27FC236}">
                    <a16:creationId xmlns:a16="http://schemas.microsoft.com/office/drawing/2014/main" id="{6957FD0E-2C0D-1AC4-7CFC-2B2DECDDDD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8" name="Freeform 58">
                <a:extLst>
                  <a:ext uri="{FF2B5EF4-FFF2-40B4-BE49-F238E27FC236}">
                    <a16:creationId xmlns:a16="http://schemas.microsoft.com/office/drawing/2014/main" id="{DFD3B9CB-AC8D-178A-D0DD-2CBC290F8C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9" name="Freeform 59">
                <a:extLst>
                  <a:ext uri="{FF2B5EF4-FFF2-40B4-BE49-F238E27FC236}">
                    <a16:creationId xmlns:a16="http://schemas.microsoft.com/office/drawing/2014/main" id="{8C635137-6FC4-6F3A-792F-94B6174094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0" name="Freeform 60">
                <a:extLst>
                  <a:ext uri="{FF2B5EF4-FFF2-40B4-BE49-F238E27FC236}">
                    <a16:creationId xmlns:a16="http://schemas.microsoft.com/office/drawing/2014/main" id="{923F21A8-718B-752C-A584-5281F6617F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1" name="Freeform 61">
                <a:extLst>
                  <a:ext uri="{FF2B5EF4-FFF2-40B4-BE49-F238E27FC236}">
                    <a16:creationId xmlns:a16="http://schemas.microsoft.com/office/drawing/2014/main" id="{4337C192-5A01-4BF6-CDD2-FFDC6563D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2" name="Freeform 62">
                <a:extLst>
                  <a:ext uri="{FF2B5EF4-FFF2-40B4-BE49-F238E27FC236}">
                    <a16:creationId xmlns:a16="http://schemas.microsoft.com/office/drawing/2014/main" id="{69992AA9-A756-F91B-C236-50FF4C82E2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3" name="Freeform 63">
                <a:extLst>
                  <a:ext uri="{FF2B5EF4-FFF2-40B4-BE49-F238E27FC236}">
                    <a16:creationId xmlns:a16="http://schemas.microsoft.com/office/drawing/2014/main" id="{EF923E83-97BF-5FD9-406F-F831273824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4" name="Freeform 64">
                <a:extLst>
                  <a:ext uri="{FF2B5EF4-FFF2-40B4-BE49-F238E27FC236}">
                    <a16:creationId xmlns:a16="http://schemas.microsoft.com/office/drawing/2014/main" id="{9D5ACB2E-C58C-17B0-6F50-5DDBAA636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5" name="Freeform 65">
                <a:extLst>
                  <a:ext uri="{FF2B5EF4-FFF2-40B4-BE49-F238E27FC236}">
                    <a16:creationId xmlns:a16="http://schemas.microsoft.com/office/drawing/2014/main" id="{A6BB9D5D-64B6-50CE-A9C0-C47D9794E8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6" name="Freeform 66">
                <a:extLst>
                  <a:ext uri="{FF2B5EF4-FFF2-40B4-BE49-F238E27FC236}">
                    <a16:creationId xmlns:a16="http://schemas.microsoft.com/office/drawing/2014/main" id="{A4A4F7CA-CB3D-BFCC-2216-0BC9A00F3D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7" name="Freeform 67">
                <a:extLst>
                  <a:ext uri="{FF2B5EF4-FFF2-40B4-BE49-F238E27FC236}">
                    <a16:creationId xmlns:a16="http://schemas.microsoft.com/office/drawing/2014/main" id="{368DB5F2-5A1A-4D3F-C1E0-3D738967E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8" name="Freeform 68">
                <a:extLst>
                  <a:ext uri="{FF2B5EF4-FFF2-40B4-BE49-F238E27FC236}">
                    <a16:creationId xmlns:a16="http://schemas.microsoft.com/office/drawing/2014/main" id="{92CEA02C-EAC1-8958-87C7-7233F86F9B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9" name="Freeform 69">
                <a:extLst>
                  <a:ext uri="{FF2B5EF4-FFF2-40B4-BE49-F238E27FC236}">
                    <a16:creationId xmlns:a16="http://schemas.microsoft.com/office/drawing/2014/main" id="{BECF1357-FB0C-4158-BAF0-E84DD0A38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0" name="Freeform 70">
                <a:extLst>
                  <a:ext uri="{FF2B5EF4-FFF2-40B4-BE49-F238E27FC236}">
                    <a16:creationId xmlns:a16="http://schemas.microsoft.com/office/drawing/2014/main" id="{0C4D41CE-2FA3-34B5-97A2-7044526F8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1" name="Freeform 71">
                <a:extLst>
                  <a:ext uri="{FF2B5EF4-FFF2-40B4-BE49-F238E27FC236}">
                    <a16:creationId xmlns:a16="http://schemas.microsoft.com/office/drawing/2014/main" id="{A9AA4AFE-13C4-E93D-FB23-824E97571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2" name="Freeform 72">
                <a:extLst>
                  <a:ext uri="{FF2B5EF4-FFF2-40B4-BE49-F238E27FC236}">
                    <a16:creationId xmlns:a16="http://schemas.microsoft.com/office/drawing/2014/main" id="{99327C95-A94D-E67C-6068-D325AEE8F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3" name="Freeform 73">
                <a:extLst>
                  <a:ext uri="{FF2B5EF4-FFF2-40B4-BE49-F238E27FC236}">
                    <a16:creationId xmlns:a16="http://schemas.microsoft.com/office/drawing/2014/main" id="{65B44818-33D5-EAA7-BB89-6E06808ACE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4" name="Freeform 74">
                <a:extLst>
                  <a:ext uri="{FF2B5EF4-FFF2-40B4-BE49-F238E27FC236}">
                    <a16:creationId xmlns:a16="http://schemas.microsoft.com/office/drawing/2014/main" id="{BC7BC647-3B6B-A7B1-4324-756FA33A4B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5" name="Freeform 75">
                <a:extLst>
                  <a:ext uri="{FF2B5EF4-FFF2-40B4-BE49-F238E27FC236}">
                    <a16:creationId xmlns:a16="http://schemas.microsoft.com/office/drawing/2014/main" id="{8080420A-C492-4839-D8FB-13A004FDE2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6" name="Freeform 76">
                <a:extLst>
                  <a:ext uri="{FF2B5EF4-FFF2-40B4-BE49-F238E27FC236}">
                    <a16:creationId xmlns:a16="http://schemas.microsoft.com/office/drawing/2014/main" id="{38F705C5-6661-3189-6227-474825A601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7" name="Freeform 77">
                <a:extLst>
                  <a:ext uri="{FF2B5EF4-FFF2-40B4-BE49-F238E27FC236}">
                    <a16:creationId xmlns:a16="http://schemas.microsoft.com/office/drawing/2014/main" id="{72F45911-D99E-7550-51ED-A9FA70DF62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8" name="Freeform 78">
                <a:extLst>
                  <a:ext uri="{FF2B5EF4-FFF2-40B4-BE49-F238E27FC236}">
                    <a16:creationId xmlns:a16="http://schemas.microsoft.com/office/drawing/2014/main" id="{B471E179-1092-E731-F7C7-9040E997A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9" name="Freeform 79">
                <a:extLst>
                  <a:ext uri="{FF2B5EF4-FFF2-40B4-BE49-F238E27FC236}">
                    <a16:creationId xmlns:a16="http://schemas.microsoft.com/office/drawing/2014/main" id="{CE8E85B5-1457-5125-9A65-7D43E267A2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0" name="Freeform 80">
                <a:extLst>
                  <a:ext uri="{FF2B5EF4-FFF2-40B4-BE49-F238E27FC236}">
                    <a16:creationId xmlns:a16="http://schemas.microsoft.com/office/drawing/2014/main" id="{BB628477-A926-8A57-CD7D-6A6DF7BC11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1" name="Freeform 81">
                <a:extLst>
                  <a:ext uri="{FF2B5EF4-FFF2-40B4-BE49-F238E27FC236}">
                    <a16:creationId xmlns:a16="http://schemas.microsoft.com/office/drawing/2014/main" id="{AD41402C-198A-2994-5317-449D7E2071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2" name="Freeform 82">
                <a:extLst>
                  <a:ext uri="{FF2B5EF4-FFF2-40B4-BE49-F238E27FC236}">
                    <a16:creationId xmlns:a16="http://schemas.microsoft.com/office/drawing/2014/main" id="{102FBF72-9A5F-8B94-EE93-F01651B5D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3" name="Freeform 83">
                <a:extLst>
                  <a:ext uri="{FF2B5EF4-FFF2-40B4-BE49-F238E27FC236}">
                    <a16:creationId xmlns:a16="http://schemas.microsoft.com/office/drawing/2014/main" id="{C85DA1AF-1067-5315-5EA4-97200EC4A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4" name="Freeform 84">
                <a:extLst>
                  <a:ext uri="{FF2B5EF4-FFF2-40B4-BE49-F238E27FC236}">
                    <a16:creationId xmlns:a16="http://schemas.microsoft.com/office/drawing/2014/main" id="{BC0E9D44-5171-1DE7-0AE2-B82EB4C69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5" name="Freeform 85">
                <a:extLst>
                  <a:ext uri="{FF2B5EF4-FFF2-40B4-BE49-F238E27FC236}">
                    <a16:creationId xmlns:a16="http://schemas.microsoft.com/office/drawing/2014/main" id="{C5825207-9F0A-DABB-F965-482D15284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6" name="Freeform 86">
                <a:extLst>
                  <a:ext uri="{FF2B5EF4-FFF2-40B4-BE49-F238E27FC236}">
                    <a16:creationId xmlns:a16="http://schemas.microsoft.com/office/drawing/2014/main" id="{70C39E6E-92EA-F690-0E40-5B2952310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7" name="Freeform 87">
                <a:extLst>
                  <a:ext uri="{FF2B5EF4-FFF2-40B4-BE49-F238E27FC236}">
                    <a16:creationId xmlns:a16="http://schemas.microsoft.com/office/drawing/2014/main" id="{0BAE0096-358B-48A8-FA04-B606FDCC2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8" name="Freeform 88">
                <a:extLst>
                  <a:ext uri="{FF2B5EF4-FFF2-40B4-BE49-F238E27FC236}">
                    <a16:creationId xmlns:a16="http://schemas.microsoft.com/office/drawing/2014/main" id="{F89BBA07-C743-F8B3-E507-05A5BDFA6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9" name="Freeform 89">
                <a:extLst>
                  <a:ext uri="{FF2B5EF4-FFF2-40B4-BE49-F238E27FC236}">
                    <a16:creationId xmlns:a16="http://schemas.microsoft.com/office/drawing/2014/main" id="{BE18EBE4-BCBE-DBCA-1698-7794B0BF3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0" name="Freeform 90">
                <a:extLst>
                  <a:ext uri="{FF2B5EF4-FFF2-40B4-BE49-F238E27FC236}">
                    <a16:creationId xmlns:a16="http://schemas.microsoft.com/office/drawing/2014/main" id="{507E97C8-7A60-419A-D4E0-2E452ACB0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1" name="Freeform 91">
                <a:extLst>
                  <a:ext uri="{FF2B5EF4-FFF2-40B4-BE49-F238E27FC236}">
                    <a16:creationId xmlns:a16="http://schemas.microsoft.com/office/drawing/2014/main" id="{8ED4392E-D047-7C23-1A1C-8E862CB76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2" name="Freeform 92">
                <a:extLst>
                  <a:ext uri="{FF2B5EF4-FFF2-40B4-BE49-F238E27FC236}">
                    <a16:creationId xmlns:a16="http://schemas.microsoft.com/office/drawing/2014/main" id="{EF27030B-FE16-C358-7A37-FA727CAE5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3" name="Freeform 93">
                <a:extLst>
                  <a:ext uri="{FF2B5EF4-FFF2-40B4-BE49-F238E27FC236}">
                    <a16:creationId xmlns:a16="http://schemas.microsoft.com/office/drawing/2014/main" id="{3D5F0E4A-E0F1-179D-0D2A-21FC38967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4" name="Freeform 94">
                <a:extLst>
                  <a:ext uri="{FF2B5EF4-FFF2-40B4-BE49-F238E27FC236}">
                    <a16:creationId xmlns:a16="http://schemas.microsoft.com/office/drawing/2014/main" id="{D310419A-7AA6-98B6-1BD4-FA0B5CDA19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5" name="Freeform 95">
                <a:extLst>
                  <a:ext uri="{FF2B5EF4-FFF2-40B4-BE49-F238E27FC236}">
                    <a16:creationId xmlns:a16="http://schemas.microsoft.com/office/drawing/2014/main" id="{F015A1E0-D704-444B-9089-FADDC77DC0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6" name="Freeform 96">
                <a:extLst>
                  <a:ext uri="{FF2B5EF4-FFF2-40B4-BE49-F238E27FC236}">
                    <a16:creationId xmlns:a16="http://schemas.microsoft.com/office/drawing/2014/main" id="{230FD879-92D2-3F96-45C2-99272B4142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7" name="Freeform 97">
                <a:extLst>
                  <a:ext uri="{FF2B5EF4-FFF2-40B4-BE49-F238E27FC236}">
                    <a16:creationId xmlns:a16="http://schemas.microsoft.com/office/drawing/2014/main" id="{36285FE8-DF4F-DFFB-7450-75E647A3F4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8" name="Freeform 98">
                <a:extLst>
                  <a:ext uri="{FF2B5EF4-FFF2-40B4-BE49-F238E27FC236}">
                    <a16:creationId xmlns:a16="http://schemas.microsoft.com/office/drawing/2014/main" id="{5EE14833-CCA0-6EA4-E708-402D1846C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9" name="Freeform 99">
                <a:extLst>
                  <a:ext uri="{FF2B5EF4-FFF2-40B4-BE49-F238E27FC236}">
                    <a16:creationId xmlns:a16="http://schemas.microsoft.com/office/drawing/2014/main" id="{B174D917-8994-FF6C-49A8-9ABAA13E31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0" name="Freeform 100">
                <a:extLst>
                  <a:ext uri="{FF2B5EF4-FFF2-40B4-BE49-F238E27FC236}">
                    <a16:creationId xmlns:a16="http://schemas.microsoft.com/office/drawing/2014/main" id="{C85B003E-A439-0FB8-2E85-10C86B836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1" name="Freeform 101">
                <a:extLst>
                  <a:ext uri="{FF2B5EF4-FFF2-40B4-BE49-F238E27FC236}">
                    <a16:creationId xmlns:a16="http://schemas.microsoft.com/office/drawing/2014/main" id="{88623499-8EEE-6982-CC93-1210D92AA4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2" name="Freeform 102">
                <a:extLst>
                  <a:ext uri="{FF2B5EF4-FFF2-40B4-BE49-F238E27FC236}">
                    <a16:creationId xmlns:a16="http://schemas.microsoft.com/office/drawing/2014/main" id="{F3562DD3-676F-EC83-8627-91E022E6A8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3" name="Freeform 103">
                <a:extLst>
                  <a:ext uri="{FF2B5EF4-FFF2-40B4-BE49-F238E27FC236}">
                    <a16:creationId xmlns:a16="http://schemas.microsoft.com/office/drawing/2014/main" id="{0AA53112-9659-C3AE-3471-0B2CF6344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4" name="Freeform 104">
                <a:extLst>
                  <a:ext uri="{FF2B5EF4-FFF2-40B4-BE49-F238E27FC236}">
                    <a16:creationId xmlns:a16="http://schemas.microsoft.com/office/drawing/2014/main" id="{84CC3816-7CDF-8E74-5360-9AF88CBB7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5" name="Freeform 105">
                <a:extLst>
                  <a:ext uri="{FF2B5EF4-FFF2-40B4-BE49-F238E27FC236}">
                    <a16:creationId xmlns:a16="http://schemas.microsoft.com/office/drawing/2014/main" id="{F4F6F6DC-A8D3-CC45-73A1-AC059DD08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6" name="Freeform 106">
                <a:extLst>
                  <a:ext uri="{FF2B5EF4-FFF2-40B4-BE49-F238E27FC236}">
                    <a16:creationId xmlns:a16="http://schemas.microsoft.com/office/drawing/2014/main" id="{11C07D84-E797-1591-698A-E556EE327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7" name="Freeform 107">
                <a:extLst>
                  <a:ext uri="{FF2B5EF4-FFF2-40B4-BE49-F238E27FC236}">
                    <a16:creationId xmlns:a16="http://schemas.microsoft.com/office/drawing/2014/main" id="{B79C0BFD-01B5-3DED-D6EA-1361E2AE4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8" name="Freeform 108">
                <a:extLst>
                  <a:ext uri="{FF2B5EF4-FFF2-40B4-BE49-F238E27FC236}">
                    <a16:creationId xmlns:a16="http://schemas.microsoft.com/office/drawing/2014/main" id="{22EC579C-7844-0D68-15F0-04F1F8707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9" name="Freeform 109">
                <a:extLst>
                  <a:ext uri="{FF2B5EF4-FFF2-40B4-BE49-F238E27FC236}">
                    <a16:creationId xmlns:a16="http://schemas.microsoft.com/office/drawing/2014/main" id="{C0FB28D8-C7EF-2C51-169A-54399AD41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0" name="Freeform 110">
                <a:extLst>
                  <a:ext uri="{FF2B5EF4-FFF2-40B4-BE49-F238E27FC236}">
                    <a16:creationId xmlns:a16="http://schemas.microsoft.com/office/drawing/2014/main" id="{355EE01A-F7C0-A383-CFED-6536BC690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1" name="Freeform 111">
                <a:extLst>
                  <a:ext uri="{FF2B5EF4-FFF2-40B4-BE49-F238E27FC236}">
                    <a16:creationId xmlns:a16="http://schemas.microsoft.com/office/drawing/2014/main" id="{47FC7387-7776-376E-BD13-9E9ACAC8D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2" name="Freeform 112">
                <a:extLst>
                  <a:ext uri="{FF2B5EF4-FFF2-40B4-BE49-F238E27FC236}">
                    <a16:creationId xmlns:a16="http://schemas.microsoft.com/office/drawing/2014/main" id="{C5366F26-EB40-2734-1A21-F6001406E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3" name="Freeform 113">
                <a:extLst>
                  <a:ext uri="{FF2B5EF4-FFF2-40B4-BE49-F238E27FC236}">
                    <a16:creationId xmlns:a16="http://schemas.microsoft.com/office/drawing/2014/main" id="{1DFCB9F6-1D25-1DA8-0531-BAB109822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4" name="Freeform 114">
                <a:extLst>
                  <a:ext uri="{FF2B5EF4-FFF2-40B4-BE49-F238E27FC236}">
                    <a16:creationId xmlns:a16="http://schemas.microsoft.com/office/drawing/2014/main" id="{85E1D865-1B6E-FC4D-F05C-ED102FF0B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5" name="Freeform 115">
                <a:extLst>
                  <a:ext uri="{FF2B5EF4-FFF2-40B4-BE49-F238E27FC236}">
                    <a16:creationId xmlns:a16="http://schemas.microsoft.com/office/drawing/2014/main" id="{AF185FFC-7312-CB19-9C2F-71337F79C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6" name="Freeform 116">
                <a:extLst>
                  <a:ext uri="{FF2B5EF4-FFF2-40B4-BE49-F238E27FC236}">
                    <a16:creationId xmlns:a16="http://schemas.microsoft.com/office/drawing/2014/main" id="{FE8BAD79-B71B-424A-8486-7F66EA7C4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7" name="Freeform 117">
                <a:extLst>
                  <a:ext uri="{FF2B5EF4-FFF2-40B4-BE49-F238E27FC236}">
                    <a16:creationId xmlns:a16="http://schemas.microsoft.com/office/drawing/2014/main" id="{DC660595-1752-5696-66EA-645FA04FE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8" name="Freeform 118">
                <a:extLst>
                  <a:ext uri="{FF2B5EF4-FFF2-40B4-BE49-F238E27FC236}">
                    <a16:creationId xmlns:a16="http://schemas.microsoft.com/office/drawing/2014/main" id="{0AB3B6C8-9B21-24C2-0CED-D3EDD6631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9" name="Freeform 119">
                <a:extLst>
                  <a:ext uri="{FF2B5EF4-FFF2-40B4-BE49-F238E27FC236}">
                    <a16:creationId xmlns:a16="http://schemas.microsoft.com/office/drawing/2014/main" id="{69043C2F-4C9E-2023-F95F-E8A3ABB39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0" name="Freeform 120">
                <a:extLst>
                  <a:ext uri="{FF2B5EF4-FFF2-40B4-BE49-F238E27FC236}">
                    <a16:creationId xmlns:a16="http://schemas.microsoft.com/office/drawing/2014/main" id="{762E8FDB-9BA7-C9A6-E71B-B3E9C0E94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1" name="Freeform 121">
                <a:extLst>
                  <a:ext uri="{FF2B5EF4-FFF2-40B4-BE49-F238E27FC236}">
                    <a16:creationId xmlns:a16="http://schemas.microsoft.com/office/drawing/2014/main" id="{0FDE1048-96DB-566F-29A2-48E14410B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2" name="Freeform 122">
                <a:extLst>
                  <a:ext uri="{FF2B5EF4-FFF2-40B4-BE49-F238E27FC236}">
                    <a16:creationId xmlns:a16="http://schemas.microsoft.com/office/drawing/2014/main" id="{AA729A75-A22F-CD3F-635E-369BAA085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3" name="Freeform 123">
                <a:extLst>
                  <a:ext uri="{FF2B5EF4-FFF2-40B4-BE49-F238E27FC236}">
                    <a16:creationId xmlns:a16="http://schemas.microsoft.com/office/drawing/2014/main" id="{564F4AE2-8B3F-8139-004F-04B657944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4" name="Freeform 124">
                <a:extLst>
                  <a:ext uri="{FF2B5EF4-FFF2-40B4-BE49-F238E27FC236}">
                    <a16:creationId xmlns:a16="http://schemas.microsoft.com/office/drawing/2014/main" id="{AF9A7E9F-25D6-1542-2D31-414A4B070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5" name="Freeform 125">
                <a:extLst>
                  <a:ext uri="{FF2B5EF4-FFF2-40B4-BE49-F238E27FC236}">
                    <a16:creationId xmlns:a16="http://schemas.microsoft.com/office/drawing/2014/main" id="{3BB8AB73-8098-7F4B-29E5-7D2E4D1E4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6" name="Freeform 126">
                <a:extLst>
                  <a:ext uri="{FF2B5EF4-FFF2-40B4-BE49-F238E27FC236}">
                    <a16:creationId xmlns:a16="http://schemas.microsoft.com/office/drawing/2014/main" id="{3EF225DA-B1F2-A4C6-38E2-4FF4D4108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7" name="Freeform 127">
                <a:extLst>
                  <a:ext uri="{FF2B5EF4-FFF2-40B4-BE49-F238E27FC236}">
                    <a16:creationId xmlns:a16="http://schemas.microsoft.com/office/drawing/2014/main" id="{CE094166-5380-4936-E557-1D9A3FF28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8" name="Freeform 128">
                <a:extLst>
                  <a:ext uri="{FF2B5EF4-FFF2-40B4-BE49-F238E27FC236}">
                    <a16:creationId xmlns:a16="http://schemas.microsoft.com/office/drawing/2014/main" id="{2D453892-E9E6-3B23-DC45-20D1EBAD1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9" name="Freeform 129">
                <a:extLst>
                  <a:ext uri="{FF2B5EF4-FFF2-40B4-BE49-F238E27FC236}">
                    <a16:creationId xmlns:a16="http://schemas.microsoft.com/office/drawing/2014/main" id="{3DDC9F98-2681-2565-B2F5-150F12712F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0" name="Freeform 130">
                <a:extLst>
                  <a:ext uri="{FF2B5EF4-FFF2-40B4-BE49-F238E27FC236}">
                    <a16:creationId xmlns:a16="http://schemas.microsoft.com/office/drawing/2014/main" id="{19E5A3C8-E2C0-16F6-7126-D5BC5D62C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1" name="Freeform 131">
                <a:extLst>
                  <a:ext uri="{FF2B5EF4-FFF2-40B4-BE49-F238E27FC236}">
                    <a16:creationId xmlns:a16="http://schemas.microsoft.com/office/drawing/2014/main" id="{5CB7EA64-2C49-E192-FD8C-260A075F9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2" name="Freeform 132">
                <a:extLst>
                  <a:ext uri="{FF2B5EF4-FFF2-40B4-BE49-F238E27FC236}">
                    <a16:creationId xmlns:a16="http://schemas.microsoft.com/office/drawing/2014/main" id="{EAF04F3B-3E5E-77E3-8103-536BD4E1E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3" name="Freeform 133">
                <a:extLst>
                  <a:ext uri="{FF2B5EF4-FFF2-40B4-BE49-F238E27FC236}">
                    <a16:creationId xmlns:a16="http://schemas.microsoft.com/office/drawing/2014/main" id="{C70B9A35-2D79-62AA-4F0C-E6772ADE1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4" name="Freeform 134">
                <a:extLst>
                  <a:ext uri="{FF2B5EF4-FFF2-40B4-BE49-F238E27FC236}">
                    <a16:creationId xmlns:a16="http://schemas.microsoft.com/office/drawing/2014/main" id="{92C7F9BE-C37F-1E46-09BE-0257F2514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5" name="Freeform 135">
                <a:extLst>
                  <a:ext uri="{FF2B5EF4-FFF2-40B4-BE49-F238E27FC236}">
                    <a16:creationId xmlns:a16="http://schemas.microsoft.com/office/drawing/2014/main" id="{3B18AA5A-7643-A2E6-895B-6D9E05CB1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6" name="Freeform 136">
                <a:extLst>
                  <a:ext uri="{FF2B5EF4-FFF2-40B4-BE49-F238E27FC236}">
                    <a16:creationId xmlns:a16="http://schemas.microsoft.com/office/drawing/2014/main" id="{7F5D827D-AF3F-7543-BB2D-62B085392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7" name="Freeform 137">
                <a:extLst>
                  <a:ext uri="{FF2B5EF4-FFF2-40B4-BE49-F238E27FC236}">
                    <a16:creationId xmlns:a16="http://schemas.microsoft.com/office/drawing/2014/main" id="{A947BAD6-D28F-1F68-E4FD-42699740D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8" name="Freeform 138">
                <a:extLst>
                  <a:ext uri="{FF2B5EF4-FFF2-40B4-BE49-F238E27FC236}">
                    <a16:creationId xmlns:a16="http://schemas.microsoft.com/office/drawing/2014/main" id="{407EEC01-A050-0AD4-80E0-B03DAE4AA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9" name="Freeform 139">
                <a:extLst>
                  <a:ext uri="{FF2B5EF4-FFF2-40B4-BE49-F238E27FC236}">
                    <a16:creationId xmlns:a16="http://schemas.microsoft.com/office/drawing/2014/main" id="{C196B76A-288C-8CBD-4630-DA7856141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0" name="Freeform 140">
                <a:extLst>
                  <a:ext uri="{FF2B5EF4-FFF2-40B4-BE49-F238E27FC236}">
                    <a16:creationId xmlns:a16="http://schemas.microsoft.com/office/drawing/2014/main" id="{75FE204F-073E-0359-EC47-07E1DDF63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1" name="Freeform 141">
                <a:extLst>
                  <a:ext uri="{FF2B5EF4-FFF2-40B4-BE49-F238E27FC236}">
                    <a16:creationId xmlns:a16="http://schemas.microsoft.com/office/drawing/2014/main" id="{496E1831-572F-AB93-5E40-EE90178B0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2" name="Freeform 142">
                <a:extLst>
                  <a:ext uri="{FF2B5EF4-FFF2-40B4-BE49-F238E27FC236}">
                    <a16:creationId xmlns:a16="http://schemas.microsoft.com/office/drawing/2014/main" id="{423A02E6-1506-BD38-4636-291583BD2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3" name="Freeform 143">
                <a:extLst>
                  <a:ext uri="{FF2B5EF4-FFF2-40B4-BE49-F238E27FC236}">
                    <a16:creationId xmlns:a16="http://schemas.microsoft.com/office/drawing/2014/main" id="{00808FC2-8DD3-882D-5E92-C545C2951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4" name="Freeform 144">
                <a:extLst>
                  <a:ext uri="{FF2B5EF4-FFF2-40B4-BE49-F238E27FC236}">
                    <a16:creationId xmlns:a16="http://schemas.microsoft.com/office/drawing/2014/main" id="{FF1D76B3-2132-8386-1744-7CAD6AF0C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5" name="Freeform 145">
                <a:extLst>
                  <a:ext uri="{FF2B5EF4-FFF2-40B4-BE49-F238E27FC236}">
                    <a16:creationId xmlns:a16="http://schemas.microsoft.com/office/drawing/2014/main" id="{C6C0545B-7ECB-F02D-1173-1864B9321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6" name="Freeform 146">
                <a:extLst>
                  <a:ext uri="{FF2B5EF4-FFF2-40B4-BE49-F238E27FC236}">
                    <a16:creationId xmlns:a16="http://schemas.microsoft.com/office/drawing/2014/main" id="{B93AD12F-9CBF-8044-B4EA-FA7F6F2AB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7" name="Freeform 147">
                <a:extLst>
                  <a:ext uri="{FF2B5EF4-FFF2-40B4-BE49-F238E27FC236}">
                    <a16:creationId xmlns:a16="http://schemas.microsoft.com/office/drawing/2014/main" id="{8001FECA-3CDC-BE25-3A10-9861B157A5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8" name="Freeform 148">
                <a:extLst>
                  <a:ext uri="{FF2B5EF4-FFF2-40B4-BE49-F238E27FC236}">
                    <a16:creationId xmlns:a16="http://schemas.microsoft.com/office/drawing/2014/main" id="{288EF42A-754A-38C1-51A8-C96C1EC483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9" name="Freeform 149">
                <a:extLst>
                  <a:ext uri="{FF2B5EF4-FFF2-40B4-BE49-F238E27FC236}">
                    <a16:creationId xmlns:a16="http://schemas.microsoft.com/office/drawing/2014/main" id="{3EBF525B-9873-F960-BC14-DA44B7013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0" name="Freeform 150">
                <a:extLst>
                  <a:ext uri="{FF2B5EF4-FFF2-40B4-BE49-F238E27FC236}">
                    <a16:creationId xmlns:a16="http://schemas.microsoft.com/office/drawing/2014/main" id="{5DCBFD19-FE75-2199-F87B-D93728174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1" name="Freeform 151">
                <a:extLst>
                  <a:ext uri="{FF2B5EF4-FFF2-40B4-BE49-F238E27FC236}">
                    <a16:creationId xmlns:a16="http://schemas.microsoft.com/office/drawing/2014/main" id="{F97582C5-EE73-2FB5-0649-74DC18A30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2" name="Freeform 152">
                <a:extLst>
                  <a:ext uri="{FF2B5EF4-FFF2-40B4-BE49-F238E27FC236}">
                    <a16:creationId xmlns:a16="http://schemas.microsoft.com/office/drawing/2014/main" id="{27527CFC-19BD-F239-D55B-75D2E0483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3" name="Freeform 153">
                <a:extLst>
                  <a:ext uri="{FF2B5EF4-FFF2-40B4-BE49-F238E27FC236}">
                    <a16:creationId xmlns:a16="http://schemas.microsoft.com/office/drawing/2014/main" id="{FEB7D9E3-BC35-8D6E-09FA-0C8FDBA6A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4" name="Freeform 154">
                <a:extLst>
                  <a:ext uri="{FF2B5EF4-FFF2-40B4-BE49-F238E27FC236}">
                    <a16:creationId xmlns:a16="http://schemas.microsoft.com/office/drawing/2014/main" id="{5AE3B643-4BF0-88B5-DFB3-92093C180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5" name="Freeform 155">
                <a:extLst>
                  <a:ext uri="{FF2B5EF4-FFF2-40B4-BE49-F238E27FC236}">
                    <a16:creationId xmlns:a16="http://schemas.microsoft.com/office/drawing/2014/main" id="{0E2D9366-7ABE-55A3-50CA-B6477976BB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6" name="Freeform 156">
                <a:extLst>
                  <a:ext uri="{FF2B5EF4-FFF2-40B4-BE49-F238E27FC236}">
                    <a16:creationId xmlns:a16="http://schemas.microsoft.com/office/drawing/2014/main" id="{571255AC-B7C6-42C6-3377-D85C6D3FA6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7" name="Freeform 157">
                <a:extLst>
                  <a:ext uri="{FF2B5EF4-FFF2-40B4-BE49-F238E27FC236}">
                    <a16:creationId xmlns:a16="http://schemas.microsoft.com/office/drawing/2014/main" id="{E3412AC6-A654-7258-9F7C-6ACB3DAAD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8" name="Freeform 158">
                <a:extLst>
                  <a:ext uri="{FF2B5EF4-FFF2-40B4-BE49-F238E27FC236}">
                    <a16:creationId xmlns:a16="http://schemas.microsoft.com/office/drawing/2014/main" id="{B5B8A4D7-7CE4-E554-23F2-0685159C84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9" name="Freeform 159">
                <a:extLst>
                  <a:ext uri="{FF2B5EF4-FFF2-40B4-BE49-F238E27FC236}">
                    <a16:creationId xmlns:a16="http://schemas.microsoft.com/office/drawing/2014/main" id="{18CDCDCF-9E26-006B-9774-E8819B9C8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0" name="Freeform 160">
                <a:extLst>
                  <a:ext uri="{FF2B5EF4-FFF2-40B4-BE49-F238E27FC236}">
                    <a16:creationId xmlns:a16="http://schemas.microsoft.com/office/drawing/2014/main" id="{F75D6813-4A13-74A6-D9C2-71814F058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1" name="Freeform 161">
                <a:extLst>
                  <a:ext uri="{FF2B5EF4-FFF2-40B4-BE49-F238E27FC236}">
                    <a16:creationId xmlns:a16="http://schemas.microsoft.com/office/drawing/2014/main" id="{41589F2A-ECAD-86C4-010A-ED9D6D9A09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2" name="Freeform 162">
                <a:extLst>
                  <a:ext uri="{FF2B5EF4-FFF2-40B4-BE49-F238E27FC236}">
                    <a16:creationId xmlns:a16="http://schemas.microsoft.com/office/drawing/2014/main" id="{D248099B-E50D-44A0-2C10-358B022EEC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3" name="Freeform 163">
                <a:extLst>
                  <a:ext uri="{FF2B5EF4-FFF2-40B4-BE49-F238E27FC236}">
                    <a16:creationId xmlns:a16="http://schemas.microsoft.com/office/drawing/2014/main" id="{D987CA08-3A7D-C480-46B6-42639911AF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4" name="Freeform 164">
                <a:extLst>
                  <a:ext uri="{FF2B5EF4-FFF2-40B4-BE49-F238E27FC236}">
                    <a16:creationId xmlns:a16="http://schemas.microsoft.com/office/drawing/2014/main" id="{274821DD-9374-EB5F-2876-38989C2AB4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5" name="Freeform 165">
                <a:extLst>
                  <a:ext uri="{FF2B5EF4-FFF2-40B4-BE49-F238E27FC236}">
                    <a16:creationId xmlns:a16="http://schemas.microsoft.com/office/drawing/2014/main" id="{DF7EAC81-6DF4-EEC8-2872-F4DB19B72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6" name="Freeform 166">
                <a:extLst>
                  <a:ext uri="{FF2B5EF4-FFF2-40B4-BE49-F238E27FC236}">
                    <a16:creationId xmlns:a16="http://schemas.microsoft.com/office/drawing/2014/main" id="{E5DFBE33-12B9-5D64-3E00-DF7A08E8B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7" name="Freeform 167">
                <a:extLst>
                  <a:ext uri="{FF2B5EF4-FFF2-40B4-BE49-F238E27FC236}">
                    <a16:creationId xmlns:a16="http://schemas.microsoft.com/office/drawing/2014/main" id="{B0473450-34E4-E9BA-FC01-F8074F5C38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8" name="Freeform 168">
                <a:extLst>
                  <a:ext uri="{FF2B5EF4-FFF2-40B4-BE49-F238E27FC236}">
                    <a16:creationId xmlns:a16="http://schemas.microsoft.com/office/drawing/2014/main" id="{18AE8BF0-9617-E009-804E-FFE15F257F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9" name="Freeform 169">
                <a:extLst>
                  <a:ext uri="{FF2B5EF4-FFF2-40B4-BE49-F238E27FC236}">
                    <a16:creationId xmlns:a16="http://schemas.microsoft.com/office/drawing/2014/main" id="{C81A5364-56CF-223C-F581-D72DC9C0D6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0" name="Freeform 170">
                <a:extLst>
                  <a:ext uri="{FF2B5EF4-FFF2-40B4-BE49-F238E27FC236}">
                    <a16:creationId xmlns:a16="http://schemas.microsoft.com/office/drawing/2014/main" id="{F0DECC7D-2DD1-B310-554F-29F66D1EF9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1" name="Freeform 171">
                <a:extLst>
                  <a:ext uri="{FF2B5EF4-FFF2-40B4-BE49-F238E27FC236}">
                    <a16:creationId xmlns:a16="http://schemas.microsoft.com/office/drawing/2014/main" id="{F0AACB03-B426-3F5E-DDB7-D30399951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2" name="Freeform 172">
                <a:extLst>
                  <a:ext uri="{FF2B5EF4-FFF2-40B4-BE49-F238E27FC236}">
                    <a16:creationId xmlns:a16="http://schemas.microsoft.com/office/drawing/2014/main" id="{676AC767-53A7-4CA8-0AE8-4E90682C2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3" name="Freeform 173">
                <a:extLst>
                  <a:ext uri="{FF2B5EF4-FFF2-40B4-BE49-F238E27FC236}">
                    <a16:creationId xmlns:a16="http://schemas.microsoft.com/office/drawing/2014/main" id="{E49659F9-B8A2-148F-97BD-292852D07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4" name="Freeform 174">
                <a:extLst>
                  <a:ext uri="{FF2B5EF4-FFF2-40B4-BE49-F238E27FC236}">
                    <a16:creationId xmlns:a16="http://schemas.microsoft.com/office/drawing/2014/main" id="{05C4EE70-24A3-3105-193C-E8966B650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5" name="Freeform 175">
                <a:extLst>
                  <a:ext uri="{FF2B5EF4-FFF2-40B4-BE49-F238E27FC236}">
                    <a16:creationId xmlns:a16="http://schemas.microsoft.com/office/drawing/2014/main" id="{1713E976-8DC7-F4B2-A46E-773DCB7864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6" name="Freeform 176">
                <a:extLst>
                  <a:ext uri="{FF2B5EF4-FFF2-40B4-BE49-F238E27FC236}">
                    <a16:creationId xmlns:a16="http://schemas.microsoft.com/office/drawing/2014/main" id="{92F1A1C6-C8CE-A19B-B101-1A8E45C72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7" name="Freeform 177">
                <a:extLst>
                  <a:ext uri="{FF2B5EF4-FFF2-40B4-BE49-F238E27FC236}">
                    <a16:creationId xmlns:a16="http://schemas.microsoft.com/office/drawing/2014/main" id="{DF84F3C4-6AC8-025E-B309-500E7A6E1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8" name="Freeform 178">
                <a:extLst>
                  <a:ext uri="{FF2B5EF4-FFF2-40B4-BE49-F238E27FC236}">
                    <a16:creationId xmlns:a16="http://schemas.microsoft.com/office/drawing/2014/main" id="{3D6477EF-7763-28B7-9758-1FC9508E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9" name="Freeform 179">
                <a:extLst>
                  <a:ext uri="{FF2B5EF4-FFF2-40B4-BE49-F238E27FC236}">
                    <a16:creationId xmlns:a16="http://schemas.microsoft.com/office/drawing/2014/main" id="{35229632-BA65-BA6F-78F7-63E023732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0" name="Freeform 180">
                <a:extLst>
                  <a:ext uri="{FF2B5EF4-FFF2-40B4-BE49-F238E27FC236}">
                    <a16:creationId xmlns:a16="http://schemas.microsoft.com/office/drawing/2014/main" id="{7193EE68-D05B-B05F-A159-3E0846812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1" name="Freeform 181">
                <a:extLst>
                  <a:ext uri="{FF2B5EF4-FFF2-40B4-BE49-F238E27FC236}">
                    <a16:creationId xmlns:a16="http://schemas.microsoft.com/office/drawing/2014/main" id="{25FAF9BC-FDE7-4743-3525-E96AA4495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2" name="Freeform 182">
                <a:extLst>
                  <a:ext uri="{FF2B5EF4-FFF2-40B4-BE49-F238E27FC236}">
                    <a16:creationId xmlns:a16="http://schemas.microsoft.com/office/drawing/2014/main" id="{F9B1778A-DF65-95AB-90F9-F7D2D6AD9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3" name="Freeform 183">
                <a:extLst>
                  <a:ext uri="{FF2B5EF4-FFF2-40B4-BE49-F238E27FC236}">
                    <a16:creationId xmlns:a16="http://schemas.microsoft.com/office/drawing/2014/main" id="{6078A95C-C743-13F5-464F-62924B6F7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4" name="Freeform 184">
                <a:extLst>
                  <a:ext uri="{FF2B5EF4-FFF2-40B4-BE49-F238E27FC236}">
                    <a16:creationId xmlns:a16="http://schemas.microsoft.com/office/drawing/2014/main" id="{D71D6322-CB1B-7F4A-D2F8-D4EF9A9C2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5" name="Freeform 185">
                <a:extLst>
                  <a:ext uri="{FF2B5EF4-FFF2-40B4-BE49-F238E27FC236}">
                    <a16:creationId xmlns:a16="http://schemas.microsoft.com/office/drawing/2014/main" id="{18254DE4-FD25-7DC2-53AA-65EA7D17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6" name="Freeform 186">
                <a:extLst>
                  <a:ext uri="{FF2B5EF4-FFF2-40B4-BE49-F238E27FC236}">
                    <a16:creationId xmlns:a16="http://schemas.microsoft.com/office/drawing/2014/main" id="{FA168E54-DFD3-4F7F-77D5-53BB51559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7" name="Freeform 187">
                <a:extLst>
                  <a:ext uri="{FF2B5EF4-FFF2-40B4-BE49-F238E27FC236}">
                    <a16:creationId xmlns:a16="http://schemas.microsoft.com/office/drawing/2014/main" id="{C6056093-01DA-F7BE-E63D-47331C870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8" name="Freeform 188">
                <a:extLst>
                  <a:ext uri="{FF2B5EF4-FFF2-40B4-BE49-F238E27FC236}">
                    <a16:creationId xmlns:a16="http://schemas.microsoft.com/office/drawing/2014/main" id="{7B5C4C9D-49EC-C505-CC22-58E848D81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9" name="Freeform 189">
                <a:extLst>
                  <a:ext uri="{FF2B5EF4-FFF2-40B4-BE49-F238E27FC236}">
                    <a16:creationId xmlns:a16="http://schemas.microsoft.com/office/drawing/2014/main" id="{32FF3611-8DF7-E05F-6AA0-908F1B1B2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0" name="Freeform 190">
                <a:extLst>
                  <a:ext uri="{FF2B5EF4-FFF2-40B4-BE49-F238E27FC236}">
                    <a16:creationId xmlns:a16="http://schemas.microsoft.com/office/drawing/2014/main" id="{961886FC-72B0-56D8-B892-64459E08A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1" name="Freeform 191">
                <a:extLst>
                  <a:ext uri="{FF2B5EF4-FFF2-40B4-BE49-F238E27FC236}">
                    <a16:creationId xmlns:a16="http://schemas.microsoft.com/office/drawing/2014/main" id="{CC8486A4-8CC8-069D-2EA4-94AE6E448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2" name="Freeform 192">
                <a:extLst>
                  <a:ext uri="{FF2B5EF4-FFF2-40B4-BE49-F238E27FC236}">
                    <a16:creationId xmlns:a16="http://schemas.microsoft.com/office/drawing/2014/main" id="{63BD127A-708B-787A-BF64-781CC02805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3" name="Freeform 193">
                <a:extLst>
                  <a:ext uri="{FF2B5EF4-FFF2-40B4-BE49-F238E27FC236}">
                    <a16:creationId xmlns:a16="http://schemas.microsoft.com/office/drawing/2014/main" id="{2C718027-9F56-7984-4198-5FD30F949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4" name="Freeform 194">
                <a:extLst>
                  <a:ext uri="{FF2B5EF4-FFF2-40B4-BE49-F238E27FC236}">
                    <a16:creationId xmlns:a16="http://schemas.microsoft.com/office/drawing/2014/main" id="{A8B0F358-1605-37A9-66EB-0AA4C9F8D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5" name="Freeform 195">
                <a:extLst>
                  <a:ext uri="{FF2B5EF4-FFF2-40B4-BE49-F238E27FC236}">
                    <a16:creationId xmlns:a16="http://schemas.microsoft.com/office/drawing/2014/main" id="{78357334-E89A-13FA-7772-4372EDC84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6" name="Freeform 196">
                <a:extLst>
                  <a:ext uri="{FF2B5EF4-FFF2-40B4-BE49-F238E27FC236}">
                    <a16:creationId xmlns:a16="http://schemas.microsoft.com/office/drawing/2014/main" id="{550FBFEB-91D3-F9AE-07CD-B4FA4B6E3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7" name="Freeform 197">
                <a:extLst>
                  <a:ext uri="{FF2B5EF4-FFF2-40B4-BE49-F238E27FC236}">
                    <a16:creationId xmlns:a16="http://schemas.microsoft.com/office/drawing/2014/main" id="{9FB446C3-8FA3-7146-705B-21389C915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8" name="Freeform 198">
                <a:extLst>
                  <a:ext uri="{FF2B5EF4-FFF2-40B4-BE49-F238E27FC236}">
                    <a16:creationId xmlns:a16="http://schemas.microsoft.com/office/drawing/2014/main" id="{D6B68B1F-4EE4-838E-9098-084E91772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9" name="Freeform 199">
                <a:extLst>
                  <a:ext uri="{FF2B5EF4-FFF2-40B4-BE49-F238E27FC236}">
                    <a16:creationId xmlns:a16="http://schemas.microsoft.com/office/drawing/2014/main" id="{BA48BC63-13EF-8D5D-4FE4-E5B315EEC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0" name="Freeform 200">
                <a:extLst>
                  <a:ext uri="{FF2B5EF4-FFF2-40B4-BE49-F238E27FC236}">
                    <a16:creationId xmlns:a16="http://schemas.microsoft.com/office/drawing/2014/main" id="{F9C05B6B-274F-4875-84B4-572ABE3388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1" name="Freeform 201">
                <a:extLst>
                  <a:ext uri="{FF2B5EF4-FFF2-40B4-BE49-F238E27FC236}">
                    <a16:creationId xmlns:a16="http://schemas.microsoft.com/office/drawing/2014/main" id="{B2C5C201-0E18-835B-ABC5-E1E38445DE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2" name="Freeform 202">
                <a:extLst>
                  <a:ext uri="{FF2B5EF4-FFF2-40B4-BE49-F238E27FC236}">
                    <a16:creationId xmlns:a16="http://schemas.microsoft.com/office/drawing/2014/main" id="{E25700D1-0512-7E82-056F-7A9BE5C0D3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3" name="Freeform 203">
                <a:extLst>
                  <a:ext uri="{FF2B5EF4-FFF2-40B4-BE49-F238E27FC236}">
                    <a16:creationId xmlns:a16="http://schemas.microsoft.com/office/drawing/2014/main" id="{8445E018-6F44-67DB-C875-11DD32B684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4" name="Freeform 204">
                <a:extLst>
                  <a:ext uri="{FF2B5EF4-FFF2-40B4-BE49-F238E27FC236}">
                    <a16:creationId xmlns:a16="http://schemas.microsoft.com/office/drawing/2014/main" id="{89B06F17-46AD-B70C-E3E0-56C47ADEDA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2" name="Freeform 206">
              <a:extLst>
                <a:ext uri="{FF2B5EF4-FFF2-40B4-BE49-F238E27FC236}">
                  <a16:creationId xmlns:a16="http://schemas.microsoft.com/office/drawing/2014/main" id="{4C270412-EDAF-A765-4901-A0B861DA57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207">
              <a:extLst>
                <a:ext uri="{FF2B5EF4-FFF2-40B4-BE49-F238E27FC236}">
                  <a16:creationId xmlns:a16="http://schemas.microsoft.com/office/drawing/2014/main" id="{D948B361-53AA-86F4-86D9-25D32CFAD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208">
              <a:extLst>
                <a:ext uri="{FF2B5EF4-FFF2-40B4-BE49-F238E27FC236}">
                  <a16:creationId xmlns:a16="http://schemas.microsoft.com/office/drawing/2014/main" id="{9CD8117F-631B-F092-1492-69C1D70DB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209">
              <a:extLst>
                <a:ext uri="{FF2B5EF4-FFF2-40B4-BE49-F238E27FC236}">
                  <a16:creationId xmlns:a16="http://schemas.microsoft.com/office/drawing/2014/main" id="{CB778FA7-E0D2-64E8-37B4-7E1FB7EFA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10">
              <a:extLst>
                <a:ext uri="{FF2B5EF4-FFF2-40B4-BE49-F238E27FC236}">
                  <a16:creationId xmlns:a16="http://schemas.microsoft.com/office/drawing/2014/main" id="{8631F7AD-08AE-C845-E17B-02A70D89F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211">
              <a:extLst>
                <a:ext uri="{FF2B5EF4-FFF2-40B4-BE49-F238E27FC236}">
                  <a16:creationId xmlns:a16="http://schemas.microsoft.com/office/drawing/2014/main" id="{F9228070-9198-1876-F664-5E4D07F4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12">
              <a:extLst>
                <a:ext uri="{FF2B5EF4-FFF2-40B4-BE49-F238E27FC236}">
                  <a16:creationId xmlns:a16="http://schemas.microsoft.com/office/drawing/2014/main" id="{B96A8AB5-1197-8E07-78FF-B26B99B08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213">
              <a:extLst>
                <a:ext uri="{FF2B5EF4-FFF2-40B4-BE49-F238E27FC236}">
                  <a16:creationId xmlns:a16="http://schemas.microsoft.com/office/drawing/2014/main" id="{132F11EF-6C6B-EAA8-EA98-E053D675F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14">
              <a:extLst>
                <a:ext uri="{FF2B5EF4-FFF2-40B4-BE49-F238E27FC236}">
                  <a16:creationId xmlns:a16="http://schemas.microsoft.com/office/drawing/2014/main" id="{C961F3AB-69A6-182D-857B-31B391003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215">
              <a:extLst>
                <a:ext uri="{FF2B5EF4-FFF2-40B4-BE49-F238E27FC236}">
                  <a16:creationId xmlns:a16="http://schemas.microsoft.com/office/drawing/2014/main" id="{27D60BE1-06F1-97B2-70E5-F39B47323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16">
              <a:extLst>
                <a:ext uri="{FF2B5EF4-FFF2-40B4-BE49-F238E27FC236}">
                  <a16:creationId xmlns:a16="http://schemas.microsoft.com/office/drawing/2014/main" id="{9E1AA4F3-B1A1-E5C5-3281-6C34510C5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17">
              <a:extLst>
                <a:ext uri="{FF2B5EF4-FFF2-40B4-BE49-F238E27FC236}">
                  <a16:creationId xmlns:a16="http://schemas.microsoft.com/office/drawing/2014/main" id="{F2BD43B6-E512-98C2-CAA4-61516B555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218">
              <a:extLst>
                <a:ext uri="{FF2B5EF4-FFF2-40B4-BE49-F238E27FC236}">
                  <a16:creationId xmlns:a16="http://schemas.microsoft.com/office/drawing/2014/main" id="{B1408720-92D3-C8A7-547C-592538463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19">
              <a:extLst>
                <a:ext uri="{FF2B5EF4-FFF2-40B4-BE49-F238E27FC236}">
                  <a16:creationId xmlns:a16="http://schemas.microsoft.com/office/drawing/2014/main" id="{02F6FE1F-0509-A50E-E590-02B93AB55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20">
              <a:extLst>
                <a:ext uri="{FF2B5EF4-FFF2-40B4-BE49-F238E27FC236}">
                  <a16:creationId xmlns:a16="http://schemas.microsoft.com/office/drawing/2014/main" id="{298BD805-4BC1-40CF-F37B-F39D715A3D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21">
              <a:extLst>
                <a:ext uri="{FF2B5EF4-FFF2-40B4-BE49-F238E27FC236}">
                  <a16:creationId xmlns:a16="http://schemas.microsoft.com/office/drawing/2014/main" id="{0572CEF5-EA81-F6D1-FD46-B7202D64C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22">
              <a:extLst>
                <a:ext uri="{FF2B5EF4-FFF2-40B4-BE49-F238E27FC236}">
                  <a16:creationId xmlns:a16="http://schemas.microsoft.com/office/drawing/2014/main" id="{E818C551-7183-0369-E47B-963D536DF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223">
              <a:extLst>
                <a:ext uri="{FF2B5EF4-FFF2-40B4-BE49-F238E27FC236}">
                  <a16:creationId xmlns:a16="http://schemas.microsoft.com/office/drawing/2014/main" id="{4929BBD9-94DF-6616-F8C6-B0F7193F2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224">
              <a:extLst>
                <a:ext uri="{FF2B5EF4-FFF2-40B4-BE49-F238E27FC236}">
                  <a16:creationId xmlns:a16="http://schemas.microsoft.com/office/drawing/2014/main" id="{7A4A3870-FE16-0F56-1292-024321E1C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225">
              <a:extLst>
                <a:ext uri="{FF2B5EF4-FFF2-40B4-BE49-F238E27FC236}">
                  <a16:creationId xmlns:a16="http://schemas.microsoft.com/office/drawing/2014/main" id="{C3304D44-9D04-0DA0-823F-E6DC05EDE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68" name="Freeform 226">
              <a:extLst>
                <a:ext uri="{FF2B5EF4-FFF2-40B4-BE49-F238E27FC236}">
                  <a16:creationId xmlns:a16="http://schemas.microsoft.com/office/drawing/2014/main" id="{4F2C2DC7-E720-21BA-6D81-2AA0414A1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69" name="Freeform 227">
              <a:extLst>
                <a:ext uri="{FF2B5EF4-FFF2-40B4-BE49-F238E27FC236}">
                  <a16:creationId xmlns:a16="http://schemas.microsoft.com/office/drawing/2014/main" id="{2B0D7E07-B5EC-3295-733C-6E67BC097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1" name="Freeform 228">
              <a:extLst>
                <a:ext uri="{FF2B5EF4-FFF2-40B4-BE49-F238E27FC236}">
                  <a16:creationId xmlns:a16="http://schemas.microsoft.com/office/drawing/2014/main" id="{65E6E42B-9623-303E-836D-1A863D9E5A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2" name="Freeform 229">
              <a:extLst>
                <a:ext uri="{FF2B5EF4-FFF2-40B4-BE49-F238E27FC236}">
                  <a16:creationId xmlns:a16="http://schemas.microsoft.com/office/drawing/2014/main" id="{5E533D1D-E67E-597F-C43C-38A4C254D4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3" name="Freeform 230">
              <a:extLst>
                <a:ext uri="{FF2B5EF4-FFF2-40B4-BE49-F238E27FC236}">
                  <a16:creationId xmlns:a16="http://schemas.microsoft.com/office/drawing/2014/main" id="{71235D3F-D1DE-6BB1-4706-B458303D0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4" name="Freeform 231">
              <a:extLst>
                <a:ext uri="{FF2B5EF4-FFF2-40B4-BE49-F238E27FC236}">
                  <a16:creationId xmlns:a16="http://schemas.microsoft.com/office/drawing/2014/main" id="{6A0B04AC-A65D-2350-182C-3ED6F6898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5" name="Freeform 232">
              <a:extLst>
                <a:ext uri="{FF2B5EF4-FFF2-40B4-BE49-F238E27FC236}">
                  <a16:creationId xmlns:a16="http://schemas.microsoft.com/office/drawing/2014/main" id="{C7832644-4B7A-A52F-19BC-766AE3905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6" name="Freeform 233">
              <a:extLst>
                <a:ext uri="{FF2B5EF4-FFF2-40B4-BE49-F238E27FC236}">
                  <a16:creationId xmlns:a16="http://schemas.microsoft.com/office/drawing/2014/main" id="{45F54A5F-758F-B853-62BF-EACD7B89E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7" name="Freeform 234">
              <a:extLst>
                <a:ext uri="{FF2B5EF4-FFF2-40B4-BE49-F238E27FC236}">
                  <a16:creationId xmlns:a16="http://schemas.microsoft.com/office/drawing/2014/main" id="{EA6E8FF7-8ABE-E910-9793-6FE6630F6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8" name="Freeform 235">
              <a:extLst>
                <a:ext uri="{FF2B5EF4-FFF2-40B4-BE49-F238E27FC236}">
                  <a16:creationId xmlns:a16="http://schemas.microsoft.com/office/drawing/2014/main" id="{54031011-6CD5-E74B-5202-E8712D709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9" name="Freeform 236">
              <a:extLst>
                <a:ext uri="{FF2B5EF4-FFF2-40B4-BE49-F238E27FC236}">
                  <a16:creationId xmlns:a16="http://schemas.microsoft.com/office/drawing/2014/main" id="{38210D9F-4623-AEBD-487B-0FB8C39F8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0" name="Freeform 237">
              <a:extLst>
                <a:ext uri="{FF2B5EF4-FFF2-40B4-BE49-F238E27FC236}">
                  <a16:creationId xmlns:a16="http://schemas.microsoft.com/office/drawing/2014/main" id="{3441BA06-BDD5-10D9-F92D-5571A1F12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1" name="Freeform 238">
              <a:extLst>
                <a:ext uri="{FF2B5EF4-FFF2-40B4-BE49-F238E27FC236}">
                  <a16:creationId xmlns:a16="http://schemas.microsoft.com/office/drawing/2014/main" id="{6DCDC74F-1AC3-77EA-91AA-E977C74D1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2" name="Freeform 239">
              <a:extLst>
                <a:ext uri="{FF2B5EF4-FFF2-40B4-BE49-F238E27FC236}">
                  <a16:creationId xmlns:a16="http://schemas.microsoft.com/office/drawing/2014/main" id="{B26852D5-DDC2-EBF2-1F7B-DA10798E5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3" name="Freeform 240">
              <a:extLst>
                <a:ext uri="{FF2B5EF4-FFF2-40B4-BE49-F238E27FC236}">
                  <a16:creationId xmlns:a16="http://schemas.microsoft.com/office/drawing/2014/main" id="{BD8E5457-12C8-065A-C2EF-986638895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4" name="Freeform 241">
              <a:extLst>
                <a:ext uri="{FF2B5EF4-FFF2-40B4-BE49-F238E27FC236}">
                  <a16:creationId xmlns:a16="http://schemas.microsoft.com/office/drawing/2014/main" id="{E22BDC8C-204B-EB94-6EDA-FB9CED667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5" name="Freeform 242">
              <a:extLst>
                <a:ext uri="{FF2B5EF4-FFF2-40B4-BE49-F238E27FC236}">
                  <a16:creationId xmlns:a16="http://schemas.microsoft.com/office/drawing/2014/main" id="{4DB9DAC9-BDC7-1818-2DB4-12ECC9232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6" name="Freeform 243">
              <a:extLst>
                <a:ext uri="{FF2B5EF4-FFF2-40B4-BE49-F238E27FC236}">
                  <a16:creationId xmlns:a16="http://schemas.microsoft.com/office/drawing/2014/main" id="{04AB693C-BA3F-4270-BD75-FBC62DF7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7" name="Freeform 244">
              <a:extLst>
                <a:ext uri="{FF2B5EF4-FFF2-40B4-BE49-F238E27FC236}">
                  <a16:creationId xmlns:a16="http://schemas.microsoft.com/office/drawing/2014/main" id="{16023698-2112-3EC3-430A-4A800BE5B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8" name="Freeform 245">
              <a:extLst>
                <a:ext uri="{FF2B5EF4-FFF2-40B4-BE49-F238E27FC236}">
                  <a16:creationId xmlns:a16="http://schemas.microsoft.com/office/drawing/2014/main" id="{35CA0116-7331-71F6-1E95-80014DD5B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9" name="Freeform 246">
              <a:extLst>
                <a:ext uri="{FF2B5EF4-FFF2-40B4-BE49-F238E27FC236}">
                  <a16:creationId xmlns:a16="http://schemas.microsoft.com/office/drawing/2014/main" id="{CF01A022-E4EE-8CCA-4534-1D3B5F67D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0" name="Freeform 247">
              <a:extLst>
                <a:ext uri="{FF2B5EF4-FFF2-40B4-BE49-F238E27FC236}">
                  <a16:creationId xmlns:a16="http://schemas.microsoft.com/office/drawing/2014/main" id="{B859A3AA-BA46-9F92-027D-6F531BC94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1" name="Freeform 248">
              <a:extLst>
                <a:ext uri="{FF2B5EF4-FFF2-40B4-BE49-F238E27FC236}">
                  <a16:creationId xmlns:a16="http://schemas.microsoft.com/office/drawing/2014/main" id="{6AB19ED9-B670-DF99-D30B-6BD8A857E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2" name="Freeform 249">
              <a:extLst>
                <a:ext uri="{FF2B5EF4-FFF2-40B4-BE49-F238E27FC236}">
                  <a16:creationId xmlns:a16="http://schemas.microsoft.com/office/drawing/2014/main" id="{E8800E6D-EA3B-0E29-B060-FE8CE77F4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3" name="Freeform 250">
              <a:extLst>
                <a:ext uri="{FF2B5EF4-FFF2-40B4-BE49-F238E27FC236}">
                  <a16:creationId xmlns:a16="http://schemas.microsoft.com/office/drawing/2014/main" id="{D3E9BCEE-0F8B-1DD5-1063-F2C3A87C92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4" name="Freeform 251">
              <a:extLst>
                <a:ext uri="{FF2B5EF4-FFF2-40B4-BE49-F238E27FC236}">
                  <a16:creationId xmlns:a16="http://schemas.microsoft.com/office/drawing/2014/main" id="{285EDC0E-6E95-591B-D85E-71A7896C23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5" name="Freeform 252">
              <a:extLst>
                <a:ext uri="{FF2B5EF4-FFF2-40B4-BE49-F238E27FC236}">
                  <a16:creationId xmlns:a16="http://schemas.microsoft.com/office/drawing/2014/main" id="{5B5E7A8A-4D19-5BA1-F9F5-16165760F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6" name="Freeform 253">
              <a:extLst>
                <a:ext uri="{FF2B5EF4-FFF2-40B4-BE49-F238E27FC236}">
                  <a16:creationId xmlns:a16="http://schemas.microsoft.com/office/drawing/2014/main" id="{CDF669CA-5D52-DA43-E27D-F2D799077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7" name="Freeform 254">
              <a:extLst>
                <a:ext uri="{FF2B5EF4-FFF2-40B4-BE49-F238E27FC236}">
                  <a16:creationId xmlns:a16="http://schemas.microsoft.com/office/drawing/2014/main" id="{62C2FDCE-9380-6828-165F-A4F33C657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8" name="Freeform 255">
              <a:extLst>
                <a:ext uri="{FF2B5EF4-FFF2-40B4-BE49-F238E27FC236}">
                  <a16:creationId xmlns:a16="http://schemas.microsoft.com/office/drawing/2014/main" id="{0A282D97-3E64-07CD-4D65-13518FA6F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9" name="Freeform 256">
              <a:extLst>
                <a:ext uri="{FF2B5EF4-FFF2-40B4-BE49-F238E27FC236}">
                  <a16:creationId xmlns:a16="http://schemas.microsoft.com/office/drawing/2014/main" id="{4543DEDF-0416-675F-B65D-1FFADB1F6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0" name="Freeform 257">
              <a:extLst>
                <a:ext uri="{FF2B5EF4-FFF2-40B4-BE49-F238E27FC236}">
                  <a16:creationId xmlns:a16="http://schemas.microsoft.com/office/drawing/2014/main" id="{E89E4ABB-6881-E00F-0D82-A14EC3572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1" name="Freeform 258">
              <a:extLst>
                <a:ext uri="{FF2B5EF4-FFF2-40B4-BE49-F238E27FC236}">
                  <a16:creationId xmlns:a16="http://schemas.microsoft.com/office/drawing/2014/main" id="{511CAA54-49C2-045B-B5DE-5DBBAAA93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2" name="Freeform 259">
              <a:extLst>
                <a:ext uri="{FF2B5EF4-FFF2-40B4-BE49-F238E27FC236}">
                  <a16:creationId xmlns:a16="http://schemas.microsoft.com/office/drawing/2014/main" id="{91FC091E-1E13-7EF7-5C55-7F62AE77D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3" name="Freeform 260">
              <a:extLst>
                <a:ext uri="{FF2B5EF4-FFF2-40B4-BE49-F238E27FC236}">
                  <a16:creationId xmlns:a16="http://schemas.microsoft.com/office/drawing/2014/main" id="{94FBEA82-F16B-1C86-10C3-59A9235DE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4" name="Freeform 261">
              <a:extLst>
                <a:ext uri="{FF2B5EF4-FFF2-40B4-BE49-F238E27FC236}">
                  <a16:creationId xmlns:a16="http://schemas.microsoft.com/office/drawing/2014/main" id="{AE9A04FB-11FD-8741-7735-70AABCD23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5" name="Freeform 262">
              <a:extLst>
                <a:ext uri="{FF2B5EF4-FFF2-40B4-BE49-F238E27FC236}">
                  <a16:creationId xmlns:a16="http://schemas.microsoft.com/office/drawing/2014/main" id="{3CCE8768-765F-97AF-DA18-E39397EF2B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6" name="Freeform 263">
              <a:extLst>
                <a:ext uri="{FF2B5EF4-FFF2-40B4-BE49-F238E27FC236}">
                  <a16:creationId xmlns:a16="http://schemas.microsoft.com/office/drawing/2014/main" id="{D6B0AD81-14EF-CFF8-59EA-86DDDF9DB9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7" name="Freeform 264">
              <a:extLst>
                <a:ext uri="{FF2B5EF4-FFF2-40B4-BE49-F238E27FC236}">
                  <a16:creationId xmlns:a16="http://schemas.microsoft.com/office/drawing/2014/main" id="{5E4E32D2-9CA1-2795-3D6C-CC211C62A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8" name="Freeform 265">
              <a:extLst>
                <a:ext uri="{FF2B5EF4-FFF2-40B4-BE49-F238E27FC236}">
                  <a16:creationId xmlns:a16="http://schemas.microsoft.com/office/drawing/2014/main" id="{4DC68B62-7F3E-92C9-1F8F-B4EC9F02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9" name="Freeform 266">
              <a:extLst>
                <a:ext uri="{FF2B5EF4-FFF2-40B4-BE49-F238E27FC236}">
                  <a16:creationId xmlns:a16="http://schemas.microsoft.com/office/drawing/2014/main" id="{B5D6891E-C893-4CE8-C60B-BD977007F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0" name="Freeform 267">
              <a:extLst>
                <a:ext uri="{FF2B5EF4-FFF2-40B4-BE49-F238E27FC236}">
                  <a16:creationId xmlns:a16="http://schemas.microsoft.com/office/drawing/2014/main" id="{F2474ED8-9003-03CC-43DE-EEFC713FC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1" name="Freeform 268">
              <a:extLst>
                <a:ext uri="{FF2B5EF4-FFF2-40B4-BE49-F238E27FC236}">
                  <a16:creationId xmlns:a16="http://schemas.microsoft.com/office/drawing/2014/main" id="{8D9D214D-CC4B-ABE2-BEA6-F526E188C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2" name="Freeform 269">
              <a:extLst>
                <a:ext uri="{FF2B5EF4-FFF2-40B4-BE49-F238E27FC236}">
                  <a16:creationId xmlns:a16="http://schemas.microsoft.com/office/drawing/2014/main" id="{5CD07983-8A7C-8CDE-BD76-80CCCD96B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3" name="Freeform 270">
              <a:extLst>
                <a:ext uri="{FF2B5EF4-FFF2-40B4-BE49-F238E27FC236}">
                  <a16:creationId xmlns:a16="http://schemas.microsoft.com/office/drawing/2014/main" id="{7432E488-8D78-D061-11AA-87DBBA42F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4" name="Freeform 271">
              <a:extLst>
                <a:ext uri="{FF2B5EF4-FFF2-40B4-BE49-F238E27FC236}">
                  <a16:creationId xmlns:a16="http://schemas.microsoft.com/office/drawing/2014/main" id="{4F56D630-7F0A-4A25-BA6E-96E0B598A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5" name="Freeform 272">
              <a:extLst>
                <a:ext uri="{FF2B5EF4-FFF2-40B4-BE49-F238E27FC236}">
                  <a16:creationId xmlns:a16="http://schemas.microsoft.com/office/drawing/2014/main" id="{6F64A12B-CB81-258F-771C-6F80D2FB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6" name="Freeform 273">
              <a:extLst>
                <a:ext uri="{FF2B5EF4-FFF2-40B4-BE49-F238E27FC236}">
                  <a16:creationId xmlns:a16="http://schemas.microsoft.com/office/drawing/2014/main" id="{1775E74C-140C-1701-5185-F41345CE3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7" name="Freeform 274">
              <a:extLst>
                <a:ext uri="{FF2B5EF4-FFF2-40B4-BE49-F238E27FC236}">
                  <a16:creationId xmlns:a16="http://schemas.microsoft.com/office/drawing/2014/main" id="{601292C8-C472-428C-5883-165C63C5B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8" name="Freeform 275">
              <a:extLst>
                <a:ext uri="{FF2B5EF4-FFF2-40B4-BE49-F238E27FC236}">
                  <a16:creationId xmlns:a16="http://schemas.microsoft.com/office/drawing/2014/main" id="{A821A9E6-C021-E617-2DD1-02B2DA868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9" name="Freeform 276">
              <a:extLst>
                <a:ext uri="{FF2B5EF4-FFF2-40B4-BE49-F238E27FC236}">
                  <a16:creationId xmlns:a16="http://schemas.microsoft.com/office/drawing/2014/main" id="{77842EAE-A2C1-E0DA-9233-9EBFA099A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0" name="Freeform 277">
              <a:extLst>
                <a:ext uri="{FF2B5EF4-FFF2-40B4-BE49-F238E27FC236}">
                  <a16:creationId xmlns:a16="http://schemas.microsoft.com/office/drawing/2014/main" id="{D18BF7C6-9402-3515-59A9-F24AF440B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1" name="Freeform 278">
              <a:extLst>
                <a:ext uri="{FF2B5EF4-FFF2-40B4-BE49-F238E27FC236}">
                  <a16:creationId xmlns:a16="http://schemas.microsoft.com/office/drawing/2014/main" id="{61FD26D2-370A-1C35-DC2A-930ECCC32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2" name="Freeform 279">
              <a:extLst>
                <a:ext uri="{FF2B5EF4-FFF2-40B4-BE49-F238E27FC236}">
                  <a16:creationId xmlns:a16="http://schemas.microsoft.com/office/drawing/2014/main" id="{F8FEA149-CAD9-0724-378D-D73EF1C96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3" name="Freeform 280">
              <a:extLst>
                <a:ext uri="{FF2B5EF4-FFF2-40B4-BE49-F238E27FC236}">
                  <a16:creationId xmlns:a16="http://schemas.microsoft.com/office/drawing/2014/main" id="{1756F3E6-763A-A91D-DEBE-94EC9673E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4" name="Freeform 281">
              <a:extLst>
                <a:ext uri="{FF2B5EF4-FFF2-40B4-BE49-F238E27FC236}">
                  <a16:creationId xmlns:a16="http://schemas.microsoft.com/office/drawing/2014/main" id="{D92B13C3-C0CD-7C9C-FC52-EDDF48310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5" name="Freeform 282">
              <a:extLst>
                <a:ext uri="{FF2B5EF4-FFF2-40B4-BE49-F238E27FC236}">
                  <a16:creationId xmlns:a16="http://schemas.microsoft.com/office/drawing/2014/main" id="{9D58BAF0-9399-8538-90CD-CD0E7E4F5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6" name="Freeform 283">
              <a:extLst>
                <a:ext uri="{FF2B5EF4-FFF2-40B4-BE49-F238E27FC236}">
                  <a16:creationId xmlns:a16="http://schemas.microsoft.com/office/drawing/2014/main" id="{A6224E8E-10EF-17E9-6974-7FD4B9D10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7" name="Freeform 284">
              <a:extLst>
                <a:ext uri="{FF2B5EF4-FFF2-40B4-BE49-F238E27FC236}">
                  <a16:creationId xmlns:a16="http://schemas.microsoft.com/office/drawing/2014/main" id="{45E4F049-7BAC-9B31-1D4E-9A84B6A7D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8" name="Freeform 285">
              <a:extLst>
                <a:ext uri="{FF2B5EF4-FFF2-40B4-BE49-F238E27FC236}">
                  <a16:creationId xmlns:a16="http://schemas.microsoft.com/office/drawing/2014/main" id="{9F689109-19CC-8CA4-4EC9-9F646DD9E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9" name="Freeform 286">
              <a:extLst>
                <a:ext uri="{FF2B5EF4-FFF2-40B4-BE49-F238E27FC236}">
                  <a16:creationId xmlns:a16="http://schemas.microsoft.com/office/drawing/2014/main" id="{2F4C401D-EA85-76E7-3FE8-3BD850BC5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0" name="Freeform 287">
              <a:extLst>
                <a:ext uri="{FF2B5EF4-FFF2-40B4-BE49-F238E27FC236}">
                  <a16:creationId xmlns:a16="http://schemas.microsoft.com/office/drawing/2014/main" id="{C7ACB351-7EAF-A822-4F2D-A21938499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1" name="Freeform 288">
              <a:extLst>
                <a:ext uri="{FF2B5EF4-FFF2-40B4-BE49-F238E27FC236}">
                  <a16:creationId xmlns:a16="http://schemas.microsoft.com/office/drawing/2014/main" id="{ADC1EFD6-D3A4-D08B-DCD8-DEFCCA3CC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2" name="Freeform 289">
              <a:extLst>
                <a:ext uri="{FF2B5EF4-FFF2-40B4-BE49-F238E27FC236}">
                  <a16:creationId xmlns:a16="http://schemas.microsoft.com/office/drawing/2014/main" id="{AB8C7DFB-7A04-F07F-2926-8EE803027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3" name="Freeform 290">
              <a:extLst>
                <a:ext uri="{FF2B5EF4-FFF2-40B4-BE49-F238E27FC236}">
                  <a16:creationId xmlns:a16="http://schemas.microsoft.com/office/drawing/2014/main" id="{919D9BC3-6049-7AFA-6347-DEE90E28F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4" name="Freeform 291">
              <a:extLst>
                <a:ext uri="{FF2B5EF4-FFF2-40B4-BE49-F238E27FC236}">
                  <a16:creationId xmlns:a16="http://schemas.microsoft.com/office/drawing/2014/main" id="{AD717007-CD17-CE4C-430A-DC1D3DB49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5" name="Freeform 292">
              <a:extLst>
                <a:ext uri="{FF2B5EF4-FFF2-40B4-BE49-F238E27FC236}">
                  <a16:creationId xmlns:a16="http://schemas.microsoft.com/office/drawing/2014/main" id="{9CA202F0-07CA-4AD1-A4DD-7BDA83E3E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6" name="Freeform 293">
              <a:extLst>
                <a:ext uri="{FF2B5EF4-FFF2-40B4-BE49-F238E27FC236}">
                  <a16:creationId xmlns:a16="http://schemas.microsoft.com/office/drawing/2014/main" id="{C8FD94A6-3519-8617-0671-6A0D6434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7" name="Freeform 294">
              <a:extLst>
                <a:ext uri="{FF2B5EF4-FFF2-40B4-BE49-F238E27FC236}">
                  <a16:creationId xmlns:a16="http://schemas.microsoft.com/office/drawing/2014/main" id="{3BAA6D2F-2115-2161-54BD-3213699B9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8" name="Freeform 295">
              <a:extLst>
                <a:ext uri="{FF2B5EF4-FFF2-40B4-BE49-F238E27FC236}">
                  <a16:creationId xmlns:a16="http://schemas.microsoft.com/office/drawing/2014/main" id="{3B3731E4-49E1-646E-7DA4-0D425B89D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9" name="Freeform 296">
              <a:extLst>
                <a:ext uri="{FF2B5EF4-FFF2-40B4-BE49-F238E27FC236}">
                  <a16:creationId xmlns:a16="http://schemas.microsoft.com/office/drawing/2014/main" id="{5DC394D5-8B1E-4F24-D615-925847704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0" name="Freeform 297">
              <a:extLst>
                <a:ext uri="{FF2B5EF4-FFF2-40B4-BE49-F238E27FC236}">
                  <a16:creationId xmlns:a16="http://schemas.microsoft.com/office/drawing/2014/main" id="{924BBA24-805B-6084-3EBB-F1FC0F504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1" name="Freeform 298">
              <a:extLst>
                <a:ext uri="{FF2B5EF4-FFF2-40B4-BE49-F238E27FC236}">
                  <a16:creationId xmlns:a16="http://schemas.microsoft.com/office/drawing/2014/main" id="{785DC7CF-2706-C46D-1797-F8DBA8253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2" name="Freeform 299">
              <a:extLst>
                <a:ext uri="{FF2B5EF4-FFF2-40B4-BE49-F238E27FC236}">
                  <a16:creationId xmlns:a16="http://schemas.microsoft.com/office/drawing/2014/main" id="{625514ED-4055-33BC-484C-2763BB3D1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3" name="Freeform 300">
              <a:extLst>
                <a:ext uri="{FF2B5EF4-FFF2-40B4-BE49-F238E27FC236}">
                  <a16:creationId xmlns:a16="http://schemas.microsoft.com/office/drawing/2014/main" id="{5D49F5D6-FB4B-F349-821E-78ECD4D05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4" name="Freeform 301">
              <a:extLst>
                <a:ext uri="{FF2B5EF4-FFF2-40B4-BE49-F238E27FC236}">
                  <a16:creationId xmlns:a16="http://schemas.microsoft.com/office/drawing/2014/main" id="{B8F9A8EA-F9EB-7592-AF13-70DAD9267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5" name="Freeform 302">
              <a:extLst>
                <a:ext uri="{FF2B5EF4-FFF2-40B4-BE49-F238E27FC236}">
                  <a16:creationId xmlns:a16="http://schemas.microsoft.com/office/drawing/2014/main" id="{E18C66C3-4410-67B5-8F05-80DF40DDA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6" name="Freeform 303">
              <a:extLst>
                <a:ext uri="{FF2B5EF4-FFF2-40B4-BE49-F238E27FC236}">
                  <a16:creationId xmlns:a16="http://schemas.microsoft.com/office/drawing/2014/main" id="{6DF88448-E0BC-A57E-39F4-CCB0838300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7" name="Freeform 304">
              <a:extLst>
                <a:ext uri="{FF2B5EF4-FFF2-40B4-BE49-F238E27FC236}">
                  <a16:creationId xmlns:a16="http://schemas.microsoft.com/office/drawing/2014/main" id="{3FB1C5BA-19A3-3F04-9022-B13B7F9F2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8" name="Freeform 305">
              <a:extLst>
                <a:ext uri="{FF2B5EF4-FFF2-40B4-BE49-F238E27FC236}">
                  <a16:creationId xmlns:a16="http://schemas.microsoft.com/office/drawing/2014/main" id="{C70302EB-2FD8-A4A1-0AD9-00628C669C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9" name="Freeform 306">
              <a:extLst>
                <a:ext uri="{FF2B5EF4-FFF2-40B4-BE49-F238E27FC236}">
                  <a16:creationId xmlns:a16="http://schemas.microsoft.com/office/drawing/2014/main" id="{3F820583-0958-42E2-7AA7-04A0FD620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0" name="Freeform 307">
              <a:extLst>
                <a:ext uri="{FF2B5EF4-FFF2-40B4-BE49-F238E27FC236}">
                  <a16:creationId xmlns:a16="http://schemas.microsoft.com/office/drawing/2014/main" id="{F7DC0B70-1FA9-9168-2A42-D9442ADDC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1" name="Freeform 308">
              <a:extLst>
                <a:ext uri="{FF2B5EF4-FFF2-40B4-BE49-F238E27FC236}">
                  <a16:creationId xmlns:a16="http://schemas.microsoft.com/office/drawing/2014/main" id="{B83BC7C1-4431-2C69-523D-71F34564D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2" name="Freeform 309">
              <a:extLst>
                <a:ext uri="{FF2B5EF4-FFF2-40B4-BE49-F238E27FC236}">
                  <a16:creationId xmlns:a16="http://schemas.microsoft.com/office/drawing/2014/main" id="{731637B4-3CD7-86F0-B2E2-C56B410AE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3" name="Freeform 310">
              <a:extLst>
                <a:ext uri="{FF2B5EF4-FFF2-40B4-BE49-F238E27FC236}">
                  <a16:creationId xmlns:a16="http://schemas.microsoft.com/office/drawing/2014/main" id="{C5E812EE-44F1-6179-8E37-59C89914A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4" name="Freeform 311">
              <a:extLst>
                <a:ext uri="{FF2B5EF4-FFF2-40B4-BE49-F238E27FC236}">
                  <a16:creationId xmlns:a16="http://schemas.microsoft.com/office/drawing/2014/main" id="{C2E79C3B-29B8-0A2A-C70A-F0AD68907C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5" name="Freeform 312">
              <a:extLst>
                <a:ext uri="{FF2B5EF4-FFF2-40B4-BE49-F238E27FC236}">
                  <a16:creationId xmlns:a16="http://schemas.microsoft.com/office/drawing/2014/main" id="{BA192DA1-BAD7-0763-F7AE-13A378041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6" name="Freeform 313">
              <a:extLst>
                <a:ext uri="{FF2B5EF4-FFF2-40B4-BE49-F238E27FC236}">
                  <a16:creationId xmlns:a16="http://schemas.microsoft.com/office/drawing/2014/main" id="{BC28C345-84D1-E624-2A11-CA3B3C155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7" name="Freeform 314">
              <a:extLst>
                <a:ext uri="{FF2B5EF4-FFF2-40B4-BE49-F238E27FC236}">
                  <a16:creationId xmlns:a16="http://schemas.microsoft.com/office/drawing/2014/main" id="{31726781-1273-29A9-28B2-78447130E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8" name="Freeform 315">
              <a:extLst>
                <a:ext uri="{FF2B5EF4-FFF2-40B4-BE49-F238E27FC236}">
                  <a16:creationId xmlns:a16="http://schemas.microsoft.com/office/drawing/2014/main" id="{8624C230-B25A-822D-EAEF-9BE4604C30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9" name="Freeform 316">
              <a:extLst>
                <a:ext uri="{FF2B5EF4-FFF2-40B4-BE49-F238E27FC236}">
                  <a16:creationId xmlns:a16="http://schemas.microsoft.com/office/drawing/2014/main" id="{06CB2669-F355-38E0-AEC5-F8667F4F07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0" name="Freeform 317">
              <a:extLst>
                <a:ext uri="{FF2B5EF4-FFF2-40B4-BE49-F238E27FC236}">
                  <a16:creationId xmlns:a16="http://schemas.microsoft.com/office/drawing/2014/main" id="{BB66B786-DD3F-BD33-3319-BFFC1FE8D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1" name="Freeform 318">
              <a:extLst>
                <a:ext uri="{FF2B5EF4-FFF2-40B4-BE49-F238E27FC236}">
                  <a16:creationId xmlns:a16="http://schemas.microsoft.com/office/drawing/2014/main" id="{BE906D31-00C6-BF79-583A-257FC38149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2" name="Freeform 319">
              <a:extLst>
                <a:ext uri="{FF2B5EF4-FFF2-40B4-BE49-F238E27FC236}">
                  <a16:creationId xmlns:a16="http://schemas.microsoft.com/office/drawing/2014/main" id="{00D4486A-CEDF-41CF-0361-6EEE9C4C4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3" name="Freeform 320">
              <a:extLst>
                <a:ext uri="{FF2B5EF4-FFF2-40B4-BE49-F238E27FC236}">
                  <a16:creationId xmlns:a16="http://schemas.microsoft.com/office/drawing/2014/main" id="{B1FA33FF-3BFC-7759-7C81-322B09E45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4" name="Freeform 321">
              <a:extLst>
                <a:ext uri="{FF2B5EF4-FFF2-40B4-BE49-F238E27FC236}">
                  <a16:creationId xmlns:a16="http://schemas.microsoft.com/office/drawing/2014/main" id="{22C3EEA7-C5B9-5009-407E-1DAE4AE40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5" name="Freeform 322">
              <a:extLst>
                <a:ext uri="{FF2B5EF4-FFF2-40B4-BE49-F238E27FC236}">
                  <a16:creationId xmlns:a16="http://schemas.microsoft.com/office/drawing/2014/main" id="{7811FA61-348A-272A-8922-EE770F9561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6" name="Freeform 323">
              <a:extLst>
                <a:ext uri="{FF2B5EF4-FFF2-40B4-BE49-F238E27FC236}">
                  <a16:creationId xmlns:a16="http://schemas.microsoft.com/office/drawing/2014/main" id="{C6709D03-BBEE-B519-2C7F-84E1ABE9B8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7" name="Freeform 324">
              <a:extLst>
                <a:ext uri="{FF2B5EF4-FFF2-40B4-BE49-F238E27FC236}">
                  <a16:creationId xmlns:a16="http://schemas.microsoft.com/office/drawing/2014/main" id="{124BF0CB-3552-F2EF-B652-E78D2D379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8" name="Freeform 325">
              <a:extLst>
                <a:ext uri="{FF2B5EF4-FFF2-40B4-BE49-F238E27FC236}">
                  <a16:creationId xmlns:a16="http://schemas.microsoft.com/office/drawing/2014/main" id="{FC539A2C-FBC6-BFFD-AD84-47F51E32C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9" name="Freeform 326">
              <a:extLst>
                <a:ext uri="{FF2B5EF4-FFF2-40B4-BE49-F238E27FC236}">
                  <a16:creationId xmlns:a16="http://schemas.microsoft.com/office/drawing/2014/main" id="{98EDBB95-C26C-76AB-1BAB-85AC4766A7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0" name="Freeform 327">
              <a:extLst>
                <a:ext uri="{FF2B5EF4-FFF2-40B4-BE49-F238E27FC236}">
                  <a16:creationId xmlns:a16="http://schemas.microsoft.com/office/drawing/2014/main" id="{9587BE28-3F7A-A028-3089-F48FB5F2A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1" name="Freeform 328">
              <a:extLst>
                <a:ext uri="{FF2B5EF4-FFF2-40B4-BE49-F238E27FC236}">
                  <a16:creationId xmlns:a16="http://schemas.microsoft.com/office/drawing/2014/main" id="{086306A0-9F27-7197-E172-1C37DDAA47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2" name="Freeform 329">
              <a:extLst>
                <a:ext uri="{FF2B5EF4-FFF2-40B4-BE49-F238E27FC236}">
                  <a16:creationId xmlns:a16="http://schemas.microsoft.com/office/drawing/2014/main" id="{0F174C9F-A217-B2A6-98DE-7F247E0434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3" name="Freeform 330">
              <a:extLst>
                <a:ext uri="{FF2B5EF4-FFF2-40B4-BE49-F238E27FC236}">
                  <a16:creationId xmlns:a16="http://schemas.microsoft.com/office/drawing/2014/main" id="{F99D752C-CFC6-9439-6F1B-77A31E2CD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4" name="Freeform 331">
              <a:extLst>
                <a:ext uri="{FF2B5EF4-FFF2-40B4-BE49-F238E27FC236}">
                  <a16:creationId xmlns:a16="http://schemas.microsoft.com/office/drawing/2014/main" id="{AEBEAA78-3C42-B76A-08EB-C8DAA233D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5" name="Freeform 332">
              <a:extLst>
                <a:ext uri="{FF2B5EF4-FFF2-40B4-BE49-F238E27FC236}">
                  <a16:creationId xmlns:a16="http://schemas.microsoft.com/office/drawing/2014/main" id="{2709F602-2D85-054E-AB40-E93E6F6BB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6" name="Freeform 333">
              <a:extLst>
                <a:ext uri="{FF2B5EF4-FFF2-40B4-BE49-F238E27FC236}">
                  <a16:creationId xmlns:a16="http://schemas.microsoft.com/office/drawing/2014/main" id="{251150C2-EA14-47DE-4A34-240DDD70B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7" name="Freeform 334">
              <a:extLst>
                <a:ext uri="{FF2B5EF4-FFF2-40B4-BE49-F238E27FC236}">
                  <a16:creationId xmlns:a16="http://schemas.microsoft.com/office/drawing/2014/main" id="{4B1893B6-D7FD-AA45-927B-209D81CA5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8" name="Freeform 335">
              <a:extLst>
                <a:ext uri="{FF2B5EF4-FFF2-40B4-BE49-F238E27FC236}">
                  <a16:creationId xmlns:a16="http://schemas.microsoft.com/office/drawing/2014/main" id="{6D7D72A4-CF95-F767-0A30-FB5A10043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9" name="Freeform 336">
              <a:extLst>
                <a:ext uri="{FF2B5EF4-FFF2-40B4-BE49-F238E27FC236}">
                  <a16:creationId xmlns:a16="http://schemas.microsoft.com/office/drawing/2014/main" id="{C5C851CD-E195-8E4E-D191-3468C44F0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0" name="Freeform 337">
              <a:extLst>
                <a:ext uri="{FF2B5EF4-FFF2-40B4-BE49-F238E27FC236}">
                  <a16:creationId xmlns:a16="http://schemas.microsoft.com/office/drawing/2014/main" id="{3FD3B3D7-4E13-CCC8-9510-BFCDB9E390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1" name="Freeform 338">
              <a:extLst>
                <a:ext uri="{FF2B5EF4-FFF2-40B4-BE49-F238E27FC236}">
                  <a16:creationId xmlns:a16="http://schemas.microsoft.com/office/drawing/2014/main" id="{54048C3A-C584-D015-7447-C8E40F1811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2" name="Freeform 339">
              <a:extLst>
                <a:ext uri="{FF2B5EF4-FFF2-40B4-BE49-F238E27FC236}">
                  <a16:creationId xmlns:a16="http://schemas.microsoft.com/office/drawing/2014/main" id="{FE8BE385-D501-28A6-E452-9F55EC689F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3" name="Freeform 340">
              <a:extLst>
                <a:ext uri="{FF2B5EF4-FFF2-40B4-BE49-F238E27FC236}">
                  <a16:creationId xmlns:a16="http://schemas.microsoft.com/office/drawing/2014/main" id="{C7B6A6E5-4166-B12E-6AEE-4AB4FC986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4" name="Freeform 341">
              <a:extLst>
                <a:ext uri="{FF2B5EF4-FFF2-40B4-BE49-F238E27FC236}">
                  <a16:creationId xmlns:a16="http://schemas.microsoft.com/office/drawing/2014/main" id="{8D609FA1-CFFA-B396-A7ED-A008D5BC5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5" name="Freeform 342">
              <a:extLst>
                <a:ext uri="{FF2B5EF4-FFF2-40B4-BE49-F238E27FC236}">
                  <a16:creationId xmlns:a16="http://schemas.microsoft.com/office/drawing/2014/main" id="{8D738386-6EFC-6C46-274F-16C46513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6" name="Freeform 343">
              <a:extLst>
                <a:ext uri="{FF2B5EF4-FFF2-40B4-BE49-F238E27FC236}">
                  <a16:creationId xmlns:a16="http://schemas.microsoft.com/office/drawing/2014/main" id="{C5294BFD-1799-5E50-AED3-79DB11BE0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7" name="Freeform 344">
              <a:extLst>
                <a:ext uri="{FF2B5EF4-FFF2-40B4-BE49-F238E27FC236}">
                  <a16:creationId xmlns:a16="http://schemas.microsoft.com/office/drawing/2014/main" id="{5AC9258B-C4DE-473E-C0C6-E89B7D82A8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8" name="Freeform 345">
              <a:extLst>
                <a:ext uri="{FF2B5EF4-FFF2-40B4-BE49-F238E27FC236}">
                  <a16:creationId xmlns:a16="http://schemas.microsoft.com/office/drawing/2014/main" id="{7529E5B3-F11C-9507-6CA6-5756158400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9" name="Freeform 346">
              <a:extLst>
                <a:ext uri="{FF2B5EF4-FFF2-40B4-BE49-F238E27FC236}">
                  <a16:creationId xmlns:a16="http://schemas.microsoft.com/office/drawing/2014/main" id="{41976099-AA4C-9E66-B7DC-AC755CB30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0" name="Freeform 347">
              <a:extLst>
                <a:ext uri="{FF2B5EF4-FFF2-40B4-BE49-F238E27FC236}">
                  <a16:creationId xmlns:a16="http://schemas.microsoft.com/office/drawing/2014/main" id="{D194F369-3F5C-7312-C662-23FE50CA1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1" name="Freeform 348">
              <a:extLst>
                <a:ext uri="{FF2B5EF4-FFF2-40B4-BE49-F238E27FC236}">
                  <a16:creationId xmlns:a16="http://schemas.microsoft.com/office/drawing/2014/main" id="{DB9A940E-5905-D5E3-8FCD-C9F3FE568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2" name="Freeform 349">
              <a:extLst>
                <a:ext uri="{FF2B5EF4-FFF2-40B4-BE49-F238E27FC236}">
                  <a16:creationId xmlns:a16="http://schemas.microsoft.com/office/drawing/2014/main" id="{6BBDB690-0C31-CF9B-534A-C46ACC9CC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3" name="Freeform 350">
              <a:extLst>
                <a:ext uri="{FF2B5EF4-FFF2-40B4-BE49-F238E27FC236}">
                  <a16:creationId xmlns:a16="http://schemas.microsoft.com/office/drawing/2014/main" id="{CC32D40F-88BD-862D-9E1C-F552AA1E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4" name="Freeform 351">
              <a:extLst>
                <a:ext uri="{FF2B5EF4-FFF2-40B4-BE49-F238E27FC236}">
                  <a16:creationId xmlns:a16="http://schemas.microsoft.com/office/drawing/2014/main" id="{A44037A6-EB38-8868-A510-2307DBDCB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5" name="Freeform 352">
              <a:extLst>
                <a:ext uri="{FF2B5EF4-FFF2-40B4-BE49-F238E27FC236}">
                  <a16:creationId xmlns:a16="http://schemas.microsoft.com/office/drawing/2014/main" id="{337701E8-A190-0712-4DCA-7FC11BE11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6" name="Freeform 353">
              <a:extLst>
                <a:ext uri="{FF2B5EF4-FFF2-40B4-BE49-F238E27FC236}">
                  <a16:creationId xmlns:a16="http://schemas.microsoft.com/office/drawing/2014/main" id="{66D27A32-9BCD-651F-384F-CD95D214C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7" name="Freeform 354">
              <a:extLst>
                <a:ext uri="{FF2B5EF4-FFF2-40B4-BE49-F238E27FC236}">
                  <a16:creationId xmlns:a16="http://schemas.microsoft.com/office/drawing/2014/main" id="{9381E9C8-2E7E-E16D-1328-A99172FB6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8" name="Freeform 355">
              <a:extLst>
                <a:ext uri="{FF2B5EF4-FFF2-40B4-BE49-F238E27FC236}">
                  <a16:creationId xmlns:a16="http://schemas.microsoft.com/office/drawing/2014/main" id="{64475333-34F6-9C2D-4AA0-B36DACCB3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9" name="Freeform 356">
              <a:extLst>
                <a:ext uri="{FF2B5EF4-FFF2-40B4-BE49-F238E27FC236}">
                  <a16:creationId xmlns:a16="http://schemas.microsoft.com/office/drawing/2014/main" id="{C7E7BF8E-16C3-AFD1-7411-58657CC5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0" name="Freeform 357">
              <a:extLst>
                <a:ext uri="{FF2B5EF4-FFF2-40B4-BE49-F238E27FC236}">
                  <a16:creationId xmlns:a16="http://schemas.microsoft.com/office/drawing/2014/main" id="{7C8A5D63-C119-53B7-B1DA-A9F1577B0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1" name="Freeform 358">
              <a:extLst>
                <a:ext uri="{FF2B5EF4-FFF2-40B4-BE49-F238E27FC236}">
                  <a16:creationId xmlns:a16="http://schemas.microsoft.com/office/drawing/2014/main" id="{E6CEAF4C-70CE-90B3-1598-04AB5E755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2" name="Freeform 359">
              <a:extLst>
                <a:ext uri="{FF2B5EF4-FFF2-40B4-BE49-F238E27FC236}">
                  <a16:creationId xmlns:a16="http://schemas.microsoft.com/office/drawing/2014/main" id="{43E4ABA1-E8D7-0300-FEE4-CB71C10BC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3" name="Freeform 360">
              <a:extLst>
                <a:ext uri="{FF2B5EF4-FFF2-40B4-BE49-F238E27FC236}">
                  <a16:creationId xmlns:a16="http://schemas.microsoft.com/office/drawing/2014/main" id="{C0380291-8ED3-966E-C05E-84A99FC869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4" name="Freeform 361">
              <a:extLst>
                <a:ext uri="{FF2B5EF4-FFF2-40B4-BE49-F238E27FC236}">
                  <a16:creationId xmlns:a16="http://schemas.microsoft.com/office/drawing/2014/main" id="{D1185913-A61A-3467-EA08-38F21A8BD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5" name="Freeform 362">
              <a:extLst>
                <a:ext uri="{FF2B5EF4-FFF2-40B4-BE49-F238E27FC236}">
                  <a16:creationId xmlns:a16="http://schemas.microsoft.com/office/drawing/2014/main" id="{A6F5BE35-F895-B8DD-5A4C-C53CB1E27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6" name="Freeform 363">
              <a:extLst>
                <a:ext uri="{FF2B5EF4-FFF2-40B4-BE49-F238E27FC236}">
                  <a16:creationId xmlns:a16="http://schemas.microsoft.com/office/drawing/2014/main" id="{A35237E8-7498-6F7F-0340-471364DADB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7" name="Freeform 364">
              <a:extLst>
                <a:ext uri="{FF2B5EF4-FFF2-40B4-BE49-F238E27FC236}">
                  <a16:creationId xmlns:a16="http://schemas.microsoft.com/office/drawing/2014/main" id="{69F5C161-7CE7-57C9-49C6-02E7F109B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8" name="Freeform 365">
              <a:extLst>
                <a:ext uri="{FF2B5EF4-FFF2-40B4-BE49-F238E27FC236}">
                  <a16:creationId xmlns:a16="http://schemas.microsoft.com/office/drawing/2014/main" id="{A3BAE866-39B5-1611-BB59-741BF3375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9" name="Freeform 366">
              <a:extLst>
                <a:ext uri="{FF2B5EF4-FFF2-40B4-BE49-F238E27FC236}">
                  <a16:creationId xmlns:a16="http://schemas.microsoft.com/office/drawing/2014/main" id="{035F500D-413D-C7DE-A753-E58FC5005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0" name="Freeform 367">
              <a:extLst>
                <a:ext uri="{FF2B5EF4-FFF2-40B4-BE49-F238E27FC236}">
                  <a16:creationId xmlns:a16="http://schemas.microsoft.com/office/drawing/2014/main" id="{C78D858D-626E-A3D4-C860-3B8646EE5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1" name="Freeform 368">
              <a:extLst>
                <a:ext uri="{FF2B5EF4-FFF2-40B4-BE49-F238E27FC236}">
                  <a16:creationId xmlns:a16="http://schemas.microsoft.com/office/drawing/2014/main" id="{DC0DB464-D2D8-FED8-FEEC-1056BD900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2" name="Freeform 369">
              <a:extLst>
                <a:ext uri="{FF2B5EF4-FFF2-40B4-BE49-F238E27FC236}">
                  <a16:creationId xmlns:a16="http://schemas.microsoft.com/office/drawing/2014/main" id="{3CD7E0E2-1294-4CBF-3298-959AE33B0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3" name="Freeform 370">
              <a:extLst>
                <a:ext uri="{FF2B5EF4-FFF2-40B4-BE49-F238E27FC236}">
                  <a16:creationId xmlns:a16="http://schemas.microsoft.com/office/drawing/2014/main" id="{415BBAEA-6C99-EB4E-27F0-DB45FE5630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4" name="Freeform 371">
              <a:extLst>
                <a:ext uri="{FF2B5EF4-FFF2-40B4-BE49-F238E27FC236}">
                  <a16:creationId xmlns:a16="http://schemas.microsoft.com/office/drawing/2014/main" id="{18B13D0F-8F63-AF19-5EB7-BCE4625EE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5" name="Freeform 372">
              <a:extLst>
                <a:ext uri="{FF2B5EF4-FFF2-40B4-BE49-F238E27FC236}">
                  <a16:creationId xmlns:a16="http://schemas.microsoft.com/office/drawing/2014/main" id="{3B8E350A-D7CB-9D71-BDBC-210EBFC8B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6" name="Freeform 373">
              <a:extLst>
                <a:ext uri="{FF2B5EF4-FFF2-40B4-BE49-F238E27FC236}">
                  <a16:creationId xmlns:a16="http://schemas.microsoft.com/office/drawing/2014/main" id="{B8897FCD-180A-BC73-50EE-B6DEBE7A9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7" name="Freeform 374">
              <a:extLst>
                <a:ext uri="{FF2B5EF4-FFF2-40B4-BE49-F238E27FC236}">
                  <a16:creationId xmlns:a16="http://schemas.microsoft.com/office/drawing/2014/main" id="{A0B13DBC-5FF7-BA34-0203-E83F946232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8" name="Freeform 375">
              <a:extLst>
                <a:ext uri="{FF2B5EF4-FFF2-40B4-BE49-F238E27FC236}">
                  <a16:creationId xmlns:a16="http://schemas.microsoft.com/office/drawing/2014/main" id="{14678DB6-FC73-1B04-9871-BD882C203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9" name="Freeform 376">
              <a:extLst>
                <a:ext uri="{FF2B5EF4-FFF2-40B4-BE49-F238E27FC236}">
                  <a16:creationId xmlns:a16="http://schemas.microsoft.com/office/drawing/2014/main" id="{92DDBFD7-6FDB-CF74-4BA3-50D2A239A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0" name="Freeform 377">
              <a:extLst>
                <a:ext uri="{FF2B5EF4-FFF2-40B4-BE49-F238E27FC236}">
                  <a16:creationId xmlns:a16="http://schemas.microsoft.com/office/drawing/2014/main" id="{910AD317-901D-4141-D977-0BC83292C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1" name="Freeform 378">
              <a:extLst>
                <a:ext uri="{FF2B5EF4-FFF2-40B4-BE49-F238E27FC236}">
                  <a16:creationId xmlns:a16="http://schemas.microsoft.com/office/drawing/2014/main" id="{4246DA42-B204-F937-9167-4877CC1D5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2" name="Freeform 379">
              <a:extLst>
                <a:ext uri="{FF2B5EF4-FFF2-40B4-BE49-F238E27FC236}">
                  <a16:creationId xmlns:a16="http://schemas.microsoft.com/office/drawing/2014/main" id="{64D53D74-3735-2F08-F704-C6AE0DDCE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3" name="Freeform 380">
              <a:extLst>
                <a:ext uri="{FF2B5EF4-FFF2-40B4-BE49-F238E27FC236}">
                  <a16:creationId xmlns:a16="http://schemas.microsoft.com/office/drawing/2014/main" id="{AF6C8527-A054-97D7-F6FC-D5B8F783F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4" name="Freeform 381">
              <a:extLst>
                <a:ext uri="{FF2B5EF4-FFF2-40B4-BE49-F238E27FC236}">
                  <a16:creationId xmlns:a16="http://schemas.microsoft.com/office/drawing/2014/main" id="{A9F391B2-2BBC-525C-56AB-BAD2FBCF0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5" name="Freeform 382">
              <a:extLst>
                <a:ext uri="{FF2B5EF4-FFF2-40B4-BE49-F238E27FC236}">
                  <a16:creationId xmlns:a16="http://schemas.microsoft.com/office/drawing/2014/main" id="{33A39169-6FF2-2A2B-9F0B-5CF8F2C49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6" name="Freeform 383">
              <a:extLst>
                <a:ext uri="{FF2B5EF4-FFF2-40B4-BE49-F238E27FC236}">
                  <a16:creationId xmlns:a16="http://schemas.microsoft.com/office/drawing/2014/main" id="{39A22AEB-F1FB-CCA0-3094-91AB202AD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7" name="Freeform 384">
              <a:extLst>
                <a:ext uri="{FF2B5EF4-FFF2-40B4-BE49-F238E27FC236}">
                  <a16:creationId xmlns:a16="http://schemas.microsoft.com/office/drawing/2014/main" id="{B883A8DA-18F4-1932-7866-397FD62EA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8" name="Freeform 385">
              <a:extLst>
                <a:ext uri="{FF2B5EF4-FFF2-40B4-BE49-F238E27FC236}">
                  <a16:creationId xmlns:a16="http://schemas.microsoft.com/office/drawing/2014/main" id="{55495769-6EFF-A75C-C427-F61E0E0C3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9" name="Freeform 386">
              <a:extLst>
                <a:ext uri="{FF2B5EF4-FFF2-40B4-BE49-F238E27FC236}">
                  <a16:creationId xmlns:a16="http://schemas.microsoft.com/office/drawing/2014/main" id="{D0E94C83-0F60-5A47-88C8-AD0AB45B99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0" name="Freeform 387">
              <a:extLst>
                <a:ext uri="{FF2B5EF4-FFF2-40B4-BE49-F238E27FC236}">
                  <a16:creationId xmlns:a16="http://schemas.microsoft.com/office/drawing/2014/main" id="{C241FFDE-8EAC-AF9C-B0C7-F3464974F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1" name="Freeform 388">
              <a:extLst>
                <a:ext uri="{FF2B5EF4-FFF2-40B4-BE49-F238E27FC236}">
                  <a16:creationId xmlns:a16="http://schemas.microsoft.com/office/drawing/2014/main" id="{C9139584-C08A-9472-C7DE-C9286B200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2" name="Freeform 389">
              <a:extLst>
                <a:ext uri="{FF2B5EF4-FFF2-40B4-BE49-F238E27FC236}">
                  <a16:creationId xmlns:a16="http://schemas.microsoft.com/office/drawing/2014/main" id="{D6DA0377-1E9C-5FC3-E2B2-408141901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3" name="Freeform 390">
              <a:extLst>
                <a:ext uri="{FF2B5EF4-FFF2-40B4-BE49-F238E27FC236}">
                  <a16:creationId xmlns:a16="http://schemas.microsoft.com/office/drawing/2014/main" id="{7A1AAC53-BA99-3FCE-08F3-55EB386AB6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4" name="Freeform 391">
              <a:extLst>
                <a:ext uri="{FF2B5EF4-FFF2-40B4-BE49-F238E27FC236}">
                  <a16:creationId xmlns:a16="http://schemas.microsoft.com/office/drawing/2014/main" id="{EE4E3A1C-EEE1-02EE-7DAC-BB9A619F93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5" name="Freeform 392">
              <a:extLst>
                <a:ext uri="{FF2B5EF4-FFF2-40B4-BE49-F238E27FC236}">
                  <a16:creationId xmlns:a16="http://schemas.microsoft.com/office/drawing/2014/main" id="{62D1E548-A458-67A6-EF6A-F9BC20337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6" name="Freeform 393">
              <a:extLst>
                <a:ext uri="{FF2B5EF4-FFF2-40B4-BE49-F238E27FC236}">
                  <a16:creationId xmlns:a16="http://schemas.microsoft.com/office/drawing/2014/main" id="{EBFDC2A0-E00F-D5CC-A8ED-EC73ED1DC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7" name="Freeform 394">
              <a:extLst>
                <a:ext uri="{FF2B5EF4-FFF2-40B4-BE49-F238E27FC236}">
                  <a16:creationId xmlns:a16="http://schemas.microsoft.com/office/drawing/2014/main" id="{3BD24BDD-349F-7D33-61E3-E327909A86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8" name="Freeform 395">
              <a:extLst>
                <a:ext uri="{FF2B5EF4-FFF2-40B4-BE49-F238E27FC236}">
                  <a16:creationId xmlns:a16="http://schemas.microsoft.com/office/drawing/2014/main" id="{A363CD2A-CEF8-FE54-A8F3-A5370E08D2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9" name="Freeform 396">
              <a:extLst>
                <a:ext uri="{FF2B5EF4-FFF2-40B4-BE49-F238E27FC236}">
                  <a16:creationId xmlns:a16="http://schemas.microsoft.com/office/drawing/2014/main" id="{2695C367-0EF9-9192-6F29-76690535B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0" name="Freeform 397">
              <a:extLst>
                <a:ext uri="{FF2B5EF4-FFF2-40B4-BE49-F238E27FC236}">
                  <a16:creationId xmlns:a16="http://schemas.microsoft.com/office/drawing/2014/main" id="{96D2F0AC-F2DD-3955-7018-C5BECB4A4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1" name="Freeform 398">
              <a:extLst>
                <a:ext uri="{FF2B5EF4-FFF2-40B4-BE49-F238E27FC236}">
                  <a16:creationId xmlns:a16="http://schemas.microsoft.com/office/drawing/2014/main" id="{69D7F7B1-B40C-9723-3566-399B582369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2" name="Freeform 399">
              <a:extLst>
                <a:ext uri="{FF2B5EF4-FFF2-40B4-BE49-F238E27FC236}">
                  <a16:creationId xmlns:a16="http://schemas.microsoft.com/office/drawing/2014/main" id="{71DD5DC8-51F1-C619-C68E-02A5E7FF9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3" name="Freeform 400">
              <a:extLst>
                <a:ext uri="{FF2B5EF4-FFF2-40B4-BE49-F238E27FC236}">
                  <a16:creationId xmlns:a16="http://schemas.microsoft.com/office/drawing/2014/main" id="{E0EE189B-1BB5-ABCC-C4C0-835CA0BA80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4" name="Freeform 401">
              <a:extLst>
                <a:ext uri="{FF2B5EF4-FFF2-40B4-BE49-F238E27FC236}">
                  <a16:creationId xmlns:a16="http://schemas.microsoft.com/office/drawing/2014/main" id="{BE01A7E7-D4E1-3E30-ADA7-7CE609EDCB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7545" name="Elipse 7544">
            <a:extLst>
              <a:ext uri="{FF2B5EF4-FFF2-40B4-BE49-F238E27FC236}">
                <a16:creationId xmlns:a16="http://schemas.microsoft.com/office/drawing/2014/main" id="{147EF5CD-E4EC-3D50-6EEB-5ED9F081C408}"/>
              </a:ext>
            </a:extLst>
          </p:cNvPr>
          <p:cNvSpPr/>
          <p:nvPr/>
        </p:nvSpPr>
        <p:spPr>
          <a:xfrm>
            <a:off x="1772955" y="535736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</a:t>
            </a:r>
          </a:p>
        </p:txBody>
      </p:sp>
      <p:sp>
        <p:nvSpPr>
          <p:cNvPr id="7546" name="Elipse 7545">
            <a:extLst>
              <a:ext uri="{FF2B5EF4-FFF2-40B4-BE49-F238E27FC236}">
                <a16:creationId xmlns:a16="http://schemas.microsoft.com/office/drawing/2014/main" id="{FABCE1DB-CD6A-D4BE-33AA-EA3328B37B04}"/>
              </a:ext>
            </a:extLst>
          </p:cNvPr>
          <p:cNvSpPr/>
          <p:nvPr/>
        </p:nvSpPr>
        <p:spPr>
          <a:xfrm>
            <a:off x="4804488" y="5227504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C</a:t>
            </a:r>
          </a:p>
        </p:txBody>
      </p:sp>
      <p:sp>
        <p:nvSpPr>
          <p:cNvPr id="7547" name="Elipse 7546">
            <a:extLst>
              <a:ext uri="{FF2B5EF4-FFF2-40B4-BE49-F238E27FC236}">
                <a16:creationId xmlns:a16="http://schemas.microsoft.com/office/drawing/2014/main" id="{1FA222AF-537D-B063-7BB0-C62E29708841}"/>
              </a:ext>
            </a:extLst>
          </p:cNvPr>
          <p:cNvSpPr/>
          <p:nvPr/>
        </p:nvSpPr>
        <p:spPr>
          <a:xfrm>
            <a:off x="1187026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</a:t>
            </a:r>
          </a:p>
        </p:txBody>
      </p:sp>
      <p:sp>
        <p:nvSpPr>
          <p:cNvPr id="7548" name="Elipse 7547">
            <a:extLst>
              <a:ext uri="{FF2B5EF4-FFF2-40B4-BE49-F238E27FC236}">
                <a16:creationId xmlns:a16="http://schemas.microsoft.com/office/drawing/2014/main" id="{D7F39041-E547-A3DA-233D-3821E78F3925}"/>
              </a:ext>
            </a:extLst>
          </p:cNvPr>
          <p:cNvSpPr/>
          <p:nvPr/>
        </p:nvSpPr>
        <p:spPr>
          <a:xfrm>
            <a:off x="2899941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U</a:t>
            </a:r>
          </a:p>
        </p:txBody>
      </p:sp>
      <p:sp>
        <p:nvSpPr>
          <p:cNvPr id="7549" name="Elipse 7548">
            <a:extLst>
              <a:ext uri="{FF2B5EF4-FFF2-40B4-BE49-F238E27FC236}">
                <a16:creationId xmlns:a16="http://schemas.microsoft.com/office/drawing/2014/main" id="{CAE9DA36-097D-1853-4801-D2F0B1A0C402}"/>
              </a:ext>
            </a:extLst>
          </p:cNvPr>
          <p:cNvSpPr/>
          <p:nvPr/>
        </p:nvSpPr>
        <p:spPr>
          <a:xfrm>
            <a:off x="3373508" y="459597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</a:t>
            </a:r>
          </a:p>
        </p:txBody>
      </p:sp>
      <p:sp>
        <p:nvSpPr>
          <p:cNvPr id="7550" name="Elipse 7549">
            <a:extLst>
              <a:ext uri="{FF2B5EF4-FFF2-40B4-BE49-F238E27FC236}">
                <a16:creationId xmlns:a16="http://schemas.microsoft.com/office/drawing/2014/main" id="{D07ABF3F-CE78-C56B-6822-26EDCE6C7BBD}"/>
              </a:ext>
            </a:extLst>
          </p:cNvPr>
          <p:cNvSpPr/>
          <p:nvPr/>
        </p:nvSpPr>
        <p:spPr>
          <a:xfrm>
            <a:off x="3114771" y="503844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</a:t>
            </a:r>
          </a:p>
        </p:txBody>
      </p:sp>
      <p:cxnSp>
        <p:nvCxnSpPr>
          <p:cNvPr id="7553" name="Conector: curvado 7552">
            <a:extLst>
              <a:ext uri="{FF2B5EF4-FFF2-40B4-BE49-F238E27FC236}">
                <a16:creationId xmlns:a16="http://schemas.microsoft.com/office/drawing/2014/main" id="{1D26E73D-212E-089B-8739-AA157F302581}"/>
              </a:ext>
            </a:extLst>
          </p:cNvPr>
          <p:cNvCxnSpPr>
            <a:cxnSpLocks/>
            <a:stCxn id="7547" idx="0"/>
            <a:endCxn id="7548" idx="0"/>
          </p:cNvCxnSpPr>
          <p:nvPr/>
        </p:nvCxnSpPr>
        <p:spPr>
          <a:xfrm rot="5400000" flipH="1" flipV="1">
            <a:off x="2241114" y="3275270"/>
            <a:ext cx="12700" cy="1712915"/>
          </a:xfrm>
          <a:prstGeom prst="curvedConnector3">
            <a:avLst>
              <a:gd name="adj1" fmla="val 270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6" name="Conector: curvado 7555">
            <a:extLst>
              <a:ext uri="{FF2B5EF4-FFF2-40B4-BE49-F238E27FC236}">
                <a16:creationId xmlns:a16="http://schemas.microsoft.com/office/drawing/2014/main" id="{E00A8E58-8D0A-5CED-7534-7A6EE9601673}"/>
              </a:ext>
            </a:extLst>
          </p:cNvPr>
          <p:cNvCxnSpPr>
            <a:cxnSpLocks/>
            <a:endCxn id="7546" idx="2"/>
          </p:cNvCxnSpPr>
          <p:nvPr/>
        </p:nvCxnSpPr>
        <p:spPr>
          <a:xfrm rot="16200000" flipH="1">
            <a:off x="4140580" y="4761227"/>
            <a:ext cx="930714" cy="397102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4" name="Conector: curvado 7563">
            <a:extLst>
              <a:ext uri="{FF2B5EF4-FFF2-40B4-BE49-F238E27FC236}">
                <a16:creationId xmlns:a16="http://schemas.microsoft.com/office/drawing/2014/main" id="{AC04ACB8-88D8-208F-ACCD-9AD8B3F5B3B0}"/>
              </a:ext>
            </a:extLst>
          </p:cNvPr>
          <p:cNvCxnSpPr>
            <a:cxnSpLocks/>
            <a:stCxn id="7547" idx="4"/>
            <a:endCxn id="7545" idx="2"/>
          </p:cNvCxnSpPr>
          <p:nvPr/>
        </p:nvCxnSpPr>
        <p:spPr>
          <a:xfrm rot="16200000" flipH="1">
            <a:off x="1064801" y="4846844"/>
            <a:ext cx="1028010" cy="388298"/>
          </a:xfrm>
          <a:prstGeom prst="curved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7" name="Conector: curvado 7566">
            <a:extLst>
              <a:ext uri="{FF2B5EF4-FFF2-40B4-BE49-F238E27FC236}">
                <a16:creationId xmlns:a16="http://schemas.microsoft.com/office/drawing/2014/main" id="{3F618012-39AD-5A45-C3CA-24624D764D34}"/>
              </a:ext>
            </a:extLst>
          </p:cNvPr>
          <p:cNvCxnSpPr>
            <a:cxnSpLocks/>
            <a:stCxn id="7547" idx="0"/>
            <a:endCxn id="7591" idx="0"/>
          </p:cNvCxnSpPr>
          <p:nvPr/>
        </p:nvCxnSpPr>
        <p:spPr>
          <a:xfrm rot="5400000" flipH="1" flipV="1">
            <a:off x="2869331" y="2604037"/>
            <a:ext cx="43016" cy="3012364"/>
          </a:xfrm>
          <a:prstGeom prst="curvedConnector3">
            <a:avLst>
              <a:gd name="adj1" fmla="val 1605719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1" name="Conector: curvado 7570">
            <a:extLst>
              <a:ext uri="{FF2B5EF4-FFF2-40B4-BE49-F238E27FC236}">
                <a16:creationId xmlns:a16="http://schemas.microsoft.com/office/drawing/2014/main" id="{4D997206-E120-4D5C-8B8E-3FE2C586A8A6}"/>
              </a:ext>
            </a:extLst>
          </p:cNvPr>
          <p:cNvCxnSpPr>
            <a:cxnSpLocks/>
            <a:stCxn id="7547" idx="4"/>
            <a:endCxn id="7550" idx="2"/>
          </p:cNvCxnSpPr>
          <p:nvPr/>
        </p:nvCxnSpPr>
        <p:spPr>
          <a:xfrm rot="16200000" flipH="1">
            <a:off x="1895169" y="4016476"/>
            <a:ext cx="709090" cy="1730114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4" name="Conector: curvado 7573">
            <a:extLst>
              <a:ext uri="{FF2B5EF4-FFF2-40B4-BE49-F238E27FC236}">
                <a16:creationId xmlns:a16="http://schemas.microsoft.com/office/drawing/2014/main" id="{350D0AB7-1F4A-24F4-2746-11C867323049}"/>
              </a:ext>
            </a:extLst>
          </p:cNvPr>
          <p:cNvCxnSpPr>
            <a:cxnSpLocks/>
            <a:stCxn id="7548" idx="6"/>
            <a:endCxn id="7549" idx="0"/>
          </p:cNvCxnSpPr>
          <p:nvPr/>
        </p:nvCxnSpPr>
        <p:spPr>
          <a:xfrm>
            <a:off x="3295202" y="4329358"/>
            <a:ext cx="275937" cy="266613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7" name="Conector: curvado 7576">
            <a:extLst>
              <a:ext uri="{FF2B5EF4-FFF2-40B4-BE49-F238E27FC236}">
                <a16:creationId xmlns:a16="http://schemas.microsoft.com/office/drawing/2014/main" id="{4AA2CB60-A495-BEB6-6520-994A4DA5E91C}"/>
              </a:ext>
            </a:extLst>
          </p:cNvPr>
          <p:cNvCxnSpPr>
            <a:cxnSpLocks/>
            <a:stCxn id="7548" idx="4"/>
            <a:endCxn id="7550" idx="2"/>
          </p:cNvCxnSpPr>
          <p:nvPr/>
        </p:nvCxnSpPr>
        <p:spPr>
          <a:xfrm rot="16200000" flipH="1">
            <a:off x="2751626" y="4872933"/>
            <a:ext cx="709090" cy="1719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3" name="Conector: curvado 7582">
            <a:extLst>
              <a:ext uri="{FF2B5EF4-FFF2-40B4-BE49-F238E27FC236}">
                <a16:creationId xmlns:a16="http://schemas.microsoft.com/office/drawing/2014/main" id="{F88A6A2E-14D8-DA6B-A7DE-4305C489172A}"/>
              </a:ext>
            </a:extLst>
          </p:cNvPr>
          <p:cNvCxnSpPr>
            <a:cxnSpLocks/>
            <a:stCxn id="7546" idx="4"/>
            <a:endCxn id="7550" idx="4"/>
          </p:cNvCxnSpPr>
          <p:nvPr/>
        </p:nvCxnSpPr>
        <p:spPr>
          <a:xfrm rot="5400000" flipH="1">
            <a:off x="4062732" y="4683379"/>
            <a:ext cx="189057" cy="1689717"/>
          </a:xfrm>
          <a:prstGeom prst="curvedConnector3">
            <a:avLst>
              <a:gd name="adj1" fmla="val -120916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7" name="Conector: curvado 7586">
            <a:extLst>
              <a:ext uri="{FF2B5EF4-FFF2-40B4-BE49-F238E27FC236}">
                <a16:creationId xmlns:a16="http://schemas.microsoft.com/office/drawing/2014/main" id="{CA53DC3E-B882-F02A-32E3-49C833B8D6D3}"/>
              </a:ext>
            </a:extLst>
          </p:cNvPr>
          <p:cNvCxnSpPr>
            <a:cxnSpLocks/>
            <a:stCxn id="7548" idx="2"/>
            <a:endCxn id="7545" idx="0"/>
          </p:cNvCxnSpPr>
          <p:nvPr/>
        </p:nvCxnSpPr>
        <p:spPr>
          <a:xfrm rot="10800000" flipV="1">
            <a:off x="1970587" y="4329357"/>
            <a:ext cx="929355" cy="102800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91" name="Elipse 7590">
            <a:extLst>
              <a:ext uri="{FF2B5EF4-FFF2-40B4-BE49-F238E27FC236}">
                <a16:creationId xmlns:a16="http://schemas.microsoft.com/office/drawing/2014/main" id="{B396D9C3-1C42-4042-CB25-AAC763B21367}"/>
              </a:ext>
            </a:extLst>
          </p:cNvPr>
          <p:cNvSpPr/>
          <p:nvPr/>
        </p:nvSpPr>
        <p:spPr>
          <a:xfrm>
            <a:off x="4199390" y="408871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</a:t>
            </a:r>
          </a:p>
        </p:txBody>
      </p:sp>
      <p:cxnSp>
        <p:nvCxnSpPr>
          <p:cNvPr id="7594" name="Conector: curvado 7593">
            <a:extLst>
              <a:ext uri="{FF2B5EF4-FFF2-40B4-BE49-F238E27FC236}">
                <a16:creationId xmlns:a16="http://schemas.microsoft.com/office/drawing/2014/main" id="{C00489A1-BC04-E5EE-7505-4B48E29D6D43}"/>
              </a:ext>
            </a:extLst>
          </p:cNvPr>
          <p:cNvCxnSpPr>
            <a:cxnSpLocks/>
            <a:stCxn id="7547" idx="0"/>
            <a:endCxn id="7546" idx="7"/>
          </p:cNvCxnSpPr>
          <p:nvPr/>
        </p:nvCxnSpPr>
        <p:spPr>
          <a:xfrm rot="16200000" flipH="1">
            <a:off x="2686429" y="2829955"/>
            <a:ext cx="1153662" cy="3757207"/>
          </a:xfrm>
          <a:prstGeom prst="curvedConnector3">
            <a:avLst>
              <a:gd name="adj1" fmla="val -75958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98" name="Conector: curvado 7597">
            <a:extLst>
              <a:ext uri="{FF2B5EF4-FFF2-40B4-BE49-F238E27FC236}">
                <a16:creationId xmlns:a16="http://schemas.microsoft.com/office/drawing/2014/main" id="{276657AD-3D96-48D4-96EC-D5E2E88A08A2}"/>
              </a:ext>
            </a:extLst>
          </p:cNvPr>
          <p:cNvCxnSpPr>
            <a:cxnSpLocks/>
            <a:stCxn id="7548" idx="7"/>
            <a:endCxn id="7591" idx="1"/>
          </p:cNvCxnSpPr>
          <p:nvPr/>
        </p:nvCxnSpPr>
        <p:spPr>
          <a:xfrm rot="5400000" flipH="1" flipV="1">
            <a:off x="3725788" y="3658125"/>
            <a:ext cx="43016" cy="1019958"/>
          </a:xfrm>
          <a:prstGeom prst="curvedConnector3">
            <a:avLst>
              <a:gd name="adj1" fmla="val 765996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06" name="Conector: curvado 7605">
            <a:extLst>
              <a:ext uri="{FF2B5EF4-FFF2-40B4-BE49-F238E27FC236}">
                <a16:creationId xmlns:a16="http://schemas.microsoft.com/office/drawing/2014/main" id="{B51CA88A-1A62-3105-B178-6A1D64804727}"/>
              </a:ext>
            </a:extLst>
          </p:cNvPr>
          <p:cNvCxnSpPr>
            <a:cxnSpLocks/>
            <a:stCxn id="7547" idx="5"/>
            <a:endCxn id="7549" idx="2"/>
          </p:cNvCxnSpPr>
          <p:nvPr/>
        </p:nvCxnSpPr>
        <p:spPr>
          <a:xfrm rot="16200000" flipH="1">
            <a:off x="2286706" y="3706799"/>
            <a:ext cx="324499" cy="1849106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10" name="Group 4">
            <a:extLst>
              <a:ext uri="{FF2B5EF4-FFF2-40B4-BE49-F238E27FC236}">
                <a16:creationId xmlns:a16="http://schemas.microsoft.com/office/drawing/2014/main" id="{D256161A-2CE2-EFB1-07C2-0E8014B69C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35065" y="3171570"/>
            <a:ext cx="5637720" cy="3279419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7611" name="Group 205">
              <a:extLst>
                <a:ext uri="{FF2B5EF4-FFF2-40B4-BE49-F238E27FC236}">
                  <a16:creationId xmlns:a16="http://schemas.microsoft.com/office/drawing/2014/main" id="{68FA325D-8362-6A70-F6C9-5F920CC398C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7808" name="Freeform 5">
                <a:extLst>
                  <a:ext uri="{FF2B5EF4-FFF2-40B4-BE49-F238E27FC236}">
                    <a16:creationId xmlns:a16="http://schemas.microsoft.com/office/drawing/2014/main" id="{762B4ADE-4931-70C3-D23A-90BE6A390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09" name="Freeform 6">
                <a:extLst>
                  <a:ext uri="{FF2B5EF4-FFF2-40B4-BE49-F238E27FC236}">
                    <a16:creationId xmlns:a16="http://schemas.microsoft.com/office/drawing/2014/main" id="{A8FA2B11-15FA-A3DD-52DA-40D4BB175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0" name="Freeform 7">
                <a:extLst>
                  <a:ext uri="{FF2B5EF4-FFF2-40B4-BE49-F238E27FC236}">
                    <a16:creationId xmlns:a16="http://schemas.microsoft.com/office/drawing/2014/main" id="{EB9547D5-5A34-2BE6-B393-561500848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1" name="Freeform 8">
                <a:extLst>
                  <a:ext uri="{FF2B5EF4-FFF2-40B4-BE49-F238E27FC236}">
                    <a16:creationId xmlns:a16="http://schemas.microsoft.com/office/drawing/2014/main" id="{E37FF027-764D-F9F3-26D5-62EC36C5DB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2" name="Freeform 9">
                <a:extLst>
                  <a:ext uri="{FF2B5EF4-FFF2-40B4-BE49-F238E27FC236}">
                    <a16:creationId xmlns:a16="http://schemas.microsoft.com/office/drawing/2014/main" id="{C1C75773-8F35-A8C2-0982-BB155D7322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3" name="Freeform 10">
                <a:extLst>
                  <a:ext uri="{FF2B5EF4-FFF2-40B4-BE49-F238E27FC236}">
                    <a16:creationId xmlns:a16="http://schemas.microsoft.com/office/drawing/2014/main" id="{4AEBE777-B518-E1A6-C1D4-5E384C4F46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4" name="Freeform 11">
                <a:extLst>
                  <a:ext uri="{FF2B5EF4-FFF2-40B4-BE49-F238E27FC236}">
                    <a16:creationId xmlns:a16="http://schemas.microsoft.com/office/drawing/2014/main" id="{91B5B266-C4D7-BA86-3679-3BDF808F0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5" name="Freeform 12">
                <a:extLst>
                  <a:ext uri="{FF2B5EF4-FFF2-40B4-BE49-F238E27FC236}">
                    <a16:creationId xmlns:a16="http://schemas.microsoft.com/office/drawing/2014/main" id="{43C50F1D-0797-4A19-FAA9-BC3B92A027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6" name="Freeform 13">
                <a:extLst>
                  <a:ext uri="{FF2B5EF4-FFF2-40B4-BE49-F238E27FC236}">
                    <a16:creationId xmlns:a16="http://schemas.microsoft.com/office/drawing/2014/main" id="{9F5ED7DF-A348-65F2-E8DF-6DB1EA453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7" name="Freeform 14">
                <a:extLst>
                  <a:ext uri="{FF2B5EF4-FFF2-40B4-BE49-F238E27FC236}">
                    <a16:creationId xmlns:a16="http://schemas.microsoft.com/office/drawing/2014/main" id="{8F775F96-6A60-89EF-31E3-F758C0B67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8" name="Freeform 15">
                <a:extLst>
                  <a:ext uri="{FF2B5EF4-FFF2-40B4-BE49-F238E27FC236}">
                    <a16:creationId xmlns:a16="http://schemas.microsoft.com/office/drawing/2014/main" id="{FDFA95DC-15DA-1C07-BC24-A0BB57793B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9" name="Freeform 16">
                <a:extLst>
                  <a:ext uri="{FF2B5EF4-FFF2-40B4-BE49-F238E27FC236}">
                    <a16:creationId xmlns:a16="http://schemas.microsoft.com/office/drawing/2014/main" id="{1939FBF5-49B9-1593-BC96-450E7C6496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0" name="Freeform 17">
                <a:extLst>
                  <a:ext uri="{FF2B5EF4-FFF2-40B4-BE49-F238E27FC236}">
                    <a16:creationId xmlns:a16="http://schemas.microsoft.com/office/drawing/2014/main" id="{CFFEFAE5-3DFD-CCC6-F90D-35AFED07B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1" name="Freeform 18">
                <a:extLst>
                  <a:ext uri="{FF2B5EF4-FFF2-40B4-BE49-F238E27FC236}">
                    <a16:creationId xmlns:a16="http://schemas.microsoft.com/office/drawing/2014/main" id="{4868F92B-FD81-07AD-02F2-1A2E7EECB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2" name="Freeform 19">
                <a:extLst>
                  <a:ext uri="{FF2B5EF4-FFF2-40B4-BE49-F238E27FC236}">
                    <a16:creationId xmlns:a16="http://schemas.microsoft.com/office/drawing/2014/main" id="{7EB701A8-DD9B-CF69-5A4B-49C163E27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3" name="Freeform 20">
                <a:extLst>
                  <a:ext uri="{FF2B5EF4-FFF2-40B4-BE49-F238E27FC236}">
                    <a16:creationId xmlns:a16="http://schemas.microsoft.com/office/drawing/2014/main" id="{D946F982-E15F-4073-767D-F78F210D1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4" name="Freeform 21">
                <a:extLst>
                  <a:ext uri="{FF2B5EF4-FFF2-40B4-BE49-F238E27FC236}">
                    <a16:creationId xmlns:a16="http://schemas.microsoft.com/office/drawing/2014/main" id="{5C51CCC8-412E-157E-1828-F7D1F9542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5" name="Freeform 22">
                <a:extLst>
                  <a:ext uri="{FF2B5EF4-FFF2-40B4-BE49-F238E27FC236}">
                    <a16:creationId xmlns:a16="http://schemas.microsoft.com/office/drawing/2014/main" id="{A0F6805F-D49F-913B-1DF3-37D41BCC4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6" name="Freeform 23">
                <a:extLst>
                  <a:ext uri="{FF2B5EF4-FFF2-40B4-BE49-F238E27FC236}">
                    <a16:creationId xmlns:a16="http://schemas.microsoft.com/office/drawing/2014/main" id="{8D2F6C1E-3DA9-38D6-3329-DCA274CF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7" name="Freeform 24">
                <a:extLst>
                  <a:ext uri="{FF2B5EF4-FFF2-40B4-BE49-F238E27FC236}">
                    <a16:creationId xmlns:a16="http://schemas.microsoft.com/office/drawing/2014/main" id="{A2AB59FB-0E83-B7F4-AE0B-A7AD0F2C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8" name="Freeform 25">
                <a:extLst>
                  <a:ext uri="{FF2B5EF4-FFF2-40B4-BE49-F238E27FC236}">
                    <a16:creationId xmlns:a16="http://schemas.microsoft.com/office/drawing/2014/main" id="{53CD0103-D9B9-6E4D-7EA8-26B8CA75E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9" name="Freeform 26">
                <a:extLst>
                  <a:ext uri="{FF2B5EF4-FFF2-40B4-BE49-F238E27FC236}">
                    <a16:creationId xmlns:a16="http://schemas.microsoft.com/office/drawing/2014/main" id="{F31CC422-0C48-FF8B-415B-04A89C383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0" name="Freeform 27">
                <a:extLst>
                  <a:ext uri="{FF2B5EF4-FFF2-40B4-BE49-F238E27FC236}">
                    <a16:creationId xmlns:a16="http://schemas.microsoft.com/office/drawing/2014/main" id="{412B9A22-19B8-6ABB-DB3F-C808F58B3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1" name="Freeform 28">
                <a:extLst>
                  <a:ext uri="{FF2B5EF4-FFF2-40B4-BE49-F238E27FC236}">
                    <a16:creationId xmlns:a16="http://schemas.microsoft.com/office/drawing/2014/main" id="{D9ACFF41-7606-3AE6-D820-EF72BA715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2" name="Freeform 29">
                <a:extLst>
                  <a:ext uri="{FF2B5EF4-FFF2-40B4-BE49-F238E27FC236}">
                    <a16:creationId xmlns:a16="http://schemas.microsoft.com/office/drawing/2014/main" id="{21DC2148-E000-1E7F-6B07-0E8114FC0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3" name="Freeform 30">
                <a:extLst>
                  <a:ext uri="{FF2B5EF4-FFF2-40B4-BE49-F238E27FC236}">
                    <a16:creationId xmlns:a16="http://schemas.microsoft.com/office/drawing/2014/main" id="{D7948F81-D9B4-DCDE-5BD8-F9B731167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4" name="Freeform 31">
                <a:extLst>
                  <a:ext uri="{FF2B5EF4-FFF2-40B4-BE49-F238E27FC236}">
                    <a16:creationId xmlns:a16="http://schemas.microsoft.com/office/drawing/2014/main" id="{BA4F71BF-3CEC-47CE-0780-77671EA9B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5" name="Freeform 32">
                <a:extLst>
                  <a:ext uri="{FF2B5EF4-FFF2-40B4-BE49-F238E27FC236}">
                    <a16:creationId xmlns:a16="http://schemas.microsoft.com/office/drawing/2014/main" id="{FFCF9DCB-3855-9100-A389-1A26B09FA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6" name="Freeform 33">
                <a:extLst>
                  <a:ext uri="{FF2B5EF4-FFF2-40B4-BE49-F238E27FC236}">
                    <a16:creationId xmlns:a16="http://schemas.microsoft.com/office/drawing/2014/main" id="{4F0FEA59-4B32-B77F-599A-54F9F764D7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7" name="Freeform 34">
                <a:extLst>
                  <a:ext uri="{FF2B5EF4-FFF2-40B4-BE49-F238E27FC236}">
                    <a16:creationId xmlns:a16="http://schemas.microsoft.com/office/drawing/2014/main" id="{D7E272F8-0844-0DB1-6E21-1FE8B6B707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8" name="Freeform 35">
                <a:extLst>
                  <a:ext uri="{FF2B5EF4-FFF2-40B4-BE49-F238E27FC236}">
                    <a16:creationId xmlns:a16="http://schemas.microsoft.com/office/drawing/2014/main" id="{C1C607A5-14F9-2843-3892-5957F85277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9" name="Freeform 36">
                <a:extLst>
                  <a:ext uri="{FF2B5EF4-FFF2-40B4-BE49-F238E27FC236}">
                    <a16:creationId xmlns:a16="http://schemas.microsoft.com/office/drawing/2014/main" id="{01D3A01A-DAFF-C7EE-FFEA-98DC7C64E8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0" name="Freeform 37">
                <a:extLst>
                  <a:ext uri="{FF2B5EF4-FFF2-40B4-BE49-F238E27FC236}">
                    <a16:creationId xmlns:a16="http://schemas.microsoft.com/office/drawing/2014/main" id="{F2FA2DC4-C526-DAFB-901E-2562F3B365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1" name="Freeform 38">
                <a:extLst>
                  <a:ext uri="{FF2B5EF4-FFF2-40B4-BE49-F238E27FC236}">
                    <a16:creationId xmlns:a16="http://schemas.microsoft.com/office/drawing/2014/main" id="{E0364198-BC51-8B19-5AA5-015E9661EC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2" name="Freeform 39">
                <a:extLst>
                  <a:ext uri="{FF2B5EF4-FFF2-40B4-BE49-F238E27FC236}">
                    <a16:creationId xmlns:a16="http://schemas.microsoft.com/office/drawing/2014/main" id="{61D76C28-993F-6135-0426-6A91DA0AE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3" name="Freeform 40">
                <a:extLst>
                  <a:ext uri="{FF2B5EF4-FFF2-40B4-BE49-F238E27FC236}">
                    <a16:creationId xmlns:a16="http://schemas.microsoft.com/office/drawing/2014/main" id="{C7B673B7-E1EE-8579-D611-8FF97E9E0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4" name="Freeform 41">
                <a:extLst>
                  <a:ext uri="{FF2B5EF4-FFF2-40B4-BE49-F238E27FC236}">
                    <a16:creationId xmlns:a16="http://schemas.microsoft.com/office/drawing/2014/main" id="{ECA3C5EB-E893-1DAC-711D-A02C1141C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5" name="Freeform 42">
                <a:extLst>
                  <a:ext uri="{FF2B5EF4-FFF2-40B4-BE49-F238E27FC236}">
                    <a16:creationId xmlns:a16="http://schemas.microsoft.com/office/drawing/2014/main" id="{70519324-684B-36FC-4AA9-B76884AE50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6" name="Freeform 43">
                <a:extLst>
                  <a:ext uri="{FF2B5EF4-FFF2-40B4-BE49-F238E27FC236}">
                    <a16:creationId xmlns:a16="http://schemas.microsoft.com/office/drawing/2014/main" id="{1DFAADA2-EF3B-46DE-D3E0-38C1863AB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7" name="Freeform 44">
                <a:extLst>
                  <a:ext uri="{FF2B5EF4-FFF2-40B4-BE49-F238E27FC236}">
                    <a16:creationId xmlns:a16="http://schemas.microsoft.com/office/drawing/2014/main" id="{28034E92-C322-438C-8D80-207DF3788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8" name="Freeform 45">
                <a:extLst>
                  <a:ext uri="{FF2B5EF4-FFF2-40B4-BE49-F238E27FC236}">
                    <a16:creationId xmlns:a16="http://schemas.microsoft.com/office/drawing/2014/main" id="{BA525A06-1167-9C17-C17F-0D259AA087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9" name="Freeform 46">
                <a:extLst>
                  <a:ext uri="{FF2B5EF4-FFF2-40B4-BE49-F238E27FC236}">
                    <a16:creationId xmlns:a16="http://schemas.microsoft.com/office/drawing/2014/main" id="{1F735F2A-1C80-90D2-85A1-1D2FF0B15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0" name="Freeform 47">
                <a:extLst>
                  <a:ext uri="{FF2B5EF4-FFF2-40B4-BE49-F238E27FC236}">
                    <a16:creationId xmlns:a16="http://schemas.microsoft.com/office/drawing/2014/main" id="{7546A8F4-C404-BF2C-504E-56B876BC8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1" name="Freeform 48">
                <a:extLst>
                  <a:ext uri="{FF2B5EF4-FFF2-40B4-BE49-F238E27FC236}">
                    <a16:creationId xmlns:a16="http://schemas.microsoft.com/office/drawing/2014/main" id="{5AAE017E-4132-F7DB-063E-CABC8287C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2" name="Freeform 49">
                <a:extLst>
                  <a:ext uri="{FF2B5EF4-FFF2-40B4-BE49-F238E27FC236}">
                    <a16:creationId xmlns:a16="http://schemas.microsoft.com/office/drawing/2014/main" id="{38D952FA-7EE5-5331-7DA3-CC328BCB8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3" name="Freeform 50">
                <a:extLst>
                  <a:ext uri="{FF2B5EF4-FFF2-40B4-BE49-F238E27FC236}">
                    <a16:creationId xmlns:a16="http://schemas.microsoft.com/office/drawing/2014/main" id="{CF518834-A3E4-3A2C-5C70-D5CDF080C5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4" name="Freeform 51">
                <a:extLst>
                  <a:ext uri="{FF2B5EF4-FFF2-40B4-BE49-F238E27FC236}">
                    <a16:creationId xmlns:a16="http://schemas.microsoft.com/office/drawing/2014/main" id="{535E0B78-FD4C-0C20-64AF-5ED5B84BE5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5" name="Freeform 52">
                <a:extLst>
                  <a:ext uri="{FF2B5EF4-FFF2-40B4-BE49-F238E27FC236}">
                    <a16:creationId xmlns:a16="http://schemas.microsoft.com/office/drawing/2014/main" id="{AD9B3E6B-9282-BDD5-B520-36E21B8A04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6" name="Freeform 53">
                <a:extLst>
                  <a:ext uri="{FF2B5EF4-FFF2-40B4-BE49-F238E27FC236}">
                    <a16:creationId xmlns:a16="http://schemas.microsoft.com/office/drawing/2014/main" id="{0938F99B-8CF6-84F5-80E5-4D5B3DA6B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7" name="Freeform 54">
                <a:extLst>
                  <a:ext uri="{FF2B5EF4-FFF2-40B4-BE49-F238E27FC236}">
                    <a16:creationId xmlns:a16="http://schemas.microsoft.com/office/drawing/2014/main" id="{0B8ED804-2A42-C553-94CF-81ED41D5D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8" name="Freeform 55">
                <a:extLst>
                  <a:ext uri="{FF2B5EF4-FFF2-40B4-BE49-F238E27FC236}">
                    <a16:creationId xmlns:a16="http://schemas.microsoft.com/office/drawing/2014/main" id="{7B028515-804D-188D-A79C-0D84BA9E37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9" name="Freeform 56">
                <a:extLst>
                  <a:ext uri="{FF2B5EF4-FFF2-40B4-BE49-F238E27FC236}">
                    <a16:creationId xmlns:a16="http://schemas.microsoft.com/office/drawing/2014/main" id="{CA931428-BE25-E064-6550-A52A27846F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0" name="Freeform 57">
                <a:extLst>
                  <a:ext uri="{FF2B5EF4-FFF2-40B4-BE49-F238E27FC236}">
                    <a16:creationId xmlns:a16="http://schemas.microsoft.com/office/drawing/2014/main" id="{119977B2-471C-B707-669E-2A68205F54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1" name="Freeform 58">
                <a:extLst>
                  <a:ext uri="{FF2B5EF4-FFF2-40B4-BE49-F238E27FC236}">
                    <a16:creationId xmlns:a16="http://schemas.microsoft.com/office/drawing/2014/main" id="{46EB2A07-C9B0-103B-F376-1F581FD18D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2" name="Freeform 59">
                <a:extLst>
                  <a:ext uri="{FF2B5EF4-FFF2-40B4-BE49-F238E27FC236}">
                    <a16:creationId xmlns:a16="http://schemas.microsoft.com/office/drawing/2014/main" id="{C83C2A3F-D9EC-9E48-57E8-4238D38B80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3" name="Freeform 60">
                <a:extLst>
                  <a:ext uri="{FF2B5EF4-FFF2-40B4-BE49-F238E27FC236}">
                    <a16:creationId xmlns:a16="http://schemas.microsoft.com/office/drawing/2014/main" id="{704B89D8-0ABB-B693-8836-AF9C8909D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4" name="Freeform 61">
                <a:extLst>
                  <a:ext uri="{FF2B5EF4-FFF2-40B4-BE49-F238E27FC236}">
                    <a16:creationId xmlns:a16="http://schemas.microsoft.com/office/drawing/2014/main" id="{1DB5567A-5EFC-C62C-3D4E-FB12C414BE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5" name="Freeform 62">
                <a:extLst>
                  <a:ext uri="{FF2B5EF4-FFF2-40B4-BE49-F238E27FC236}">
                    <a16:creationId xmlns:a16="http://schemas.microsoft.com/office/drawing/2014/main" id="{D49E12DF-154C-B529-48BA-8B8AC529A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6" name="Freeform 63">
                <a:extLst>
                  <a:ext uri="{FF2B5EF4-FFF2-40B4-BE49-F238E27FC236}">
                    <a16:creationId xmlns:a16="http://schemas.microsoft.com/office/drawing/2014/main" id="{9CE0FF33-359A-0526-E7A5-FDFF4DE727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7" name="Freeform 64">
                <a:extLst>
                  <a:ext uri="{FF2B5EF4-FFF2-40B4-BE49-F238E27FC236}">
                    <a16:creationId xmlns:a16="http://schemas.microsoft.com/office/drawing/2014/main" id="{960F2465-8194-4B76-C6DE-E85A3DA93F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8" name="Freeform 65">
                <a:extLst>
                  <a:ext uri="{FF2B5EF4-FFF2-40B4-BE49-F238E27FC236}">
                    <a16:creationId xmlns:a16="http://schemas.microsoft.com/office/drawing/2014/main" id="{F48E03CC-D143-F6D1-3BE8-D3DD5AF2CF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9" name="Freeform 66">
                <a:extLst>
                  <a:ext uri="{FF2B5EF4-FFF2-40B4-BE49-F238E27FC236}">
                    <a16:creationId xmlns:a16="http://schemas.microsoft.com/office/drawing/2014/main" id="{942F6A07-9FF8-BE1B-4090-B5B8D8D08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0" name="Freeform 67">
                <a:extLst>
                  <a:ext uri="{FF2B5EF4-FFF2-40B4-BE49-F238E27FC236}">
                    <a16:creationId xmlns:a16="http://schemas.microsoft.com/office/drawing/2014/main" id="{39131238-C746-6784-3546-2C7CB6C29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1" name="Freeform 68">
                <a:extLst>
                  <a:ext uri="{FF2B5EF4-FFF2-40B4-BE49-F238E27FC236}">
                    <a16:creationId xmlns:a16="http://schemas.microsoft.com/office/drawing/2014/main" id="{DD8827CD-A210-70A0-8ADF-DAD725A37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2" name="Freeform 69">
                <a:extLst>
                  <a:ext uri="{FF2B5EF4-FFF2-40B4-BE49-F238E27FC236}">
                    <a16:creationId xmlns:a16="http://schemas.microsoft.com/office/drawing/2014/main" id="{BBEBADE3-A11F-3E7F-72E2-8B4166D99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3" name="Freeform 70">
                <a:extLst>
                  <a:ext uri="{FF2B5EF4-FFF2-40B4-BE49-F238E27FC236}">
                    <a16:creationId xmlns:a16="http://schemas.microsoft.com/office/drawing/2014/main" id="{80AEEECF-4F75-3C8D-50F6-2B14436DE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4" name="Freeform 71">
                <a:extLst>
                  <a:ext uri="{FF2B5EF4-FFF2-40B4-BE49-F238E27FC236}">
                    <a16:creationId xmlns:a16="http://schemas.microsoft.com/office/drawing/2014/main" id="{6C84F041-3AA6-70D2-94E4-030288DF0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5" name="Freeform 72">
                <a:extLst>
                  <a:ext uri="{FF2B5EF4-FFF2-40B4-BE49-F238E27FC236}">
                    <a16:creationId xmlns:a16="http://schemas.microsoft.com/office/drawing/2014/main" id="{E49B1026-A492-86AB-9A37-EA38D5BEF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6" name="Freeform 73">
                <a:extLst>
                  <a:ext uri="{FF2B5EF4-FFF2-40B4-BE49-F238E27FC236}">
                    <a16:creationId xmlns:a16="http://schemas.microsoft.com/office/drawing/2014/main" id="{5727D9B7-9001-AD09-4F89-F472C9B947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7" name="Freeform 74">
                <a:extLst>
                  <a:ext uri="{FF2B5EF4-FFF2-40B4-BE49-F238E27FC236}">
                    <a16:creationId xmlns:a16="http://schemas.microsoft.com/office/drawing/2014/main" id="{2722282F-1F2F-DE9E-AA2D-72E3BD7C5B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8" name="Freeform 75">
                <a:extLst>
                  <a:ext uri="{FF2B5EF4-FFF2-40B4-BE49-F238E27FC236}">
                    <a16:creationId xmlns:a16="http://schemas.microsoft.com/office/drawing/2014/main" id="{C076F0AB-DEF7-7255-E2A6-3C8CC9197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9" name="Freeform 76">
                <a:extLst>
                  <a:ext uri="{FF2B5EF4-FFF2-40B4-BE49-F238E27FC236}">
                    <a16:creationId xmlns:a16="http://schemas.microsoft.com/office/drawing/2014/main" id="{20964678-1046-CD95-598E-07A33EC37E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0" name="Freeform 77">
                <a:extLst>
                  <a:ext uri="{FF2B5EF4-FFF2-40B4-BE49-F238E27FC236}">
                    <a16:creationId xmlns:a16="http://schemas.microsoft.com/office/drawing/2014/main" id="{27B87D5D-5832-ACF8-2239-4AC1BA87E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1" name="Freeform 78">
                <a:extLst>
                  <a:ext uri="{FF2B5EF4-FFF2-40B4-BE49-F238E27FC236}">
                    <a16:creationId xmlns:a16="http://schemas.microsoft.com/office/drawing/2014/main" id="{EB762C9D-6FF0-0269-2E3E-A4EB1C176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2" name="Freeform 79">
                <a:extLst>
                  <a:ext uri="{FF2B5EF4-FFF2-40B4-BE49-F238E27FC236}">
                    <a16:creationId xmlns:a16="http://schemas.microsoft.com/office/drawing/2014/main" id="{B3F688F2-7358-3868-8D7B-0F4FD618D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3" name="Freeform 80">
                <a:extLst>
                  <a:ext uri="{FF2B5EF4-FFF2-40B4-BE49-F238E27FC236}">
                    <a16:creationId xmlns:a16="http://schemas.microsoft.com/office/drawing/2014/main" id="{DDBFC020-302A-EB9A-762A-3D7951B74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4" name="Freeform 81">
                <a:extLst>
                  <a:ext uri="{FF2B5EF4-FFF2-40B4-BE49-F238E27FC236}">
                    <a16:creationId xmlns:a16="http://schemas.microsoft.com/office/drawing/2014/main" id="{6754056F-1A1A-175A-2A0F-849C97F283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5" name="Freeform 82">
                <a:extLst>
                  <a:ext uri="{FF2B5EF4-FFF2-40B4-BE49-F238E27FC236}">
                    <a16:creationId xmlns:a16="http://schemas.microsoft.com/office/drawing/2014/main" id="{E210F0A9-7C32-B503-3543-F01653213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6" name="Freeform 83">
                <a:extLst>
                  <a:ext uri="{FF2B5EF4-FFF2-40B4-BE49-F238E27FC236}">
                    <a16:creationId xmlns:a16="http://schemas.microsoft.com/office/drawing/2014/main" id="{716E8D36-F9C3-6CD5-39D8-373098A60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7" name="Freeform 84">
                <a:extLst>
                  <a:ext uri="{FF2B5EF4-FFF2-40B4-BE49-F238E27FC236}">
                    <a16:creationId xmlns:a16="http://schemas.microsoft.com/office/drawing/2014/main" id="{DF59E80E-66DA-BA9F-6B16-3D6538967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8" name="Freeform 85">
                <a:extLst>
                  <a:ext uri="{FF2B5EF4-FFF2-40B4-BE49-F238E27FC236}">
                    <a16:creationId xmlns:a16="http://schemas.microsoft.com/office/drawing/2014/main" id="{AA5F015E-1AE1-DC62-98C5-0E365129F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9" name="Freeform 86">
                <a:extLst>
                  <a:ext uri="{FF2B5EF4-FFF2-40B4-BE49-F238E27FC236}">
                    <a16:creationId xmlns:a16="http://schemas.microsoft.com/office/drawing/2014/main" id="{740F40AC-8561-DD0B-D843-B22DF5E66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0" name="Freeform 87">
                <a:extLst>
                  <a:ext uri="{FF2B5EF4-FFF2-40B4-BE49-F238E27FC236}">
                    <a16:creationId xmlns:a16="http://schemas.microsoft.com/office/drawing/2014/main" id="{5518AA6E-C4E3-20BE-175A-392E285CE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1" name="Freeform 88">
                <a:extLst>
                  <a:ext uri="{FF2B5EF4-FFF2-40B4-BE49-F238E27FC236}">
                    <a16:creationId xmlns:a16="http://schemas.microsoft.com/office/drawing/2014/main" id="{CA771D49-969A-6334-25A9-69CCF04AF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2" name="Freeform 89">
                <a:extLst>
                  <a:ext uri="{FF2B5EF4-FFF2-40B4-BE49-F238E27FC236}">
                    <a16:creationId xmlns:a16="http://schemas.microsoft.com/office/drawing/2014/main" id="{EA7CF43A-F99C-B84E-6CFF-DCDCE25A1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3" name="Freeform 90">
                <a:extLst>
                  <a:ext uri="{FF2B5EF4-FFF2-40B4-BE49-F238E27FC236}">
                    <a16:creationId xmlns:a16="http://schemas.microsoft.com/office/drawing/2014/main" id="{6BF4B937-882D-728A-DFF8-2FBBCD363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4" name="Freeform 91">
                <a:extLst>
                  <a:ext uri="{FF2B5EF4-FFF2-40B4-BE49-F238E27FC236}">
                    <a16:creationId xmlns:a16="http://schemas.microsoft.com/office/drawing/2014/main" id="{149453DC-ADD2-A722-9B08-8359809E3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5" name="Freeform 92">
                <a:extLst>
                  <a:ext uri="{FF2B5EF4-FFF2-40B4-BE49-F238E27FC236}">
                    <a16:creationId xmlns:a16="http://schemas.microsoft.com/office/drawing/2014/main" id="{7F8E1119-2F69-BD00-C8E8-01DBC6BFA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6" name="Freeform 93">
                <a:extLst>
                  <a:ext uri="{FF2B5EF4-FFF2-40B4-BE49-F238E27FC236}">
                    <a16:creationId xmlns:a16="http://schemas.microsoft.com/office/drawing/2014/main" id="{97231DFC-3810-5121-60EB-FF36893B97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7" name="Freeform 94">
                <a:extLst>
                  <a:ext uri="{FF2B5EF4-FFF2-40B4-BE49-F238E27FC236}">
                    <a16:creationId xmlns:a16="http://schemas.microsoft.com/office/drawing/2014/main" id="{D8613156-D85D-8DBD-EA49-BEDDD7F174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8" name="Freeform 95">
                <a:extLst>
                  <a:ext uri="{FF2B5EF4-FFF2-40B4-BE49-F238E27FC236}">
                    <a16:creationId xmlns:a16="http://schemas.microsoft.com/office/drawing/2014/main" id="{CE8936E4-B33C-103A-364F-B915C2348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9" name="Freeform 96">
                <a:extLst>
                  <a:ext uri="{FF2B5EF4-FFF2-40B4-BE49-F238E27FC236}">
                    <a16:creationId xmlns:a16="http://schemas.microsoft.com/office/drawing/2014/main" id="{A1E8FF85-BF33-BD67-FB63-B19F82485B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0" name="Freeform 97">
                <a:extLst>
                  <a:ext uri="{FF2B5EF4-FFF2-40B4-BE49-F238E27FC236}">
                    <a16:creationId xmlns:a16="http://schemas.microsoft.com/office/drawing/2014/main" id="{D124BB59-ABB4-B44C-5D5E-DE37CFB3CE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1" name="Freeform 98">
                <a:extLst>
                  <a:ext uri="{FF2B5EF4-FFF2-40B4-BE49-F238E27FC236}">
                    <a16:creationId xmlns:a16="http://schemas.microsoft.com/office/drawing/2014/main" id="{BF1505EC-C841-ABAE-71A6-23A3F1EA6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2" name="Freeform 99">
                <a:extLst>
                  <a:ext uri="{FF2B5EF4-FFF2-40B4-BE49-F238E27FC236}">
                    <a16:creationId xmlns:a16="http://schemas.microsoft.com/office/drawing/2014/main" id="{E3C03339-CD5C-1CF3-845F-6B939A5A1C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3" name="Freeform 100">
                <a:extLst>
                  <a:ext uri="{FF2B5EF4-FFF2-40B4-BE49-F238E27FC236}">
                    <a16:creationId xmlns:a16="http://schemas.microsoft.com/office/drawing/2014/main" id="{A5B9C0A8-92BC-649F-7D2A-A6BB4DAB5B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4" name="Freeform 101">
                <a:extLst>
                  <a:ext uri="{FF2B5EF4-FFF2-40B4-BE49-F238E27FC236}">
                    <a16:creationId xmlns:a16="http://schemas.microsoft.com/office/drawing/2014/main" id="{A5585B7E-80D1-EFF7-616D-7F1A6CCED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5" name="Freeform 102">
                <a:extLst>
                  <a:ext uri="{FF2B5EF4-FFF2-40B4-BE49-F238E27FC236}">
                    <a16:creationId xmlns:a16="http://schemas.microsoft.com/office/drawing/2014/main" id="{1420576C-3C14-88A2-6957-32C218D43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6" name="Freeform 103">
                <a:extLst>
                  <a:ext uri="{FF2B5EF4-FFF2-40B4-BE49-F238E27FC236}">
                    <a16:creationId xmlns:a16="http://schemas.microsoft.com/office/drawing/2014/main" id="{0793749C-2843-88CD-C97E-C89FD3148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7" name="Freeform 104">
                <a:extLst>
                  <a:ext uri="{FF2B5EF4-FFF2-40B4-BE49-F238E27FC236}">
                    <a16:creationId xmlns:a16="http://schemas.microsoft.com/office/drawing/2014/main" id="{76D66F42-5E8F-387F-E91C-D8598DC9E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8" name="Freeform 105">
                <a:extLst>
                  <a:ext uri="{FF2B5EF4-FFF2-40B4-BE49-F238E27FC236}">
                    <a16:creationId xmlns:a16="http://schemas.microsoft.com/office/drawing/2014/main" id="{AA18FDD9-2674-284A-7D19-3DF189EA2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9" name="Freeform 106">
                <a:extLst>
                  <a:ext uri="{FF2B5EF4-FFF2-40B4-BE49-F238E27FC236}">
                    <a16:creationId xmlns:a16="http://schemas.microsoft.com/office/drawing/2014/main" id="{071C33BD-FCB6-4527-01A1-42B9687A59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0" name="Freeform 107">
                <a:extLst>
                  <a:ext uri="{FF2B5EF4-FFF2-40B4-BE49-F238E27FC236}">
                    <a16:creationId xmlns:a16="http://schemas.microsoft.com/office/drawing/2014/main" id="{94457FC1-1D3E-EB84-F4AA-B6FBE96B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1" name="Freeform 108">
                <a:extLst>
                  <a:ext uri="{FF2B5EF4-FFF2-40B4-BE49-F238E27FC236}">
                    <a16:creationId xmlns:a16="http://schemas.microsoft.com/office/drawing/2014/main" id="{41568866-DD98-1A7B-4E91-F8F22EF7DF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2" name="Freeform 109">
                <a:extLst>
                  <a:ext uri="{FF2B5EF4-FFF2-40B4-BE49-F238E27FC236}">
                    <a16:creationId xmlns:a16="http://schemas.microsoft.com/office/drawing/2014/main" id="{334BEDC4-B3DA-397C-7A1E-DF8B03F69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3" name="Freeform 110">
                <a:extLst>
                  <a:ext uri="{FF2B5EF4-FFF2-40B4-BE49-F238E27FC236}">
                    <a16:creationId xmlns:a16="http://schemas.microsoft.com/office/drawing/2014/main" id="{33AA12AD-D0AF-A377-C571-8659BAC93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4" name="Freeform 111">
                <a:extLst>
                  <a:ext uri="{FF2B5EF4-FFF2-40B4-BE49-F238E27FC236}">
                    <a16:creationId xmlns:a16="http://schemas.microsoft.com/office/drawing/2014/main" id="{4C794CB8-6526-15D1-643F-53E740FE0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5" name="Freeform 112">
                <a:extLst>
                  <a:ext uri="{FF2B5EF4-FFF2-40B4-BE49-F238E27FC236}">
                    <a16:creationId xmlns:a16="http://schemas.microsoft.com/office/drawing/2014/main" id="{A09888D3-7CE7-199E-FED4-CD1CD87B0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6" name="Freeform 113">
                <a:extLst>
                  <a:ext uri="{FF2B5EF4-FFF2-40B4-BE49-F238E27FC236}">
                    <a16:creationId xmlns:a16="http://schemas.microsoft.com/office/drawing/2014/main" id="{10F96E5C-A370-7218-731A-5B70D21B7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7" name="Freeform 114">
                <a:extLst>
                  <a:ext uri="{FF2B5EF4-FFF2-40B4-BE49-F238E27FC236}">
                    <a16:creationId xmlns:a16="http://schemas.microsoft.com/office/drawing/2014/main" id="{3CE6900B-384C-4861-FF6A-3F096916F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8" name="Freeform 115">
                <a:extLst>
                  <a:ext uri="{FF2B5EF4-FFF2-40B4-BE49-F238E27FC236}">
                    <a16:creationId xmlns:a16="http://schemas.microsoft.com/office/drawing/2014/main" id="{85E890D9-7BAA-F408-0B33-97E2EF7FA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9" name="Freeform 116">
                <a:extLst>
                  <a:ext uri="{FF2B5EF4-FFF2-40B4-BE49-F238E27FC236}">
                    <a16:creationId xmlns:a16="http://schemas.microsoft.com/office/drawing/2014/main" id="{C951692A-9A86-CDEB-15E0-D29AABBC6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0" name="Freeform 117">
                <a:extLst>
                  <a:ext uri="{FF2B5EF4-FFF2-40B4-BE49-F238E27FC236}">
                    <a16:creationId xmlns:a16="http://schemas.microsoft.com/office/drawing/2014/main" id="{8F40A592-FA07-76FD-B273-CD78E5F08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1" name="Freeform 118">
                <a:extLst>
                  <a:ext uri="{FF2B5EF4-FFF2-40B4-BE49-F238E27FC236}">
                    <a16:creationId xmlns:a16="http://schemas.microsoft.com/office/drawing/2014/main" id="{F356EC28-5CC3-2DF6-7F07-C2C094B81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2" name="Freeform 119">
                <a:extLst>
                  <a:ext uri="{FF2B5EF4-FFF2-40B4-BE49-F238E27FC236}">
                    <a16:creationId xmlns:a16="http://schemas.microsoft.com/office/drawing/2014/main" id="{18E15E60-4E37-F565-2016-A7599FFA33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3" name="Freeform 120">
                <a:extLst>
                  <a:ext uri="{FF2B5EF4-FFF2-40B4-BE49-F238E27FC236}">
                    <a16:creationId xmlns:a16="http://schemas.microsoft.com/office/drawing/2014/main" id="{0745A917-CB74-6661-1C68-3592E4428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4" name="Freeform 121">
                <a:extLst>
                  <a:ext uri="{FF2B5EF4-FFF2-40B4-BE49-F238E27FC236}">
                    <a16:creationId xmlns:a16="http://schemas.microsoft.com/office/drawing/2014/main" id="{9FE3FCC5-B087-F20F-8B96-DA87012F2F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5" name="Freeform 122">
                <a:extLst>
                  <a:ext uri="{FF2B5EF4-FFF2-40B4-BE49-F238E27FC236}">
                    <a16:creationId xmlns:a16="http://schemas.microsoft.com/office/drawing/2014/main" id="{441349C3-3877-27E3-D47A-465FF992B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6" name="Freeform 123">
                <a:extLst>
                  <a:ext uri="{FF2B5EF4-FFF2-40B4-BE49-F238E27FC236}">
                    <a16:creationId xmlns:a16="http://schemas.microsoft.com/office/drawing/2014/main" id="{DE883A23-4C1F-E24A-0AA0-9D29D51A7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7" name="Freeform 124">
                <a:extLst>
                  <a:ext uri="{FF2B5EF4-FFF2-40B4-BE49-F238E27FC236}">
                    <a16:creationId xmlns:a16="http://schemas.microsoft.com/office/drawing/2014/main" id="{83DDAEFD-CE14-99B0-D6E2-912713946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8" name="Freeform 125">
                <a:extLst>
                  <a:ext uri="{FF2B5EF4-FFF2-40B4-BE49-F238E27FC236}">
                    <a16:creationId xmlns:a16="http://schemas.microsoft.com/office/drawing/2014/main" id="{1912F020-9930-0D27-1BE8-E6A616CAB9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9" name="Freeform 126">
                <a:extLst>
                  <a:ext uri="{FF2B5EF4-FFF2-40B4-BE49-F238E27FC236}">
                    <a16:creationId xmlns:a16="http://schemas.microsoft.com/office/drawing/2014/main" id="{9C6C2743-C017-9157-708A-32B42178D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0" name="Freeform 127">
                <a:extLst>
                  <a:ext uri="{FF2B5EF4-FFF2-40B4-BE49-F238E27FC236}">
                    <a16:creationId xmlns:a16="http://schemas.microsoft.com/office/drawing/2014/main" id="{0401DB7A-70DD-B9F2-8863-E5CF5ACBA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1" name="Freeform 128">
                <a:extLst>
                  <a:ext uri="{FF2B5EF4-FFF2-40B4-BE49-F238E27FC236}">
                    <a16:creationId xmlns:a16="http://schemas.microsoft.com/office/drawing/2014/main" id="{1D5136C6-1D8B-C311-DC56-49F4807A0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2" name="Freeform 129">
                <a:extLst>
                  <a:ext uri="{FF2B5EF4-FFF2-40B4-BE49-F238E27FC236}">
                    <a16:creationId xmlns:a16="http://schemas.microsoft.com/office/drawing/2014/main" id="{48BE7617-547E-E806-9750-A4D9557E05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3" name="Freeform 130">
                <a:extLst>
                  <a:ext uri="{FF2B5EF4-FFF2-40B4-BE49-F238E27FC236}">
                    <a16:creationId xmlns:a16="http://schemas.microsoft.com/office/drawing/2014/main" id="{6DF4DE24-C4C7-8079-C90E-1759B424F8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4" name="Freeform 131">
                <a:extLst>
                  <a:ext uri="{FF2B5EF4-FFF2-40B4-BE49-F238E27FC236}">
                    <a16:creationId xmlns:a16="http://schemas.microsoft.com/office/drawing/2014/main" id="{DDDA4CA7-64ED-7DAA-0F88-480A53F49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5" name="Freeform 132">
                <a:extLst>
                  <a:ext uri="{FF2B5EF4-FFF2-40B4-BE49-F238E27FC236}">
                    <a16:creationId xmlns:a16="http://schemas.microsoft.com/office/drawing/2014/main" id="{442BD9FB-2238-7146-E103-EDC9C6AF4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6" name="Freeform 133">
                <a:extLst>
                  <a:ext uri="{FF2B5EF4-FFF2-40B4-BE49-F238E27FC236}">
                    <a16:creationId xmlns:a16="http://schemas.microsoft.com/office/drawing/2014/main" id="{02C4F16C-E86A-AC8A-44C0-607EDA441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7" name="Freeform 134">
                <a:extLst>
                  <a:ext uri="{FF2B5EF4-FFF2-40B4-BE49-F238E27FC236}">
                    <a16:creationId xmlns:a16="http://schemas.microsoft.com/office/drawing/2014/main" id="{16A8BE9F-A03F-3F83-DA33-4CD4DBDA6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8" name="Freeform 135">
                <a:extLst>
                  <a:ext uri="{FF2B5EF4-FFF2-40B4-BE49-F238E27FC236}">
                    <a16:creationId xmlns:a16="http://schemas.microsoft.com/office/drawing/2014/main" id="{18E53C95-4153-2ACD-99E5-C23C6F47B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9" name="Freeform 136">
                <a:extLst>
                  <a:ext uri="{FF2B5EF4-FFF2-40B4-BE49-F238E27FC236}">
                    <a16:creationId xmlns:a16="http://schemas.microsoft.com/office/drawing/2014/main" id="{8B11E7F5-7733-B50D-C3D9-2D35F9BA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0" name="Freeform 137">
                <a:extLst>
                  <a:ext uri="{FF2B5EF4-FFF2-40B4-BE49-F238E27FC236}">
                    <a16:creationId xmlns:a16="http://schemas.microsoft.com/office/drawing/2014/main" id="{E332C768-B5AD-75F3-6BDA-B009EB9F56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1" name="Freeform 138">
                <a:extLst>
                  <a:ext uri="{FF2B5EF4-FFF2-40B4-BE49-F238E27FC236}">
                    <a16:creationId xmlns:a16="http://schemas.microsoft.com/office/drawing/2014/main" id="{1634AAAC-3BA2-C566-6F7E-0B6567251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2" name="Freeform 139">
                <a:extLst>
                  <a:ext uri="{FF2B5EF4-FFF2-40B4-BE49-F238E27FC236}">
                    <a16:creationId xmlns:a16="http://schemas.microsoft.com/office/drawing/2014/main" id="{D9545A82-5DF7-F818-468C-BE539787C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3" name="Freeform 140">
                <a:extLst>
                  <a:ext uri="{FF2B5EF4-FFF2-40B4-BE49-F238E27FC236}">
                    <a16:creationId xmlns:a16="http://schemas.microsoft.com/office/drawing/2014/main" id="{D0F6782B-2B06-2AF2-A91C-DCDF0EB77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4" name="Freeform 141">
                <a:extLst>
                  <a:ext uri="{FF2B5EF4-FFF2-40B4-BE49-F238E27FC236}">
                    <a16:creationId xmlns:a16="http://schemas.microsoft.com/office/drawing/2014/main" id="{161A6361-E87E-BE3B-4DEA-FAAC6CB7B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5" name="Freeform 142">
                <a:extLst>
                  <a:ext uri="{FF2B5EF4-FFF2-40B4-BE49-F238E27FC236}">
                    <a16:creationId xmlns:a16="http://schemas.microsoft.com/office/drawing/2014/main" id="{446A6246-1187-3351-3DA8-9E3B36C15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6" name="Freeform 143">
                <a:extLst>
                  <a:ext uri="{FF2B5EF4-FFF2-40B4-BE49-F238E27FC236}">
                    <a16:creationId xmlns:a16="http://schemas.microsoft.com/office/drawing/2014/main" id="{783BF315-2EBC-7658-578F-F338BA5A3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7" name="Freeform 144">
                <a:extLst>
                  <a:ext uri="{FF2B5EF4-FFF2-40B4-BE49-F238E27FC236}">
                    <a16:creationId xmlns:a16="http://schemas.microsoft.com/office/drawing/2014/main" id="{7839689F-D954-F15C-37A9-EDB7F10C32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8" name="Freeform 145">
                <a:extLst>
                  <a:ext uri="{FF2B5EF4-FFF2-40B4-BE49-F238E27FC236}">
                    <a16:creationId xmlns:a16="http://schemas.microsoft.com/office/drawing/2014/main" id="{ECF7112E-C4B6-CC94-228D-12AA4FE9C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9" name="Freeform 146">
                <a:extLst>
                  <a:ext uri="{FF2B5EF4-FFF2-40B4-BE49-F238E27FC236}">
                    <a16:creationId xmlns:a16="http://schemas.microsoft.com/office/drawing/2014/main" id="{4A40E2A5-B7F6-E184-538A-A12FC7A2C6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0" name="Freeform 147">
                <a:extLst>
                  <a:ext uri="{FF2B5EF4-FFF2-40B4-BE49-F238E27FC236}">
                    <a16:creationId xmlns:a16="http://schemas.microsoft.com/office/drawing/2014/main" id="{15AA685E-35CA-1489-4874-0B8FE19020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1" name="Freeform 148">
                <a:extLst>
                  <a:ext uri="{FF2B5EF4-FFF2-40B4-BE49-F238E27FC236}">
                    <a16:creationId xmlns:a16="http://schemas.microsoft.com/office/drawing/2014/main" id="{D39518F4-5755-F2FF-A36B-60FAEEB77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2" name="Freeform 149">
                <a:extLst>
                  <a:ext uri="{FF2B5EF4-FFF2-40B4-BE49-F238E27FC236}">
                    <a16:creationId xmlns:a16="http://schemas.microsoft.com/office/drawing/2014/main" id="{86E69940-5986-1A28-D232-8097E173A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3" name="Freeform 150">
                <a:extLst>
                  <a:ext uri="{FF2B5EF4-FFF2-40B4-BE49-F238E27FC236}">
                    <a16:creationId xmlns:a16="http://schemas.microsoft.com/office/drawing/2014/main" id="{00B8AA0F-CA64-FBE5-6446-3FFCA29C0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4" name="Freeform 151">
                <a:extLst>
                  <a:ext uri="{FF2B5EF4-FFF2-40B4-BE49-F238E27FC236}">
                    <a16:creationId xmlns:a16="http://schemas.microsoft.com/office/drawing/2014/main" id="{67DEE410-DA79-615C-F5A6-72A2A5583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5" name="Freeform 152">
                <a:extLst>
                  <a:ext uri="{FF2B5EF4-FFF2-40B4-BE49-F238E27FC236}">
                    <a16:creationId xmlns:a16="http://schemas.microsoft.com/office/drawing/2014/main" id="{8045DB95-D1DB-3713-A28F-23C42FD24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6" name="Freeform 153">
                <a:extLst>
                  <a:ext uri="{FF2B5EF4-FFF2-40B4-BE49-F238E27FC236}">
                    <a16:creationId xmlns:a16="http://schemas.microsoft.com/office/drawing/2014/main" id="{C65C5530-9B85-80BF-2DA8-603DEA0F7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7" name="Freeform 154">
                <a:extLst>
                  <a:ext uri="{FF2B5EF4-FFF2-40B4-BE49-F238E27FC236}">
                    <a16:creationId xmlns:a16="http://schemas.microsoft.com/office/drawing/2014/main" id="{98458A61-1616-F60B-E756-0170D2AAD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8" name="Freeform 155">
                <a:extLst>
                  <a:ext uri="{FF2B5EF4-FFF2-40B4-BE49-F238E27FC236}">
                    <a16:creationId xmlns:a16="http://schemas.microsoft.com/office/drawing/2014/main" id="{D423E064-E003-EE2E-8347-9130B6CCF2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9" name="Freeform 156">
                <a:extLst>
                  <a:ext uri="{FF2B5EF4-FFF2-40B4-BE49-F238E27FC236}">
                    <a16:creationId xmlns:a16="http://schemas.microsoft.com/office/drawing/2014/main" id="{9916DD6C-C9FB-78B2-4F9C-88E5ACF72F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0" name="Freeform 157">
                <a:extLst>
                  <a:ext uri="{FF2B5EF4-FFF2-40B4-BE49-F238E27FC236}">
                    <a16:creationId xmlns:a16="http://schemas.microsoft.com/office/drawing/2014/main" id="{3D80EDCD-8961-7C24-DC51-F36B4FC27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1" name="Freeform 158">
                <a:extLst>
                  <a:ext uri="{FF2B5EF4-FFF2-40B4-BE49-F238E27FC236}">
                    <a16:creationId xmlns:a16="http://schemas.microsoft.com/office/drawing/2014/main" id="{856A4DE3-F472-82D6-72CE-28328B49F8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2" name="Freeform 159">
                <a:extLst>
                  <a:ext uri="{FF2B5EF4-FFF2-40B4-BE49-F238E27FC236}">
                    <a16:creationId xmlns:a16="http://schemas.microsoft.com/office/drawing/2014/main" id="{F2C7DD32-F8DD-3B4E-645E-035DC8BDA6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3" name="Freeform 160">
                <a:extLst>
                  <a:ext uri="{FF2B5EF4-FFF2-40B4-BE49-F238E27FC236}">
                    <a16:creationId xmlns:a16="http://schemas.microsoft.com/office/drawing/2014/main" id="{B49D1E6C-60B6-B329-2EA3-84532B181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4" name="Freeform 161">
                <a:extLst>
                  <a:ext uri="{FF2B5EF4-FFF2-40B4-BE49-F238E27FC236}">
                    <a16:creationId xmlns:a16="http://schemas.microsoft.com/office/drawing/2014/main" id="{1088FC9D-688D-D5E5-2F57-21BE5A2CB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5" name="Freeform 162">
                <a:extLst>
                  <a:ext uri="{FF2B5EF4-FFF2-40B4-BE49-F238E27FC236}">
                    <a16:creationId xmlns:a16="http://schemas.microsoft.com/office/drawing/2014/main" id="{397DD6D5-A7BC-97CD-C7CE-6993C582DD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6" name="Freeform 163">
                <a:extLst>
                  <a:ext uri="{FF2B5EF4-FFF2-40B4-BE49-F238E27FC236}">
                    <a16:creationId xmlns:a16="http://schemas.microsoft.com/office/drawing/2014/main" id="{BAADBEC5-248A-EBA4-BC45-5736CACFAE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7" name="Freeform 164">
                <a:extLst>
                  <a:ext uri="{FF2B5EF4-FFF2-40B4-BE49-F238E27FC236}">
                    <a16:creationId xmlns:a16="http://schemas.microsoft.com/office/drawing/2014/main" id="{83DE4AE9-BB3E-ABCF-1658-447824F985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8" name="Freeform 165">
                <a:extLst>
                  <a:ext uri="{FF2B5EF4-FFF2-40B4-BE49-F238E27FC236}">
                    <a16:creationId xmlns:a16="http://schemas.microsoft.com/office/drawing/2014/main" id="{98ED5F9E-E75C-BFEF-4B7C-5C7FBA8AC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9" name="Freeform 166">
                <a:extLst>
                  <a:ext uri="{FF2B5EF4-FFF2-40B4-BE49-F238E27FC236}">
                    <a16:creationId xmlns:a16="http://schemas.microsoft.com/office/drawing/2014/main" id="{3AE80FEA-1C99-89C2-798C-5BA3220598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0" name="Freeform 167">
                <a:extLst>
                  <a:ext uri="{FF2B5EF4-FFF2-40B4-BE49-F238E27FC236}">
                    <a16:creationId xmlns:a16="http://schemas.microsoft.com/office/drawing/2014/main" id="{AC022A65-A961-B5CC-3B7A-536A590F32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1" name="Freeform 168">
                <a:extLst>
                  <a:ext uri="{FF2B5EF4-FFF2-40B4-BE49-F238E27FC236}">
                    <a16:creationId xmlns:a16="http://schemas.microsoft.com/office/drawing/2014/main" id="{01841E84-1274-0348-50B8-49FBF8A42D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2" name="Freeform 169">
                <a:extLst>
                  <a:ext uri="{FF2B5EF4-FFF2-40B4-BE49-F238E27FC236}">
                    <a16:creationId xmlns:a16="http://schemas.microsoft.com/office/drawing/2014/main" id="{11F8E09D-677C-8A6C-F9A9-722E24CA96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3" name="Freeform 170">
                <a:extLst>
                  <a:ext uri="{FF2B5EF4-FFF2-40B4-BE49-F238E27FC236}">
                    <a16:creationId xmlns:a16="http://schemas.microsoft.com/office/drawing/2014/main" id="{5B836B38-4FD3-140D-CB3A-23C2262639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4" name="Freeform 171">
                <a:extLst>
                  <a:ext uri="{FF2B5EF4-FFF2-40B4-BE49-F238E27FC236}">
                    <a16:creationId xmlns:a16="http://schemas.microsoft.com/office/drawing/2014/main" id="{B8A1447F-4711-DDAA-B43C-B8ABE85E7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5" name="Freeform 172">
                <a:extLst>
                  <a:ext uri="{FF2B5EF4-FFF2-40B4-BE49-F238E27FC236}">
                    <a16:creationId xmlns:a16="http://schemas.microsoft.com/office/drawing/2014/main" id="{CE648633-7915-7D35-7076-DE63E22D4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6" name="Freeform 173">
                <a:extLst>
                  <a:ext uri="{FF2B5EF4-FFF2-40B4-BE49-F238E27FC236}">
                    <a16:creationId xmlns:a16="http://schemas.microsoft.com/office/drawing/2014/main" id="{D540253C-10E3-9EA4-01DF-98A6A81EC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7" name="Freeform 174">
                <a:extLst>
                  <a:ext uri="{FF2B5EF4-FFF2-40B4-BE49-F238E27FC236}">
                    <a16:creationId xmlns:a16="http://schemas.microsoft.com/office/drawing/2014/main" id="{0F12578B-4BE6-B5FC-2A50-5B7593CA0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8" name="Freeform 175">
                <a:extLst>
                  <a:ext uri="{FF2B5EF4-FFF2-40B4-BE49-F238E27FC236}">
                    <a16:creationId xmlns:a16="http://schemas.microsoft.com/office/drawing/2014/main" id="{EF44C8E4-C5B9-C518-BC5D-375EB9075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9" name="Freeform 176">
                <a:extLst>
                  <a:ext uri="{FF2B5EF4-FFF2-40B4-BE49-F238E27FC236}">
                    <a16:creationId xmlns:a16="http://schemas.microsoft.com/office/drawing/2014/main" id="{DB4BDF95-FE84-B795-EB27-B49D4946F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0" name="Freeform 177">
                <a:extLst>
                  <a:ext uri="{FF2B5EF4-FFF2-40B4-BE49-F238E27FC236}">
                    <a16:creationId xmlns:a16="http://schemas.microsoft.com/office/drawing/2014/main" id="{D1E76E09-6D2F-EA13-7C3C-0CA055034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1" name="Freeform 178">
                <a:extLst>
                  <a:ext uri="{FF2B5EF4-FFF2-40B4-BE49-F238E27FC236}">
                    <a16:creationId xmlns:a16="http://schemas.microsoft.com/office/drawing/2014/main" id="{4728AA2E-B799-9BC2-FB0C-998B332AA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2" name="Freeform 179">
                <a:extLst>
                  <a:ext uri="{FF2B5EF4-FFF2-40B4-BE49-F238E27FC236}">
                    <a16:creationId xmlns:a16="http://schemas.microsoft.com/office/drawing/2014/main" id="{A8D6AC46-78EA-4949-0C13-2D188BF6F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3" name="Freeform 180">
                <a:extLst>
                  <a:ext uri="{FF2B5EF4-FFF2-40B4-BE49-F238E27FC236}">
                    <a16:creationId xmlns:a16="http://schemas.microsoft.com/office/drawing/2014/main" id="{D59A6FD1-075C-FF51-36F9-1377E0D1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4" name="Freeform 181">
                <a:extLst>
                  <a:ext uri="{FF2B5EF4-FFF2-40B4-BE49-F238E27FC236}">
                    <a16:creationId xmlns:a16="http://schemas.microsoft.com/office/drawing/2014/main" id="{F328873D-FE6E-9D18-CCF3-8B2A34C4C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5" name="Freeform 182">
                <a:extLst>
                  <a:ext uri="{FF2B5EF4-FFF2-40B4-BE49-F238E27FC236}">
                    <a16:creationId xmlns:a16="http://schemas.microsoft.com/office/drawing/2014/main" id="{3F31482E-A794-0A5A-B45B-2FFC9A1B4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6" name="Freeform 183">
                <a:extLst>
                  <a:ext uri="{FF2B5EF4-FFF2-40B4-BE49-F238E27FC236}">
                    <a16:creationId xmlns:a16="http://schemas.microsoft.com/office/drawing/2014/main" id="{420060D8-F5F5-F03F-FD90-B5DDEE95E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7" name="Freeform 184">
                <a:extLst>
                  <a:ext uri="{FF2B5EF4-FFF2-40B4-BE49-F238E27FC236}">
                    <a16:creationId xmlns:a16="http://schemas.microsoft.com/office/drawing/2014/main" id="{E6344C30-7C89-7CA5-34B2-CC04B7359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8" name="Freeform 185">
                <a:extLst>
                  <a:ext uri="{FF2B5EF4-FFF2-40B4-BE49-F238E27FC236}">
                    <a16:creationId xmlns:a16="http://schemas.microsoft.com/office/drawing/2014/main" id="{D2AEC1DE-8E95-9B0B-3668-E6A4C209A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9" name="Freeform 186">
                <a:extLst>
                  <a:ext uri="{FF2B5EF4-FFF2-40B4-BE49-F238E27FC236}">
                    <a16:creationId xmlns:a16="http://schemas.microsoft.com/office/drawing/2014/main" id="{AAFB7DEE-F421-3103-F0DD-05C88935B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0" name="Freeform 187">
                <a:extLst>
                  <a:ext uri="{FF2B5EF4-FFF2-40B4-BE49-F238E27FC236}">
                    <a16:creationId xmlns:a16="http://schemas.microsoft.com/office/drawing/2014/main" id="{A88589BC-B2EC-C822-E9AD-ED4577B8C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1" name="Freeform 188">
                <a:extLst>
                  <a:ext uri="{FF2B5EF4-FFF2-40B4-BE49-F238E27FC236}">
                    <a16:creationId xmlns:a16="http://schemas.microsoft.com/office/drawing/2014/main" id="{2108E4F9-27FA-447A-75A4-BC6AA5C30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2" name="Freeform 189">
                <a:extLst>
                  <a:ext uri="{FF2B5EF4-FFF2-40B4-BE49-F238E27FC236}">
                    <a16:creationId xmlns:a16="http://schemas.microsoft.com/office/drawing/2014/main" id="{00C9833F-D299-5E42-20D6-EA47B146C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3" name="Freeform 190">
                <a:extLst>
                  <a:ext uri="{FF2B5EF4-FFF2-40B4-BE49-F238E27FC236}">
                    <a16:creationId xmlns:a16="http://schemas.microsoft.com/office/drawing/2014/main" id="{FC44C6DB-06D0-081A-C3F1-F6F5F1AC6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4" name="Freeform 191">
                <a:extLst>
                  <a:ext uri="{FF2B5EF4-FFF2-40B4-BE49-F238E27FC236}">
                    <a16:creationId xmlns:a16="http://schemas.microsoft.com/office/drawing/2014/main" id="{6A077673-D049-4A9C-9227-0BD7F8E42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5" name="Freeform 192">
                <a:extLst>
                  <a:ext uri="{FF2B5EF4-FFF2-40B4-BE49-F238E27FC236}">
                    <a16:creationId xmlns:a16="http://schemas.microsoft.com/office/drawing/2014/main" id="{E0B397D5-E08F-CA8D-DA86-494E878B7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6" name="Freeform 193">
                <a:extLst>
                  <a:ext uri="{FF2B5EF4-FFF2-40B4-BE49-F238E27FC236}">
                    <a16:creationId xmlns:a16="http://schemas.microsoft.com/office/drawing/2014/main" id="{D2E17371-9DD0-F939-A03C-FEF46E7CF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7" name="Freeform 194">
                <a:extLst>
                  <a:ext uri="{FF2B5EF4-FFF2-40B4-BE49-F238E27FC236}">
                    <a16:creationId xmlns:a16="http://schemas.microsoft.com/office/drawing/2014/main" id="{428D76D3-E9E9-D5FE-C994-56CDAEE99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8" name="Freeform 195">
                <a:extLst>
                  <a:ext uri="{FF2B5EF4-FFF2-40B4-BE49-F238E27FC236}">
                    <a16:creationId xmlns:a16="http://schemas.microsoft.com/office/drawing/2014/main" id="{022EFD67-1F7F-6114-6B97-08D85ECFB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9" name="Freeform 196">
                <a:extLst>
                  <a:ext uri="{FF2B5EF4-FFF2-40B4-BE49-F238E27FC236}">
                    <a16:creationId xmlns:a16="http://schemas.microsoft.com/office/drawing/2014/main" id="{5A3C384E-58ED-C363-05D2-642DC4CB2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0" name="Freeform 197">
                <a:extLst>
                  <a:ext uri="{FF2B5EF4-FFF2-40B4-BE49-F238E27FC236}">
                    <a16:creationId xmlns:a16="http://schemas.microsoft.com/office/drawing/2014/main" id="{3FCA6976-D173-4979-B678-6461ECD6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1" name="Freeform 198">
                <a:extLst>
                  <a:ext uri="{FF2B5EF4-FFF2-40B4-BE49-F238E27FC236}">
                    <a16:creationId xmlns:a16="http://schemas.microsoft.com/office/drawing/2014/main" id="{5EC92034-E141-DCB9-0791-E88B9CD9D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2" name="Freeform 199">
                <a:extLst>
                  <a:ext uri="{FF2B5EF4-FFF2-40B4-BE49-F238E27FC236}">
                    <a16:creationId xmlns:a16="http://schemas.microsoft.com/office/drawing/2014/main" id="{0B7032EC-B925-6A3F-3361-BEE6062C5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3" name="Freeform 200">
                <a:extLst>
                  <a:ext uri="{FF2B5EF4-FFF2-40B4-BE49-F238E27FC236}">
                    <a16:creationId xmlns:a16="http://schemas.microsoft.com/office/drawing/2014/main" id="{B966BB3A-F204-8B28-D451-DA6964FD8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4" name="Freeform 201">
                <a:extLst>
                  <a:ext uri="{FF2B5EF4-FFF2-40B4-BE49-F238E27FC236}">
                    <a16:creationId xmlns:a16="http://schemas.microsoft.com/office/drawing/2014/main" id="{3250FF7D-E17C-597B-0303-09CA41BEEB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5" name="Freeform 202">
                <a:extLst>
                  <a:ext uri="{FF2B5EF4-FFF2-40B4-BE49-F238E27FC236}">
                    <a16:creationId xmlns:a16="http://schemas.microsoft.com/office/drawing/2014/main" id="{81981521-634B-C55F-DBB7-C2DBBF0D7B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6" name="Freeform 203">
                <a:extLst>
                  <a:ext uri="{FF2B5EF4-FFF2-40B4-BE49-F238E27FC236}">
                    <a16:creationId xmlns:a16="http://schemas.microsoft.com/office/drawing/2014/main" id="{366404F0-0943-EA14-757C-AD792F4938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7" name="Freeform 204">
                <a:extLst>
                  <a:ext uri="{FF2B5EF4-FFF2-40B4-BE49-F238E27FC236}">
                    <a16:creationId xmlns:a16="http://schemas.microsoft.com/office/drawing/2014/main" id="{07991A1B-540C-B3F9-5D4C-76974B9AAF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7612" name="Freeform 206">
              <a:extLst>
                <a:ext uri="{FF2B5EF4-FFF2-40B4-BE49-F238E27FC236}">
                  <a16:creationId xmlns:a16="http://schemas.microsoft.com/office/drawing/2014/main" id="{D66045B1-4EFB-6B9A-D38F-7327CC3FE6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3" name="Freeform 207">
              <a:extLst>
                <a:ext uri="{FF2B5EF4-FFF2-40B4-BE49-F238E27FC236}">
                  <a16:creationId xmlns:a16="http://schemas.microsoft.com/office/drawing/2014/main" id="{8CD94A82-6250-F384-1CB5-5D10B79174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4" name="Freeform 208">
              <a:extLst>
                <a:ext uri="{FF2B5EF4-FFF2-40B4-BE49-F238E27FC236}">
                  <a16:creationId xmlns:a16="http://schemas.microsoft.com/office/drawing/2014/main" id="{E651FC45-EEC6-3C4F-4451-5D85355D4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5" name="Freeform 209">
              <a:extLst>
                <a:ext uri="{FF2B5EF4-FFF2-40B4-BE49-F238E27FC236}">
                  <a16:creationId xmlns:a16="http://schemas.microsoft.com/office/drawing/2014/main" id="{871C720A-E552-B62A-2286-B3E178247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6" name="Freeform 210">
              <a:extLst>
                <a:ext uri="{FF2B5EF4-FFF2-40B4-BE49-F238E27FC236}">
                  <a16:creationId xmlns:a16="http://schemas.microsoft.com/office/drawing/2014/main" id="{BAEC539D-10D3-DEB7-501D-F1D0D4BE5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7" name="Freeform 211">
              <a:extLst>
                <a:ext uri="{FF2B5EF4-FFF2-40B4-BE49-F238E27FC236}">
                  <a16:creationId xmlns:a16="http://schemas.microsoft.com/office/drawing/2014/main" id="{01CC0E16-1C20-0717-39EB-B6E45C19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8" name="Freeform 212">
              <a:extLst>
                <a:ext uri="{FF2B5EF4-FFF2-40B4-BE49-F238E27FC236}">
                  <a16:creationId xmlns:a16="http://schemas.microsoft.com/office/drawing/2014/main" id="{2BEB2AB3-71E8-D7FA-3FA7-C4C57E066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9" name="Freeform 213">
              <a:extLst>
                <a:ext uri="{FF2B5EF4-FFF2-40B4-BE49-F238E27FC236}">
                  <a16:creationId xmlns:a16="http://schemas.microsoft.com/office/drawing/2014/main" id="{5B2134AC-0A06-C481-FFFB-C6FE94FC9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0" name="Freeform 214">
              <a:extLst>
                <a:ext uri="{FF2B5EF4-FFF2-40B4-BE49-F238E27FC236}">
                  <a16:creationId xmlns:a16="http://schemas.microsoft.com/office/drawing/2014/main" id="{B117F606-59B2-45C2-67DA-0B76F7829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1" name="Freeform 215">
              <a:extLst>
                <a:ext uri="{FF2B5EF4-FFF2-40B4-BE49-F238E27FC236}">
                  <a16:creationId xmlns:a16="http://schemas.microsoft.com/office/drawing/2014/main" id="{67B29597-B1B3-6800-37BF-8090EAF01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2" name="Freeform 216">
              <a:extLst>
                <a:ext uri="{FF2B5EF4-FFF2-40B4-BE49-F238E27FC236}">
                  <a16:creationId xmlns:a16="http://schemas.microsoft.com/office/drawing/2014/main" id="{97D3155B-8674-0F25-253C-1B805AF1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3" name="Freeform 217">
              <a:extLst>
                <a:ext uri="{FF2B5EF4-FFF2-40B4-BE49-F238E27FC236}">
                  <a16:creationId xmlns:a16="http://schemas.microsoft.com/office/drawing/2014/main" id="{F4FD4109-F6A5-9DDE-38C0-8B03176E9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4" name="Freeform 218">
              <a:extLst>
                <a:ext uri="{FF2B5EF4-FFF2-40B4-BE49-F238E27FC236}">
                  <a16:creationId xmlns:a16="http://schemas.microsoft.com/office/drawing/2014/main" id="{FE136F96-29FD-CE00-8B53-9E1170937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5" name="Freeform 219">
              <a:extLst>
                <a:ext uri="{FF2B5EF4-FFF2-40B4-BE49-F238E27FC236}">
                  <a16:creationId xmlns:a16="http://schemas.microsoft.com/office/drawing/2014/main" id="{F0846B2F-DE7D-AB23-B3A1-AB39965AC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6" name="Freeform 220">
              <a:extLst>
                <a:ext uri="{FF2B5EF4-FFF2-40B4-BE49-F238E27FC236}">
                  <a16:creationId xmlns:a16="http://schemas.microsoft.com/office/drawing/2014/main" id="{69A1549C-0BBE-711C-80EB-CF921C46AA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7" name="Freeform 221">
              <a:extLst>
                <a:ext uri="{FF2B5EF4-FFF2-40B4-BE49-F238E27FC236}">
                  <a16:creationId xmlns:a16="http://schemas.microsoft.com/office/drawing/2014/main" id="{04F8EB9A-97E4-52A9-AA63-38DBA111E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8" name="Freeform 222">
              <a:extLst>
                <a:ext uri="{FF2B5EF4-FFF2-40B4-BE49-F238E27FC236}">
                  <a16:creationId xmlns:a16="http://schemas.microsoft.com/office/drawing/2014/main" id="{BCE12036-862B-3DAF-1ABB-420EC8503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9" name="Freeform 223">
              <a:extLst>
                <a:ext uri="{FF2B5EF4-FFF2-40B4-BE49-F238E27FC236}">
                  <a16:creationId xmlns:a16="http://schemas.microsoft.com/office/drawing/2014/main" id="{725E54DC-A0B2-3962-4930-6F3A53C01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0" name="Freeform 224">
              <a:extLst>
                <a:ext uri="{FF2B5EF4-FFF2-40B4-BE49-F238E27FC236}">
                  <a16:creationId xmlns:a16="http://schemas.microsoft.com/office/drawing/2014/main" id="{8653BCD5-E0E8-A8A0-F107-0FCA1F66B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1" name="Freeform 225">
              <a:extLst>
                <a:ext uri="{FF2B5EF4-FFF2-40B4-BE49-F238E27FC236}">
                  <a16:creationId xmlns:a16="http://schemas.microsoft.com/office/drawing/2014/main" id="{52890903-BB61-E2E8-BCC4-2DC122902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2" name="Freeform 226">
              <a:extLst>
                <a:ext uri="{FF2B5EF4-FFF2-40B4-BE49-F238E27FC236}">
                  <a16:creationId xmlns:a16="http://schemas.microsoft.com/office/drawing/2014/main" id="{47B6B492-BB01-266A-421C-5BC4F8776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3" name="Freeform 227">
              <a:extLst>
                <a:ext uri="{FF2B5EF4-FFF2-40B4-BE49-F238E27FC236}">
                  <a16:creationId xmlns:a16="http://schemas.microsoft.com/office/drawing/2014/main" id="{FEF9FEC3-EF9A-636E-C407-48334E49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4" name="Freeform 228">
              <a:extLst>
                <a:ext uri="{FF2B5EF4-FFF2-40B4-BE49-F238E27FC236}">
                  <a16:creationId xmlns:a16="http://schemas.microsoft.com/office/drawing/2014/main" id="{9458A53F-7F66-A1B5-3269-B5561A2F2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5" name="Freeform 229">
              <a:extLst>
                <a:ext uri="{FF2B5EF4-FFF2-40B4-BE49-F238E27FC236}">
                  <a16:creationId xmlns:a16="http://schemas.microsoft.com/office/drawing/2014/main" id="{44CA450F-2E5D-DCF7-1AF6-B507A9D8AE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6" name="Freeform 230">
              <a:extLst>
                <a:ext uri="{FF2B5EF4-FFF2-40B4-BE49-F238E27FC236}">
                  <a16:creationId xmlns:a16="http://schemas.microsoft.com/office/drawing/2014/main" id="{02105F33-D631-2296-1C1D-3326CDD5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7" name="Freeform 231">
              <a:extLst>
                <a:ext uri="{FF2B5EF4-FFF2-40B4-BE49-F238E27FC236}">
                  <a16:creationId xmlns:a16="http://schemas.microsoft.com/office/drawing/2014/main" id="{60197160-BA99-0140-0062-E4BF33EC5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8" name="Freeform 232">
              <a:extLst>
                <a:ext uri="{FF2B5EF4-FFF2-40B4-BE49-F238E27FC236}">
                  <a16:creationId xmlns:a16="http://schemas.microsoft.com/office/drawing/2014/main" id="{3ACD6B7A-B757-9DE8-39A5-C5A58F8F3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9" name="Freeform 233">
              <a:extLst>
                <a:ext uri="{FF2B5EF4-FFF2-40B4-BE49-F238E27FC236}">
                  <a16:creationId xmlns:a16="http://schemas.microsoft.com/office/drawing/2014/main" id="{63E62E86-5623-8852-E7B9-71761CEE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0" name="Freeform 234">
              <a:extLst>
                <a:ext uri="{FF2B5EF4-FFF2-40B4-BE49-F238E27FC236}">
                  <a16:creationId xmlns:a16="http://schemas.microsoft.com/office/drawing/2014/main" id="{B2F6F317-409F-37D4-93E6-A40C45F77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1" name="Freeform 235">
              <a:extLst>
                <a:ext uri="{FF2B5EF4-FFF2-40B4-BE49-F238E27FC236}">
                  <a16:creationId xmlns:a16="http://schemas.microsoft.com/office/drawing/2014/main" id="{C402C22A-6CFE-1E2B-35D7-8D91B97C8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2" name="Freeform 236">
              <a:extLst>
                <a:ext uri="{FF2B5EF4-FFF2-40B4-BE49-F238E27FC236}">
                  <a16:creationId xmlns:a16="http://schemas.microsoft.com/office/drawing/2014/main" id="{E09DEDAF-8C60-8ED9-DC58-DFF17A6CD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3" name="Freeform 237">
              <a:extLst>
                <a:ext uri="{FF2B5EF4-FFF2-40B4-BE49-F238E27FC236}">
                  <a16:creationId xmlns:a16="http://schemas.microsoft.com/office/drawing/2014/main" id="{09A957D8-12E9-26D5-FAE7-88B26D596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4" name="Freeform 238">
              <a:extLst>
                <a:ext uri="{FF2B5EF4-FFF2-40B4-BE49-F238E27FC236}">
                  <a16:creationId xmlns:a16="http://schemas.microsoft.com/office/drawing/2014/main" id="{D1B02949-293B-753A-ED9F-BD8C745E3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5" name="Freeform 239">
              <a:extLst>
                <a:ext uri="{FF2B5EF4-FFF2-40B4-BE49-F238E27FC236}">
                  <a16:creationId xmlns:a16="http://schemas.microsoft.com/office/drawing/2014/main" id="{177D11B4-EE19-2140-1D2C-1E34C380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6" name="Freeform 240">
              <a:extLst>
                <a:ext uri="{FF2B5EF4-FFF2-40B4-BE49-F238E27FC236}">
                  <a16:creationId xmlns:a16="http://schemas.microsoft.com/office/drawing/2014/main" id="{3D32131C-FF3E-201B-3D5F-DE6AC892A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7" name="Freeform 241">
              <a:extLst>
                <a:ext uri="{FF2B5EF4-FFF2-40B4-BE49-F238E27FC236}">
                  <a16:creationId xmlns:a16="http://schemas.microsoft.com/office/drawing/2014/main" id="{3E2EEA62-1C9A-6DA2-4328-30CFD3143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8" name="Freeform 242">
              <a:extLst>
                <a:ext uri="{FF2B5EF4-FFF2-40B4-BE49-F238E27FC236}">
                  <a16:creationId xmlns:a16="http://schemas.microsoft.com/office/drawing/2014/main" id="{C0D61043-CCDD-4CEA-B167-96727C3D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9" name="Freeform 243">
              <a:extLst>
                <a:ext uri="{FF2B5EF4-FFF2-40B4-BE49-F238E27FC236}">
                  <a16:creationId xmlns:a16="http://schemas.microsoft.com/office/drawing/2014/main" id="{942071A5-BB93-C14A-F0C0-81A9A0E1A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0" name="Freeform 244">
              <a:extLst>
                <a:ext uri="{FF2B5EF4-FFF2-40B4-BE49-F238E27FC236}">
                  <a16:creationId xmlns:a16="http://schemas.microsoft.com/office/drawing/2014/main" id="{ED0CF5BB-0BCE-84EC-28A1-F554C3407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1" name="Freeform 245">
              <a:extLst>
                <a:ext uri="{FF2B5EF4-FFF2-40B4-BE49-F238E27FC236}">
                  <a16:creationId xmlns:a16="http://schemas.microsoft.com/office/drawing/2014/main" id="{55867435-3556-DE84-3B19-B25CA8AA2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2" name="Freeform 246">
              <a:extLst>
                <a:ext uri="{FF2B5EF4-FFF2-40B4-BE49-F238E27FC236}">
                  <a16:creationId xmlns:a16="http://schemas.microsoft.com/office/drawing/2014/main" id="{CD5ECD7B-A2B6-CB11-6BB2-6447CC6DE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3" name="Freeform 247">
              <a:extLst>
                <a:ext uri="{FF2B5EF4-FFF2-40B4-BE49-F238E27FC236}">
                  <a16:creationId xmlns:a16="http://schemas.microsoft.com/office/drawing/2014/main" id="{AF2D6913-B6F1-EF15-1AB2-CEFA0789F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4" name="Freeform 248">
              <a:extLst>
                <a:ext uri="{FF2B5EF4-FFF2-40B4-BE49-F238E27FC236}">
                  <a16:creationId xmlns:a16="http://schemas.microsoft.com/office/drawing/2014/main" id="{DF99BF8D-A91C-548A-466B-ABD6B4920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5" name="Freeform 249">
              <a:extLst>
                <a:ext uri="{FF2B5EF4-FFF2-40B4-BE49-F238E27FC236}">
                  <a16:creationId xmlns:a16="http://schemas.microsoft.com/office/drawing/2014/main" id="{B06AAC9E-96F5-C944-49D4-87E90C7B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6" name="Freeform 250">
              <a:extLst>
                <a:ext uri="{FF2B5EF4-FFF2-40B4-BE49-F238E27FC236}">
                  <a16:creationId xmlns:a16="http://schemas.microsoft.com/office/drawing/2014/main" id="{E3C110BC-C1B2-6032-2162-FD0FFA817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7" name="Freeform 251">
              <a:extLst>
                <a:ext uri="{FF2B5EF4-FFF2-40B4-BE49-F238E27FC236}">
                  <a16:creationId xmlns:a16="http://schemas.microsoft.com/office/drawing/2014/main" id="{F444054D-6C9D-A253-EC23-7AD537314A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8" name="Freeform 252">
              <a:extLst>
                <a:ext uri="{FF2B5EF4-FFF2-40B4-BE49-F238E27FC236}">
                  <a16:creationId xmlns:a16="http://schemas.microsoft.com/office/drawing/2014/main" id="{A73BC504-425B-1756-C00C-2D71A1D1B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9" name="Freeform 253">
              <a:extLst>
                <a:ext uri="{FF2B5EF4-FFF2-40B4-BE49-F238E27FC236}">
                  <a16:creationId xmlns:a16="http://schemas.microsoft.com/office/drawing/2014/main" id="{0A88F766-AE65-786C-7518-B8CD0EA3B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0" name="Freeform 254">
              <a:extLst>
                <a:ext uri="{FF2B5EF4-FFF2-40B4-BE49-F238E27FC236}">
                  <a16:creationId xmlns:a16="http://schemas.microsoft.com/office/drawing/2014/main" id="{B354403A-A9DD-A0F5-7294-A649C401B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1" name="Freeform 255">
              <a:extLst>
                <a:ext uri="{FF2B5EF4-FFF2-40B4-BE49-F238E27FC236}">
                  <a16:creationId xmlns:a16="http://schemas.microsoft.com/office/drawing/2014/main" id="{9C8B0848-1015-332E-C5DB-C0089519F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2" name="Freeform 256">
              <a:extLst>
                <a:ext uri="{FF2B5EF4-FFF2-40B4-BE49-F238E27FC236}">
                  <a16:creationId xmlns:a16="http://schemas.microsoft.com/office/drawing/2014/main" id="{F913A360-5C18-11D5-EA09-ED8935D67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3" name="Freeform 257">
              <a:extLst>
                <a:ext uri="{FF2B5EF4-FFF2-40B4-BE49-F238E27FC236}">
                  <a16:creationId xmlns:a16="http://schemas.microsoft.com/office/drawing/2014/main" id="{C3EF564B-B7D7-46AC-A743-E9542961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4" name="Freeform 258">
              <a:extLst>
                <a:ext uri="{FF2B5EF4-FFF2-40B4-BE49-F238E27FC236}">
                  <a16:creationId xmlns:a16="http://schemas.microsoft.com/office/drawing/2014/main" id="{D862DECD-8762-BBD5-05D7-91AA57E36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5" name="Freeform 259">
              <a:extLst>
                <a:ext uri="{FF2B5EF4-FFF2-40B4-BE49-F238E27FC236}">
                  <a16:creationId xmlns:a16="http://schemas.microsoft.com/office/drawing/2014/main" id="{F17DF3EA-49E1-9009-C102-85EA11FA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6" name="Freeform 260">
              <a:extLst>
                <a:ext uri="{FF2B5EF4-FFF2-40B4-BE49-F238E27FC236}">
                  <a16:creationId xmlns:a16="http://schemas.microsoft.com/office/drawing/2014/main" id="{402C092E-3BB3-182E-AE0C-34EF58547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7" name="Freeform 261">
              <a:extLst>
                <a:ext uri="{FF2B5EF4-FFF2-40B4-BE49-F238E27FC236}">
                  <a16:creationId xmlns:a16="http://schemas.microsoft.com/office/drawing/2014/main" id="{D08F7735-BA9E-FF31-87BC-37B804A56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8" name="Freeform 262">
              <a:extLst>
                <a:ext uri="{FF2B5EF4-FFF2-40B4-BE49-F238E27FC236}">
                  <a16:creationId xmlns:a16="http://schemas.microsoft.com/office/drawing/2014/main" id="{FF6E4789-34AA-CB12-4AFD-0477623064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9" name="Freeform 263">
              <a:extLst>
                <a:ext uri="{FF2B5EF4-FFF2-40B4-BE49-F238E27FC236}">
                  <a16:creationId xmlns:a16="http://schemas.microsoft.com/office/drawing/2014/main" id="{7687747A-6AC3-40DB-F9B3-CBF21726F5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0" name="Freeform 264">
              <a:extLst>
                <a:ext uri="{FF2B5EF4-FFF2-40B4-BE49-F238E27FC236}">
                  <a16:creationId xmlns:a16="http://schemas.microsoft.com/office/drawing/2014/main" id="{5D34D1CC-F884-427E-D6C6-4ACC1AFBB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1" name="Freeform 265">
              <a:extLst>
                <a:ext uri="{FF2B5EF4-FFF2-40B4-BE49-F238E27FC236}">
                  <a16:creationId xmlns:a16="http://schemas.microsoft.com/office/drawing/2014/main" id="{EEAD9143-0C09-F0F8-CDB4-14874628B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2" name="Freeform 266">
              <a:extLst>
                <a:ext uri="{FF2B5EF4-FFF2-40B4-BE49-F238E27FC236}">
                  <a16:creationId xmlns:a16="http://schemas.microsoft.com/office/drawing/2014/main" id="{83482049-4D50-B056-24A8-356861851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3" name="Freeform 267">
              <a:extLst>
                <a:ext uri="{FF2B5EF4-FFF2-40B4-BE49-F238E27FC236}">
                  <a16:creationId xmlns:a16="http://schemas.microsoft.com/office/drawing/2014/main" id="{E1C8325E-A01E-49FF-45AD-09EB19A7A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4" name="Freeform 268">
              <a:extLst>
                <a:ext uri="{FF2B5EF4-FFF2-40B4-BE49-F238E27FC236}">
                  <a16:creationId xmlns:a16="http://schemas.microsoft.com/office/drawing/2014/main" id="{29B2687D-4CD9-2EAD-1E90-6C10614E1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5" name="Freeform 269">
              <a:extLst>
                <a:ext uri="{FF2B5EF4-FFF2-40B4-BE49-F238E27FC236}">
                  <a16:creationId xmlns:a16="http://schemas.microsoft.com/office/drawing/2014/main" id="{5BEBCBAC-B279-27DF-5F15-AB3D228C2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6" name="Freeform 270">
              <a:extLst>
                <a:ext uri="{FF2B5EF4-FFF2-40B4-BE49-F238E27FC236}">
                  <a16:creationId xmlns:a16="http://schemas.microsoft.com/office/drawing/2014/main" id="{B894BB9E-8A5D-62E4-0A0A-CC38BAF6C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7" name="Freeform 271">
              <a:extLst>
                <a:ext uri="{FF2B5EF4-FFF2-40B4-BE49-F238E27FC236}">
                  <a16:creationId xmlns:a16="http://schemas.microsoft.com/office/drawing/2014/main" id="{FCF87039-8F42-48D7-041A-42B3333E8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8" name="Freeform 272">
              <a:extLst>
                <a:ext uri="{FF2B5EF4-FFF2-40B4-BE49-F238E27FC236}">
                  <a16:creationId xmlns:a16="http://schemas.microsoft.com/office/drawing/2014/main" id="{39954AB8-D075-78C6-6354-8175037A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9" name="Freeform 273">
              <a:extLst>
                <a:ext uri="{FF2B5EF4-FFF2-40B4-BE49-F238E27FC236}">
                  <a16:creationId xmlns:a16="http://schemas.microsoft.com/office/drawing/2014/main" id="{112EF7F0-AAE0-778B-AAAE-1434C4204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0" name="Freeform 274">
              <a:extLst>
                <a:ext uri="{FF2B5EF4-FFF2-40B4-BE49-F238E27FC236}">
                  <a16:creationId xmlns:a16="http://schemas.microsoft.com/office/drawing/2014/main" id="{0FFFB54E-7C97-227D-BFB5-CCC60E45F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1" name="Freeform 275">
              <a:extLst>
                <a:ext uri="{FF2B5EF4-FFF2-40B4-BE49-F238E27FC236}">
                  <a16:creationId xmlns:a16="http://schemas.microsoft.com/office/drawing/2014/main" id="{BE1BF2D9-AA0D-4E28-BAB4-5D7D68093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2" name="Freeform 276">
              <a:extLst>
                <a:ext uri="{FF2B5EF4-FFF2-40B4-BE49-F238E27FC236}">
                  <a16:creationId xmlns:a16="http://schemas.microsoft.com/office/drawing/2014/main" id="{24B3E37A-4DFD-B9A5-8931-D57A8F971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3" name="Freeform 277">
              <a:extLst>
                <a:ext uri="{FF2B5EF4-FFF2-40B4-BE49-F238E27FC236}">
                  <a16:creationId xmlns:a16="http://schemas.microsoft.com/office/drawing/2014/main" id="{5F5F5842-4E9D-E707-B77F-B1BF9D826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4" name="Freeform 278">
              <a:extLst>
                <a:ext uri="{FF2B5EF4-FFF2-40B4-BE49-F238E27FC236}">
                  <a16:creationId xmlns:a16="http://schemas.microsoft.com/office/drawing/2014/main" id="{2F985397-4BDA-62AF-7851-5D1D66AAB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5" name="Freeform 279">
              <a:extLst>
                <a:ext uri="{FF2B5EF4-FFF2-40B4-BE49-F238E27FC236}">
                  <a16:creationId xmlns:a16="http://schemas.microsoft.com/office/drawing/2014/main" id="{2084D928-8224-C14C-5713-6CE8A504C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6" name="Freeform 280">
              <a:extLst>
                <a:ext uri="{FF2B5EF4-FFF2-40B4-BE49-F238E27FC236}">
                  <a16:creationId xmlns:a16="http://schemas.microsoft.com/office/drawing/2014/main" id="{F3A25924-158A-0619-4BFD-FFF5F6581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7" name="Freeform 281">
              <a:extLst>
                <a:ext uri="{FF2B5EF4-FFF2-40B4-BE49-F238E27FC236}">
                  <a16:creationId xmlns:a16="http://schemas.microsoft.com/office/drawing/2014/main" id="{99E88E46-A718-BD51-315E-41EF83281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8" name="Freeform 282">
              <a:extLst>
                <a:ext uri="{FF2B5EF4-FFF2-40B4-BE49-F238E27FC236}">
                  <a16:creationId xmlns:a16="http://schemas.microsoft.com/office/drawing/2014/main" id="{D84A640A-0C51-D8B2-A7C6-F72DF4125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9" name="Freeform 283">
              <a:extLst>
                <a:ext uri="{FF2B5EF4-FFF2-40B4-BE49-F238E27FC236}">
                  <a16:creationId xmlns:a16="http://schemas.microsoft.com/office/drawing/2014/main" id="{70257A8C-FAD6-2BE1-A1E1-7C26CD23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0" name="Freeform 284">
              <a:extLst>
                <a:ext uri="{FF2B5EF4-FFF2-40B4-BE49-F238E27FC236}">
                  <a16:creationId xmlns:a16="http://schemas.microsoft.com/office/drawing/2014/main" id="{6AFC2DB2-FD01-E2F6-B7BA-A4F392595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1" name="Freeform 285">
              <a:extLst>
                <a:ext uri="{FF2B5EF4-FFF2-40B4-BE49-F238E27FC236}">
                  <a16:creationId xmlns:a16="http://schemas.microsoft.com/office/drawing/2014/main" id="{F77771D2-7ADA-2474-A002-B5E871F0E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2" name="Freeform 286">
              <a:extLst>
                <a:ext uri="{FF2B5EF4-FFF2-40B4-BE49-F238E27FC236}">
                  <a16:creationId xmlns:a16="http://schemas.microsoft.com/office/drawing/2014/main" id="{122DDC08-40FA-5C81-0A5C-1F813150B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3" name="Freeform 287">
              <a:extLst>
                <a:ext uri="{FF2B5EF4-FFF2-40B4-BE49-F238E27FC236}">
                  <a16:creationId xmlns:a16="http://schemas.microsoft.com/office/drawing/2014/main" id="{12C49397-A0D7-58A0-047F-FAED4DC9B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4" name="Freeform 288">
              <a:extLst>
                <a:ext uri="{FF2B5EF4-FFF2-40B4-BE49-F238E27FC236}">
                  <a16:creationId xmlns:a16="http://schemas.microsoft.com/office/drawing/2014/main" id="{DD25F10C-1B36-EF28-B544-6DB638F5B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5" name="Freeform 289">
              <a:extLst>
                <a:ext uri="{FF2B5EF4-FFF2-40B4-BE49-F238E27FC236}">
                  <a16:creationId xmlns:a16="http://schemas.microsoft.com/office/drawing/2014/main" id="{2DAF27BF-C11A-7FC4-D7AF-D30929CAA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6" name="Freeform 290">
              <a:extLst>
                <a:ext uri="{FF2B5EF4-FFF2-40B4-BE49-F238E27FC236}">
                  <a16:creationId xmlns:a16="http://schemas.microsoft.com/office/drawing/2014/main" id="{794B4D95-71FD-2C40-87AF-58992AD0D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7" name="Freeform 291">
              <a:extLst>
                <a:ext uri="{FF2B5EF4-FFF2-40B4-BE49-F238E27FC236}">
                  <a16:creationId xmlns:a16="http://schemas.microsoft.com/office/drawing/2014/main" id="{B7C7AF3C-3AD8-28EB-08BE-AF50BD970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8" name="Freeform 292">
              <a:extLst>
                <a:ext uri="{FF2B5EF4-FFF2-40B4-BE49-F238E27FC236}">
                  <a16:creationId xmlns:a16="http://schemas.microsoft.com/office/drawing/2014/main" id="{B095201D-500F-03D5-92A0-86A940307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9" name="Freeform 293">
              <a:extLst>
                <a:ext uri="{FF2B5EF4-FFF2-40B4-BE49-F238E27FC236}">
                  <a16:creationId xmlns:a16="http://schemas.microsoft.com/office/drawing/2014/main" id="{25792D55-F890-EB07-C684-932015EC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0" name="Freeform 294">
              <a:extLst>
                <a:ext uri="{FF2B5EF4-FFF2-40B4-BE49-F238E27FC236}">
                  <a16:creationId xmlns:a16="http://schemas.microsoft.com/office/drawing/2014/main" id="{515CAB61-A92A-3E70-CBF5-A243D096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1" name="Freeform 295">
              <a:extLst>
                <a:ext uri="{FF2B5EF4-FFF2-40B4-BE49-F238E27FC236}">
                  <a16:creationId xmlns:a16="http://schemas.microsoft.com/office/drawing/2014/main" id="{130C5C4A-CFED-4E42-DD00-8447D8B94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2" name="Freeform 296">
              <a:extLst>
                <a:ext uri="{FF2B5EF4-FFF2-40B4-BE49-F238E27FC236}">
                  <a16:creationId xmlns:a16="http://schemas.microsoft.com/office/drawing/2014/main" id="{3D0C6035-D6FB-CED2-89B3-13F238B0E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3" name="Freeform 297">
              <a:extLst>
                <a:ext uri="{FF2B5EF4-FFF2-40B4-BE49-F238E27FC236}">
                  <a16:creationId xmlns:a16="http://schemas.microsoft.com/office/drawing/2014/main" id="{E087FA01-9D84-4AA4-3931-BC5E82D54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4" name="Freeform 298">
              <a:extLst>
                <a:ext uri="{FF2B5EF4-FFF2-40B4-BE49-F238E27FC236}">
                  <a16:creationId xmlns:a16="http://schemas.microsoft.com/office/drawing/2014/main" id="{4EC7993E-A3D3-9786-8E75-19A5D3771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5" name="Freeform 299">
              <a:extLst>
                <a:ext uri="{FF2B5EF4-FFF2-40B4-BE49-F238E27FC236}">
                  <a16:creationId xmlns:a16="http://schemas.microsoft.com/office/drawing/2014/main" id="{60C2FDAD-EF23-6186-C213-E94703A93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6" name="Freeform 300">
              <a:extLst>
                <a:ext uri="{FF2B5EF4-FFF2-40B4-BE49-F238E27FC236}">
                  <a16:creationId xmlns:a16="http://schemas.microsoft.com/office/drawing/2014/main" id="{25AC2566-AE7E-9882-1D43-94356344E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7" name="Freeform 301">
              <a:extLst>
                <a:ext uri="{FF2B5EF4-FFF2-40B4-BE49-F238E27FC236}">
                  <a16:creationId xmlns:a16="http://schemas.microsoft.com/office/drawing/2014/main" id="{42166B5A-B9D6-BB3B-2BEF-07466D27F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8" name="Freeform 302">
              <a:extLst>
                <a:ext uri="{FF2B5EF4-FFF2-40B4-BE49-F238E27FC236}">
                  <a16:creationId xmlns:a16="http://schemas.microsoft.com/office/drawing/2014/main" id="{EDEC9899-3C04-E5AD-6D5C-F31BFEEEFE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9" name="Freeform 303">
              <a:extLst>
                <a:ext uri="{FF2B5EF4-FFF2-40B4-BE49-F238E27FC236}">
                  <a16:creationId xmlns:a16="http://schemas.microsoft.com/office/drawing/2014/main" id="{E2CB5837-D729-FFD9-6C0B-9FFC920780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0" name="Freeform 304">
              <a:extLst>
                <a:ext uri="{FF2B5EF4-FFF2-40B4-BE49-F238E27FC236}">
                  <a16:creationId xmlns:a16="http://schemas.microsoft.com/office/drawing/2014/main" id="{370E49BB-F197-07A3-5E2B-04985FCB5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1" name="Freeform 305">
              <a:extLst>
                <a:ext uri="{FF2B5EF4-FFF2-40B4-BE49-F238E27FC236}">
                  <a16:creationId xmlns:a16="http://schemas.microsoft.com/office/drawing/2014/main" id="{A2141E50-9C10-8264-7F03-C7100E5FA6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2" name="Freeform 306">
              <a:extLst>
                <a:ext uri="{FF2B5EF4-FFF2-40B4-BE49-F238E27FC236}">
                  <a16:creationId xmlns:a16="http://schemas.microsoft.com/office/drawing/2014/main" id="{893C87BB-3CAB-73C4-B9DE-44132E2E7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3" name="Freeform 307">
              <a:extLst>
                <a:ext uri="{FF2B5EF4-FFF2-40B4-BE49-F238E27FC236}">
                  <a16:creationId xmlns:a16="http://schemas.microsoft.com/office/drawing/2014/main" id="{A23C5684-3B00-B6D8-7F15-1798F4BB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4" name="Freeform 308">
              <a:extLst>
                <a:ext uri="{FF2B5EF4-FFF2-40B4-BE49-F238E27FC236}">
                  <a16:creationId xmlns:a16="http://schemas.microsoft.com/office/drawing/2014/main" id="{E56D3E38-255C-430F-F7F3-E0662E71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5" name="Freeform 309">
              <a:extLst>
                <a:ext uri="{FF2B5EF4-FFF2-40B4-BE49-F238E27FC236}">
                  <a16:creationId xmlns:a16="http://schemas.microsoft.com/office/drawing/2014/main" id="{F3A9E3F2-A5CB-2B44-D502-528406B91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6" name="Freeform 310">
              <a:extLst>
                <a:ext uri="{FF2B5EF4-FFF2-40B4-BE49-F238E27FC236}">
                  <a16:creationId xmlns:a16="http://schemas.microsoft.com/office/drawing/2014/main" id="{3F3F477D-CFC0-8BD2-74E4-53B4B2215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7" name="Freeform 311">
              <a:extLst>
                <a:ext uri="{FF2B5EF4-FFF2-40B4-BE49-F238E27FC236}">
                  <a16:creationId xmlns:a16="http://schemas.microsoft.com/office/drawing/2014/main" id="{FD17F308-F367-B7E5-11ED-78DCBD2049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8" name="Freeform 312">
              <a:extLst>
                <a:ext uri="{FF2B5EF4-FFF2-40B4-BE49-F238E27FC236}">
                  <a16:creationId xmlns:a16="http://schemas.microsoft.com/office/drawing/2014/main" id="{A5143B7C-ED47-EE71-06A2-B78C3479B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9" name="Freeform 313">
              <a:extLst>
                <a:ext uri="{FF2B5EF4-FFF2-40B4-BE49-F238E27FC236}">
                  <a16:creationId xmlns:a16="http://schemas.microsoft.com/office/drawing/2014/main" id="{1429D7A4-2444-5DE5-8C0A-9F9CE54B6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0" name="Freeform 314">
              <a:extLst>
                <a:ext uri="{FF2B5EF4-FFF2-40B4-BE49-F238E27FC236}">
                  <a16:creationId xmlns:a16="http://schemas.microsoft.com/office/drawing/2014/main" id="{006C73A0-F15B-332F-1C78-25CC55816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1" name="Freeform 315">
              <a:extLst>
                <a:ext uri="{FF2B5EF4-FFF2-40B4-BE49-F238E27FC236}">
                  <a16:creationId xmlns:a16="http://schemas.microsoft.com/office/drawing/2014/main" id="{767BA3FC-B713-E4A0-8CAC-CF65C446C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2" name="Freeform 316">
              <a:extLst>
                <a:ext uri="{FF2B5EF4-FFF2-40B4-BE49-F238E27FC236}">
                  <a16:creationId xmlns:a16="http://schemas.microsoft.com/office/drawing/2014/main" id="{B51DBE6E-D3ED-6573-5C1D-60F50277B7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3" name="Freeform 317">
              <a:extLst>
                <a:ext uri="{FF2B5EF4-FFF2-40B4-BE49-F238E27FC236}">
                  <a16:creationId xmlns:a16="http://schemas.microsoft.com/office/drawing/2014/main" id="{C1859B9F-0915-DC0E-47B0-63D40A1C01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4" name="Freeform 318">
              <a:extLst>
                <a:ext uri="{FF2B5EF4-FFF2-40B4-BE49-F238E27FC236}">
                  <a16:creationId xmlns:a16="http://schemas.microsoft.com/office/drawing/2014/main" id="{7C534D6F-BA15-8882-15AA-9E94A975F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5" name="Freeform 319">
              <a:extLst>
                <a:ext uri="{FF2B5EF4-FFF2-40B4-BE49-F238E27FC236}">
                  <a16:creationId xmlns:a16="http://schemas.microsoft.com/office/drawing/2014/main" id="{40B6C0E1-9F1C-6CB0-E66F-D81A158A8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6" name="Freeform 320">
              <a:extLst>
                <a:ext uri="{FF2B5EF4-FFF2-40B4-BE49-F238E27FC236}">
                  <a16:creationId xmlns:a16="http://schemas.microsoft.com/office/drawing/2014/main" id="{BFCDB39D-0CCE-E4B3-2D5E-8FD562D5E6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7" name="Freeform 321">
              <a:extLst>
                <a:ext uri="{FF2B5EF4-FFF2-40B4-BE49-F238E27FC236}">
                  <a16:creationId xmlns:a16="http://schemas.microsoft.com/office/drawing/2014/main" id="{B899097B-A67C-9513-21EC-4D2AA25DA4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8" name="Freeform 322">
              <a:extLst>
                <a:ext uri="{FF2B5EF4-FFF2-40B4-BE49-F238E27FC236}">
                  <a16:creationId xmlns:a16="http://schemas.microsoft.com/office/drawing/2014/main" id="{08D2F01F-A410-9481-58F7-E6D61583A8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9" name="Freeform 323">
              <a:extLst>
                <a:ext uri="{FF2B5EF4-FFF2-40B4-BE49-F238E27FC236}">
                  <a16:creationId xmlns:a16="http://schemas.microsoft.com/office/drawing/2014/main" id="{95EA2CCE-FB72-2526-145E-D32AEB6C3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0" name="Freeform 324">
              <a:extLst>
                <a:ext uri="{FF2B5EF4-FFF2-40B4-BE49-F238E27FC236}">
                  <a16:creationId xmlns:a16="http://schemas.microsoft.com/office/drawing/2014/main" id="{72E6EC05-BB29-A92A-5FA8-A3084D8024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1" name="Freeform 325">
              <a:extLst>
                <a:ext uri="{FF2B5EF4-FFF2-40B4-BE49-F238E27FC236}">
                  <a16:creationId xmlns:a16="http://schemas.microsoft.com/office/drawing/2014/main" id="{899C6954-280F-7511-8AC8-336838757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2" name="Freeform 326">
              <a:extLst>
                <a:ext uri="{FF2B5EF4-FFF2-40B4-BE49-F238E27FC236}">
                  <a16:creationId xmlns:a16="http://schemas.microsoft.com/office/drawing/2014/main" id="{75C19B69-89B8-3B71-0B80-0B4997B4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3" name="Freeform 327">
              <a:extLst>
                <a:ext uri="{FF2B5EF4-FFF2-40B4-BE49-F238E27FC236}">
                  <a16:creationId xmlns:a16="http://schemas.microsoft.com/office/drawing/2014/main" id="{3AE62805-04CF-5012-0D47-8DF0C706B6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4" name="Freeform 328">
              <a:extLst>
                <a:ext uri="{FF2B5EF4-FFF2-40B4-BE49-F238E27FC236}">
                  <a16:creationId xmlns:a16="http://schemas.microsoft.com/office/drawing/2014/main" id="{5B538670-ED21-4A28-FF4C-B94DD0DFE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5" name="Freeform 329">
              <a:extLst>
                <a:ext uri="{FF2B5EF4-FFF2-40B4-BE49-F238E27FC236}">
                  <a16:creationId xmlns:a16="http://schemas.microsoft.com/office/drawing/2014/main" id="{C4BC6EE7-D7CF-5022-8345-7F8CACE7B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6" name="Freeform 330">
              <a:extLst>
                <a:ext uri="{FF2B5EF4-FFF2-40B4-BE49-F238E27FC236}">
                  <a16:creationId xmlns:a16="http://schemas.microsoft.com/office/drawing/2014/main" id="{334FC6B6-1123-FC62-0A6E-AB4AB45EF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7" name="Freeform 331">
              <a:extLst>
                <a:ext uri="{FF2B5EF4-FFF2-40B4-BE49-F238E27FC236}">
                  <a16:creationId xmlns:a16="http://schemas.microsoft.com/office/drawing/2014/main" id="{E66BC83E-42A0-6A08-E61B-AFA65FD62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8" name="Freeform 332">
              <a:extLst>
                <a:ext uri="{FF2B5EF4-FFF2-40B4-BE49-F238E27FC236}">
                  <a16:creationId xmlns:a16="http://schemas.microsoft.com/office/drawing/2014/main" id="{A740620B-C45D-2996-287F-C73918076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9" name="Freeform 333">
              <a:extLst>
                <a:ext uri="{FF2B5EF4-FFF2-40B4-BE49-F238E27FC236}">
                  <a16:creationId xmlns:a16="http://schemas.microsoft.com/office/drawing/2014/main" id="{77737E7A-6A1C-AD87-D679-9715B8E95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0" name="Freeform 334">
              <a:extLst>
                <a:ext uri="{FF2B5EF4-FFF2-40B4-BE49-F238E27FC236}">
                  <a16:creationId xmlns:a16="http://schemas.microsoft.com/office/drawing/2014/main" id="{84F208B9-74BB-A364-E848-29064DF45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1" name="Freeform 335">
              <a:extLst>
                <a:ext uri="{FF2B5EF4-FFF2-40B4-BE49-F238E27FC236}">
                  <a16:creationId xmlns:a16="http://schemas.microsoft.com/office/drawing/2014/main" id="{BB10767E-7A56-3A0B-B06A-23412E14C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2" name="Freeform 336">
              <a:extLst>
                <a:ext uri="{FF2B5EF4-FFF2-40B4-BE49-F238E27FC236}">
                  <a16:creationId xmlns:a16="http://schemas.microsoft.com/office/drawing/2014/main" id="{CDECDD0F-90E6-BD8F-4959-664BC1DCA4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3" name="Freeform 337">
              <a:extLst>
                <a:ext uri="{FF2B5EF4-FFF2-40B4-BE49-F238E27FC236}">
                  <a16:creationId xmlns:a16="http://schemas.microsoft.com/office/drawing/2014/main" id="{3FBD4170-464C-1275-69DE-AFE11D364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4" name="Freeform 338">
              <a:extLst>
                <a:ext uri="{FF2B5EF4-FFF2-40B4-BE49-F238E27FC236}">
                  <a16:creationId xmlns:a16="http://schemas.microsoft.com/office/drawing/2014/main" id="{146642DD-F2AD-C73C-CDD3-95BB55CD8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5" name="Freeform 339">
              <a:extLst>
                <a:ext uri="{FF2B5EF4-FFF2-40B4-BE49-F238E27FC236}">
                  <a16:creationId xmlns:a16="http://schemas.microsoft.com/office/drawing/2014/main" id="{F49A10C6-8F35-EFDA-F919-84976F868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6" name="Freeform 340">
              <a:extLst>
                <a:ext uri="{FF2B5EF4-FFF2-40B4-BE49-F238E27FC236}">
                  <a16:creationId xmlns:a16="http://schemas.microsoft.com/office/drawing/2014/main" id="{629B86EA-8669-9A69-3A77-9D5D3A853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7" name="Freeform 341">
              <a:extLst>
                <a:ext uri="{FF2B5EF4-FFF2-40B4-BE49-F238E27FC236}">
                  <a16:creationId xmlns:a16="http://schemas.microsoft.com/office/drawing/2014/main" id="{B6470CDA-138A-A839-D97D-8846553C4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8" name="Freeform 342">
              <a:extLst>
                <a:ext uri="{FF2B5EF4-FFF2-40B4-BE49-F238E27FC236}">
                  <a16:creationId xmlns:a16="http://schemas.microsoft.com/office/drawing/2014/main" id="{8DEE6F47-D7AB-A10F-4523-236DF251AB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9" name="Freeform 343">
              <a:extLst>
                <a:ext uri="{FF2B5EF4-FFF2-40B4-BE49-F238E27FC236}">
                  <a16:creationId xmlns:a16="http://schemas.microsoft.com/office/drawing/2014/main" id="{00C6A844-4F9C-3ABD-71E6-872BFEA5B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0" name="Freeform 344">
              <a:extLst>
                <a:ext uri="{FF2B5EF4-FFF2-40B4-BE49-F238E27FC236}">
                  <a16:creationId xmlns:a16="http://schemas.microsoft.com/office/drawing/2014/main" id="{D37D334B-96F9-2BDF-85A4-AFF6A6FCC5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1" name="Freeform 345">
              <a:extLst>
                <a:ext uri="{FF2B5EF4-FFF2-40B4-BE49-F238E27FC236}">
                  <a16:creationId xmlns:a16="http://schemas.microsoft.com/office/drawing/2014/main" id="{4C134EAD-6256-E14A-A0A7-5CB582A4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2" name="Freeform 346">
              <a:extLst>
                <a:ext uri="{FF2B5EF4-FFF2-40B4-BE49-F238E27FC236}">
                  <a16:creationId xmlns:a16="http://schemas.microsoft.com/office/drawing/2014/main" id="{7AF21ABA-B9E2-692A-944B-EB59AF009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3" name="Freeform 347">
              <a:extLst>
                <a:ext uri="{FF2B5EF4-FFF2-40B4-BE49-F238E27FC236}">
                  <a16:creationId xmlns:a16="http://schemas.microsoft.com/office/drawing/2014/main" id="{F5D038B6-EB68-2710-2667-7E6CCD1C8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4" name="Freeform 348">
              <a:extLst>
                <a:ext uri="{FF2B5EF4-FFF2-40B4-BE49-F238E27FC236}">
                  <a16:creationId xmlns:a16="http://schemas.microsoft.com/office/drawing/2014/main" id="{9701A39A-80CB-50EE-733D-924D8BB6E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5" name="Freeform 349">
              <a:extLst>
                <a:ext uri="{FF2B5EF4-FFF2-40B4-BE49-F238E27FC236}">
                  <a16:creationId xmlns:a16="http://schemas.microsoft.com/office/drawing/2014/main" id="{BDFE5281-8447-754E-E390-5C3BF5DA9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6" name="Freeform 350">
              <a:extLst>
                <a:ext uri="{FF2B5EF4-FFF2-40B4-BE49-F238E27FC236}">
                  <a16:creationId xmlns:a16="http://schemas.microsoft.com/office/drawing/2014/main" id="{07D996F8-6A90-F8BB-79AE-3E15FB5BA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7" name="Freeform 351">
              <a:extLst>
                <a:ext uri="{FF2B5EF4-FFF2-40B4-BE49-F238E27FC236}">
                  <a16:creationId xmlns:a16="http://schemas.microsoft.com/office/drawing/2014/main" id="{4AB3A653-CAA1-BAF2-C9EC-4E8388EBC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8" name="Freeform 352">
              <a:extLst>
                <a:ext uri="{FF2B5EF4-FFF2-40B4-BE49-F238E27FC236}">
                  <a16:creationId xmlns:a16="http://schemas.microsoft.com/office/drawing/2014/main" id="{E2AB4899-7BE4-051F-29AA-172FD4C5E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9" name="Freeform 353">
              <a:extLst>
                <a:ext uri="{FF2B5EF4-FFF2-40B4-BE49-F238E27FC236}">
                  <a16:creationId xmlns:a16="http://schemas.microsoft.com/office/drawing/2014/main" id="{8FA51691-08C0-FD32-C124-A03E0CCDB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0" name="Freeform 354">
              <a:extLst>
                <a:ext uri="{FF2B5EF4-FFF2-40B4-BE49-F238E27FC236}">
                  <a16:creationId xmlns:a16="http://schemas.microsoft.com/office/drawing/2014/main" id="{6668C1E5-6E73-9C2E-8531-99B6715E4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1" name="Freeform 355">
              <a:extLst>
                <a:ext uri="{FF2B5EF4-FFF2-40B4-BE49-F238E27FC236}">
                  <a16:creationId xmlns:a16="http://schemas.microsoft.com/office/drawing/2014/main" id="{89981170-0305-CBE2-5E04-68C6CB910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2" name="Freeform 356">
              <a:extLst>
                <a:ext uri="{FF2B5EF4-FFF2-40B4-BE49-F238E27FC236}">
                  <a16:creationId xmlns:a16="http://schemas.microsoft.com/office/drawing/2014/main" id="{C8043659-E5A6-0EC6-3118-4AA1E9C4A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3" name="Freeform 357">
              <a:extLst>
                <a:ext uri="{FF2B5EF4-FFF2-40B4-BE49-F238E27FC236}">
                  <a16:creationId xmlns:a16="http://schemas.microsoft.com/office/drawing/2014/main" id="{0186FB39-A948-DCE1-8AE5-775D4409B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4" name="Freeform 358">
              <a:extLst>
                <a:ext uri="{FF2B5EF4-FFF2-40B4-BE49-F238E27FC236}">
                  <a16:creationId xmlns:a16="http://schemas.microsoft.com/office/drawing/2014/main" id="{9D53A4EC-A3E0-16E3-9C28-4D1AD77DD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5" name="Freeform 359">
              <a:extLst>
                <a:ext uri="{FF2B5EF4-FFF2-40B4-BE49-F238E27FC236}">
                  <a16:creationId xmlns:a16="http://schemas.microsoft.com/office/drawing/2014/main" id="{97D8E7D0-46EC-BD44-B3D1-EF638C12F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6" name="Freeform 360">
              <a:extLst>
                <a:ext uri="{FF2B5EF4-FFF2-40B4-BE49-F238E27FC236}">
                  <a16:creationId xmlns:a16="http://schemas.microsoft.com/office/drawing/2014/main" id="{0CE9E671-AC79-8AE3-99DC-221604AAC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7" name="Freeform 361">
              <a:extLst>
                <a:ext uri="{FF2B5EF4-FFF2-40B4-BE49-F238E27FC236}">
                  <a16:creationId xmlns:a16="http://schemas.microsoft.com/office/drawing/2014/main" id="{1A67D0B1-E36B-6DE9-E0B0-3980BB444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8" name="Freeform 362">
              <a:extLst>
                <a:ext uri="{FF2B5EF4-FFF2-40B4-BE49-F238E27FC236}">
                  <a16:creationId xmlns:a16="http://schemas.microsoft.com/office/drawing/2014/main" id="{FBCCBD72-45C7-812B-4206-F13443A12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9" name="Freeform 363">
              <a:extLst>
                <a:ext uri="{FF2B5EF4-FFF2-40B4-BE49-F238E27FC236}">
                  <a16:creationId xmlns:a16="http://schemas.microsoft.com/office/drawing/2014/main" id="{04D02DA1-7EC0-D544-AC0F-78D0381C31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0" name="Freeform 364">
              <a:extLst>
                <a:ext uri="{FF2B5EF4-FFF2-40B4-BE49-F238E27FC236}">
                  <a16:creationId xmlns:a16="http://schemas.microsoft.com/office/drawing/2014/main" id="{FFA265B8-7422-1FBB-FB42-BEB98DDD8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1" name="Freeform 365">
              <a:extLst>
                <a:ext uri="{FF2B5EF4-FFF2-40B4-BE49-F238E27FC236}">
                  <a16:creationId xmlns:a16="http://schemas.microsoft.com/office/drawing/2014/main" id="{64102A9F-A38C-93A9-3E3A-0E5E5A514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2" name="Freeform 366">
              <a:extLst>
                <a:ext uri="{FF2B5EF4-FFF2-40B4-BE49-F238E27FC236}">
                  <a16:creationId xmlns:a16="http://schemas.microsoft.com/office/drawing/2014/main" id="{613CAD8C-A683-5BB7-F9D3-B3819F9A4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3" name="Freeform 367">
              <a:extLst>
                <a:ext uri="{FF2B5EF4-FFF2-40B4-BE49-F238E27FC236}">
                  <a16:creationId xmlns:a16="http://schemas.microsoft.com/office/drawing/2014/main" id="{D022998A-EF21-A73B-4EDB-0BADAE1B2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4" name="Freeform 368">
              <a:extLst>
                <a:ext uri="{FF2B5EF4-FFF2-40B4-BE49-F238E27FC236}">
                  <a16:creationId xmlns:a16="http://schemas.microsoft.com/office/drawing/2014/main" id="{00B40608-1938-6C46-7491-A69338C73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5" name="Freeform 369">
              <a:extLst>
                <a:ext uri="{FF2B5EF4-FFF2-40B4-BE49-F238E27FC236}">
                  <a16:creationId xmlns:a16="http://schemas.microsoft.com/office/drawing/2014/main" id="{44310EA3-1DEF-6FC3-ED61-35B9DBD58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6" name="Freeform 370">
              <a:extLst>
                <a:ext uri="{FF2B5EF4-FFF2-40B4-BE49-F238E27FC236}">
                  <a16:creationId xmlns:a16="http://schemas.microsoft.com/office/drawing/2014/main" id="{EAE133F6-01B4-0DEE-5EDE-9410C6202A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7" name="Freeform 371">
              <a:extLst>
                <a:ext uri="{FF2B5EF4-FFF2-40B4-BE49-F238E27FC236}">
                  <a16:creationId xmlns:a16="http://schemas.microsoft.com/office/drawing/2014/main" id="{B24267C5-5C95-176A-6F9F-44492EA82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8" name="Freeform 372">
              <a:extLst>
                <a:ext uri="{FF2B5EF4-FFF2-40B4-BE49-F238E27FC236}">
                  <a16:creationId xmlns:a16="http://schemas.microsoft.com/office/drawing/2014/main" id="{7F1147EE-188E-63B0-75B8-F474BA400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9" name="Freeform 373">
              <a:extLst>
                <a:ext uri="{FF2B5EF4-FFF2-40B4-BE49-F238E27FC236}">
                  <a16:creationId xmlns:a16="http://schemas.microsoft.com/office/drawing/2014/main" id="{D4C5B7EE-8450-0852-1A5B-BBE364C31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0" name="Freeform 374">
              <a:extLst>
                <a:ext uri="{FF2B5EF4-FFF2-40B4-BE49-F238E27FC236}">
                  <a16:creationId xmlns:a16="http://schemas.microsoft.com/office/drawing/2014/main" id="{D855D8A1-1772-059A-7CAD-FF317E992C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1" name="Freeform 375">
              <a:extLst>
                <a:ext uri="{FF2B5EF4-FFF2-40B4-BE49-F238E27FC236}">
                  <a16:creationId xmlns:a16="http://schemas.microsoft.com/office/drawing/2014/main" id="{16F735CB-066D-A79F-D4C2-65EEE2F69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2" name="Freeform 376">
              <a:extLst>
                <a:ext uri="{FF2B5EF4-FFF2-40B4-BE49-F238E27FC236}">
                  <a16:creationId xmlns:a16="http://schemas.microsoft.com/office/drawing/2014/main" id="{D553CBCD-F2C4-AFAF-6605-6AF73927F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3" name="Freeform 377">
              <a:extLst>
                <a:ext uri="{FF2B5EF4-FFF2-40B4-BE49-F238E27FC236}">
                  <a16:creationId xmlns:a16="http://schemas.microsoft.com/office/drawing/2014/main" id="{B6D579E0-ED0C-566B-A4D7-057E50AD1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4" name="Freeform 378">
              <a:extLst>
                <a:ext uri="{FF2B5EF4-FFF2-40B4-BE49-F238E27FC236}">
                  <a16:creationId xmlns:a16="http://schemas.microsoft.com/office/drawing/2014/main" id="{E3A5CFB9-8065-ACF3-E6A5-3B5E9A0A8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5" name="Freeform 379">
              <a:extLst>
                <a:ext uri="{FF2B5EF4-FFF2-40B4-BE49-F238E27FC236}">
                  <a16:creationId xmlns:a16="http://schemas.microsoft.com/office/drawing/2014/main" id="{D2EC0A56-804B-5263-7868-038687F34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6" name="Freeform 380">
              <a:extLst>
                <a:ext uri="{FF2B5EF4-FFF2-40B4-BE49-F238E27FC236}">
                  <a16:creationId xmlns:a16="http://schemas.microsoft.com/office/drawing/2014/main" id="{1822D433-0A81-F290-234F-A84266B11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7" name="Freeform 381">
              <a:extLst>
                <a:ext uri="{FF2B5EF4-FFF2-40B4-BE49-F238E27FC236}">
                  <a16:creationId xmlns:a16="http://schemas.microsoft.com/office/drawing/2014/main" id="{33B9E54B-9014-C704-4D4A-899F5AA05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8" name="Freeform 382">
              <a:extLst>
                <a:ext uri="{FF2B5EF4-FFF2-40B4-BE49-F238E27FC236}">
                  <a16:creationId xmlns:a16="http://schemas.microsoft.com/office/drawing/2014/main" id="{3E3A2829-20A8-3B7D-3217-654D2EC33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9" name="Freeform 383">
              <a:extLst>
                <a:ext uri="{FF2B5EF4-FFF2-40B4-BE49-F238E27FC236}">
                  <a16:creationId xmlns:a16="http://schemas.microsoft.com/office/drawing/2014/main" id="{A4766930-8116-C0D4-1A77-58670EA94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0" name="Freeform 384">
              <a:extLst>
                <a:ext uri="{FF2B5EF4-FFF2-40B4-BE49-F238E27FC236}">
                  <a16:creationId xmlns:a16="http://schemas.microsoft.com/office/drawing/2014/main" id="{8ECF564C-8C7B-F1FE-BFD6-6F9DB39BE4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1" name="Freeform 385">
              <a:extLst>
                <a:ext uri="{FF2B5EF4-FFF2-40B4-BE49-F238E27FC236}">
                  <a16:creationId xmlns:a16="http://schemas.microsoft.com/office/drawing/2014/main" id="{57A58504-AAE7-FC50-08FC-B487223490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2" name="Freeform 386">
              <a:extLst>
                <a:ext uri="{FF2B5EF4-FFF2-40B4-BE49-F238E27FC236}">
                  <a16:creationId xmlns:a16="http://schemas.microsoft.com/office/drawing/2014/main" id="{0EF26CFE-1BB2-F747-C881-66750F1270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3" name="Freeform 387">
              <a:extLst>
                <a:ext uri="{FF2B5EF4-FFF2-40B4-BE49-F238E27FC236}">
                  <a16:creationId xmlns:a16="http://schemas.microsoft.com/office/drawing/2014/main" id="{8589DC60-B7A1-D1CF-DC08-FA7BAB2534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4" name="Freeform 388">
              <a:extLst>
                <a:ext uri="{FF2B5EF4-FFF2-40B4-BE49-F238E27FC236}">
                  <a16:creationId xmlns:a16="http://schemas.microsoft.com/office/drawing/2014/main" id="{59FEB7DF-098D-746D-F260-2ED48ABC1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5" name="Freeform 389">
              <a:extLst>
                <a:ext uri="{FF2B5EF4-FFF2-40B4-BE49-F238E27FC236}">
                  <a16:creationId xmlns:a16="http://schemas.microsoft.com/office/drawing/2014/main" id="{9603E2AB-2288-8C41-AFA5-507E7ECA8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6" name="Freeform 390">
              <a:extLst>
                <a:ext uri="{FF2B5EF4-FFF2-40B4-BE49-F238E27FC236}">
                  <a16:creationId xmlns:a16="http://schemas.microsoft.com/office/drawing/2014/main" id="{FD1A51C8-C7B0-40CC-3A6D-FCD9976C5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7" name="Freeform 391">
              <a:extLst>
                <a:ext uri="{FF2B5EF4-FFF2-40B4-BE49-F238E27FC236}">
                  <a16:creationId xmlns:a16="http://schemas.microsoft.com/office/drawing/2014/main" id="{421D3AEB-A253-5960-1B01-C85D06252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8" name="Freeform 392">
              <a:extLst>
                <a:ext uri="{FF2B5EF4-FFF2-40B4-BE49-F238E27FC236}">
                  <a16:creationId xmlns:a16="http://schemas.microsoft.com/office/drawing/2014/main" id="{3BD9390A-248A-A4BC-A492-72E3C1EA0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9" name="Freeform 393">
              <a:extLst>
                <a:ext uri="{FF2B5EF4-FFF2-40B4-BE49-F238E27FC236}">
                  <a16:creationId xmlns:a16="http://schemas.microsoft.com/office/drawing/2014/main" id="{729E57A0-0551-62D7-8794-927553A39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0" name="Freeform 394">
              <a:extLst>
                <a:ext uri="{FF2B5EF4-FFF2-40B4-BE49-F238E27FC236}">
                  <a16:creationId xmlns:a16="http://schemas.microsoft.com/office/drawing/2014/main" id="{5D87AC80-9F44-F555-E2A0-356E854766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1" name="Freeform 395">
              <a:extLst>
                <a:ext uri="{FF2B5EF4-FFF2-40B4-BE49-F238E27FC236}">
                  <a16:creationId xmlns:a16="http://schemas.microsoft.com/office/drawing/2014/main" id="{E1B5869B-174A-7FED-05BF-CF91C70A5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2" name="Freeform 396">
              <a:extLst>
                <a:ext uri="{FF2B5EF4-FFF2-40B4-BE49-F238E27FC236}">
                  <a16:creationId xmlns:a16="http://schemas.microsoft.com/office/drawing/2014/main" id="{FE556EFC-C787-FB6B-FAB1-776534888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3" name="Freeform 397">
              <a:extLst>
                <a:ext uri="{FF2B5EF4-FFF2-40B4-BE49-F238E27FC236}">
                  <a16:creationId xmlns:a16="http://schemas.microsoft.com/office/drawing/2014/main" id="{7F721BCC-4DCD-ADA1-FAAB-2816F9C87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4" name="Freeform 398">
              <a:extLst>
                <a:ext uri="{FF2B5EF4-FFF2-40B4-BE49-F238E27FC236}">
                  <a16:creationId xmlns:a16="http://schemas.microsoft.com/office/drawing/2014/main" id="{F2621369-F554-90B4-DF44-FAEBFD17B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5" name="Freeform 399">
              <a:extLst>
                <a:ext uri="{FF2B5EF4-FFF2-40B4-BE49-F238E27FC236}">
                  <a16:creationId xmlns:a16="http://schemas.microsoft.com/office/drawing/2014/main" id="{6C180E65-96F0-B644-6B6E-47D5D4DF53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6" name="Freeform 400">
              <a:extLst>
                <a:ext uri="{FF2B5EF4-FFF2-40B4-BE49-F238E27FC236}">
                  <a16:creationId xmlns:a16="http://schemas.microsoft.com/office/drawing/2014/main" id="{ACAE36D8-FDF9-7E9D-C077-CCB8CAE8F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7" name="Freeform 401">
              <a:extLst>
                <a:ext uri="{FF2B5EF4-FFF2-40B4-BE49-F238E27FC236}">
                  <a16:creationId xmlns:a16="http://schemas.microsoft.com/office/drawing/2014/main" id="{58B98B50-5847-FE7A-AB72-D7A0A39A65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008" name="Elipse 8007">
            <a:extLst>
              <a:ext uri="{FF2B5EF4-FFF2-40B4-BE49-F238E27FC236}">
                <a16:creationId xmlns:a16="http://schemas.microsoft.com/office/drawing/2014/main" id="{4242F3B8-C0FD-CA13-FD95-43DC6729AA03}"/>
              </a:ext>
            </a:extLst>
          </p:cNvPr>
          <p:cNvSpPr/>
          <p:nvPr/>
        </p:nvSpPr>
        <p:spPr>
          <a:xfrm>
            <a:off x="7808323" y="535736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</a:t>
            </a:r>
          </a:p>
        </p:txBody>
      </p:sp>
      <p:sp>
        <p:nvSpPr>
          <p:cNvPr id="8009" name="Elipse 8008">
            <a:extLst>
              <a:ext uri="{FF2B5EF4-FFF2-40B4-BE49-F238E27FC236}">
                <a16:creationId xmlns:a16="http://schemas.microsoft.com/office/drawing/2014/main" id="{E4F10F9B-A9AD-502F-9EEE-752A10F4C637}"/>
              </a:ext>
            </a:extLst>
          </p:cNvPr>
          <p:cNvSpPr/>
          <p:nvPr/>
        </p:nvSpPr>
        <p:spPr>
          <a:xfrm>
            <a:off x="10839856" y="5227504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C</a:t>
            </a:r>
          </a:p>
        </p:txBody>
      </p:sp>
      <p:sp>
        <p:nvSpPr>
          <p:cNvPr id="8010" name="Elipse 8009">
            <a:extLst>
              <a:ext uri="{FF2B5EF4-FFF2-40B4-BE49-F238E27FC236}">
                <a16:creationId xmlns:a16="http://schemas.microsoft.com/office/drawing/2014/main" id="{FA98A6BE-85C2-EC22-32D8-A68C3820E7D9}"/>
              </a:ext>
            </a:extLst>
          </p:cNvPr>
          <p:cNvSpPr/>
          <p:nvPr/>
        </p:nvSpPr>
        <p:spPr>
          <a:xfrm>
            <a:off x="7222394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</a:t>
            </a:r>
          </a:p>
        </p:txBody>
      </p:sp>
      <p:sp>
        <p:nvSpPr>
          <p:cNvPr id="8011" name="Elipse 8010">
            <a:extLst>
              <a:ext uri="{FF2B5EF4-FFF2-40B4-BE49-F238E27FC236}">
                <a16:creationId xmlns:a16="http://schemas.microsoft.com/office/drawing/2014/main" id="{E5118076-7BE2-9708-2B18-7517DD7DDF77}"/>
              </a:ext>
            </a:extLst>
          </p:cNvPr>
          <p:cNvSpPr/>
          <p:nvPr/>
        </p:nvSpPr>
        <p:spPr>
          <a:xfrm>
            <a:off x="8935309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U</a:t>
            </a:r>
          </a:p>
        </p:txBody>
      </p:sp>
      <p:sp>
        <p:nvSpPr>
          <p:cNvPr id="8012" name="Elipse 8011">
            <a:extLst>
              <a:ext uri="{FF2B5EF4-FFF2-40B4-BE49-F238E27FC236}">
                <a16:creationId xmlns:a16="http://schemas.microsoft.com/office/drawing/2014/main" id="{8E045BEB-FD43-7453-3D64-5BBC01E643DC}"/>
              </a:ext>
            </a:extLst>
          </p:cNvPr>
          <p:cNvSpPr/>
          <p:nvPr/>
        </p:nvSpPr>
        <p:spPr>
          <a:xfrm>
            <a:off x="9408876" y="459597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</a:t>
            </a:r>
          </a:p>
        </p:txBody>
      </p:sp>
      <p:sp>
        <p:nvSpPr>
          <p:cNvPr id="8013" name="Elipse 8012">
            <a:extLst>
              <a:ext uri="{FF2B5EF4-FFF2-40B4-BE49-F238E27FC236}">
                <a16:creationId xmlns:a16="http://schemas.microsoft.com/office/drawing/2014/main" id="{E871810F-DF0E-28B1-5E7E-04C751C0A480}"/>
              </a:ext>
            </a:extLst>
          </p:cNvPr>
          <p:cNvSpPr/>
          <p:nvPr/>
        </p:nvSpPr>
        <p:spPr>
          <a:xfrm>
            <a:off x="9150139" y="503844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</a:t>
            </a:r>
          </a:p>
        </p:txBody>
      </p:sp>
      <p:cxnSp>
        <p:nvCxnSpPr>
          <p:cNvPr id="8014" name="Conector: curvado 8013">
            <a:extLst>
              <a:ext uri="{FF2B5EF4-FFF2-40B4-BE49-F238E27FC236}">
                <a16:creationId xmlns:a16="http://schemas.microsoft.com/office/drawing/2014/main" id="{BA5832F1-4E5F-0DC4-67E0-6FBBF192CEB2}"/>
              </a:ext>
            </a:extLst>
          </p:cNvPr>
          <p:cNvCxnSpPr>
            <a:cxnSpLocks/>
            <a:stCxn id="8010" idx="0"/>
            <a:endCxn id="8011" idx="0"/>
          </p:cNvCxnSpPr>
          <p:nvPr/>
        </p:nvCxnSpPr>
        <p:spPr>
          <a:xfrm rot="5400000" flipH="1" flipV="1">
            <a:off x="8276482" y="3275270"/>
            <a:ext cx="12700" cy="1712915"/>
          </a:xfrm>
          <a:prstGeom prst="curvedConnector3">
            <a:avLst>
              <a:gd name="adj1" fmla="val 2700000"/>
            </a:avLst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5" name="Conector: curvado 8014">
            <a:extLst>
              <a:ext uri="{FF2B5EF4-FFF2-40B4-BE49-F238E27FC236}">
                <a16:creationId xmlns:a16="http://schemas.microsoft.com/office/drawing/2014/main" id="{B9F926A2-8099-A548-29CB-FAAE1615A34F}"/>
              </a:ext>
            </a:extLst>
          </p:cNvPr>
          <p:cNvCxnSpPr>
            <a:cxnSpLocks/>
            <a:endCxn id="8009" idx="2"/>
          </p:cNvCxnSpPr>
          <p:nvPr/>
        </p:nvCxnSpPr>
        <p:spPr>
          <a:xfrm rot="16200000" flipH="1">
            <a:off x="10175948" y="4761227"/>
            <a:ext cx="930714" cy="397102"/>
          </a:xfrm>
          <a:prstGeom prst="curved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6" name="Conector: curvado 8015">
            <a:extLst>
              <a:ext uri="{FF2B5EF4-FFF2-40B4-BE49-F238E27FC236}">
                <a16:creationId xmlns:a16="http://schemas.microsoft.com/office/drawing/2014/main" id="{67E552ED-3C2A-A896-F627-E60827FFEB53}"/>
              </a:ext>
            </a:extLst>
          </p:cNvPr>
          <p:cNvCxnSpPr>
            <a:cxnSpLocks/>
            <a:stCxn id="8010" idx="4"/>
            <a:endCxn id="8008" idx="2"/>
          </p:cNvCxnSpPr>
          <p:nvPr/>
        </p:nvCxnSpPr>
        <p:spPr>
          <a:xfrm rot="16200000" flipH="1">
            <a:off x="7100169" y="4846844"/>
            <a:ext cx="1028010" cy="388298"/>
          </a:xfrm>
          <a:prstGeom prst="curvedConnector2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7" name="Conector: curvado 8016">
            <a:extLst>
              <a:ext uri="{FF2B5EF4-FFF2-40B4-BE49-F238E27FC236}">
                <a16:creationId xmlns:a16="http://schemas.microsoft.com/office/drawing/2014/main" id="{D3E28B43-6A5D-FA83-B48B-6188684FEC01}"/>
              </a:ext>
            </a:extLst>
          </p:cNvPr>
          <p:cNvCxnSpPr>
            <a:cxnSpLocks/>
            <a:stCxn id="8010" idx="0"/>
            <a:endCxn id="8023" idx="0"/>
          </p:cNvCxnSpPr>
          <p:nvPr/>
        </p:nvCxnSpPr>
        <p:spPr>
          <a:xfrm rot="5400000" flipH="1" flipV="1">
            <a:off x="8904699" y="2604037"/>
            <a:ext cx="43016" cy="3012364"/>
          </a:xfrm>
          <a:prstGeom prst="curvedConnector3">
            <a:avLst>
              <a:gd name="adj1" fmla="val 1605719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8" name="Conector: curvado 8017">
            <a:extLst>
              <a:ext uri="{FF2B5EF4-FFF2-40B4-BE49-F238E27FC236}">
                <a16:creationId xmlns:a16="http://schemas.microsoft.com/office/drawing/2014/main" id="{3C5EA928-7DE5-5FC3-4906-BA5981C56B7A}"/>
              </a:ext>
            </a:extLst>
          </p:cNvPr>
          <p:cNvCxnSpPr>
            <a:cxnSpLocks/>
            <a:stCxn id="8010" idx="4"/>
            <a:endCxn id="8013" idx="2"/>
          </p:cNvCxnSpPr>
          <p:nvPr/>
        </p:nvCxnSpPr>
        <p:spPr>
          <a:xfrm rot="16200000" flipH="1">
            <a:off x="7930537" y="4016476"/>
            <a:ext cx="709090" cy="1730114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9" name="Conector: curvado 8018">
            <a:extLst>
              <a:ext uri="{FF2B5EF4-FFF2-40B4-BE49-F238E27FC236}">
                <a16:creationId xmlns:a16="http://schemas.microsoft.com/office/drawing/2014/main" id="{9A9F0F2D-61E2-2BA5-9A01-252E43519D0D}"/>
              </a:ext>
            </a:extLst>
          </p:cNvPr>
          <p:cNvCxnSpPr>
            <a:cxnSpLocks/>
            <a:stCxn id="8011" idx="6"/>
            <a:endCxn id="8012" idx="0"/>
          </p:cNvCxnSpPr>
          <p:nvPr/>
        </p:nvCxnSpPr>
        <p:spPr>
          <a:xfrm>
            <a:off x="9330570" y="4329358"/>
            <a:ext cx="275937" cy="266613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0" name="Conector: curvado 8019">
            <a:extLst>
              <a:ext uri="{FF2B5EF4-FFF2-40B4-BE49-F238E27FC236}">
                <a16:creationId xmlns:a16="http://schemas.microsoft.com/office/drawing/2014/main" id="{2E9226E2-95F9-6AE6-AD45-3B13656C62E4}"/>
              </a:ext>
            </a:extLst>
          </p:cNvPr>
          <p:cNvCxnSpPr>
            <a:cxnSpLocks/>
            <a:stCxn id="8011" idx="4"/>
            <a:endCxn id="8013" idx="2"/>
          </p:cNvCxnSpPr>
          <p:nvPr/>
        </p:nvCxnSpPr>
        <p:spPr>
          <a:xfrm rot="16200000" flipH="1">
            <a:off x="8786994" y="4872933"/>
            <a:ext cx="709090" cy="1719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1" name="Conector: curvado 8020">
            <a:extLst>
              <a:ext uri="{FF2B5EF4-FFF2-40B4-BE49-F238E27FC236}">
                <a16:creationId xmlns:a16="http://schemas.microsoft.com/office/drawing/2014/main" id="{C4DFD656-2520-64C6-CAFE-567685F18483}"/>
              </a:ext>
            </a:extLst>
          </p:cNvPr>
          <p:cNvCxnSpPr>
            <a:cxnSpLocks/>
            <a:stCxn id="8009" idx="4"/>
            <a:endCxn id="8013" idx="4"/>
          </p:cNvCxnSpPr>
          <p:nvPr/>
        </p:nvCxnSpPr>
        <p:spPr>
          <a:xfrm rot="5400000" flipH="1">
            <a:off x="10098100" y="4683379"/>
            <a:ext cx="189057" cy="1689717"/>
          </a:xfrm>
          <a:prstGeom prst="curvedConnector3">
            <a:avLst>
              <a:gd name="adj1" fmla="val -120916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2" name="Conector: curvado 8021">
            <a:extLst>
              <a:ext uri="{FF2B5EF4-FFF2-40B4-BE49-F238E27FC236}">
                <a16:creationId xmlns:a16="http://schemas.microsoft.com/office/drawing/2014/main" id="{B67EA7E5-7C3B-9D1D-2660-9BF2685F1D36}"/>
              </a:ext>
            </a:extLst>
          </p:cNvPr>
          <p:cNvCxnSpPr>
            <a:cxnSpLocks/>
            <a:stCxn id="8011" idx="2"/>
            <a:endCxn id="8008" idx="0"/>
          </p:cNvCxnSpPr>
          <p:nvPr/>
        </p:nvCxnSpPr>
        <p:spPr>
          <a:xfrm rot="10800000" flipV="1">
            <a:off x="8005955" y="4329357"/>
            <a:ext cx="929355" cy="102800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23" name="Elipse 8022">
            <a:extLst>
              <a:ext uri="{FF2B5EF4-FFF2-40B4-BE49-F238E27FC236}">
                <a16:creationId xmlns:a16="http://schemas.microsoft.com/office/drawing/2014/main" id="{3A835ECC-3276-BC83-46AB-C1F1C983095C}"/>
              </a:ext>
            </a:extLst>
          </p:cNvPr>
          <p:cNvSpPr/>
          <p:nvPr/>
        </p:nvSpPr>
        <p:spPr>
          <a:xfrm>
            <a:off x="10234758" y="408871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</a:t>
            </a:r>
          </a:p>
        </p:txBody>
      </p:sp>
      <p:cxnSp>
        <p:nvCxnSpPr>
          <p:cNvPr id="8024" name="Conector: curvado 8023">
            <a:extLst>
              <a:ext uri="{FF2B5EF4-FFF2-40B4-BE49-F238E27FC236}">
                <a16:creationId xmlns:a16="http://schemas.microsoft.com/office/drawing/2014/main" id="{C208E892-BDF4-54E8-DD10-BCDC301EFE44}"/>
              </a:ext>
            </a:extLst>
          </p:cNvPr>
          <p:cNvCxnSpPr>
            <a:cxnSpLocks/>
            <a:stCxn id="8010" idx="0"/>
            <a:endCxn id="8009" idx="7"/>
          </p:cNvCxnSpPr>
          <p:nvPr/>
        </p:nvCxnSpPr>
        <p:spPr>
          <a:xfrm rot="16200000" flipH="1">
            <a:off x="8721797" y="2829955"/>
            <a:ext cx="1153662" cy="3757207"/>
          </a:xfrm>
          <a:prstGeom prst="curvedConnector3">
            <a:avLst>
              <a:gd name="adj1" fmla="val -75958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5" name="Conector: curvado 8024">
            <a:extLst>
              <a:ext uri="{FF2B5EF4-FFF2-40B4-BE49-F238E27FC236}">
                <a16:creationId xmlns:a16="http://schemas.microsoft.com/office/drawing/2014/main" id="{A665425E-9415-4C37-3DD2-8D5CD31FE7E2}"/>
              </a:ext>
            </a:extLst>
          </p:cNvPr>
          <p:cNvCxnSpPr>
            <a:cxnSpLocks/>
            <a:stCxn id="8011" idx="7"/>
            <a:endCxn id="8023" idx="1"/>
          </p:cNvCxnSpPr>
          <p:nvPr/>
        </p:nvCxnSpPr>
        <p:spPr>
          <a:xfrm rot="5400000" flipH="1" flipV="1">
            <a:off x="9761156" y="3658125"/>
            <a:ext cx="43016" cy="1019958"/>
          </a:xfrm>
          <a:prstGeom prst="curvedConnector3">
            <a:avLst>
              <a:gd name="adj1" fmla="val 765996"/>
            </a:avLst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6" name="Conector: curvado 8025">
            <a:extLst>
              <a:ext uri="{FF2B5EF4-FFF2-40B4-BE49-F238E27FC236}">
                <a16:creationId xmlns:a16="http://schemas.microsoft.com/office/drawing/2014/main" id="{37B5F396-3FED-9C2E-8F50-1C66820E80E2}"/>
              </a:ext>
            </a:extLst>
          </p:cNvPr>
          <p:cNvCxnSpPr>
            <a:cxnSpLocks/>
            <a:stCxn id="8010" idx="5"/>
            <a:endCxn id="8012" idx="2"/>
          </p:cNvCxnSpPr>
          <p:nvPr/>
        </p:nvCxnSpPr>
        <p:spPr>
          <a:xfrm rot="16200000" flipH="1">
            <a:off x="8322074" y="3706799"/>
            <a:ext cx="324499" cy="1849106"/>
          </a:xfrm>
          <a:prstGeom prst="curvedConnector2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0" name="Conector recto 8029">
            <a:extLst>
              <a:ext uri="{FF2B5EF4-FFF2-40B4-BE49-F238E27FC236}">
                <a16:creationId xmlns:a16="http://schemas.microsoft.com/office/drawing/2014/main" id="{7A655F10-BEE0-E8BF-F4CA-E43280051001}"/>
              </a:ext>
            </a:extLst>
          </p:cNvPr>
          <p:cNvCxnSpPr/>
          <p:nvPr/>
        </p:nvCxnSpPr>
        <p:spPr>
          <a:xfrm>
            <a:off x="2220916" y="2324100"/>
            <a:ext cx="559366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1" name="Conector recto 8030">
            <a:extLst>
              <a:ext uri="{FF2B5EF4-FFF2-40B4-BE49-F238E27FC236}">
                <a16:creationId xmlns:a16="http://schemas.microsoft.com/office/drawing/2014/main" id="{75CC7EBC-416D-C906-2C89-7CE8CE28C1BC}"/>
              </a:ext>
            </a:extLst>
          </p:cNvPr>
          <p:cNvCxnSpPr/>
          <p:nvPr/>
        </p:nvCxnSpPr>
        <p:spPr>
          <a:xfrm>
            <a:off x="3640024" y="2324100"/>
            <a:ext cx="559366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2" name="Conector recto 8031">
            <a:extLst>
              <a:ext uri="{FF2B5EF4-FFF2-40B4-BE49-F238E27FC236}">
                <a16:creationId xmlns:a16="http://schemas.microsoft.com/office/drawing/2014/main" id="{3058C711-47CC-7D4F-8BB5-1FD17D4E8C65}"/>
              </a:ext>
            </a:extLst>
          </p:cNvPr>
          <p:cNvCxnSpPr>
            <a:cxnSpLocks/>
          </p:cNvCxnSpPr>
          <p:nvPr/>
        </p:nvCxnSpPr>
        <p:spPr>
          <a:xfrm>
            <a:off x="5113646" y="2324100"/>
            <a:ext cx="559366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3" name="Conector recto 8032">
            <a:extLst>
              <a:ext uri="{FF2B5EF4-FFF2-40B4-BE49-F238E27FC236}">
                <a16:creationId xmlns:a16="http://schemas.microsoft.com/office/drawing/2014/main" id="{B24A346B-0A87-8F25-1322-148DF4E908BD}"/>
              </a:ext>
            </a:extLst>
          </p:cNvPr>
          <p:cNvCxnSpPr/>
          <p:nvPr/>
        </p:nvCxnSpPr>
        <p:spPr>
          <a:xfrm>
            <a:off x="6532754" y="2324100"/>
            <a:ext cx="559366" cy="0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5" name="Conector recto 8034">
            <a:extLst>
              <a:ext uri="{FF2B5EF4-FFF2-40B4-BE49-F238E27FC236}">
                <a16:creationId xmlns:a16="http://schemas.microsoft.com/office/drawing/2014/main" id="{54CCF44F-9093-B55E-3B29-04C1782AEAB8}"/>
              </a:ext>
            </a:extLst>
          </p:cNvPr>
          <p:cNvCxnSpPr>
            <a:cxnSpLocks/>
          </p:cNvCxnSpPr>
          <p:nvPr/>
        </p:nvCxnSpPr>
        <p:spPr>
          <a:xfrm>
            <a:off x="7944315" y="2324100"/>
            <a:ext cx="559366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6" name="Conector recto 8035">
            <a:extLst>
              <a:ext uri="{FF2B5EF4-FFF2-40B4-BE49-F238E27FC236}">
                <a16:creationId xmlns:a16="http://schemas.microsoft.com/office/drawing/2014/main" id="{8A6C96A4-8986-A2A0-9B96-E307B7915371}"/>
              </a:ext>
            </a:extLst>
          </p:cNvPr>
          <p:cNvCxnSpPr>
            <a:cxnSpLocks/>
          </p:cNvCxnSpPr>
          <p:nvPr/>
        </p:nvCxnSpPr>
        <p:spPr>
          <a:xfrm>
            <a:off x="9418101" y="2324100"/>
            <a:ext cx="559366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7" name="Conector recto 8036">
            <a:extLst>
              <a:ext uri="{FF2B5EF4-FFF2-40B4-BE49-F238E27FC236}">
                <a16:creationId xmlns:a16="http://schemas.microsoft.com/office/drawing/2014/main" id="{E3DF8DCA-D29C-F594-8A67-6929F3C583B6}"/>
              </a:ext>
            </a:extLst>
          </p:cNvPr>
          <p:cNvCxnSpPr>
            <a:cxnSpLocks/>
          </p:cNvCxnSpPr>
          <p:nvPr/>
        </p:nvCxnSpPr>
        <p:spPr>
          <a:xfrm>
            <a:off x="10829033" y="2324100"/>
            <a:ext cx="559366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6394124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0E87612-E51E-0EB0-9526-7A88D1F8A8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0E87612-E51E-0EB0-9526-7A88D1F8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4F19F1-B5C6-EF32-0C1A-FA26C266D1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72E2113-EF71-74E6-2BD3-0396F75EA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Bubble map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9045933-CF57-05C9-9E64-6461A6DCC9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grpSp>
        <p:nvGrpSpPr>
          <p:cNvPr id="8565" name="Group 64">
            <a:extLst>
              <a:ext uri="{FF2B5EF4-FFF2-40B4-BE49-F238E27FC236}">
                <a16:creationId xmlns:a16="http://schemas.microsoft.com/office/drawing/2014/main" id="{3723F529-F528-69C1-5CB7-16ECC35E300F}"/>
              </a:ext>
            </a:extLst>
          </p:cNvPr>
          <p:cNvGrpSpPr/>
          <p:nvPr/>
        </p:nvGrpSpPr>
        <p:grpSpPr>
          <a:xfrm>
            <a:off x="3527426" y="1533420"/>
            <a:ext cx="4994274" cy="4618788"/>
            <a:chOff x="1736156" y="1354317"/>
            <a:chExt cx="5777595" cy="4932203"/>
          </a:xfrm>
          <a:solidFill>
            <a:schemeClr val="bg1">
              <a:lumMod val="85000"/>
            </a:schemeClr>
          </a:solidFill>
        </p:grpSpPr>
        <p:sp>
          <p:nvSpPr>
            <p:cNvPr id="8566" name="Line 3">
              <a:extLst>
                <a:ext uri="{FF2B5EF4-FFF2-40B4-BE49-F238E27FC236}">
                  <a16:creationId xmlns:a16="http://schemas.microsoft.com/office/drawing/2014/main" id="{A6F7CD35-651D-98F3-041B-365EBF72F2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1533" y="5532596"/>
              <a:ext cx="115411" cy="18286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67" name="Freeform 8">
              <a:extLst>
                <a:ext uri="{FF2B5EF4-FFF2-40B4-BE49-F238E27FC236}">
                  <a16:creationId xmlns:a16="http://schemas.microsoft.com/office/drawing/2014/main" id="{1C935E5A-B0B3-5237-0BD6-EDC44A2DD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916" y="1410748"/>
              <a:ext cx="2582526" cy="2360695"/>
            </a:xfrm>
            <a:custGeom>
              <a:avLst/>
              <a:gdLst/>
              <a:ahLst/>
              <a:cxnLst>
                <a:cxn ang="0">
                  <a:pos x="131" y="1244"/>
                </a:cxn>
                <a:cxn ang="0">
                  <a:pos x="482" y="1293"/>
                </a:cxn>
                <a:cxn ang="0">
                  <a:pos x="692" y="1331"/>
                </a:cxn>
                <a:cxn ang="0">
                  <a:pos x="1131" y="1203"/>
                </a:cxn>
                <a:cxn ang="0">
                  <a:pos x="1275" y="1067"/>
                </a:cxn>
                <a:cxn ang="0">
                  <a:pos x="1280" y="927"/>
                </a:cxn>
                <a:cxn ang="0">
                  <a:pos x="1506" y="859"/>
                </a:cxn>
                <a:cxn ang="0">
                  <a:pos x="1636" y="770"/>
                </a:cxn>
                <a:cxn ang="0">
                  <a:pos x="1888" y="699"/>
                </a:cxn>
                <a:cxn ang="0">
                  <a:pos x="1793" y="574"/>
                </a:cxn>
                <a:cxn ang="0">
                  <a:pos x="1697" y="607"/>
                </a:cxn>
                <a:cxn ang="0">
                  <a:pos x="1561" y="630"/>
                </a:cxn>
                <a:cxn ang="0">
                  <a:pos x="1557" y="413"/>
                </a:cxn>
                <a:cxn ang="0">
                  <a:pos x="1773" y="343"/>
                </a:cxn>
                <a:cxn ang="0">
                  <a:pos x="1793" y="185"/>
                </a:cxn>
                <a:cxn ang="0">
                  <a:pos x="1804" y="92"/>
                </a:cxn>
                <a:cxn ang="0">
                  <a:pos x="1872" y="0"/>
                </a:cxn>
                <a:cxn ang="0">
                  <a:pos x="1872" y="92"/>
                </a:cxn>
                <a:cxn ang="0">
                  <a:pos x="1948" y="66"/>
                </a:cxn>
                <a:cxn ang="0">
                  <a:pos x="1996" y="161"/>
                </a:cxn>
                <a:cxn ang="0">
                  <a:pos x="2140" y="175"/>
                </a:cxn>
                <a:cxn ang="0">
                  <a:pos x="2219" y="145"/>
                </a:cxn>
                <a:cxn ang="0">
                  <a:pos x="2263" y="244"/>
                </a:cxn>
                <a:cxn ang="0">
                  <a:pos x="2231" y="379"/>
                </a:cxn>
                <a:cxn ang="0">
                  <a:pos x="2223" y="485"/>
                </a:cxn>
                <a:cxn ang="0">
                  <a:pos x="2099" y="571"/>
                </a:cxn>
                <a:cxn ang="0">
                  <a:pos x="2223" y="590"/>
                </a:cxn>
                <a:cxn ang="0">
                  <a:pos x="2191" y="636"/>
                </a:cxn>
                <a:cxn ang="0">
                  <a:pos x="2103" y="735"/>
                </a:cxn>
                <a:cxn ang="0">
                  <a:pos x="2127" y="811"/>
                </a:cxn>
                <a:cxn ang="0">
                  <a:pos x="2219" y="853"/>
                </a:cxn>
                <a:cxn ang="0">
                  <a:pos x="2319" y="976"/>
                </a:cxn>
                <a:cxn ang="0">
                  <a:pos x="1996" y="1125"/>
                </a:cxn>
                <a:cxn ang="0">
                  <a:pos x="1967" y="1207"/>
                </a:cxn>
                <a:cxn ang="0">
                  <a:pos x="1861" y="1216"/>
                </a:cxn>
                <a:cxn ang="0">
                  <a:pos x="1793" y="1120"/>
                </a:cxn>
                <a:cxn ang="0">
                  <a:pos x="1740" y="1209"/>
                </a:cxn>
                <a:cxn ang="0">
                  <a:pos x="1593" y="1241"/>
                </a:cxn>
                <a:cxn ang="0">
                  <a:pos x="1489" y="1286"/>
                </a:cxn>
                <a:cxn ang="0">
                  <a:pos x="1362" y="1392"/>
                </a:cxn>
                <a:cxn ang="0">
                  <a:pos x="1183" y="1508"/>
                </a:cxn>
                <a:cxn ang="0">
                  <a:pos x="1103" y="1581"/>
                </a:cxn>
                <a:cxn ang="0">
                  <a:pos x="880" y="1648"/>
                </a:cxn>
                <a:cxn ang="0">
                  <a:pos x="876" y="1521"/>
                </a:cxn>
                <a:cxn ang="0">
                  <a:pos x="796" y="1623"/>
                </a:cxn>
                <a:cxn ang="0">
                  <a:pos x="654" y="1741"/>
                </a:cxn>
                <a:cxn ang="0">
                  <a:pos x="583" y="1661"/>
                </a:cxn>
                <a:cxn ang="0">
                  <a:pos x="644" y="1587"/>
                </a:cxn>
                <a:cxn ang="0">
                  <a:pos x="410" y="1610"/>
                </a:cxn>
                <a:cxn ang="0">
                  <a:pos x="234" y="1491"/>
                </a:cxn>
                <a:cxn ang="0">
                  <a:pos x="272" y="1433"/>
                </a:cxn>
                <a:cxn ang="0">
                  <a:pos x="72" y="1461"/>
                </a:cxn>
                <a:cxn ang="0">
                  <a:pos x="0" y="1224"/>
                </a:cxn>
              </a:cxnLst>
              <a:rect l="0" t="0" r="r" b="b"/>
              <a:pathLst>
                <a:path w="2320" h="1742">
                  <a:moveTo>
                    <a:pt x="0" y="1224"/>
                  </a:moveTo>
                  <a:lnTo>
                    <a:pt x="131" y="1244"/>
                  </a:lnTo>
                  <a:lnTo>
                    <a:pt x="387" y="1238"/>
                  </a:lnTo>
                  <a:lnTo>
                    <a:pt x="482" y="1293"/>
                  </a:lnTo>
                  <a:lnTo>
                    <a:pt x="632" y="1300"/>
                  </a:lnTo>
                  <a:lnTo>
                    <a:pt x="692" y="1331"/>
                  </a:lnTo>
                  <a:lnTo>
                    <a:pt x="753" y="1270"/>
                  </a:lnTo>
                  <a:lnTo>
                    <a:pt x="1131" y="1203"/>
                  </a:lnTo>
                  <a:lnTo>
                    <a:pt x="1192" y="1125"/>
                  </a:lnTo>
                  <a:lnTo>
                    <a:pt x="1275" y="1067"/>
                  </a:lnTo>
                  <a:lnTo>
                    <a:pt x="1234" y="988"/>
                  </a:lnTo>
                  <a:lnTo>
                    <a:pt x="1280" y="927"/>
                  </a:lnTo>
                  <a:lnTo>
                    <a:pt x="1444" y="945"/>
                  </a:lnTo>
                  <a:lnTo>
                    <a:pt x="1506" y="859"/>
                  </a:lnTo>
                  <a:lnTo>
                    <a:pt x="1617" y="823"/>
                  </a:lnTo>
                  <a:lnTo>
                    <a:pt x="1636" y="770"/>
                  </a:lnTo>
                  <a:lnTo>
                    <a:pt x="1728" y="729"/>
                  </a:lnTo>
                  <a:lnTo>
                    <a:pt x="1888" y="699"/>
                  </a:lnTo>
                  <a:lnTo>
                    <a:pt x="1900" y="657"/>
                  </a:lnTo>
                  <a:lnTo>
                    <a:pt x="1793" y="574"/>
                  </a:lnTo>
                  <a:lnTo>
                    <a:pt x="1689" y="581"/>
                  </a:lnTo>
                  <a:lnTo>
                    <a:pt x="1697" y="607"/>
                  </a:lnTo>
                  <a:lnTo>
                    <a:pt x="1614" y="607"/>
                  </a:lnTo>
                  <a:lnTo>
                    <a:pt x="1561" y="630"/>
                  </a:lnTo>
                  <a:lnTo>
                    <a:pt x="1521" y="567"/>
                  </a:lnTo>
                  <a:lnTo>
                    <a:pt x="1557" y="413"/>
                  </a:lnTo>
                  <a:lnTo>
                    <a:pt x="1668" y="413"/>
                  </a:lnTo>
                  <a:lnTo>
                    <a:pt x="1773" y="343"/>
                  </a:lnTo>
                  <a:lnTo>
                    <a:pt x="1769" y="280"/>
                  </a:lnTo>
                  <a:lnTo>
                    <a:pt x="1793" y="185"/>
                  </a:lnTo>
                  <a:lnTo>
                    <a:pt x="1836" y="138"/>
                  </a:lnTo>
                  <a:lnTo>
                    <a:pt x="1804" y="92"/>
                  </a:lnTo>
                  <a:lnTo>
                    <a:pt x="1800" y="19"/>
                  </a:lnTo>
                  <a:lnTo>
                    <a:pt x="1872" y="0"/>
                  </a:lnTo>
                  <a:lnTo>
                    <a:pt x="1895" y="39"/>
                  </a:lnTo>
                  <a:lnTo>
                    <a:pt x="1872" y="92"/>
                  </a:lnTo>
                  <a:lnTo>
                    <a:pt x="1920" y="99"/>
                  </a:lnTo>
                  <a:lnTo>
                    <a:pt x="1948" y="66"/>
                  </a:lnTo>
                  <a:lnTo>
                    <a:pt x="1976" y="76"/>
                  </a:lnTo>
                  <a:lnTo>
                    <a:pt x="1996" y="161"/>
                  </a:lnTo>
                  <a:lnTo>
                    <a:pt x="2039" y="171"/>
                  </a:lnTo>
                  <a:lnTo>
                    <a:pt x="2140" y="175"/>
                  </a:lnTo>
                  <a:lnTo>
                    <a:pt x="2171" y="122"/>
                  </a:lnTo>
                  <a:lnTo>
                    <a:pt x="2219" y="145"/>
                  </a:lnTo>
                  <a:lnTo>
                    <a:pt x="2307" y="161"/>
                  </a:lnTo>
                  <a:lnTo>
                    <a:pt x="2263" y="244"/>
                  </a:lnTo>
                  <a:lnTo>
                    <a:pt x="2258" y="366"/>
                  </a:lnTo>
                  <a:lnTo>
                    <a:pt x="2231" y="379"/>
                  </a:lnTo>
                  <a:lnTo>
                    <a:pt x="2238" y="465"/>
                  </a:lnTo>
                  <a:lnTo>
                    <a:pt x="2223" y="485"/>
                  </a:lnTo>
                  <a:lnTo>
                    <a:pt x="2168" y="455"/>
                  </a:lnTo>
                  <a:lnTo>
                    <a:pt x="2099" y="571"/>
                  </a:lnTo>
                  <a:lnTo>
                    <a:pt x="2159" y="600"/>
                  </a:lnTo>
                  <a:lnTo>
                    <a:pt x="2223" y="590"/>
                  </a:lnTo>
                  <a:lnTo>
                    <a:pt x="2231" y="623"/>
                  </a:lnTo>
                  <a:lnTo>
                    <a:pt x="2191" y="636"/>
                  </a:lnTo>
                  <a:lnTo>
                    <a:pt x="2159" y="742"/>
                  </a:lnTo>
                  <a:lnTo>
                    <a:pt x="2103" y="735"/>
                  </a:lnTo>
                  <a:lnTo>
                    <a:pt x="2083" y="748"/>
                  </a:lnTo>
                  <a:lnTo>
                    <a:pt x="2127" y="811"/>
                  </a:lnTo>
                  <a:lnTo>
                    <a:pt x="2179" y="888"/>
                  </a:lnTo>
                  <a:lnTo>
                    <a:pt x="2219" y="853"/>
                  </a:lnTo>
                  <a:lnTo>
                    <a:pt x="2307" y="902"/>
                  </a:lnTo>
                  <a:lnTo>
                    <a:pt x="2319" y="976"/>
                  </a:lnTo>
                  <a:lnTo>
                    <a:pt x="2043" y="1145"/>
                  </a:lnTo>
                  <a:lnTo>
                    <a:pt x="1996" y="1125"/>
                  </a:lnTo>
                  <a:lnTo>
                    <a:pt x="1948" y="1125"/>
                  </a:lnTo>
                  <a:lnTo>
                    <a:pt x="1967" y="1207"/>
                  </a:lnTo>
                  <a:lnTo>
                    <a:pt x="1943" y="1237"/>
                  </a:lnTo>
                  <a:lnTo>
                    <a:pt x="1861" y="1216"/>
                  </a:lnTo>
                  <a:lnTo>
                    <a:pt x="1864" y="1145"/>
                  </a:lnTo>
                  <a:lnTo>
                    <a:pt x="1793" y="1120"/>
                  </a:lnTo>
                  <a:lnTo>
                    <a:pt x="1737" y="1151"/>
                  </a:lnTo>
                  <a:lnTo>
                    <a:pt x="1740" y="1209"/>
                  </a:lnTo>
                  <a:lnTo>
                    <a:pt x="1657" y="1207"/>
                  </a:lnTo>
                  <a:lnTo>
                    <a:pt x="1593" y="1241"/>
                  </a:lnTo>
                  <a:lnTo>
                    <a:pt x="1533" y="1213"/>
                  </a:lnTo>
                  <a:lnTo>
                    <a:pt x="1489" y="1286"/>
                  </a:lnTo>
                  <a:lnTo>
                    <a:pt x="1513" y="1359"/>
                  </a:lnTo>
                  <a:lnTo>
                    <a:pt x="1362" y="1392"/>
                  </a:lnTo>
                  <a:lnTo>
                    <a:pt x="1258" y="1514"/>
                  </a:lnTo>
                  <a:lnTo>
                    <a:pt x="1183" y="1508"/>
                  </a:lnTo>
                  <a:lnTo>
                    <a:pt x="1139" y="1571"/>
                  </a:lnTo>
                  <a:lnTo>
                    <a:pt x="1103" y="1581"/>
                  </a:lnTo>
                  <a:lnTo>
                    <a:pt x="1015" y="1690"/>
                  </a:lnTo>
                  <a:lnTo>
                    <a:pt x="880" y="1648"/>
                  </a:lnTo>
                  <a:lnTo>
                    <a:pt x="886" y="1592"/>
                  </a:lnTo>
                  <a:lnTo>
                    <a:pt x="876" y="1521"/>
                  </a:lnTo>
                  <a:lnTo>
                    <a:pt x="808" y="1544"/>
                  </a:lnTo>
                  <a:lnTo>
                    <a:pt x="796" y="1623"/>
                  </a:lnTo>
                  <a:lnTo>
                    <a:pt x="720" y="1736"/>
                  </a:lnTo>
                  <a:lnTo>
                    <a:pt x="654" y="1741"/>
                  </a:lnTo>
                  <a:lnTo>
                    <a:pt x="590" y="1729"/>
                  </a:lnTo>
                  <a:lnTo>
                    <a:pt x="583" y="1661"/>
                  </a:lnTo>
                  <a:lnTo>
                    <a:pt x="627" y="1639"/>
                  </a:lnTo>
                  <a:lnTo>
                    <a:pt x="644" y="1587"/>
                  </a:lnTo>
                  <a:lnTo>
                    <a:pt x="572" y="1553"/>
                  </a:lnTo>
                  <a:lnTo>
                    <a:pt x="410" y="1610"/>
                  </a:lnTo>
                  <a:lnTo>
                    <a:pt x="317" y="1554"/>
                  </a:lnTo>
                  <a:lnTo>
                    <a:pt x="234" y="1491"/>
                  </a:lnTo>
                  <a:lnTo>
                    <a:pt x="284" y="1470"/>
                  </a:lnTo>
                  <a:lnTo>
                    <a:pt x="272" y="1433"/>
                  </a:lnTo>
                  <a:lnTo>
                    <a:pt x="134" y="1418"/>
                  </a:lnTo>
                  <a:lnTo>
                    <a:pt x="72" y="1461"/>
                  </a:lnTo>
                  <a:lnTo>
                    <a:pt x="11" y="1359"/>
                  </a:lnTo>
                  <a:lnTo>
                    <a:pt x="0" y="1224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68" name="Freeform 9">
              <a:extLst>
                <a:ext uri="{FF2B5EF4-FFF2-40B4-BE49-F238E27FC236}">
                  <a16:creationId xmlns:a16="http://schemas.microsoft.com/office/drawing/2014/main" id="{0F052A3B-A0F0-A096-E93B-D26A8C780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7803" y="1354317"/>
              <a:ext cx="1375948" cy="1167607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146" y="0"/>
                </a:cxn>
                <a:cxn ang="0">
                  <a:pos x="358" y="16"/>
                </a:cxn>
                <a:cxn ang="0">
                  <a:pos x="426" y="168"/>
                </a:cxn>
                <a:cxn ang="0">
                  <a:pos x="513" y="225"/>
                </a:cxn>
                <a:cxn ang="0">
                  <a:pos x="597" y="303"/>
                </a:cxn>
                <a:cxn ang="0">
                  <a:pos x="748" y="303"/>
                </a:cxn>
                <a:cxn ang="0">
                  <a:pos x="817" y="327"/>
                </a:cxn>
                <a:cxn ang="0">
                  <a:pos x="868" y="370"/>
                </a:cxn>
                <a:cxn ang="0">
                  <a:pos x="919" y="449"/>
                </a:cxn>
                <a:cxn ang="0">
                  <a:pos x="1019" y="418"/>
                </a:cxn>
                <a:cxn ang="0">
                  <a:pos x="1056" y="350"/>
                </a:cxn>
                <a:cxn ang="0">
                  <a:pos x="1190" y="297"/>
                </a:cxn>
                <a:cxn ang="0">
                  <a:pos x="1234" y="376"/>
                </a:cxn>
                <a:cxn ang="0">
                  <a:pos x="1214" y="462"/>
                </a:cxn>
                <a:cxn ang="0">
                  <a:pos x="1195" y="521"/>
                </a:cxn>
                <a:cxn ang="0">
                  <a:pos x="1202" y="653"/>
                </a:cxn>
                <a:cxn ang="0">
                  <a:pos x="1103" y="653"/>
                </a:cxn>
                <a:cxn ang="0">
                  <a:pos x="1023" y="716"/>
                </a:cxn>
                <a:cxn ang="0">
                  <a:pos x="1095" y="861"/>
                </a:cxn>
                <a:cxn ang="0">
                  <a:pos x="968" y="818"/>
                </a:cxn>
                <a:cxn ang="0">
                  <a:pos x="912" y="857"/>
                </a:cxn>
                <a:cxn ang="0">
                  <a:pos x="834" y="805"/>
                </a:cxn>
                <a:cxn ang="0">
                  <a:pos x="768" y="803"/>
                </a:cxn>
                <a:cxn ang="0">
                  <a:pos x="773" y="845"/>
                </a:cxn>
                <a:cxn ang="0">
                  <a:pos x="669" y="771"/>
                </a:cxn>
                <a:cxn ang="0">
                  <a:pos x="604" y="781"/>
                </a:cxn>
                <a:cxn ang="0">
                  <a:pos x="539" y="765"/>
                </a:cxn>
                <a:cxn ang="0">
                  <a:pos x="481" y="784"/>
                </a:cxn>
                <a:cxn ang="0">
                  <a:pos x="308" y="746"/>
                </a:cxn>
                <a:cxn ang="0">
                  <a:pos x="326" y="680"/>
                </a:cxn>
                <a:cxn ang="0">
                  <a:pos x="361" y="669"/>
                </a:cxn>
                <a:cxn ang="0">
                  <a:pos x="349" y="635"/>
                </a:cxn>
                <a:cxn ang="0">
                  <a:pos x="299" y="657"/>
                </a:cxn>
                <a:cxn ang="0">
                  <a:pos x="227" y="612"/>
                </a:cxn>
                <a:cxn ang="0">
                  <a:pos x="301" y="494"/>
                </a:cxn>
                <a:cxn ang="0">
                  <a:pos x="360" y="517"/>
                </a:cxn>
                <a:cxn ang="0">
                  <a:pos x="361" y="424"/>
                </a:cxn>
                <a:cxn ang="0">
                  <a:pos x="392" y="401"/>
                </a:cxn>
                <a:cxn ang="0">
                  <a:pos x="389" y="292"/>
                </a:cxn>
                <a:cxn ang="0">
                  <a:pos x="437" y="211"/>
                </a:cxn>
                <a:cxn ang="0">
                  <a:pos x="358" y="203"/>
                </a:cxn>
                <a:cxn ang="0">
                  <a:pos x="316" y="175"/>
                </a:cxn>
                <a:cxn ang="0">
                  <a:pos x="275" y="225"/>
                </a:cxn>
                <a:cxn ang="0">
                  <a:pos x="190" y="221"/>
                </a:cxn>
                <a:cxn ang="0">
                  <a:pos x="134" y="208"/>
                </a:cxn>
                <a:cxn ang="0">
                  <a:pos x="115" y="122"/>
                </a:cxn>
                <a:cxn ang="0">
                  <a:pos x="79" y="115"/>
                </a:cxn>
                <a:cxn ang="0">
                  <a:pos x="65" y="152"/>
                </a:cxn>
                <a:cxn ang="0">
                  <a:pos x="2" y="138"/>
                </a:cxn>
                <a:cxn ang="0">
                  <a:pos x="34" y="82"/>
                </a:cxn>
                <a:cxn ang="0">
                  <a:pos x="0" y="49"/>
                </a:cxn>
              </a:cxnLst>
              <a:rect l="0" t="0" r="r" b="b"/>
              <a:pathLst>
                <a:path w="1235" h="862">
                  <a:moveTo>
                    <a:pt x="0" y="49"/>
                  </a:moveTo>
                  <a:lnTo>
                    <a:pt x="146" y="0"/>
                  </a:lnTo>
                  <a:lnTo>
                    <a:pt x="358" y="16"/>
                  </a:lnTo>
                  <a:lnTo>
                    <a:pt x="426" y="168"/>
                  </a:lnTo>
                  <a:lnTo>
                    <a:pt x="513" y="225"/>
                  </a:lnTo>
                  <a:lnTo>
                    <a:pt x="597" y="303"/>
                  </a:lnTo>
                  <a:lnTo>
                    <a:pt x="748" y="303"/>
                  </a:lnTo>
                  <a:lnTo>
                    <a:pt x="817" y="327"/>
                  </a:lnTo>
                  <a:lnTo>
                    <a:pt x="868" y="370"/>
                  </a:lnTo>
                  <a:lnTo>
                    <a:pt x="919" y="449"/>
                  </a:lnTo>
                  <a:lnTo>
                    <a:pt x="1019" y="418"/>
                  </a:lnTo>
                  <a:lnTo>
                    <a:pt x="1056" y="350"/>
                  </a:lnTo>
                  <a:lnTo>
                    <a:pt x="1190" y="297"/>
                  </a:lnTo>
                  <a:lnTo>
                    <a:pt x="1234" y="376"/>
                  </a:lnTo>
                  <a:lnTo>
                    <a:pt x="1214" y="462"/>
                  </a:lnTo>
                  <a:lnTo>
                    <a:pt x="1195" y="521"/>
                  </a:lnTo>
                  <a:lnTo>
                    <a:pt x="1202" y="653"/>
                  </a:lnTo>
                  <a:lnTo>
                    <a:pt x="1103" y="653"/>
                  </a:lnTo>
                  <a:lnTo>
                    <a:pt x="1023" y="716"/>
                  </a:lnTo>
                  <a:lnTo>
                    <a:pt x="1095" y="861"/>
                  </a:lnTo>
                  <a:lnTo>
                    <a:pt x="968" y="818"/>
                  </a:lnTo>
                  <a:lnTo>
                    <a:pt x="912" y="857"/>
                  </a:lnTo>
                  <a:lnTo>
                    <a:pt x="834" y="805"/>
                  </a:lnTo>
                  <a:lnTo>
                    <a:pt x="768" y="803"/>
                  </a:lnTo>
                  <a:lnTo>
                    <a:pt x="773" y="845"/>
                  </a:lnTo>
                  <a:lnTo>
                    <a:pt x="669" y="771"/>
                  </a:lnTo>
                  <a:lnTo>
                    <a:pt x="604" y="781"/>
                  </a:lnTo>
                  <a:lnTo>
                    <a:pt x="539" y="765"/>
                  </a:lnTo>
                  <a:lnTo>
                    <a:pt x="481" y="784"/>
                  </a:lnTo>
                  <a:lnTo>
                    <a:pt x="308" y="746"/>
                  </a:lnTo>
                  <a:lnTo>
                    <a:pt x="326" y="680"/>
                  </a:lnTo>
                  <a:lnTo>
                    <a:pt x="361" y="669"/>
                  </a:lnTo>
                  <a:lnTo>
                    <a:pt x="349" y="635"/>
                  </a:lnTo>
                  <a:lnTo>
                    <a:pt x="299" y="657"/>
                  </a:lnTo>
                  <a:lnTo>
                    <a:pt x="227" y="612"/>
                  </a:lnTo>
                  <a:lnTo>
                    <a:pt x="301" y="494"/>
                  </a:lnTo>
                  <a:lnTo>
                    <a:pt x="360" y="517"/>
                  </a:lnTo>
                  <a:lnTo>
                    <a:pt x="361" y="424"/>
                  </a:lnTo>
                  <a:lnTo>
                    <a:pt x="392" y="401"/>
                  </a:lnTo>
                  <a:lnTo>
                    <a:pt x="389" y="292"/>
                  </a:lnTo>
                  <a:lnTo>
                    <a:pt x="437" y="211"/>
                  </a:lnTo>
                  <a:lnTo>
                    <a:pt x="358" y="203"/>
                  </a:lnTo>
                  <a:lnTo>
                    <a:pt x="316" y="175"/>
                  </a:lnTo>
                  <a:lnTo>
                    <a:pt x="275" y="225"/>
                  </a:lnTo>
                  <a:lnTo>
                    <a:pt x="190" y="221"/>
                  </a:lnTo>
                  <a:lnTo>
                    <a:pt x="134" y="208"/>
                  </a:lnTo>
                  <a:lnTo>
                    <a:pt x="115" y="122"/>
                  </a:lnTo>
                  <a:lnTo>
                    <a:pt x="79" y="115"/>
                  </a:lnTo>
                  <a:lnTo>
                    <a:pt x="65" y="152"/>
                  </a:lnTo>
                  <a:lnTo>
                    <a:pt x="2" y="138"/>
                  </a:lnTo>
                  <a:lnTo>
                    <a:pt x="34" y="82"/>
                  </a:lnTo>
                  <a:lnTo>
                    <a:pt x="0" y="4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69" name="Freeform 10">
              <a:extLst>
                <a:ext uri="{FF2B5EF4-FFF2-40B4-BE49-F238E27FC236}">
                  <a16:creationId xmlns:a16="http://schemas.microsoft.com/office/drawing/2014/main" id="{A863D9BB-5741-26D3-9815-BF8F02523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156" y="2204324"/>
              <a:ext cx="2324725" cy="1831599"/>
            </a:xfrm>
            <a:custGeom>
              <a:avLst/>
              <a:gdLst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41 w 2088"/>
                <a:gd name="connsiteY55" fmla="*/ 1266 h 1352"/>
                <a:gd name="connsiteX56" fmla="*/ 156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41 w 2088"/>
                <a:gd name="connsiteY55" fmla="*/ 1266 h 1352"/>
                <a:gd name="connsiteX56" fmla="*/ 156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4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37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37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78"/>
                <a:gd name="connsiteX1" fmla="*/ 2062 w 2088"/>
                <a:gd name="connsiteY1" fmla="*/ 621 h 1378"/>
                <a:gd name="connsiteX2" fmla="*/ 2032 w 2088"/>
                <a:gd name="connsiteY2" fmla="*/ 547 h 1378"/>
                <a:gd name="connsiteX3" fmla="*/ 1876 w 2088"/>
                <a:gd name="connsiteY3" fmla="*/ 478 h 1378"/>
                <a:gd name="connsiteX4" fmla="*/ 1769 w 2088"/>
                <a:gd name="connsiteY4" fmla="*/ 478 h 1378"/>
                <a:gd name="connsiteX5" fmla="*/ 1640 w 2088"/>
                <a:gd name="connsiteY5" fmla="*/ 437 h 1378"/>
                <a:gd name="connsiteX6" fmla="*/ 1685 w 2088"/>
                <a:gd name="connsiteY6" fmla="*/ 297 h 1378"/>
                <a:gd name="connsiteX7" fmla="*/ 1583 w 2088"/>
                <a:gd name="connsiteY7" fmla="*/ 154 h 1378"/>
                <a:gd name="connsiteX8" fmla="*/ 1513 w 2088"/>
                <a:gd name="connsiteY8" fmla="*/ 150 h 1378"/>
                <a:gd name="connsiteX9" fmla="*/ 1441 w 2088"/>
                <a:gd name="connsiteY9" fmla="*/ 66 h 1378"/>
                <a:gd name="connsiteX10" fmla="*/ 1433 w 2088"/>
                <a:gd name="connsiteY10" fmla="*/ 7 h 1378"/>
                <a:gd name="connsiteX11" fmla="*/ 1362 w 2088"/>
                <a:gd name="connsiteY11" fmla="*/ 0 h 1378"/>
                <a:gd name="connsiteX12" fmla="*/ 1335 w 2088"/>
                <a:gd name="connsiteY12" fmla="*/ 70 h 1378"/>
                <a:gd name="connsiteX13" fmla="*/ 1241 w 2088"/>
                <a:gd name="connsiteY13" fmla="*/ 88 h 1378"/>
                <a:gd name="connsiteX14" fmla="*/ 1246 w 2088"/>
                <a:gd name="connsiteY14" fmla="*/ 183 h 1378"/>
                <a:gd name="connsiteX15" fmla="*/ 1172 w 2088"/>
                <a:gd name="connsiteY15" fmla="*/ 227 h 1378"/>
                <a:gd name="connsiteX16" fmla="*/ 1117 w 2088"/>
                <a:gd name="connsiteY16" fmla="*/ 183 h 1378"/>
                <a:gd name="connsiteX17" fmla="*/ 1015 w 2088"/>
                <a:gd name="connsiteY17" fmla="*/ 169 h 1378"/>
                <a:gd name="connsiteX18" fmla="*/ 926 w 2088"/>
                <a:gd name="connsiteY18" fmla="*/ 316 h 1378"/>
                <a:gd name="connsiteX19" fmla="*/ 926 w 2088"/>
                <a:gd name="connsiteY19" fmla="*/ 353 h 1378"/>
                <a:gd name="connsiteX20" fmla="*/ 896 w 2088"/>
                <a:gd name="connsiteY20" fmla="*/ 363 h 1378"/>
                <a:gd name="connsiteX21" fmla="*/ 842 w 2088"/>
                <a:gd name="connsiteY21" fmla="*/ 331 h 1378"/>
                <a:gd name="connsiteX22" fmla="*/ 736 w 2088"/>
                <a:gd name="connsiteY22" fmla="*/ 327 h 1378"/>
                <a:gd name="connsiteX23" fmla="*/ 692 w 2088"/>
                <a:gd name="connsiteY23" fmla="*/ 363 h 1378"/>
                <a:gd name="connsiteX24" fmla="*/ 732 w 2088"/>
                <a:gd name="connsiteY24" fmla="*/ 386 h 1378"/>
                <a:gd name="connsiteX25" fmla="*/ 749 w 2088"/>
                <a:gd name="connsiteY25" fmla="*/ 539 h 1378"/>
                <a:gd name="connsiteX26" fmla="*/ 665 w 2088"/>
                <a:gd name="connsiteY26" fmla="*/ 581 h 1378"/>
                <a:gd name="connsiteX27" fmla="*/ 657 w 2088"/>
                <a:gd name="connsiteY27" fmla="*/ 643 h 1378"/>
                <a:gd name="connsiteX28" fmla="*/ 532 w 2088"/>
                <a:gd name="connsiteY28" fmla="*/ 668 h 1378"/>
                <a:gd name="connsiteX29" fmla="*/ 448 w 2088"/>
                <a:gd name="connsiteY29" fmla="*/ 702 h 1378"/>
                <a:gd name="connsiteX30" fmla="*/ 328 w 2088"/>
                <a:gd name="connsiteY30" fmla="*/ 695 h 1378"/>
                <a:gd name="connsiteX31" fmla="*/ 283 w 2088"/>
                <a:gd name="connsiteY31" fmla="*/ 745 h 1378"/>
                <a:gd name="connsiteX32" fmla="*/ 231 w 2088"/>
                <a:gd name="connsiteY32" fmla="*/ 735 h 1378"/>
                <a:gd name="connsiteX33" fmla="*/ 182 w 2088"/>
                <a:gd name="connsiteY33" fmla="*/ 705 h 1378"/>
                <a:gd name="connsiteX34" fmla="*/ 88 w 2088"/>
                <a:gd name="connsiteY34" fmla="*/ 735 h 1378"/>
                <a:gd name="connsiteX35" fmla="*/ 0 w 2088"/>
                <a:gd name="connsiteY35" fmla="*/ 793 h 1378"/>
                <a:gd name="connsiteX36" fmla="*/ 9 w 2088"/>
                <a:gd name="connsiteY36" fmla="*/ 892 h 1378"/>
                <a:gd name="connsiteX37" fmla="*/ 66 w 2088"/>
                <a:gd name="connsiteY37" fmla="*/ 903 h 1378"/>
                <a:gd name="connsiteX38" fmla="*/ 79 w 2088"/>
                <a:gd name="connsiteY38" fmla="*/ 1021 h 1378"/>
                <a:gd name="connsiteX39" fmla="*/ 27 w 2088"/>
                <a:gd name="connsiteY39" fmla="*/ 1021 h 1378"/>
                <a:gd name="connsiteX40" fmla="*/ 27 w 2088"/>
                <a:gd name="connsiteY40" fmla="*/ 1055 h 1378"/>
                <a:gd name="connsiteX41" fmla="*/ 124 w 2088"/>
                <a:gd name="connsiteY41" fmla="*/ 1106 h 1378"/>
                <a:gd name="connsiteX42" fmla="*/ 115 w 2088"/>
                <a:gd name="connsiteY42" fmla="*/ 1176 h 1378"/>
                <a:gd name="connsiteX43" fmla="*/ 277 w 2088"/>
                <a:gd name="connsiteY43" fmla="*/ 1248 h 1378"/>
                <a:gd name="connsiteX44" fmla="*/ 281 w 2088"/>
                <a:gd name="connsiteY44" fmla="*/ 1253 h 1378"/>
                <a:gd name="connsiteX45" fmla="*/ 286 w 2088"/>
                <a:gd name="connsiteY45" fmla="*/ 1320 h 1378"/>
                <a:gd name="connsiteX46" fmla="*/ 295 w 2088"/>
                <a:gd name="connsiteY46" fmla="*/ 1377 h 1378"/>
                <a:gd name="connsiteX47" fmla="*/ 371 w 2088"/>
                <a:gd name="connsiteY47" fmla="*/ 1325 h 1378"/>
                <a:gd name="connsiteX48" fmla="*/ 510 w 2088"/>
                <a:gd name="connsiteY48" fmla="*/ 1269 h 1378"/>
                <a:gd name="connsiteX49" fmla="*/ 669 w 2088"/>
                <a:gd name="connsiteY49" fmla="*/ 1301 h 1378"/>
                <a:gd name="connsiteX50" fmla="*/ 746 w 2088"/>
                <a:gd name="connsiteY50" fmla="*/ 1277 h 1378"/>
                <a:gd name="connsiteX51" fmla="*/ 876 w 2088"/>
                <a:gd name="connsiteY51" fmla="*/ 1352 h 1378"/>
                <a:gd name="connsiteX52" fmla="*/ 973 w 2088"/>
                <a:gd name="connsiteY52" fmla="*/ 1303 h 1378"/>
                <a:gd name="connsiteX53" fmla="*/ 1265 w 2088"/>
                <a:gd name="connsiteY53" fmla="*/ 1253 h 1378"/>
                <a:gd name="connsiteX54" fmla="*/ 1383 w 2088"/>
                <a:gd name="connsiteY54" fmla="*/ 1274 h 1378"/>
                <a:gd name="connsiteX55" fmla="*/ 1519 w 2088"/>
                <a:gd name="connsiteY55" fmla="*/ 1277 h 1378"/>
                <a:gd name="connsiteX56" fmla="*/ 1501 w 2088"/>
                <a:gd name="connsiteY56" fmla="*/ 1266 h 1378"/>
                <a:gd name="connsiteX57" fmla="*/ 1524 w 2088"/>
                <a:gd name="connsiteY57" fmla="*/ 1210 h 1378"/>
                <a:gd name="connsiteX58" fmla="*/ 1501 w 2088"/>
                <a:gd name="connsiteY58" fmla="*/ 1159 h 1378"/>
                <a:gd name="connsiteX59" fmla="*/ 1516 w 2088"/>
                <a:gd name="connsiteY59" fmla="*/ 1082 h 1378"/>
                <a:gd name="connsiteX60" fmla="*/ 1821 w 2088"/>
                <a:gd name="connsiteY60" fmla="*/ 1012 h 1378"/>
                <a:gd name="connsiteX61" fmla="*/ 1813 w 2088"/>
                <a:gd name="connsiteY61" fmla="*/ 891 h 1378"/>
                <a:gd name="connsiteX62" fmla="*/ 1899 w 2088"/>
                <a:gd name="connsiteY62" fmla="*/ 863 h 1378"/>
                <a:gd name="connsiteX63" fmla="*/ 1942 w 2088"/>
                <a:gd name="connsiteY63" fmla="*/ 795 h 1378"/>
                <a:gd name="connsiteX64" fmla="*/ 2051 w 2088"/>
                <a:gd name="connsiteY64" fmla="*/ 760 h 1378"/>
                <a:gd name="connsiteX65" fmla="*/ 2088 w 2088"/>
                <a:gd name="connsiteY65" fmla="*/ 696 h 1378"/>
                <a:gd name="connsiteX0" fmla="*/ 2088 w 2088"/>
                <a:gd name="connsiteY0" fmla="*/ 696 h 1378"/>
                <a:gd name="connsiteX1" fmla="*/ 2062 w 2088"/>
                <a:gd name="connsiteY1" fmla="*/ 621 h 1378"/>
                <a:gd name="connsiteX2" fmla="*/ 2032 w 2088"/>
                <a:gd name="connsiteY2" fmla="*/ 547 h 1378"/>
                <a:gd name="connsiteX3" fmla="*/ 1876 w 2088"/>
                <a:gd name="connsiteY3" fmla="*/ 478 h 1378"/>
                <a:gd name="connsiteX4" fmla="*/ 1769 w 2088"/>
                <a:gd name="connsiteY4" fmla="*/ 478 h 1378"/>
                <a:gd name="connsiteX5" fmla="*/ 1640 w 2088"/>
                <a:gd name="connsiteY5" fmla="*/ 437 h 1378"/>
                <a:gd name="connsiteX6" fmla="*/ 1685 w 2088"/>
                <a:gd name="connsiteY6" fmla="*/ 297 h 1378"/>
                <a:gd name="connsiteX7" fmla="*/ 1583 w 2088"/>
                <a:gd name="connsiteY7" fmla="*/ 154 h 1378"/>
                <a:gd name="connsiteX8" fmla="*/ 1513 w 2088"/>
                <a:gd name="connsiteY8" fmla="*/ 150 h 1378"/>
                <a:gd name="connsiteX9" fmla="*/ 1441 w 2088"/>
                <a:gd name="connsiteY9" fmla="*/ 66 h 1378"/>
                <a:gd name="connsiteX10" fmla="*/ 1433 w 2088"/>
                <a:gd name="connsiteY10" fmla="*/ 7 h 1378"/>
                <a:gd name="connsiteX11" fmla="*/ 1362 w 2088"/>
                <a:gd name="connsiteY11" fmla="*/ 0 h 1378"/>
                <a:gd name="connsiteX12" fmla="*/ 1335 w 2088"/>
                <a:gd name="connsiteY12" fmla="*/ 70 h 1378"/>
                <a:gd name="connsiteX13" fmla="*/ 1241 w 2088"/>
                <a:gd name="connsiteY13" fmla="*/ 88 h 1378"/>
                <a:gd name="connsiteX14" fmla="*/ 1246 w 2088"/>
                <a:gd name="connsiteY14" fmla="*/ 183 h 1378"/>
                <a:gd name="connsiteX15" fmla="*/ 1172 w 2088"/>
                <a:gd name="connsiteY15" fmla="*/ 227 h 1378"/>
                <a:gd name="connsiteX16" fmla="*/ 1117 w 2088"/>
                <a:gd name="connsiteY16" fmla="*/ 183 h 1378"/>
                <a:gd name="connsiteX17" fmla="*/ 1015 w 2088"/>
                <a:gd name="connsiteY17" fmla="*/ 169 h 1378"/>
                <a:gd name="connsiteX18" fmla="*/ 926 w 2088"/>
                <a:gd name="connsiteY18" fmla="*/ 316 h 1378"/>
                <a:gd name="connsiteX19" fmla="*/ 926 w 2088"/>
                <a:gd name="connsiteY19" fmla="*/ 353 h 1378"/>
                <a:gd name="connsiteX20" fmla="*/ 896 w 2088"/>
                <a:gd name="connsiteY20" fmla="*/ 363 h 1378"/>
                <a:gd name="connsiteX21" fmla="*/ 842 w 2088"/>
                <a:gd name="connsiteY21" fmla="*/ 331 h 1378"/>
                <a:gd name="connsiteX22" fmla="*/ 736 w 2088"/>
                <a:gd name="connsiteY22" fmla="*/ 327 h 1378"/>
                <a:gd name="connsiteX23" fmla="*/ 692 w 2088"/>
                <a:gd name="connsiteY23" fmla="*/ 363 h 1378"/>
                <a:gd name="connsiteX24" fmla="*/ 732 w 2088"/>
                <a:gd name="connsiteY24" fmla="*/ 386 h 1378"/>
                <a:gd name="connsiteX25" fmla="*/ 749 w 2088"/>
                <a:gd name="connsiteY25" fmla="*/ 539 h 1378"/>
                <a:gd name="connsiteX26" fmla="*/ 665 w 2088"/>
                <a:gd name="connsiteY26" fmla="*/ 581 h 1378"/>
                <a:gd name="connsiteX27" fmla="*/ 657 w 2088"/>
                <a:gd name="connsiteY27" fmla="*/ 643 h 1378"/>
                <a:gd name="connsiteX28" fmla="*/ 532 w 2088"/>
                <a:gd name="connsiteY28" fmla="*/ 668 h 1378"/>
                <a:gd name="connsiteX29" fmla="*/ 448 w 2088"/>
                <a:gd name="connsiteY29" fmla="*/ 702 h 1378"/>
                <a:gd name="connsiteX30" fmla="*/ 328 w 2088"/>
                <a:gd name="connsiteY30" fmla="*/ 695 h 1378"/>
                <a:gd name="connsiteX31" fmla="*/ 283 w 2088"/>
                <a:gd name="connsiteY31" fmla="*/ 745 h 1378"/>
                <a:gd name="connsiteX32" fmla="*/ 231 w 2088"/>
                <a:gd name="connsiteY32" fmla="*/ 735 h 1378"/>
                <a:gd name="connsiteX33" fmla="*/ 182 w 2088"/>
                <a:gd name="connsiteY33" fmla="*/ 705 h 1378"/>
                <a:gd name="connsiteX34" fmla="*/ 88 w 2088"/>
                <a:gd name="connsiteY34" fmla="*/ 735 h 1378"/>
                <a:gd name="connsiteX35" fmla="*/ 0 w 2088"/>
                <a:gd name="connsiteY35" fmla="*/ 793 h 1378"/>
                <a:gd name="connsiteX36" fmla="*/ 9 w 2088"/>
                <a:gd name="connsiteY36" fmla="*/ 892 h 1378"/>
                <a:gd name="connsiteX37" fmla="*/ 66 w 2088"/>
                <a:gd name="connsiteY37" fmla="*/ 903 h 1378"/>
                <a:gd name="connsiteX38" fmla="*/ 79 w 2088"/>
                <a:gd name="connsiteY38" fmla="*/ 1021 h 1378"/>
                <a:gd name="connsiteX39" fmla="*/ 27 w 2088"/>
                <a:gd name="connsiteY39" fmla="*/ 1021 h 1378"/>
                <a:gd name="connsiteX40" fmla="*/ 27 w 2088"/>
                <a:gd name="connsiteY40" fmla="*/ 1055 h 1378"/>
                <a:gd name="connsiteX41" fmla="*/ 124 w 2088"/>
                <a:gd name="connsiteY41" fmla="*/ 1106 h 1378"/>
                <a:gd name="connsiteX42" fmla="*/ 115 w 2088"/>
                <a:gd name="connsiteY42" fmla="*/ 1176 h 1378"/>
                <a:gd name="connsiteX43" fmla="*/ 277 w 2088"/>
                <a:gd name="connsiteY43" fmla="*/ 1248 h 1378"/>
                <a:gd name="connsiteX44" fmla="*/ 281 w 2088"/>
                <a:gd name="connsiteY44" fmla="*/ 1253 h 1378"/>
                <a:gd name="connsiteX45" fmla="*/ 286 w 2088"/>
                <a:gd name="connsiteY45" fmla="*/ 1320 h 1378"/>
                <a:gd name="connsiteX46" fmla="*/ 295 w 2088"/>
                <a:gd name="connsiteY46" fmla="*/ 1377 h 1378"/>
                <a:gd name="connsiteX47" fmla="*/ 371 w 2088"/>
                <a:gd name="connsiteY47" fmla="*/ 1325 h 1378"/>
                <a:gd name="connsiteX48" fmla="*/ 510 w 2088"/>
                <a:gd name="connsiteY48" fmla="*/ 1269 h 1378"/>
                <a:gd name="connsiteX49" fmla="*/ 669 w 2088"/>
                <a:gd name="connsiteY49" fmla="*/ 1301 h 1378"/>
                <a:gd name="connsiteX50" fmla="*/ 746 w 2088"/>
                <a:gd name="connsiteY50" fmla="*/ 1277 h 1378"/>
                <a:gd name="connsiteX51" fmla="*/ 876 w 2088"/>
                <a:gd name="connsiteY51" fmla="*/ 1352 h 1378"/>
                <a:gd name="connsiteX52" fmla="*/ 973 w 2088"/>
                <a:gd name="connsiteY52" fmla="*/ 1303 h 1378"/>
                <a:gd name="connsiteX53" fmla="*/ 1265 w 2088"/>
                <a:gd name="connsiteY53" fmla="*/ 1253 h 1378"/>
                <a:gd name="connsiteX54" fmla="*/ 1383 w 2088"/>
                <a:gd name="connsiteY54" fmla="*/ 1274 h 1378"/>
                <a:gd name="connsiteX55" fmla="*/ 1519 w 2088"/>
                <a:gd name="connsiteY55" fmla="*/ 1277 h 1378"/>
                <a:gd name="connsiteX56" fmla="*/ 1501 w 2088"/>
                <a:gd name="connsiteY56" fmla="*/ 1266 h 1378"/>
                <a:gd name="connsiteX57" fmla="*/ 1524 w 2088"/>
                <a:gd name="connsiteY57" fmla="*/ 1210 h 1378"/>
                <a:gd name="connsiteX58" fmla="*/ 1501 w 2088"/>
                <a:gd name="connsiteY58" fmla="*/ 1159 h 1378"/>
                <a:gd name="connsiteX59" fmla="*/ 1516 w 2088"/>
                <a:gd name="connsiteY59" fmla="*/ 1082 h 1378"/>
                <a:gd name="connsiteX60" fmla="*/ 1821 w 2088"/>
                <a:gd name="connsiteY60" fmla="*/ 1012 h 1378"/>
                <a:gd name="connsiteX61" fmla="*/ 1813 w 2088"/>
                <a:gd name="connsiteY61" fmla="*/ 891 h 1378"/>
                <a:gd name="connsiteX62" fmla="*/ 1899 w 2088"/>
                <a:gd name="connsiteY62" fmla="*/ 863 h 1378"/>
                <a:gd name="connsiteX63" fmla="*/ 1942 w 2088"/>
                <a:gd name="connsiteY63" fmla="*/ 795 h 1378"/>
                <a:gd name="connsiteX64" fmla="*/ 2051 w 2088"/>
                <a:gd name="connsiteY64" fmla="*/ 760 h 1378"/>
                <a:gd name="connsiteX65" fmla="*/ 2088 w 2088"/>
                <a:gd name="connsiteY65" fmla="*/ 696 h 1378"/>
                <a:gd name="connsiteX0" fmla="*/ 2088 w 2088"/>
                <a:gd name="connsiteY0" fmla="*/ 696 h 1377"/>
                <a:gd name="connsiteX1" fmla="*/ 2062 w 2088"/>
                <a:gd name="connsiteY1" fmla="*/ 621 h 1377"/>
                <a:gd name="connsiteX2" fmla="*/ 2032 w 2088"/>
                <a:gd name="connsiteY2" fmla="*/ 547 h 1377"/>
                <a:gd name="connsiteX3" fmla="*/ 1876 w 2088"/>
                <a:gd name="connsiteY3" fmla="*/ 478 h 1377"/>
                <a:gd name="connsiteX4" fmla="*/ 1769 w 2088"/>
                <a:gd name="connsiteY4" fmla="*/ 478 h 1377"/>
                <a:gd name="connsiteX5" fmla="*/ 1640 w 2088"/>
                <a:gd name="connsiteY5" fmla="*/ 437 h 1377"/>
                <a:gd name="connsiteX6" fmla="*/ 1685 w 2088"/>
                <a:gd name="connsiteY6" fmla="*/ 297 h 1377"/>
                <a:gd name="connsiteX7" fmla="*/ 1583 w 2088"/>
                <a:gd name="connsiteY7" fmla="*/ 154 h 1377"/>
                <a:gd name="connsiteX8" fmla="*/ 1513 w 2088"/>
                <a:gd name="connsiteY8" fmla="*/ 150 h 1377"/>
                <a:gd name="connsiteX9" fmla="*/ 1441 w 2088"/>
                <a:gd name="connsiteY9" fmla="*/ 66 h 1377"/>
                <a:gd name="connsiteX10" fmla="*/ 1433 w 2088"/>
                <a:gd name="connsiteY10" fmla="*/ 7 h 1377"/>
                <a:gd name="connsiteX11" fmla="*/ 1362 w 2088"/>
                <a:gd name="connsiteY11" fmla="*/ 0 h 1377"/>
                <a:gd name="connsiteX12" fmla="*/ 1335 w 2088"/>
                <a:gd name="connsiteY12" fmla="*/ 70 h 1377"/>
                <a:gd name="connsiteX13" fmla="*/ 1241 w 2088"/>
                <a:gd name="connsiteY13" fmla="*/ 88 h 1377"/>
                <a:gd name="connsiteX14" fmla="*/ 1246 w 2088"/>
                <a:gd name="connsiteY14" fmla="*/ 183 h 1377"/>
                <a:gd name="connsiteX15" fmla="*/ 1172 w 2088"/>
                <a:gd name="connsiteY15" fmla="*/ 227 h 1377"/>
                <a:gd name="connsiteX16" fmla="*/ 1117 w 2088"/>
                <a:gd name="connsiteY16" fmla="*/ 183 h 1377"/>
                <a:gd name="connsiteX17" fmla="*/ 1015 w 2088"/>
                <a:gd name="connsiteY17" fmla="*/ 169 h 1377"/>
                <a:gd name="connsiteX18" fmla="*/ 926 w 2088"/>
                <a:gd name="connsiteY18" fmla="*/ 316 h 1377"/>
                <a:gd name="connsiteX19" fmla="*/ 926 w 2088"/>
                <a:gd name="connsiteY19" fmla="*/ 353 h 1377"/>
                <a:gd name="connsiteX20" fmla="*/ 896 w 2088"/>
                <a:gd name="connsiteY20" fmla="*/ 363 h 1377"/>
                <a:gd name="connsiteX21" fmla="*/ 842 w 2088"/>
                <a:gd name="connsiteY21" fmla="*/ 331 h 1377"/>
                <a:gd name="connsiteX22" fmla="*/ 736 w 2088"/>
                <a:gd name="connsiteY22" fmla="*/ 327 h 1377"/>
                <a:gd name="connsiteX23" fmla="*/ 692 w 2088"/>
                <a:gd name="connsiteY23" fmla="*/ 363 h 1377"/>
                <a:gd name="connsiteX24" fmla="*/ 732 w 2088"/>
                <a:gd name="connsiteY24" fmla="*/ 386 h 1377"/>
                <a:gd name="connsiteX25" fmla="*/ 749 w 2088"/>
                <a:gd name="connsiteY25" fmla="*/ 539 h 1377"/>
                <a:gd name="connsiteX26" fmla="*/ 665 w 2088"/>
                <a:gd name="connsiteY26" fmla="*/ 581 h 1377"/>
                <a:gd name="connsiteX27" fmla="*/ 657 w 2088"/>
                <a:gd name="connsiteY27" fmla="*/ 643 h 1377"/>
                <a:gd name="connsiteX28" fmla="*/ 532 w 2088"/>
                <a:gd name="connsiteY28" fmla="*/ 668 h 1377"/>
                <a:gd name="connsiteX29" fmla="*/ 448 w 2088"/>
                <a:gd name="connsiteY29" fmla="*/ 702 h 1377"/>
                <a:gd name="connsiteX30" fmla="*/ 328 w 2088"/>
                <a:gd name="connsiteY30" fmla="*/ 695 h 1377"/>
                <a:gd name="connsiteX31" fmla="*/ 283 w 2088"/>
                <a:gd name="connsiteY31" fmla="*/ 745 h 1377"/>
                <a:gd name="connsiteX32" fmla="*/ 231 w 2088"/>
                <a:gd name="connsiteY32" fmla="*/ 735 h 1377"/>
                <a:gd name="connsiteX33" fmla="*/ 182 w 2088"/>
                <a:gd name="connsiteY33" fmla="*/ 705 h 1377"/>
                <a:gd name="connsiteX34" fmla="*/ 88 w 2088"/>
                <a:gd name="connsiteY34" fmla="*/ 735 h 1377"/>
                <a:gd name="connsiteX35" fmla="*/ 0 w 2088"/>
                <a:gd name="connsiteY35" fmla="*/ 793 h 1377"/>
                <a:gd name="connsiteX36" fmla="*/ 9 w 2088"/>
                <a:gd name="connsiteY36" fmla="*/ 892 h 1377"/>
                <a:gd name="connsiteX37" fmla="*/ 66 w 2088"/>
                <a:gd name="connsiteY37" fmla="*/ 903 h 1377"/>
                <a:gd name="connsiteX38" fmla="*/ 79 w 2088"/>
                <a:gd name="connsiteY38" fmla="*/ 1021 h 1377"/>
                <a:gd name="connsiteX39" fmla="*/ 27 w 2088"/>
                <a:gd name="connsiteY39" fmla="*/ 1021 h 1377"/>
                <a:gd name="connsiteX40" fmla="*/ 27 w 2088"/>
                <a:gd name="connsiteY40" fmla="*/ 1055 h 1377"/>
                <a:gd name="connsiteX41" fmla="*/ 124 w 2088"/>
                <a:gd name="connsiteY41" fmla="*/ 1106 h 1377"/>
                <a:gd name="connsiteX42" fmla="*/ 115 w 2088"/>
                <a:gd name="connsiteY42" fmla="*/ 1176 h 1377"/>
                <a:gd name="connsiteX43" fmla="*/ 277 w 2088"/>
                <a:gd name="connsiteY43" fmla="*/ 1248 h 1377"/>
                <a:gd name="connsiteX44" fmla="*/ 281 w 2088"/>
                <a:gd name="connsiteY44" fmla="*/ 1253 h 1377"/>
                <a:gd name="connsiteX45" fmla="*/ 286 w 2088"/>
                <a:gd name="connsiteY45" fmla="*/ 1320 h 1377"/>
                <a:gd name="connsiteX46" fmla="*/ 295 w 2088"/>
                <a:gd name="connsiteY46" fmla="*/ 1377 h 1377"/>
                <a:gd name="connsiteX47" fmla="*/ 371 w 2088"/>
                <a:gd name="connsiteY47" fmla="*/ 1325 h 1377"/>
                <a:gd name="connsiteX48" fmla="*/ 510 w 2088"/>
                <a:gd name="connsiteY48" fmla="*/ 1269 h 1377"/>
                <a:gd name="connsiteX49" fmla="*/ 669 w 2088"/>
                <a:gd name="connsiteY49" fmla="*/ 1301 h 1377"/>
                <a:gd name="connsiteX50" fmla="*/ 746 w 2088"/>
                <a:gd name="connsiteY50" fmla="*/ 1277 h 1377"/>
                <a:gd name="connsiteX51" fmla="*/ 876 w 2088"/>
                <a:gd name="connsiteY51" fmla="*/ 1352 h 1377"/>
                <a:gd name="connsiteX52" fmla="*/ 973 w 2088"/>
                <a:gd name="connsiteY52" fmla="*/ 1303 h 1377"/>
                <a:gd name="connsiteX53" fmla="*/ 1265 w 2088"/>
                <a:gd name="connsiteY53" fmla="*/ 1253 h 1377"/>
                <a:gd name="connsiteX54" fmla="*/ 1383 w 2088"/>
                <a:gd name="connsiteY54" fmla="*/ 1274 h 1377"/>
                <a:gd name="connsiteX55" fmla="*/ 1519 w 2088"/>
                <a:gd name="connsiteY55" fmla="*/ 1277 h 1377"/>
                <a:gd name="connsiteX56" fmla="*/ 1501 w 2088"/>
                <a:gd name="connsiteY56" fmla="*/ 1266 h 1377"/>
                <a:gd name="connsiteX57" fmla="*/ 1524 w 2088"/>
                <a:gd name="connsiteY57" fmla="*/ 1210 h 1377"/>
                <a:gd name="connsiteX58" fmla="*/ 1501 w 2088"/>
                <a:gd name="connsiteY58" fmla="*/ 1159 h 1377"/>
                <a:gd name="connsiteX59" fmla="*/ 1516 w 2088"/>
                <a:gd name="connsiteY59" fmla="*/ 1082 h 1377"/>
                <a:gd name="connsiteX60" fmla="*/ 1821 w 2088"/>
                <a:gd name="connsiteY60" fmla="*/ 1012 h 1377"/>
                <a:gd name="connsiteX61" fmla="*/ 1813 w 2088"/>
                <a:gd name="connsiteY61" fmla="*/ 891 h 1377"/>
                <a:gd name="connsiteX62" fmla="*/ 1899 w 2088"/>
                <a:gd name="connsiteY62" fmla="*/ 863 h 1377"/>
                <a:gd name="connsiteX63" fmla="*/ 1942 w 2088"/>
                <a:gd name="connsiteY63" fmla="*/ 795 h 1377"/>
                <a:gd name="connsiteX64" fmla="*/ 2051 w 2088"/>
                <a:gd name="connsiteY64" fmla="*/ 760 h 1377"/>
                <a:gd name="connsiteX65" fmla="*/ 2088 w 2088"/>
                <a:gd name="connsiteY65" fmla="*/ 696 h 1377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295 w 2088"/>
                <a:gd name="connsiteY46" fmla="*/ 1327 h 1352"/>
                <a:gd name="connsiteX47" fmla="*/ 371 w 2088"/>
                <a:gd name="connsiteY47" fmla="*/ 1325 h 1352"/>
                <a:gd name="connsiteX48" fmla="*/ 510 w 2088"/>
                <a:gd name="connsiteY48" fmla="*/ 1269 h 1352"/>
                <a:gd name="connsiteX49" fmla="*/ 669 w 2088"/>
                <a:gd name="connsiteY49" fmla="*/ 1301 h 1352"/>
                <a:gd name="connsiteX50" fmla="*/ 746 w 2088"/>
                <a:gd name="connsiteY50" fmla="*/ 1277 h 1352"/>
                <a:gd name="connsiteX51" fmla="*/ 876 w 2088"/>
                <a:gd name="connsiteY51" fmla="*/ 1352 h 1352"/>
                <a:gd name="connsiteX52" fmla="*/ 973 w 2088"/>
                <a:gd name="connsiteY52" fmla="*/ 1303 h 1352"/>
                <a:gd name="connsiteX53" fmla="*/ 1265 w 2088"/>
                <a:gd name="connsiteY53" fmla="*/ 1253 h 1352"/>
                <a:gd name="connsiteX54" fmla="*/ 1383 w 2088"/>
                <a:gd name="connsiteY54" fmla="*/ 1274 h 1352"/>
                <a:gd name="connsiteX55" fmla="*/ 1519 w 2088"/>
                <a:gd name="connsiteY55" fmla="*/ 1277 h 1352"/>
                <a:gd name="connsiteX56" fmla="*/ 1501 w 2088"/>
                <a:gd name="connsiteY56" fmla="*/ 1266 h 1352"/>
                <a:gd name="connsiteX57" fmla="*/ 1524 w 2088"/>
                <a:gd name="connsiteY57" fmla="*/ 1210 h 1352"/>
                <a:gd name="connsiteX58" fmla="*/ 1501 w 2088"/>
                <a:gd name="connsiteY58" fmla="*/ 1159 h 1352"/>
                <a:gd name="connsiteX59" fmla="*/ 1516 w 2088"/>
                <a:gd name="connsiteY59" fmla="*/ 1082 h 1352"/>
                <a:gd name="connsiteX60" fmla="*/ 1821 w 2088"/>
                <a:gd name="connsiteY60" fmla="*/ 1012 h 1352"/>
                <a:gd name="connsiteX61" fmla="*/ 1813 w 2088"/>
                <a:gd name="connsiteY61" fmla="*/ 891 h 1352"/>
                <a:gd name="connsiteX62" fmla="*/ 1899 w 2088"/>
                <a:gd name="connsiteY62" fmla="*/ 863 h 1352"/>
                <a:gd name="connsiteX63" fmla="*/ 1942 w 2088"/>
                <a:gd name="connsiteY63" fmla="*/ 795 h 1352"/>
                <a:gd name="connsiteX64" fmla="*/ 2051 w 2088"/>
                <a:gd name="connsiteY64" fmla="*/ 760 h 1352"/>
                <a:gd name="connsiteX65" fmla="*/ 2088 w 2088"/>
                <a:gd name="connsiteY65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295 w 2088"/>
                <a:gd name="connsiteY46" fmla="*/ 1327 h 1352"/>
                <a:gd name="connsiteX47" fmla="*/ 371 w 2088"/>
                <a:gd name="connsiteY47" fmla="*/ 1325 h 1352"/>
                <a:gd name="connsiteX48" fmla="*/ 510 w 2088"/>
                <a:gd name="connsiteY48" fmla="*/ 1269 h 1352"/>
                <a:gd name="connsiteX49" fmla="*/ 669 w 2088"/>
                <a:gd name="connsiteY49" fmla="*/ 1301 h 1352"/>
                <a:gd name="connsiteX50" fmla="*/ 746 w 2088"/>
                <a:gd name="connsiteY50" fmla="*/ 1277 h 1352"/>
                <a:gd name="connsiteX51" fmla="*/ 876 w 2088"/>
                <a:gd name="connsiteY51" fmla="*/ 1352 h 1352"/>
                <a:gd name="connsiteX52" fmla="*/ 973 w 2088"/>
                <a:gd name="connsiteY52" fmla="*/ 1303 h 1352"/>
                <a:gd name="connsiteX53" fmla="*/ 1265 w 2088"/>
                <a:gd name="connsiteY53" fmla="*/ 1253 h 1352"/>
                <a:gd name="connsiteX54" fmla="*/ 1383 w 2088"/>
                <a:gd name="connsiteY54" fmla="*/ 1274 h 1352"/>
                <a:gd name="connsiteX55" fmla="*/ 1519 w 2088"/>
                <a:gd name="connsiteY55" fmla="*/ 1277 h 1352"/>
                <a:gd name="connsiteX56" fmla="*/ 1501 w 2088"/>
                <a:gd name="connsiteY56" fmla="*/ 1266 h 1352"/>
                <a:gd name="connsiteX57" fmla="*/ 1524 w 2088"/>
                <a:gd name="connsiteY57" fmla="*/ 1210 h 1352"/>
                <a:gd name="connsiteX58" fmla="*/ 1501 w 2088"/>
                <a:gd name="connsiteY58" fmla="*/ 1159 h 1352"/>
                <a:gd name="connsiteX59" fmla="*/ 1516 w 2088"/>
                <a:gd name="connsiteY59" fmla="*/ 1082 h 1352"/>
                <a:gd name="connsiteX60" fmla="*/ 1821 w 2088"/>
                <a:gd name="connsiteY60" fmla="*/ 1012 h 1352"/>
                <a:gd name="connsiteX61" fmla="*/ 1813 w 2088"/>
                <a:gd name="connsiteY61" fmla="*/ 891 h 1352"/>
                <a:gd name="connsiteX62" fmla="*/ 1899 w 2088"/>
                <a:gd name="connsiteY62" fmla="*/ 863 h 1352"/>
                <a:gd name="connsiteX63" fmla="*/ 1942 w 2088"/>
                <a:gd name="connsiteY63" fmla="*/ 795 h 1352"/>
                <a:gd name="connsiteX64" fmla="*/ 2051 w 2088"/>
                <a:gd name="connsiteY64" fmla="*/ 760 h 1352"/>
                <a:gd name="connsiteX65" fmla="*/ 2088 w 2088"/>
                <a:gd name="connsiteY65" fmla="*/ 696 h 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088" h="1352">
                  <a:moveTo>
                    <a:pt x="2088" y="696"/>
                  </a:moveTo>
                  <a:cubicBezTo>
                    <a:pt x="2079" y="671"/>
                    <a:pt x="2071" y="646"/>
                    <a:pt x="2062" y="621"/>
                  </a:cubicBezTo>
                  <a:cubicBezTo>
                    <a:pt x="2052" y="596"/>
                    <a:pt x="2042" y="572"/>
                    <a:pt x="2032" y="547"/>
                  </a:cubicBezTo>
                  <a:lnTo>
                    <a:pt x="1876" y="478"/>
                  </a:lnTo>
                  <a:lnTo>
                    <a:pt x="1769" y="478"/>
                  </a:lnTo>
                  <a:lnTo>
                    <a:pt x="1640" y="437"/>
                  </a:lnTo>
                  <a:cubicBezTo>
                    <a:pt x="1655" y="390"/>
                    <a:pt x="1670" y="344"/>
                    <a:pt x="1685" y="297"/>
                  </a:cubicBezTo>
                  <a:lnTo>
                    <a:pt x="1583" y="154"/>
                  </a:lnTo>
                  <a:cubicBezTo>
                    <a:pt x="1560" y="153"/>
                    <a:pt x="1536" y="151"/>
                    <a:pt x="1513" y="150"/>
                  </a:cubicBezTo>
                  <a:lnTo>
                    <a:pt x="1441" y="66"/>
                  </a:lnTo>
                  <a:cubicBezTo>
                    <a:pt x="1438" y="46"/>
                    <a:pt x="1436" y="27"/>
                    <a:pt x="1433" y="7"/>
                  </a:cubicBezTo>
                  <a:cubicBezTo>
                    <a:pt x="1409" y="5"/>
                    <a:pt x="1386" y="2"/>
                    <a:pt x="1362" y="0"/>
                  </a:cubicBezTo>
                  <a:cubicBezTo>
                    <a:pt x="1353" y="23"/>
                    <a:pt x="1344" y="47"/>
                    <a:pt x="1335" y="70"/>
                  </a:cubicBezTo>
                  <a:lnTo>
                    <a:pt x="1241" y="88"/>
                  </a:lnTo>
                  <a:cubicBezTo>
                    <a:pt x="1243" y="120"/>
                    <a:pt x="1244" y="151"/>
                    <a:pt x="1246" y="183"/>
                  </a:cubicBezTo>
                  <a:lnTo>
                    <a:pt x="1172" y="227"/>
                  </a:lnTo>
                  <a:cubicBezTo>
                    <a:pt x="1154" y="212"/>
                    <a:pt x="1135" y="198"/>
                    <a:pt x="1117" y="183"/>
                  </a:cubicBezTo>
                  <a:lnTo>
                    <a:pt x="1015" y="169"/>
                  </a:lnTo>
                  <a:cubicBezTo>
                    <a:pt x="985" y="218"/>
                    <a:pt x="956" y="267"/>
                    <a:pt x="926" y="316"/>
                  </a:cubicBezTo>
                  <a:lnTo>
                    <a:pt x="926" y="353"/>
                  </a:lnTo>
                  <a:cubicBezTo>
                    <a:pt x="916" y="356"/>
                    <a:pt x="906" y="360"/>
                    <a:pt x="896" y="363"/>
                  </a:cubicBezTo>
                  <a:cubicBezTo>
                    <a:pt x="878" y="352"/>
                    <a:pt x="860" y="342"/>
                    <a:pt x="842" y="331"/>
                  </a:cubicBezTo>
                  <a:lnTo>
                    <a:pt x="736" y="327"/>
                  </a:lnTo>
                  <a:cubicBezTo>
                    <a:pt x="721" y="339"/>
                    <a:pt x="707" y="351"/>
                    <a:pt x="692" y="363"/>
                  </a:cubicBezTo>
                  <a:cubicBezTo>
                    <a:pt x="705" y="371"/>
                    <a:pt x="719" y="378"/>
                    <a:pt x="732" y="386"/>
                  </a:cubicBezTo>
                  <a:cubicBezTo>
                    <a:pt x="738" y="437"/>
                    <a:pt x="743" y="488"/>
                    <a:pt x="749" y="539"/>
                  </a:cubicBezTo>
                  <a:lnTo>
                    <a:pt x="665" y="581"/>
                  </a:lnTo>
                  <a:cubicBezTo>
                    <a:pt x="662" y="602"/>
                    <a:pt x="660" y="622"/>
                    <a:pt x="657" y="643"/>
                  </a:cubicBezTo>
                  <a:lnTo>
                    <a:pt x="532" y="668"/>
                  </a:lnTo>
                  <a:cubicBezTo>
                    <a:pt x="504" y="679"/>
                    <a:pt x="476" y="691"/>
                    <a:pt x="448" y="702"/>
                  </a:cubicBezTo>
                  <a:lnTo>
                    <a:pt x="328" y="695"/>
                  </a:lnTo>
                  <a:cubicBezTo>
                    <a:pt x="313" y="712"/>
                    <a:pt x="298" y="728"/>
                    <a:pt x="283" y="745"/>
                  </a:cubicBezTo>
                  <a:cubicBezTo>
                    <a:pt x="266" y="742"/>
                    <a:pt x="248" y="738"/>
                    <a:pt x="231" y="735"/>
                  </a:cubicBezTo>
                  <a:cubicBezTo>
                    <a:pt x="215" y="725"/>
                    <a:pt x="198" y="715"/>
                    <a:pt x="182" y="705"/>
                  </a:cubicBezTo>
                  <a:lnTo>
                    <a:pt x="88" y="735"/>
                  </a:lnTo>
                  <a:lnTo>
                    <a:pt x="0" y="793"/>
                  </a:lnTo>
                  <a:lnTo>
                    <a:pt x="9" y="892"/>
                  </a:lnTo>
                  <a:cubicBezTo>
                    <a:pt x="28" y="896"/>
                    <a:pt x="47" y="899"/>
                    <a:pt x="66" y="903"/>
                  </a:cubicBezTo>
                  <a:cubicBezTo>
                    <a:pt x="70" y="942"/>
                    <a:pt x="75" y="982"/>
                    <a:pt x="79" y="1021"/>
                  </a:cubicBezTo>
                  <a:lnTo>
                    <a:pt x="27" y="1021"/>
                  </a:lnTo>
                  <a:lnTo>
                    <a:pt x="27" y="1055"/>
                  </a:lnTo>
                  <a:lnTo>
                    <a:pt x="124" y="1106"/>
                  </a:lnTo>
                  <a:cubicBezTo>
                    <a:pt x="121" y="1129"/>
                    <a:pt x="118" y="1153"/>
                    <a:pt x="115" y="1176"/>
                  </a:cubicBezTo>
                  <a:lnTo>
                    <a:pt x="277" y="1248"/>
                  </a:lnTo>
                  <a:cubicBezTo>
                    <a:pt x="278" y="1250"/>
                    <a:pt x="280" y="1251"/>
                    <a:pt x="281" y="1253"/>
                  </a:cubicBezTo>
                  <a:cubicBezTo>
                    <a:pt x="283" y="1275"/>
                    <a:pt x="284" y="1298"/>
                    <a:pt x="286" y="1320"/>
                  </a:cubicBezTo>
                  <a:cubicBezTo>
                    <a:pt x="288" y="1332"/>
                    <a:pt x="313" y="1276"/>
                    <a:pt x="295" y="1327"/>
                  </a:cubicBezTo>
                  <a:cubicBezTo>
                    <a:pt x="321" y="1316"/>
                    <a:pt x="335" y="1335"/>
                    <a:pt x="371" y="1325"/>
                  </a:cubicBezTo>
                  <a:cubicBezTo>
                    <a:pt x="404" y="1306"/>
                    <a:pt x="477" y="1288"/>
                    <a:pt x="510" y="1269"/>
                  </a:cubicBezTo>
                  <a:lnTo>
                    <a:pt x="669" y="1301"/>
                  </a:lnTo>
                  <a:lnTo>
                    <a:pt x="746" y="1277"/>
                  </a:lnTo>
                  <a:lnTo>
                    <a:pt x="876" y="1352"/>
                  </a:lnTo>
                  <a:lnTo>
                    <a:pt x="973" y="1303"/>
                  </a:lnTo>
                  <a:lnTo>
                    <a:pt x="1265" y="1253"/>
                  </a:lnTo>
                  <a:lnTo>
                    <a:pt x="1383" y="1274"/>
                  </a:lnTo>
                  <a:cubicBezTo>
                    <a:pt x="1428" y="1292"/>
                    <a:pt x="1474" y="1259"/>
                    <a:pt x="1519" y="1277"/>
                  </a:cubicBezTo>
                  <a:cubicBezTo>
                    <a:pt x="1469" y="1235"/>
                    <a:pt x="1494" y="1286"/>
                    <a:pt x="1501" y="1266"/>
                  </a:cubicBezTo>
                  <a:cubicBezTo>
                    <a:pt x="1509" y="1247"/>
                    <a:pt x="1516" y="1229"/>
                    <a:pt x="1524" y="1210"/>
                  </a:cubicBezTo>
                  <a:cubicBezTo>
                    <a:pt x="1516" y="1193"/>
                    <a:pt x="1509" y="1176"/>
                    <a:pt x="1501" y="1159"/>
                  </a:cubicBezTo>
                  <a:cubicBezTo>
                    <a:pt x="1506" y="1133"/>
                    <a:pt x="1511" y="1108"/>
                    <a:pt x="1516" y="1082"/>
                  </a:cubicBezTo>
                  <a:lnTo>
                    <a:pt x="1821" y="1012"/>
                  </a:lnTo>
                  <a:cubicBezTo>
                    <a:pt x="1818" y="972"/>
                    <a:pt x="1816" y="931"/>
                    <a:pt x="1813" y="891"/>
                  </a:cubicBezTo>
                  <a:cubicBezTo>
                    <a:pt x="1842" y="882"/>
                    <a:pt x="1870" y="872"/>
                    <a:pt x="1899" y="863"/>
                  </a:cubicBezTo>
                  <a:cubicBezTo>
                    <a:pt x="1913" y="840"/>
                    <a:pt x="1928" y="818"/>
                    <a:pt x="1942" y="795"/>
                  </a:cubicBezTo>
                  <a:cubicBezTo>
                    <a:pt x="1978" y="783"/>
                    <a:pt x="2015" y="772"/>
                    <a:pt x="2051" y="760"/>
                  </a:cubicBezTo>
                  <a:cubicBezTo>
                    <a:pt x="2063" y="739"/>
                    <a:pt x="2076" y="717"/>
                    <a:pt x="2088" y="696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0" name="Freeform 11">
              <a:extLst>
                <a:ext uri="{FF2B5EF4-FFF2-40B4-BE49-F238E27FC236}">
                  <a16:creationId xmlns:a16="http://schemas.microsoft.com/office/drawing/2014/main" id="{101CC341-1984-FF7A-FE11-9F99A83EB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3550" y="3798423"/>
              <a:ext cx="2347206" cy="1224563"/>
            </a:xfrm>
            <a:custGeom>
              <a:avLst/>
              <a:gdLst/>
              <a:ahLst/>
              <a:cxnLst>
                <a:cxn ang="0">
                  <a:pos x="2111" y="812"/>
                </a:cxn>
                <a:cxn ang="0">
                  <a:pos x="2093" y="659"/>
                </a:cxn>
                <a:cxn ang="0">
                  <a:pos x="1983" y="441"/>
                </a:cxn>
                <a:cxn ang="0">
                  <a:pos x="1879" y="430"/>
                </a:cxn>
                <a:cxn ang="0">
                  <a:pos x="1849" y="500"/>
                </a:cxn>
                <a:cxn ang="0">
                  <a:pos x="1727" y="494"/>
                </a:cxn>
                <a:cxn ang="0">
                  <a:pos x="1662" y="414"/>
                </a:cxn>
                <a:cxn ang="0">
                  <a:pos x="1475" y="397"/>
                </a:cxn>
                <a:cxn ang="0">
                  <a:pos x="1235" y="327"/>
                </a:cxn>
                <a:cxn ang="0">
                  <a:pos x="1167" y="191"/>
                </a:cxn>
                <a:cxn ang="0">
                  <a:pos x="1203" y="170"/>
                </a:cxn>
                <a:cxn ang="0">
                  <a:pos x="1217" y="96"/>
                </a:cxn>
                <a:cxn ang="0">
                  <a:pos x="1185" y="24"/>
                </a:cxn>
                <a:cxn ang="0">
                  <a:pos x="1064" y="5"/>
                </a:cxn>
                <a:cxn ang="0">
                  <a:pos x="775" y="57"/>
                </a:cxn>
                <a:cxn ang="0">
                  <a:pos x="684" y="104"/>
                </a:cxn>
                <a:cxn ang="0">
                  <a:pos x="554" y="32"/>
                </a:cxn>
                <a:cxn ang="0">
                  <a:pos x="403" y="43"/>
                </a:cxn>
                <a:cxn ang="0">
                  <a:pos x="288" y="0"/>
                </a:cxn>
                <a:cxn ang="0">
                  <a:pos x="173" y="91"/>
                </a:cxn>
                <a:cxn ang="0">
                  <a:pos x="91" y="83"/>
                </a:cxn>
                <a:cxn ang="0">
                  <a:pos x="88" y="157"/>
                </a:cxn>
                <a:cxn ang="0">
                  <a:pos x="115" y="240"/>
                </a:cxn>
                <a:cxn ang="0">
                  <a:pos x="82" y="264"/>
                </a:cxn>
                <a:cxn ang="0">
                  <a:pos x="34" y="211"/>
                </a:cxn>
                <a:cxn ang="0">
                  <a:pos x="0" y="245"/>
                </a:cxn>
                <a:cxn ang="0">
                  <a:pos x="24" y="303"/>
                </a:cxn>
                <a:cxn ang="0">
                  <a:pos x="22" y="381"/>
                </a:cxn>
                <a:cxn ang="0">
                  <a:pos x="93" y="414"/>
                </a:cxn>
                <a:cxn ang="0">
                  <a:pos x="159" y="484"/>
                </a:cxn>
                <a:cxn ang="0">
                  <a:pos x="235" y="499"/>
                </a:cxn>
                <a:cxn ang="0">
                  <a:pos x="270" y="528"/>
                </a:cxn>
                <a:cxn ang="0">
                  <a:pos x="292" y="513"/>
                </a:cxn>
                <a:cxn ang="0">
                  <a:pos x="448" y="616"/>
                </a:cxn>
                <a:cxn ang="0">
                  <a:pos x="470" y="671"/>
                </a:cxn>
                <a:cxn ang="0">
                  <a:pos x="514" y="646"/>
                </a:cxn>
                <a:cxn ang="0">
                  <a:pos x="523" y="712"/>
                </a:cxn>
                <a:cxn ang="0">
                  <a:pos x="621" y="730"/>
                </a:cxn>
                <a:cxn ang="0">
                  <a:pos x="696" y="807"/>
                </a:cxn>
                <a:cxn ang="0">
                  <a:pos x="788" y="799"/>
                </a:cxn>
                <a:cxn ang="0">
                  <a:pos x="839" y="836"/>
                </a:cxn>
                <a:cxn ang="0">
                  <a:pos x="976" y="836"/>
                </a:cxn>
                <a:cxn ang="0">
                  <a:pos x="1011" y="881"/>
                </a:cxn>
                <a:cxn ang="0">
                  <a:pos x="1108" y="814"/>
                </a:cxn>
                <a:cxn ang="0">
                  <a:pos x="1207" y="814"/>
                </a:cxn>
                <a:cxn ang="0">
                  <a:pos x="1278" y="841"/>
                </a:cxn>
                <a:cxn ang="0">
                  <a:pos x="1308" y="873"/>
                </a:cxn>
                <a:cxn ang="0">
                  <a:pos x="1414" y="866"/>
                </a:cxn>
                <a:cxn ang="0">
                  <a:pos x="1455" y="807"/>
                </a:cxn>
                <a:cxn ang="0">
                  <a:pos x="1527" y="807"/>
                </a:cxn>
                <a:cxn ang="0">
                  <a:pos x="1645" y="749"/>
                </a:cxn>
                <a:cxn ang="0">
                  <a:pos x="1717" y="767"/>
                </a:cxn>
                <a:cxn ang="0">
                  <a:pos x="1769" y="742"/>
                </a:cxn>
                <a:cxn ang="0">
                  <a:pos x="1810" y="749"/>
                </a:cxn>
                <a:cxn ang="0">
                  <a:pos x="1810" y="836"/>
                </a:cxn>
                <a:cxn ang="0">
                  <a:pos x="1894" y="855"/>
                </a:cxn>
                <a:cxn ang="0">
                  <a:pos x="1911" y="825"/>
                </a:cxn>
                <a:cxn ang="0">
                  <a:pos x="1983" y="851"/>
                </a:cxn>
                <a:cxn ang="0">
                  <a:pos x="2033" y="903"/>
                </a:cxn>
                <a:cxn ang="0">
                  <a:pos x="2050" y="831"/>
                </a:cxn>
                <a:cxn ang="0">
                  <a:pos x="2111" y="812"/>
                </a:cxn>
              </a:cxnLst>
              <a:rect l="0" t="0" r="r" b="b"/>
              <a:pathLst>
                <a:path w="2111" h="903">
                  <a:moveTo>
                    <a:pt x="2111" y="812"/>
                  </a:moveTo>
                  <a:lnTo>
                    <a:pt x="2093" y="659"/>
                  </a:lnTo>
                  <a:lnTo>
                    <a:pt x="1983" y="441"/>
                  </a:lnTo>
                  <a:lnTo>
                    <a:pt x="1879" y="430"/>
                  </a:lnTo>
                  <a:lnTo>
                    <a:pt x="1849" y="500"/>
                  </a:lnTo>
                  <a:lnTo>
                    <a:pt x="1727" y="494"/>
                  </a:lnTo>
                  <a:lnTo>
                    <a:pt x="1662" y="414"/>
                  </a:lnTo>
                  <a:lnTo>
                    <a:pt x="1475" y="397"/>
                  </a:lnTo>
                  <a:lnTo>
                    <a:pt x="1235" y="327"/>
                  </a:lnTo>
                  <a:lnTo>
                    <a:pt x="1167" y="191"/>
                  </a:lnTo>
                  <a:lnTo>
                    <a:pt x="1203" y="170"/>
                  </a:lnTo>
                  <a:lnTo>
                    <a:pt x="1217" y="96"/>
                  </a:lnTo>
                  <a:lnTo>
                    <a:pt x="1185" y="24"/>
                  </a:lnTo>
                  <a:lnTo>
                    <a:pt x="1064" y="5"/>
                  </a:lnTo>
                  <a:lnTo>
                    <a:pt x="775" y="57"/>
                  </a:lnTo>
                  <a:lnTo>
                    <a:pt x="684" y="104"/>
                  </a:lnTo>
                  <a:lnTo>
                    <a:pt x="554" y="32"/>
                  </a:lnTo>
                  <a:lnTo>
                    <a:pt x="403" y="43"/>
                  </a:lnTo>
                  <a:lnTo>
                    <a:pt x="288" y="0"/>
                  </a:lnTo>
                  <a:lnTo>
                    <a:pt x="173" y="91"/>
                  </a:lnTo>
                  <a:lnTo>
                    <a:pt x="91" y="83"/>
                  </a:lnTo>
                  <a:lnTo>
                    <a:pt x="88" y="157"/>
                  </a:lnTo>
                  <a:lnTo>
                    <a:pt x="115" y="240"/>
                  </a:lnTo>
                  <a:lnTo>
                    <a:pt x="82" y="264"/>
                  </a:lnTo>
                  <a:lnTo>
                    <a:pt x="34" y="211"/>
                  </a:lnTo>
                  <a:lnTo>
                    <a:pt x="0" y="245"/>
                  </a:lnTo>
                  <a:lnTo>
                    <a:pt x="24" y="303"/>
                  </a:lnTo>
                  <a:lnTo>
                    <a:pt x="22" y="381"/>
                  </a:lnTo>
                  <a:lnTo>
                    <a:pt x="93" y="414"/>
                  </a:lnTo>
                  <a:lnTo>
                    <a:pt x="159" y="484"/>
                  </a:lnTo>
                  <a:lnTo>
                    <a:pt x="235" y="499"/>
                  </a:lnTo>
                  <a:lnTo>
                    <a:pt x="270" y="528"/>
                  </a:lnTo>
                  <a:lnTo>
                    <a:pt x="292" y="513"/>
                  </a:lnTo>
                  <a:lnTo>
                    <a:pt x="448" y="616"/>
                  </a:lnTo>
                  <a:lnTo>
                    <a:pt x="470" y="671"/>
                  </a:lnTo>
                  <a:lnTo>
                    <a:pt x="514" y="646"/>
                  </a:lnTo>
                  <a:lnTo>
                    <a:pt x="523" y="712"/>
                  </a:lnTo>
                  <a:lnTo>
                    <a:pt x="621" y="730"/>
                  </a:lnTo>
                  <a:lnTo>
                    <a:pt x="696" y="807"/>
                  </a:lnTo>
                  <a:lnTo>
                    <a:pt x="788" y="799"/>
                  </a:lnTo>
                  <a:lnTo>
                    <a:pt x="839" y="836"/>
                  </a:lnTo>
                  <a:lnTo>
                    <a:pt x="976" y="836"/>
                  </a:lnTo>
                  <a:lnTo>
                    <a:pt x="1011" y="881"/>
                  </a:lnTo>
                  <a:lnTo>
                    <a:pt x="1108" y="814"/>
                  </a:lnTo>
                  <a:lnTo>
                    <a:pt x="1207" y="814"/>
                  </a:lnTo>
                  <a:lnTo>
                    <a:pt x="1278" y="841"/>
                  </a:lnTo>
                  <a:lnTo>
                    <a:pt x="1308" y="873"/>
                  </a:lnTo>
                  <a:lnTo>
                    <a:pt x="1414" y="866"/>
                  </a:lnTo>
                  <a:lnTo>
                    <a:pt x="1455" y="807"/>
                  </a:lnTo>
                  <a:lnTo>
                    <a:pt x="1527" y="807"/>
                  </a:lnTo>
                  <a:lnTo>
                    <a:pt x="1645" y="749"/>
                  </a:lnTo>
                  <a:lnTo>
                    <a:pt x="1717" y="767"/>
                  </a:lnTo>
                  <a:lnTo>
                    <a:pt x="1769" y="742"/>
                  </a:lnTo>
                  <a:lnTo>
                    <a:pt x="1810" y="749"/>
                  </a:lnTo>
                  <a:lnTo>
                    <a:pt x="1810" y="836"/>
                  </a:lnTo>
                  <a:lnTo>
                    <a:pt x="1894" y="855"/>
                  </a:lnTo>
                  <a:lnTo>
                    <a:pt x="1911" y="825"/>
                  </a:lnTo>
                  <a:lnTo>
                    <a:pt x="1983" y="851"/>
                  </a:lnTo>
                  <a:lnTo>
                    <a:pt x="2033" y="903"/>
                  </a:lnTo>
                  <a:lnTo>
                    <a:pt x="2050" y="831"/>
                  </a:lnTo>
                  <a:lnTo>
                    <a:pt x="2111" y="81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1" name="Freeform 12">
              <a:extLst>
                <a:ext uri="{FF2B5EF4-FFF2-40B4-BE49-F238E27FC236}">
                  <a16:creationId xmlns:a16="http://schemas.microsoft.com/office/drawing/2014/main" id="{9BFD2686-09FD-F1F8-A374-435845DD1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0995" y="3063549"/>
              <a:ext cx="1620000" cy="1307001"/>
            </a:xfrm>
            <a:custGeom>
              <a:avLst/>
              <a:gdLst/>
              <a:ahLst/>
              <a:cxnLst>
                <a:cxn ang="0">
                  <a:pos x="76" y="356"/>
                </a:cxn>
                <a:cxn ang="0">
                  <a:pos x="296" y="370"/>
                </a:cxn>
                <a:cxn ang="0">
                  <a:pos x="493" y="401"/>
                </a:cxn>
                <a:cxn ang="0">
                  <a:pos x="584" y="445"/>
                </a:cxn>
                <a:cxn ang="0">
                  <a:pos x="756" y="478"/>
                </a:cxn>
                <a:cxn ang="0">
                  <a:pos x="829" y="615"/>
                </a:cxn>
                <a:cxn ang="0">
                  <a:pos x="761" y="796"/>
                </a:cxn>
                <a:cxn ang="0">
                  <a:pos x="672" y="822"/>
                </a:cxn>
                <a:cxn ang="0">
                  <a:pos x="818" y="840"/>
                </a:cxn>
                <a:cxn ang="0">
                  <a:pos x="965" y="910"/>
                </a:cxn>
                <a:cxn ang="0">
                  <a:pos x="1031" y="963"/>
                </a:cxn>
                <a:cxn ang="0">
                  <a:pos x="1142" y="937"/>
                </a:cxn>
                <a:cxn ang="0">
                  <a:pos x="1162" y="883"/>
                </a:cxn>
                <a:cxn ang="0">
                  <a:pos x="1235" y="798"/>
                </a:cxn>
                <a:cxn ang="0">
                  <a:pos x="1259" y="721"/>
                </a:cxn>
                <a:cxn ang="0">
                  <a:pos x="1359" y="704"/>
                </a:cxn>
                <a:cxn ang="0">
                  <a:pos x="1424" y="690"/>
                </a:cxn>
                <a:cxn ang="0">
                  <a:pos x="1434" y="619"/>
                </a:cxn>
                <a:cxn ang="0">
                  <a:pos x="1320" y="538"/>
                </a:cxn>
                <a:cxn ang="0">
                  <a:pos x="1203" y="553"/>
                </a:cxn>
                <a:cxn ang="0">
                  <a:pos x="1257" y="617"/>
                </a:cxn>
                <a:cxn ang="0">
                  <a:pos x="1215" y="659"/>
                </a:cxn>
                <a:cxn ang="0">
                  <a:pos x="1103" y="662"/>
                </a:cxn>
                <a:cxn ang="0">
                  <a:pos x="993" y="505"/>
                </a:cxn>
                <a:cxn ang="0">
                  <a:pos x="930" y="433"/>
                </a:cxn>
                <a:cxn ang="0">
                  <a:pos x="985" y="357"/>
                </a:cxn>
                <a:cxn ang="0">
                  <a:pos x="749" y="383"/>
                </a:cxn>
                <a:cxn ang="0">
                  <a:pos x="577" y="267"/>
                </a:cxn>
                <a:cxn ang="0">
                  <a:pos x="623" y="201"/>
                </a:cxn>
                <a:cxn ang="0">
                  <a:pos x="424" y="219"/>
                </a:cxn>
                <a:cxn ang="0">
                  <a:pos x="338" y="0"/>
                </a:cxn>
                <a:cxn ang="0">
                  <a:pos x="239" y="84"/>
                </a:cxn>
                <a:cxn ang="0">
                  <a:pos x="87" y="189"/>
                </a:cxn>
                <a:cxn ang="0">
                  <a:pos x="6" y="342"/>
                </a:cxn>
              </a:cxnLst>
              <a:rect l="0" t="0" r="r" b="b"/>
              <a:pathLst>
                <a:path w="1435" h="965">
                  <a:moveTo>
                    <a:pt x="6" y="342"/>
                  </a:moveTo>
                  <a:lnTo>
                    <a:pt x="76" y="356"/>
                  </a:lnTo>
                  <a:lnTo>
                    <a:pt x="203" y="395"/>
                  </a:lnTo>
                  <a:lnTo>
                    <a:pt x="296" y="370"/>
                  </a:lnTo>
                  <a:lnTo>
                    <a:pt x="429" y="365"/>
                  </a:lnTo>
                  <a:lnTo>
                    <a:pt x="493" y="401"/>
                  </a:lnTo>
                  <a:lnTo>
                    <a:pt x="595" y="392"/>
                  </a:lnTo>
                  <a:lnTo>
                    <a:pt x="584" y="445"/>
                  </a:lnTo>
                  <a:lnTo>
                    <a:pt x="710" y="517"/>
                  </a:lnTo>
                  <a:lnTo>
                    <a:pt x="756" y="478"/>
                  </a:lnTo>
                  <a:lnTo>
                    <a:pt x="812" y="553"/>
                  </a:lnTo>
                  <a:lnTo>
                    <a:pt x="829" y="615"/>
                  </a:lnTo>
                  <a:lnTo>
                    <a:pt x="867" y="653"/>
                  </a:lnTo>
                  <a:lnTo>
                    <a:pt x="761" y="796"/>
                  </a:lnTo>
                  <a:lnTo>
                    <a:pt x="706" y="796"/>
                  </a:lnTo>
                  <a:lnTo>
                    <a:pt x="672" y="822"/>
                  </a:lnTo>
                  <a:lnTo>
                    <a:pt x="809" y="897"/>
                  </a:lnTo>
                  <a:lnTo>
                    <a:pt x="818" y="840"/>
                  </a:lnTo>
                  <a:lnTo>
                    <a:pt x="887" y="832"/>
                  </a:lnTo>
                  <a:lnTo>
                    <a:pt x="965" y="910"/>
                  </a:lnTo>
                  <a:lnTo>
                    <a:pt x="1020" y="917"/>
                  </a:lnTo>
                  <a:lnTo>
                    <a:pt x="1031" y="963"/>
                  </a:lnTo>
                  <a:lnTo>
                    <a:pt x="1140" y="964"/>
                  </a:lnTo>
                  <a:lnTo>
                    <a:pt x="1142" y="937"/>
                  </a:lnTo>
                  <a:lnTo>
                    <a:pt x="1186" y="946"/>
                  </a:lnTo>
                  <a:lnTo>
                    <a:pt x="1162" y="883"/>
                  </a:lnTo>
                  <a:lnTo>
                    <a:pt x="1224" y="869"/>
                  </a:lnTo>
                  <a:lnTo>
                    <a:pt x="1235" y="798"/>
                  </a:lnTo>
                  <a:lnTo>
                    <a:pt x="1213" y="781"/>
                  </a:lnTo>
                  <a:lnTo>
                    <a:pt x="1259" y="721"/>
                  </a:lnTo>
                  <a:lnTo>
                    <a:pt x="1322" y="734"/>
                  </a:lnTo>
                  <a:lnTo>
                    <a:pt x="1359" y="704"/>
                  </a:lnTo>
                  <a:lnTo>
                    <a:pt x="1401" y="706"/>
                  </a:lnTo>
                  <a:lnTo>
                    <a:pt x="1424" y="690"/>
                  </a:lnTo>
                  <a:lnTo>
                    <a:pt x="1413" y="654"/>
                  </a:lnTo>
                  <a:lnTo>
                    <a:pt x="1434" y="619"/>
                  </a:lnTo>
                  <a:lnTo>
                    <a:pt x="1414" y="563"/>
                  </a:lnTo>
                  <a:lnTo>
                    <a:pt x="1320" y="538"/>
                  </a:lnTo>
                  <a:lnTo>
                    <a:pt x="1235" y="525"/>
                  </a:lnTo>
                  <a:lnTo>
                    <a:pt x="1203" y="553"/>
                  </a:lnTo>
                  <a:lnTo>
                    <a:pt x="1198" y="610"/>
                  </a:lnTo>
                  <a:lnTo>
                    <a:pt x="1257" y="617"/>
                  </a:lnTo>
                  <a:lnTo>
                    <a:pt x="1257" y="655"/>
                  </a:lnTo>
                  <a:lnTo>
                    <a:pt x="1215" y="659"/>
                  </a:lnTo>
                  <a:lnTo>
                    <a:pt x="1210" y="690"/>
                  </a:lnTo>
                  <a:lnTo>
                    <a:pt x="1103" y="662"/>
                  </a:lnTo>
                  <a:lnTo>
                    <a:pt x="1105" y="571"/>
                  </a:lnTo>
                  <a:lnTo>
                    <a:pt x="993" y="505"/>
                  </a:lnTo>
                  <a:lnTo>
                    <a:pt x="933" y="498"/>
                  </a:lnTo>
                  <a:lnTo>
                    <a:pt x="930" y="433"/>
                  </a:lnTo>
                  <a:lnTo>
                    <a:pt x="975" y="414"/>
                  </a:lnTo>
                  <a:lnTo>
                    <a:pt x="985" y="357"/>
                  </a:lnTo>
                  <a:lnTo>
                    <a:pt x="914" y="326"/>
                  </a:lnTo>
                  <a:lnTo>
                    <a:pt x="749" y="383"/>
                  </a:lnTo>
                  <a:lnTo>
                    <a:pt x="666" y="323"/>
                  </a:lnTo>
                  <a:lnTo>
                    <a:pt x="577" y="267"/>
                  </a:lnTo>
                  <a:lnTo>
                    <a:pt x="636" y="251"/>
                  </a:lnTo>
                  <a:lnTo>
                    <a:pt x="623" y="201"/>
                  </a:lnTo>
                  <a:lnTo>
                    <a:pt x="469" y="178"/>
                  </a:lnTo>
                  <a:lnTo>
                    <a:pt x="424" y="219"/>
                  </a:lnTo>
                  <a:lnTo>
                    <a:pt x="358" y="130"/>
                  </a:lnTo>
                  <a:lnTo>
                    <a:pt x="338" y="0"/>
                  </a:lnTo>
                  <a:lnTo>
                    <a:pt x="275" y="24"/>
                  </a:lnTo>
                  <a:lnTo>
                    <a:pt x="239" y="84"/>
                  </a:lnTo>
                  <a:lnTo>
                    <a:pt x="132" y="118"/>
                  </a:lnTo>
                  <a:lnTo>
                    <a:pt x="87" y="189"/>
                  </a:lnTo>
                  <a:lnTo>
                    <a:pt x="0" y="212"/>
                  </a:lnTo>
                  <a:lnTo>
                    <a:pt x="6" y="34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2" name="Freeform 13">
              <a:extLst>
                <a:ext uri="{FF2B5EF4-FFF2-40B4-BE49-F238E27FC236}">
                  <a16:creationId xmlns:a16="http://schemas.microsoft.com/office/drawing/2014/main" id="{191A3A86-7D30-28AF-B87A-E70AACF9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929" y="3520213"/>
              <a:ext cx="1479370" cy="1011726"/>
            </a:xfrm>
            <a:custGeom>
              <a:avLst/>
              <a:gdLst/>
              <a:ahLst/>
              <a:cxnLst>
                <a:cxn ang="0">
                  <a:pos x="23" y="260"/>
                </a:cxn>
                <a:cxn ang="0">
                  <a:pos x="176" y="298"/>
                </a:cxn>
                <a:cxn ang="0">
                  <a:pos x="155" y="236"/>
                </a:cxn>
                <a:cxn ang="0">
                  <a:pos x="198" y="206"/>
                </a:cxn>
                <a:cxn ang="0">
                  <a:pos x="144" y="148"/>
                </a:cxn>
                <a:cxn ang="0">
                  <a:pos x="164" y="69"/>
                </a:cxn>
                <a:cxn ang="0">
                  <a:pos x="465" y="0"/>
                </a:cxn>
                <a:cxn ang="0">
                  <a:pos x="530" y="4"/>
                </a:cxn>
                <a:cxn ang="0">
                  <a:pos x="662" y="60"/>
                </a:cxn>
                <a:cxn ang="0">
                  <a:pos x="754" y="32"/>
                </a:cxn>
                <a:cxn ang="0">
                  <a:pos x="894" y="27"/>
                </a:cxn>
                <a:cxn ang="0">
                  <a:pos x="956" y="64"/>
                </a:cxn>
                <a:cxn ang="0">
                  <a:pos x="1054" y="57"/>
                </a:cxn>
                <a:cxn ang="0">
                  <a:pos x="1043" y="108"/>
                </a:cxn>
                <a:cxn ang="0">
                  <a:pos x="1175" y="177"/>
                </a:cxn>
                <a:cxn ang="0">
                  <a:pos x="1217" y="138"/>
                </a:cxn>
                <a:cxn ang="0">
                  <a:pos x="1272" y="211"/>
                </a:cxn>
                <a:cxn ang="0">
                  <a:pos x="1289" y="279"/>
                </a:cxn>
                <a:cxn ang="0">
                  <a:pos x="1329" y="317"/>
                </a:cxn>
                <a:cxn ang="0">
                  <a:pos x="1225" y="461"/>
                </a:cxn>
                <a:cxn ang="0">
                  <a:pos x="1168" y="459"/>
                </a:cxn>
                <a:cxn ang="0">
                  <a:pos x="1138" y="489"/>
                </a:cxn>
                <a:cxn ang="0">
                  <a:pos x="1273" y="559"/>
                </a:cxn>
                <a:cxn ang="0">
                  <a:pos x="1270" y="593"/>
                </a:cxn>
                <a:cxn ang="0">
                  <a:pos x="1174" y="597"/>
                </a:cxn>
                <a:cxn ang="0">
                  <a:pos x="1151" y="647"/>
                </a:cxn>
                <a:cxn ang="0">
                  <a:pos x="1098" y="648"/>
                </a:cxn>
                <a:cxn ang="0">
                  <a:pos x="1050" y="603"/>
                </a:cxn>
                <a:cxn ang="0">
                  <a:pos x="821" y="608"/>
                </a:cxn>
                <a:cxn ang="0">
                  <a:pos x="782" y="679"/>
                </a:cxn>
                <a:cxn ang="0">
                  <a:pos x="734" y="679"/>
                </a:cxn>
                <a:cxn ang="0">
                  <a:pos x="694" y="742"/>
                </a:cxn>
                <a:cxn ang="0">
                  <a:pos x="574" y="745"/>
                </a:cxn>
                <a:cxn ang="0">
                  <a:pos x="496" y="655"/>
                </a:cxn>
                <a:cxn ang="0">
                  <a:pos x="322" y="642"/>
                </a:cxn>
                <a:cxn ang="0">
                  <a:pos x="71" y="572"/>
                </a:cxn>
                <a:cxn ang="0">
                  <a:pos x="0" y="429"/>
                </a:cxn>
                <a:cxn ang="0">
                  <a:pos x="43" y="401"/>
                </a:cxn>
                <a:cxn ang="0">
                  <a:pos x="53" y="331"/>
                </a:cxn>
                <a:cxn ang="0">
                  <a:pos x="23" y="260"/>
                </a:cxn>
              </a:cxnLst>
              <a:rect l="0" t="0" r="r" b="b"/>
              <a:pathLst>
                <a:path w="1330" h="746">
                  <a:moveTo>
                    <a:pt x="23" y="260"/>
                  </a:moveTo>
                  <a:lnTo>
                    <a:pt x="176" y="298"/>
                  </a:lnTo>
                  <a:lnTo>
                    <a:pt x="155" y="236"/>
                  </a:lnTo>
                  <a:lnTo>
                    <a:pt x="198" y="206"/>
                  </a:lnTo>
                  <a:lnTo>
                    <a:pt x="144" y="148"/>
                  </a:lnTo>
                  <a:lnTo>
                    <a:pt x="164" y="69"/>
                  </a:lnTo>
                  <a:lnTo>
                    <a:pt x="465" y="0"/>
                  </a:lnTo>
                  <a:lnTo>
                    <a:pt x="530" y="4"/>
                  </a:lnTo>
                  <a:lnTo>
                    <a:pt x="662" y="60"/>
                  </a:lnTo>
                  <a:lnTo>
                    <a:pt x="754" y="32"/>
                  </a:lnTo>
                  <a:lnTo>
                    <a:pt x="894" y="27"/>
                  </a:lnTo>
                  <a:lnTo>
                    <a:pt x="956" y="64"/>
                  </a:lnTo>
                  <a:lnTo>
                    <a:pt x="1054" y="57"/>
                  </a:lnTo>
                  <a:lnTo>
                    <a:pt x="1043" y="108"/>
                  </a:lnTo>
                  <a:lnTo>
                    <a:pt x="1175" y="177"/>
                  </a:lnTo>
                  <a:lnTo>
                    <a:pt x="1217" y="138"/>
                  </a:lnTo>
                  <a:lnTo>
                    <a:pt x="1272" y="211"/>
                  </a:lnTo>
                  <a:lnTo>
                    <a:pt x="1289" y="279"/>
                  </a:lnTo>
                  <a:lnTo>
                    <a:pt x="1329" y="317"/>
                  </a:lnTo>
                  <a:lnTo>
                    <a:pt x="1225" y="461"/>
                  </a:lnTo>
                  <a:lnTo>
                    <a:pt x="1168" y="459"/>
                  </a:lnTo>
                  <a:lnTo>
                    <a:pt x="1138" y="489"/>
                  </a:lnTo>
                  <a:lnTo>
                    <a:pt x="1273" y="559"/>
                  </a:lnTo>
                  <a:lnTo>
                    <a:pt x="1270" y="593"/>
                  </a:lnTo>
                  <a:lnTo>
                    <a:pt x="1174" y="597"/>
                  </a:lnTo>
                  <a:lnTo>
                    <a:pt x="1151" y="647"/>
                  </a:lnTo>
                  <a:lnTo>
                    <a:pt x="1098" y="648"/>
                  </a:lnTo>
                  <a:lnTo>
                    <a:pt x="1050" y="603"/>
                  </a:lnTo>
                  <a:lnTo>
                    <a:pt x="821" y="608"/>
                  </a:lnTo>
                  <a:lnTo>
                    <a:pt x="782" y="679"/>
                  </a:lnTo>
                  <a:lnTo>
                    <a:pt x="734" y="679"/>
                  </a:lnTo>
                  <a:lnTo>
                    <a:pt x="694" y="742"/>
                  </a:lnTo>
                  <a:lnTo>
                    <a:pt x="574" y="745"/>
                  </a:lnTo>
                  <a:lnTo>
                    <a:pt x="496" y="655"/>
                  </a:lnTo>
                  <a:lnTo>
                    <a:pt x="322" y="642"/>
                  </a:lnTo>
                  <a:lnTo>
                    <a:pt x="71" y="572"/>
                  </a:lnTo>
                  <a:lnTo>
                    <a:pt x="0" y="429"/>
                  </a:lnTo>
                  <a:lnTo>
                    <a:pt x="43" y="401"/>
                  </a:lnTo>
                  <a:lnTo>
                    <a:pt x="53" y="331"/>
                  </a:lnTo>
                  <a:lnTo>
                    <a:pt x="23" y="26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3" name="Freeform 14">
              <a:extLst>
                <a:ext uri="{FF2B5EF4-FFF2-40B4-BE49-F238E27FC236}">
                  <a16:creationId xmlns:a16="http://schemas.microsoft.com/office/drawing/2014/main" id="{62D8AAE6-507E-7B74-D0C5-DBCC35E00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907" y="4171637"/>
              <a:ext cx="1476000" cy="1086670"/>
            </a:xfrm>
            <a:custGeom>
              <a:avLst/>
              <a:gdLst/>
              <a:ahLst/>
              <a:cxnLst>
                <a:cxn ang="0">
                  <a:pos x="0" y="180"/>
                </a:cxn>
                <a:cxn ang="0">
                  <a:pos x="27" y="103"/>
                </a:cxn>
                <a:cxn ang="0">
                  <a:pos x="267" y="105"/>
                </a:cxn>
                <a:cxn ang="0">
                  <a:pos x="310" y="148"/>
                </a:cxn>
                <a:cxn ang="0">
                  <a:pos x="366" y="151"/>
                </a:cxn>
                <a:cxn ang="0">
                  <a:pos x="391" y="99"/>
                </a:cxn>
                <a:cxn ang="0">
                  <a:pos x="483" y="96"/>
                </a:cxn>
                <a:cxn ang="0">
                  <a:pos x="491" y="7"/>
                </a:cxn>
                <a:cxn ang="0">
                  <a:pos x="570" y="0"/>
                </a:cxn>
                <a:cxn ang="0">
                  <a:pos x="642" y="79"/>
                </a:cxn>
                <a:cxn ang="0">
                  <a:pos x="702" y="86"/>
                </a:cxn>
                <a:cxn ang="0">
                  <a:pos x="710" y="131"/>
                </a:cxn>
                <a:cxn ang="0">
                  <a:pos x="815" y="133"/>
                </a:cxn>
                <a:cxn ang="0">
                  <a:pos x="822" y="107"/>
                </a:cxn>
                <a:cxn ang="0">
                  <a:pos x="857" y="115"/>
                </a:cxn>
                <a:cxn ang="0">
                  <a:pos x="974" y="131"/>
                </a:cxn>
                <a:cxn ang="0">
                  <a:pos x="1039" y="158"/>
                </a:cxn>
                <a:cxn ang="0">
                  <a:pos x="1112" y="148"/>
                </a:cxn>
                <a:cxn ang="0">
                  <a:pos x="1169" y="179"/>
                </a:cxn>
                <a:cxn ang="0">
                  <a:pos x="1239" y="187"/>
                </a:cxn>
                <a:cxn ang="0">
                  <a:pos x="1272" y="210"/>
                </a:cxn>
                <a:cxn ang="0">
                  <a:pos x="1265" y="279"/>
                </a:cxn>
                <a:cxn ang="0">
                  <a:pos x="1146" y="313"/>
                </a:cxn>
                <a:cxn ang="0">
                  <a:pos x="1154" y="396"/>
                </a:cxn>
                <a:cxn ang="0">
                  <a:pos x="1229" y="432"/>
                </a:cxn>
                <a:cxn ang="0">
                  <a:pos x="1224" y="538"/>
                </a:cxn>
                <a:cxn ang="0">
                  <a:pos x="1165" y="538"/>
                </a:cxn>
                <a:cxn ang="0">
                  <a:pos x="1121" y="474"/>
                </a:cxn>
                <a:cxn ang="0">
                  <a:pos x="1045" y="471"/>
                </a:cxn>
                <a:cxn ang="0">
                  <a:pos x="963" y="539"/>
                </a:cxn>
                <a:cxn ang="0">
                  <a:pos x="908" y="526"/>
                </a:cxn>
                <a:cxn ang="0">
                  <a:pos x="865" y="550"/>
                </a:cxn>
                <a:cxn ang="0">
                  <a:pos x="906" y="591"/>
                </a:cxn>
                <a:cxn ang="0">
                  <a:pos x="908" y="628"/>
                </a:cxn>
                <a:cxn ang="0">
                  <a:pos x="820" y="620"/>
                </a:cxn>
                <a:cxn ang="0">
                  <a:pos x="826" y="594"/>
                </a:cxn>
                <a:cxn ang="0">
                  <a:pos x="745" y="596"/>
                </a:cxn>
                <a:cxn ang="0">
                  <a:pos x="721" y="550"/>
                </a:cxn>
                <a:cxn ang="0">
                  <a:pos x="676" y="547"/>
                </a:cxn>
                <a:cxn ang="0">
                  <a:pos x="640" y="572"/>
                </a:cxn>
                <a:cxn ang="0">
                  <a:pos x="647" y="623"/>
                </a:cxn>
                <a:cxn ang="0">
                  <a:pos x="571" y="677"/>
                </a:cxn>
                <a:cxn ang="0">
                  <a:pos x="575" y="754"/>
                </a:cxn>
                <a:cxn ang="0">
                  <a:pos x="442" y="801"/>
                </a:cxn>
                <a:cxn ang="0">
                  <a:pos x="342" y="638"/>
                </a:cxn>
                <a:cxn ang="0">
                  <a:pos x="203" y="550"/>
                </a:cxn>
                <a:cxn ang="0">
                  <a:pos x="171" y="552"/>
                </a:cxn>
                <a:cxn ang="0">
                  <a:pos x="144" y="401"/>
                </a:cxn>
                <a:cxn ang="0">
                  <a:pos x="44" y="185"/>
                </a:cxn>
                <a:cxn ang="0">
                  <a:pos x="0" y="180"/>
                </a:cxn>
              </a:cxnLst>
              <a:rect l="0" t="0" r="r" b="b"/>
              <a:pathLst>
                <a:path w="1273" h="802">
                  <a:moveTo>
                    <a:pt x="0" y="180"/>
                  </a:moveTo>
                  <a:lnTo>
                    <a:pt x="27" y="103"/>
                  </a:lnTo>
                  <a:lnTo>
                    <a:pt x="267" y="105"/>
                  </a:lnTo>
                  <a:lnTo>
                    <a:pt x="310" y="148"/>
                  </a:lnTo>
                  <a:lnTo>
                    <a:pt x="366" y="151"/>
                  </a:lnTo>
                  <a:lnTo>
                    <a:pt x="391" y="99"/>
                  </a:lnTo>
                  <a:lnTo>
                    <a:pt x="483" y="96"/>
                  </a:lnTo>
                  <a:lnTo>
                    <a:pt x="491" y="7"/>
                  </a:lnTo>
                  <a:lnTo>
                    <a:pt x="570" y="0"/>
                  </a:lnTo>
                  <a:lnTo>
                    <a:pt x="642" y="79"/>
                  </a:lnTo>
                  <a:lnTo>
                    <a:pt x="702" y="86"/>
                  </a:lnTo>
                  <a:lnTo>
                    <a:pt x="710" y="131"/>
                  </a:lnTo>
                  <a:lnTo>
                    <a:pt x="815" y="133"/>
                  </a:lnTo>
                  <a:lnTo>
                    <a:pt x="822" y="107"/>
                  </a:lnTo>
                  <a:lnTo>
                    <a:pt x="857" y="115"/>
                  </a:lnTo>
                  <a:lnTo>
                    <a:pt x="974" y="131"/>
                  </a:lnTo>
                  <a:lnTo>
                    <a:pt x="1039" y="158"/>
                  </a:lnTo>
                  <a:lnTo>
                    <a:pt x="1112" y="148"/>
                  </a:lnTo>
                  <a:lnTo>
                    <a:pt x="1169" y="179"/>
                  </a:lnTo>
                  <a:lnTo>
                    <a:pt x="1239" y="187"/>
                  </a:lnTo>
                  <a:lnTo>
                    <a:pt x="1272" y="210"/>
                  </a:lnTo>
                  <a:lnTo>
                    <a:pt x="1265" y="279"/>
                  </a:lnTo>
                  <a:lnTo>
                    <a:pt x="1146" y="313"/>
                  </a:lnTo>
                  <a:lnTo>
                    <a:pt x="1154" y="396"/>
                  </a:lnTo>
                  <a:lnTo>
                    <a:pt x="1229" y="432"/>
                  </a:lnTo>
                  <a:lnTo>
                    <a:pt x="1224" y="538"/>
                  </a:lnTo>
                  <a:lnTo>
                    <a:pt x="1165" y="538"/>
                  </a:lnTo>
                  <a:lnTo>
                    <a:pt x="1121" y="474"/>
                  </a:lnTo>
                  <a:lnTo>
                    <a:pt x="1045" y="471"/>
                  </a:lnTo>
                  <a:lnTo>
                    <a:pt x="963" y="539"/>
                  </a:lnTo>
                  <a:lnTo>
                    <a:pt x="908" y="526"/>
                  </a:lnTo>
                  <a:lnTo>
                    <a:pt x="865" y="550"/>
                  </a:lnTo>
                  <a:lnTo>
                    <a:pt x="906" y="591"/>
                  </a:lnTo>
                  <a:lnTo>
                    <a:pt x="908" y="628"/>
                  </a:lnTo>
                  <a:lnTo>
                    <a:pt x="820" y="620"/>
                  </a:lnTo>
                  <a:lnTo>
                    <a:pt x="826" y="594"/>
                  </a:lnTo>
                  <a:lnTo>
                    <a:pt x="745" y="596"/>
                  </a:lnTo>
                  <a:lnTo>
                    <a:pt x="721" y="550"/>
                  </a:lnTo>
                  <a:lnTo>
                    <a:pt x="676" y="547"/>
                  </a:lnTo>
                  <a:lnTo>
                    <a:pt x="640" y="572"/>
                  </a:lnTo>
                  <a:lnTo>
                    <a:pt x="647" y="623"/>
                  </a:lnTo>
                  <a:lnTo>
                    <a:pt x="571" y="677"/>
                  </a:lnTo>
                  <a:lnTo>
                    <a:pt x="575" y="754"/>
                  </a:lnTo>
                  <a:lnTo>
                    <a:pt x="442" y="801"/>
                  </a:lnTo>
                  <a:lnTo>
                    <a:pt x="342" y="638"/>
                  </a:lnTo>
                  <a:lnTo>
                    <a:pt x="203" y="550"/>
                  </a:lnTo>
                  <a:lnTo>
                    <a:pt x="171" y="552"/>
                  </a:lnTo>
                  <a:lnTo>
                    <a:pt x="144" y="401"/>
                  </a:lnTo>
                  <a:lnTo>
                    <a:pt x="44" y="185"/>
                  </a:lnTo>
                  <a:lnTo>
                    <a:pt x="0" y="18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4" name="Freeform 15">
              <a:extLst>
                <a:ext uri="{FF2B5EF4-FFF2-40B4-BE49-F238E27FC236}">
                  <a16:creationId xmlns:a16="http://schemas.microsoft.com/office/drawing/2014/main" id="{D8A8B62B-7952-EB16-9473-2403F4896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975" y="4906075"/>
              <a:ext cx="1068683" cy="1041704"/>
            </a:xfrm>
            <a:custGeom>
              <a:avLst/>
              <a:gdLst/>
              <a:ahLst/>
              <a:cxnLst>
                <a:cxn ang="0">
                  <a:pos x="106" y="107"/>
                </a:cxn>
                <a:cxn ang="0">
                  <a:pos x="134" y="296"/>
                </a:cxn>
                <a:cxn ang="0">
                  <a:pos x="57" y="338"/>
                </a:cxn>
                <a:cxn ang="0">
                  <a:pos x="0" y="399"/>
                </a:cxn>
                <a:cxn ang="0">
                  <a:pos x="23" y="482"/>
                </a:cxn>
                <a:cxn ang="0">
                  <a:pos x="140" y="487"/>
                </a:cxn>
                <a:cxn ang="0">
                  <a:pos x="158" y="563"/>
                </a:cxn>
                <a:cxn ang="0">
                  <a:pos x="224" y="574"/>
                </a:cxn>
                <a:cxn ang="0">
                  <a:pos x="201" y="659"/>
                </a:cxn>
                <a:cxn ang="0">
                  <a:pos x="267" y="692"/>
                </a:cxn>
                <a:cxn ang="0">
                  <a:pos x="307" y="733"/>
                </a:cxn>
                <a:cxn ang="0">
                  <a:pos x="397" y="717"/>
                </a:cxn>
                <a:cxn ang="0">
                  <a:pos x="417" y="767"/>
                </a:cxn>
                <a:cxn ang="0">
                  <a:pos x="493" y="768"/>
                </a:cxn>
                <a:cxn ang="0">
                  <a:pos x="482" y="644"/>
                </a:cxn>
                <a:cxn ang="0">
                  <a:pos x="538" y="640"/>
                </a:cxn>
                <a:cxn ang="0">
                  <a:pos x="563" y="614"/>
                </a:cxn>
                <a:cxn ang="0">
                  <a:pos x="634" y="629"/>
                </a:cxn>
                <a:cxn ang="0">
                  <a:pos x="735" y="610"/>
                </a:cxn>
                <a:cxn ang="0">
                  <a:pos x="798" y="592"/>
                </a:cxn>
                <a:cxn ang="0">
                  <a:pos x="831" y="548"/>
                </a:cxn>
                <a:cxn ang="0">
                  <a:pos x="911" y="533"/>
                </a:cxn>
                <a:cxn ang="0">
                  <a:pos x="911" y="503"/>
                </a:cxn>
                <a:cxn ang="0">
                  <a:pos x="960" y="504"/>
                </a:cxn>
                <a:cxn ang="0">
                  <a:pos x="939" y="443"/>
                </a:cxn>
                <a:cxn ang="0">
                  <a:pos x="860" y="445"/>
                </a:cxn>
                <a:cxn ang="0">
                  <a:pos x="780" y="423"/>
                </a:cxn>
                <a:cxn ang="0">
                  <a:pos x="772" y="382"/>
                </a:cxn>
                <a:cxn ang="0">
                  <a:pos x="776" y="328"/>
                </a:cxn>
                <a:cxn ang="0">
                  <a:pos x="749" y="289"/>
                </a:cxn>
                <a:cxn ang="0">
                  <a:pos x="754" y="211"/>
                </a:cxn>
                <a:cxn ang="0">
                  <a:pos x="662" y="204"/>
                </a:cxn>
                <a:cxn ang="0">
                  <a:pos x="660" y="149"/>
                </a:cxn>
                <a:cxn ang="0">
                  <a:pos x="753" y="137"/>
                </a:cxn>
                <a:cxn ang="0">
                  <a:pos x="753" y="50"/>
                </a:cxn>
                <a:cxn ang="0">
                  <a:pos x="730" y="11"/>
                </a:cxn>
                <a:cxn ang="0">
                  <a:pos x="680" y="0"/>
                </a:cxn>
                <a:cxn ang="0">
                  <a:pos x="649" y="28"/>
                </a:cxn>
                <a:cxn ang="0">
                  <a:pos x="651" y="77"/>
                </a:cxn>
                <a:cxn ang="0">
                  <a:pos x="581" y="134"/>
                </a:cxn>
                <a:cxn ang="0">
                  <a:pos x="574" y="215"/>
                </a:cxn>
                <a:cxn ang="0">
                  <a:pos x="453" y="259"/>
                </a:cxn>
                <a:cxn ang="0">
                  <a:pos x="350" y="94"/>
                </a:cxn>
                <a:cxn ang="0">
                  <a:pos x="224" y="4"/>
                </a:cxn>
                <a:cxn ang="0">
                  <a:pos x="179" y="2"/>
                </a:cxn>
                <a:cxn ang="0">
                  <a:pos x="116" y="26"/>
                </a:cxn>
                <a:cxn ang="0">
                  <a:pos x="115" y="29"/>
                </a:cxn>
                <a:cxn ang="0">
                  <a:pos x="115" y="38"/>
                </a:cxn>
                <a:cxn ang="0">
                  <a:pos x="112" y="51"/>
                </a:cxn>
                <a:cxn ang="0">
                  <a:pos x="110" y="66"/>
                </a:cxn>
                <a:cxn ang="0">
                  <a:pos x="108" y="81"/>
                </a:cxn>
                <a:cxn ang="0">
                  <a:pos x="107" y="94"/>
                </a:cxn>
                <a:cxn ang="0">
                  <a:pos x="106" y="103"/>
                </a:cxn>
                <a:cxn ang="0">
                  <a:pos x="106" y="107"/>
                </a:cxn>
              </a:cxnLst>
              <a:rect l="0" t="0" r="r" b="b"/>
              <a:pathLst>
                <a:path w="961" h="769">
                  <a:moveTo>
                    <a:pt x="106" y="107"/>
                  </a:moveTo>
                  <a:lnTo>
                    <a:pt x="134" y="296"/>
                  </a:lnTo>
                  <a:lnTo>
                    <a:pt x="57" y="338"/>
                  </a:lnTo>
                  <a:lnTo>
                    <a:pt x="0" y="399"/>
                  </a:lnTo>
                  <a:lnTo>
                    <a:pt x="23" y="482"/>
                  </a:lnTo>
                  <a:lnTo>
                    <a:pt x="140" y="487"/>
                  </a:lnTo>
                  <a:lnTo>
                    <a:pt x="158" y="563"/>
                  </a:lnTo>
                  <a:lnTo>
                    <a:pt x="224" y="574"/>
                  </a:lnTo>
                  <a:lnTo>
                    <a:pt x="201" y="659"/>
                  </a:lnTo>
                  <a:lnTo>
                    <a:pt x="267" y="692"/>
                  </a:lnTo>
                  <a:lnTo>
                    <a:pt x="307" y="733"/>
                  </a:lnTo>
                  <a:lnTo>
                    <a:pt x="397" y="717"/>
                  </a:lnTo>
                  <a:lnTo>
                    <a:pt x="417" y="767"/>
                  </a:lnTo>
                  <a:lnTo>
                    <a:pt x="493" y="768"/>
                  </a:lnTo>
                  <a:lnTo>
                    <a:pt x="482" y="644"/>
                  </a:lnTo>
                  <a:lnTo>
                    <a:pt x="538" y="640"/>
                  </a:lnTo>
                  <a:lnTo>
                    <a:pt x="563" y="614"/>
                  </a:lnTo>
                  <a:lnTo>
                    <a:pt x="634" y="629"/>
                  </a:lnTo>
                  <a:lnTo>
                    <a:pt x="735" y="610"/>
                  </a:lnTo>
                  <a:lnTo>
                    <a:pt x="798" y="592"/>
                  </a:lnTo>
                  <a:lnTo>
                    <a:pt x="831" y="548"/>
                  </a:lnTo>
                  <a:lnTo>
                    <a:pt x="911" y="533"/>
                  </a:lnTo>
                  <a:lnTo>
                    <a:pt x="911" y="503"/>
                  </a:lnTo>
                  <a:lnTo>
                    <a:pt x="960" y="504"/>
                  </a:lnTo>
                  <a:lnTo>
                    <a:pt x="939" y="443"/>
                  </a:lnTo>
                  <a:lnTo>
                    <a:pt x="860" y="445"/>
                  </a:lnTo>
                  <a:lnTo>
                    <a:pt x="780" y="423"/>
                  </a:lnTo>
                  <a:lnTo>
                    <a:pt x="772" y="382"/>
                  </a:lnTo>
                  <a:lnTo>
                    <a:pt x="776" y="328"/>
                  </a:lnTo>
                  <a:lnTo>
                    <a:pt x="749" y="289"/>
                  </a:lnTo>
                  <a:lnTo>
                    <a:pt x="754" y="211"/>
                  </a:lnTo>
                  <a:lnTo>
                    <a:pt x="662" y="204"/>
                  </a:lnTo>
                  <a:lnTo>
                    <a:pt x="660" y="149"/>
                  </a:lnTo>
                  <a:lnTo>
                    <a:pt x="753" y="137"/>
                  </a:lnTo>
                  <a:lnTo>
                    <a:pt x="753" y="50"/>
                  </a:lnTo>
                  <a:lnTo>
                    <a:pt x="730" y="11"/>
                  </a:lnTo>
                  <a:lnTo>
                    <a:pt x="680" y="0"/>
                  </a:lnTo>
                  <a:lnTo>
                    <a:pt x="649" y="28"/>
                  </a:lnTo>
                  <a:lnTo>
                    <a:pt x="651" y="77"/>
                  </a:lnTo>
                  <a:lnTo>
                    <a:pt x="581" y="134"/>
                  </a:lnTo>
                  <a:lnTo>
                    <a:pt x="574" y="215"/>
                  </a:lnTo>
                  <a:lnTo>
                    <a:pt x="453" y="259"/>
                  </a:lnTo>
                  <a:lnTo>
                    <a:pt x="350" y="94"/>
                  </a:lnTo>
                  <a:lnTo>
                    <a:pt x="224" y="4"/>
                  </a:lnTo>
                  <a:lnTo>
                    <a:pt x="179" y="2"/>
                  </a:lnTo>
                  <a:lnTo>
                    <a:pt x="116" y="26"/>
                  </a:lnTo>
                  <a:lnTo>
                    <a:pt x="115" y="29"/>
                  </a:lnTo>
                  <a:lnTo>
                    <a:pt x="115" y="38"/>
                  </a:lnTo>
                  <a:lnTo>
                    <a:pt x="112" y="51"/>
                  </a:lnTo>
                  <a:lnTo>
                    <a:pt x="110" y="66"/>
                  </a:lnTo>
                  <a:lnTo>
                    <a:pt x="108" y="81"/>
                  </a:lnTo>
                  <a:lnTo>
                    <a:pt x="107" y="94"/>
                  </a:lnTo>
                  <a:lnTo>
                    <a:pt x="106" y="103"/>
                  </a:lnTo>
                  <a:lnTo>
                    <a:pt x="106" y="107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5" name="Freeform 16">
              <a:extLst>
                <a:ext uri="{FF2B5EF4-FFF2-40B4-BE49-F238E27FC236}">
                  <a16:creationId xmlns:a16="http://schemas.microsoft.com/office/drawing/2014/main" id="{238C9931-E700-D61F-99D2-BF554C087A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20332" y="3453102"/>
              <a:ext cx="360000" cy="560001"/>
            </a:xfrm>
            <a:custGeom>
              <a:avLst/>
              <a:gdLst/>
              <a:ahLst/>
              <a:cxnLst>
                <a:cxn ang="0">
                  <a:pos x="0" y="216"/>
                </a:cxn>
                <a:cxn ang="0">
                  <a:pos x="59" y="214"/>
                </a:cxn>
                <a:cxn ang="0">
                  <a:pos x="124" y="95"/>
                </a:cxn>
                <a:cxn ang="0">
                  <a:pos x="148" y="10"/>
                </a:cxn>
                <a:cxn ang="0">
                  <a:pos x="224" y="0"/>
                </a:cxn>
                <a:cxn ang="0">
                  <a:pos x="236" y="76"/>
                </a:cxn>
                <a:cxn ang="0">
                  <a:pos x="227" y="129"/>
                </a:cxn>
                <a:cxn ang="0">
                  <a:pos x="360" y="166"/>
                </a:cxn>
                <a:cxn ang="0">
                  <a:pos x="320" y="249"/>
                </a:cxn>
                <a:cxn ang="0">
                  <a:pos x="242" y="234"/>
                </a:cxn>
                <a:cxn ang="0">
                  <a:pos x="214" y="261"/>
                </a:cxn>
                <a:cxn ang="0">
                  <a:pos x="216" y="314"/>
                </a:cxn>
                <a:cxn ang="0">
                  <a:pos x="263" y="323"/>
                </a:cxn>
                <a:cxn ang="0">
                  <a:pos x="264" y="365"/>
                </a:cxn>
                <a:cxn ang="0">
                  <a:pos x="220" y="370"/>
                </a:cxn>
                <a:cxn ang="0">
                  <a:pos x="222" y="401"/>
                </a:cxn>
                <a:cxn ang="0">
                  <a:pos x="97" y="374"/>
                </a:cxn>
                <a:cxn ang="0">
                  <a:pos x="104" y="280"/>
                </a:cxn>
                <a:cxn ang="0">
                  <a:pos x="0" y="216"/>
                </a:cxn>
              </a:cxnLst>
              <a:rect l="0" t="0" r="r" b="b"/>
              <a:pathLst>
                <a:path w="361" h="402">
                  <a:moveTo>
                    <a:pt x="0" y="216"/>
                  </a:moveTo>
                  <a:lnTo>
                    <a:pt x="59" y="214"/>
                  </a:lnTo>
                  <a:lnTo>
                    <a:pt x="124" y="95"/>
                  </a:lnTo>
                  <a:lnTo>
                    <a:pt x="148" y="10"/>
                  </a:lnTo>
                  <a:lnTo>
                    <a:pt x="224" y="0"/>
                  </a:lnTo>
                  <a:lnTo>
                    <a:pt x="236" y="76"/>
                  </a:lnTo>
                  <a:lnTo>
                    <a:pt x="227" y="129"/>
                  </a:lnTo>
                  <a:lnTo>
                    <a:pt x="360" y="166"/>
                  </a:lnTo>
                  <a:lnTo>
                    <a:pt x="320" y="249"/>
                  </a:lnTo>
                  <a:lnTo>
                    <a:pt x="242" y="234"/>
                  </a:lnTo>
                  <a:lnTo>
                    <a:pt x="214" y="261"/>
                  </a:lnTo>
                  <a:lnTo>
                    <a:pt x="216" y="314"/>
                  </a:lnTo>
                  <a:lnTo>
                    <a:pt x="263" y="323"/>
                  </a:lnTo>
                  <a:lnTo>
                    <a:pt x="264" y="365"/>
                  </a:lnTo>
                  <a:lnTo>
                    <a:pt x="220" y="370"/>
                  </a:lnTo>
                  <a:lnTo>
                    <a:pt x="222" y="401"/>
                  </a:lnTo>
                  <a:lnTo>
                    <a:pt x="97" y="374"/>
                  </a:lnTo>
                  <a:lnTo>
                    <a:pt x="104" y="280"/>
                  </a:lnTo>
                  <a:lnTo>
                    <a:pt x="0" y="216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6" name="Freeform 17">
              <a:extLst>
                <a:ext uri="{FF2B5EF4-FFF2-40B4-BE49-F238E27FC236}">
                  <a16:creationId xmlns:a16="http://schemas.microsoft.com/office/drawing/2014/main" id="{2C2EDD62-F528-CD3F-CE05-F5D681E95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885" y="3252840"/>
              <a:ext cx="419679" cy="819873"/>
            </a:xfrm>
            <a:custGeom>
              <a:avLst/>
              <a:gdLst/>
              <a:ahLst/>
              <a:cxnLst>
                <a:cxn ang="0">
                  <a:pos x="289" y="0"/>
                </a:cxn>
                <a:cxn ang="0">
                  <a:pos x="359" y="33"/>
                </a:cxn>
                <a:cxn ang="0">
                  <a:pos x="374" y="91"/>
                </a:cxn>
                <a:cxn ang="0">
                  <a:pos x="294" y="191"/>
                </a:cxn>
                <a:cxn ang="0">
                  <a:pos x="288" y="241"/>
                </a:cxn>
                <a:cxn ang="0">
                  <a:pos x="348" y="271"/>
                </a:cxn>
                <a:cxn ang="0">
                  <a:pos x="352" y="333"/>
                </a:cxn>
                <a:cxn ang="0">
                  <a:pos x="305" y="384"/>
                </a:cxn>
                <a:cxn ang="0">
                  <a:pos x="345" y="431"/>
                </a:cxn>
                <a:cxn ang="0">
                  <a:pos x="324" y="499"/>
                </a:cxn>
                <a:cxn ang="0">
                  <a:pos x="183" y="527"/>
                </a:cxn>
                <a:cxn ang="0">
                  <a:pos x="149" y="587"/>
                </a:cxn>
                <a:cxn ang="0">
                  <a:pos x="51" y="603"/>
                </a:cxn>
                <a:cxn ang="0">
                  <a:pos x="60" y="514"/>
                </a:cxn>
                <a:cxn ang="0">
                  <a:pos x="0" y="466"/>
                </a:cxn>
                <a:cxn ang="0">
                  <a:pos x="6" y="359"/>
                </a:cxn>
                <a:cxn ang="0">
                  <a:pos x="39" y="333"/>
                </a:cxn>
                <a:cxn ang="0">
                  <a:pos x="11" y="245"/>
                </a:cxn>
                <a:cxn ang="0">
                  <a:pos x="39" y="155"/>
                </a:cxn>
                <a:cxn ang="0">
                  <a:pos x="145" y="33"/>
                </a:cxn>
                <a:cxn ang="0">
                  <a:pos x="289" y="0"/>
                </a:cxn>
              </a:cxnLst>
              <a:rect l="0" t="0" r="r" b="b"/>
              <a:pathLst>
                <a:path w="375" h="604">
                  <a:moveTo>
                    <a:pt x="289" y="0"/>
                  </a:moveTo>
                  <a:lnTo>
                    <a:pt x="359" y="33"/>
                  </a:lnTo>
                  <a:lnTo>
                    <a:pt x="374" y="91"/>
                  </a:lnTo>
                  <a:lnTo>
                    <a:pt x="294" y="191"/>
                  </a:lnTo>
                  <a:lnTo>
                    <a:pt x="288" y="241"/>
                  </a:lnTo>
                  <a:lnTo>
                    <a:pt x="348" y="271"/>
                  </a:lnTo>
                  <a:lnTo>
                    <a:pt x="352" y="333"/>
                  </a:lnTo>
                  <a:lnTo>
                    <a:pt x="305" y="384"/>
                  </a:lnTo>
                  <a:lnTo>
                    <a:pt x="345" y="431"/>
                  </a:lnTo>
                  <a:lnTo>
                    <a:pt x="324" y="499"/>
                  </a:lnTo>
                  <a:lnTo>
                    <a:pt x="183" y="527"/>
                  </a:lnTo>
                  <a:lnTo>
                    <a:pt x="149" y="587"/>
                  </a:lnTo>
                  <a:lnTo>
                    <a:pt x="51" y="603"/>
                  </a:lnTo>
                  <a:lnTo>
                    <a:pt x="60" y="514"/>
                  </a:lnTo>
                  <a:lnTo>
                    <a:pt x="0" y="466"/>
                  </a:lnTo>
                  <a:lnTo>
                    <a:pt x="6" y="359"/>
                  </a:lnTo>
                  <a:lnTo>
                    <a:pt x="39" y="333"/>
                  </a:lnTo>
                  <a:lnTo>
                    <a:pt x="11" y="245"/>
                  </a:lnTo>
                  <a:lnTo>
                    <a:pt x="39" y="155"/>
                  </a:lnTo>
                  <a:lnTo>
                    <a:pt x="145" y="33"/>
                  </a:lnTo>
                  <a:lnTo>
                    <a:pt x="289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7" name="Freeform 18">
              <a:extLst>
                <a:ext uri="{FF2B5EF4-FFF2-40B4-BE49-F238E27FC236}">
                  <a16:creationId xmlns:a16="http://schemas.microsoft.com/office/drawing/2014/main" id="{840AABFA-C5F8-F92F-FB48-DBE512AE9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5101" y="2731466"/>
              <a:ext cx="713455" cy="641509"/>
            </a:xfrm>
            <a:custGeom>
              <a:avLst/>
              <a:gdLst/>
              <a:ahLst/>
              <a:cxnLst>
                <a:cxn ang="0">
                  <a:pos x="641" y="171"/>
                </a:cxn>
                <a:cxn ang="0">
                  <a:pos x="524" y="296"/>
                </a:cxn>
                <a:cxn ang="0">
                  <a:pos x="369" y="378"/>
                </a:cxn>
                <a:cxn ang="0">
                  <a:pos x="292" y="470"/>
                </a:cxn>
                <a:cxn ang="0">
                  <a:pos x="252" y="452"/>
                </a:cxn>
                <a:cxn ang="0">
                  <a:pos x="276" y="401"/>
                </a:cxn>
                <a:cxn ang="0">
                  <a:pos x="249" y="364"/>
                </a:cxn>
                <a:cxn ang="0">
                  <a:pos x="288" y="265"/>
                </a:cxn>
                <a:cxn ang="0">
                  <a:pos x="237" y="246"/>
                </a:cxn>
                <a:cxn ang="0">
                  <a:pos x="126" y="345"/>
                </a:cxn>
                <a:cxn ang="0">
                  <a:pos x="33" y="321"/>
                </a:cxn>
                <a:cxn ang="0">
                  <a:pos x="0" y="268"/>
                </a:cxn>
                <a:cxn ang="0">
                  <a:pos x="18" y="238"/>
                </a:cxn>
                <a:cxn ang="0">
                  <a:pos x="0" y="152"/>
                </a:cxn>
                <a:cxn ang="0">
                  <a:pos x="56" y="149"/>
                </a:cxn>
                <a:cxn ang="0">
                  <a:pos x="96" y="174"/>
                </a:cxn>
                <a:cxn ang="0">
                  <a:pos x="361" y="7"/>
                </a:cxn>
                <a:cxn ang="0">
                  <a:pos x="486" y="0"/>
                </a:cxn>
                <a:cxn ang="0">
                  <a:pos x="540" y="60"/>
                </a:cxn>
                <a:cxn ang="0">
                  <a:pos x="542" y="129"/>
                </a:cxn>
                <a:cxn ang="0">
                  <a:pos x="591" y="132"/>
                </a:cxn>
                <a:cxn ang="0">
                  <a:pos x="641" y="171"/>
                </a:cxn>
              </a:cxnLst>
              <a:rect l="0" t="0" r="r" b="b"/>
              <a:pathLst>
                <a:path w="642" h="471">
                  <a:moveTo>
                    <a:pt x="641" y="171"/>
                  </a:moveTo>
                  <a:lnTo>
                    <a:pt x="524" y="296"/>
                  </a:lnTo>
                  <a:lnTo>
                    <a:pt x="369" y="378"/>
                  </a:lnTo>
                  <a:lnTo>
                    <a:pt x="292" y="470"/>
                  </a:lnTo>
                  <a:lnTo>
                    <a:pt x="252" y="452"/>
                  </a:lnTo>
                  <a:lnTo>
                    <a:pt x="276" y="401"/>
                  </a:lnTo>
                  <a:lnTo>
                    <a:pt x="249" y="364"/>
                  </a:lnTo>
                  <a:lnTo>
                    <a:pt x="288" y="265"/>
                  </a:lnTo>
                  <a:lnTo>
                    <a:pt x="237" y="246"/>
                  </a:lnTo>
                  <a:lnTo>
                    <a:pt x="126" y="345"/>
                  </a:lnTo>
                  <a:lnTo>
                    <a:pt x="33" y="321"/>
                  </a:lnTo>
                  <a:lnTo>
                    <a:pt x="0" y="268"/>
                  </a:lnTo>
                  <a:lnTo>
                    <a:pt x="18" y="238"/>
                  </a:lnTo>
                  <a:lnTo>
                    <a:pt x="0" y="152"/>
                  </a:lnTo>
                  <a:lnTo>
                    <a:pt x="56" y="149"/>
                  </a:lnTo>
                  <a:lnTo>
                    <a:pt x="96" y="174"/>
                  </a:lnTo>
                  <a:lnTo>
                    <a:pt x="361" y="7"/>
                  </a:lnTo>
                  <a:lnTo>
                    <a:pt x="486" y="0"/>
                  </a:lnTo>
                  <a:lnTo>
                    <a:pt x="540" y="60"/>
                  </a:lnTo>
                  <a:lnTo>
                    <a:pt x="542" y="129"/>
                  </a:lnTo>
                  <a:lnTo>
                    <a:pt x="591" y="132"/>
                  </a:lnTo>
                  <a:lnTo>
                    <a:pt x="641" y="17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8" name="Freeform 19">
              <a:extLst>
                <a:ext uri="{FF2B5EF4-FFF2-40B4-BE49-F238E27FC236}">
                  <a16:creationId xmlns:a16="http://schemas.microsoft.com/office/drawing/2014/main" id="{38CF2815-14F9-A812-F1A9-6E8C4FFF2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2577" y="2932085"/>
              <a:ext cx="650503" cy="918797"/>
            </a:xfrm>
            <a:custGeom>
              <a:avLst/>
              <a:gdLst/>
              <a:ahLst/>
              <a:cxnLst>
                <a:cxn ang="0">
                  <a:pos x="498" y="179"/>
                </a:cxn>
                <a:cxn ang="0">
                  <a:pos x="456" y="124"/>
                </a:cxn>
                <a:cxn ang="0">
                  <a:pos x="381" y="96"/>
                </a:cxn>
                <a:cxn ang="0">
                  <a:pos x="381" y="26"/>
                </a:cxn>
                <a:cxn ang="0">
                  <a:pos x="305" y="0"/>
                </a:cxn>
                <a:cxn ang="0">
                  <a:pos x="247" y="33"/>
                </a:cxn>
                <a:cxn ang="0">
                  <a:pos x="248" y="95"/>
                </a:cxn>
                <a:cxn ang="0">
                  <a:pos x="164" y="93"/>
                </a:cxn>
                <a:cxn ang="0">
                  <a:pos x="104" y="123"/>
                </a:cxn>
                <a:cxn ang="0">
                  <a:pos x="37" y="101"/>
                </a:cxn>
                <a:cxn ang="0">
                  <a:pos x="0" y="174"/>
                </a:cxn>
                <a:cxn ang="0">
                  <a:pos x="15" y="246"/>
                </a:cxn>
                <a:cxn ang="0">
                  <a:pos x="88" y="283"/>
                </a:cxn>
                <a:cxn ang="0">
                  <a:pos x="103" y="336"/>
                </a:cxn>
                <a:cxn ang="0">
                  <a:pos x="15" y="434"/>
                </a:cxn>
                <a:cxn ang="0">
                  <a:pos x="16" y="488"/>
                </a:cxn>
                <a:cxn ang="0">
                  <a:pos x="73" y="519"/>
                </a:cxn>
                <a:cxn ang="0">
                  <a:pos x="73" y="572"/>
                </a:cxn>
                <a:cxn ang="0">
                  <a:pos x="33" y="628"/>
                </a:cxn>
                <a:cxn ang="0">
                  <a:pos x="73" y="677"/>
                </a:cxn>
                <a:cxn ang="0">
                  <a:pos x="164" y="677"/>
                </a:cxn>
                <a:cxn ang="0">
                  <a:pos x="213" y="647"/>
                </a:cxn>
                <a:cxn ang="0">
                  <a:pos x="222" y="585"/>
                </a:cxn>
                <a:cxn ang="0">
                  <a:pos x="254" y="546"/>
                </a:cxn>
                <a:cxn ang="0">
                  <a:pos x="297" y="503"/>
                </a:cxn>
                <a:cxn ang="0">
                  <a:pos x="349" y="503"/>
                </a:cxn>
                <a:cxn ang="0">
                  <a:pos x="426" y="449"/>
                </a:cxn>
                <a:cxn ang="0">
                  <a:pos x="383" y="382"/>
                </a:cxn>
                <a:cxn ang="0">
                  <a:pos x="405" y="325"/>
                </a:cxn>
                <a:cxn ang="0">
                  <a:pos x="460" y="329"/>
                </a:cxn>
                <a:cxn ang="0">
                  <a:pos x="536" y="310"/>
                </a:cxn>
                <a:cxn ang="0">
                  <a:pos x="585" y="201"/>
                </a:cxn>
                <a:cxn ang="0">
                  <a:pos x="498" y="179"/>
                </a:cxn>
              </a:cxnLst>
              <a:rect l="0" t="0" r="r" b="b"/>
              <a:pathLst>
                <a:path w="586" h="678">
                  <a:moveTo>
                    <a:pt x="498" y="179"/>
                  </a:moveTo>
                  <a:lnTo>
                    <a:pt x="456" y="124"/>
                  </a:lnTo>
                  <a:lnTo>
                    <a:pt x="381" y="96"/>
                  </a:lnTo>
                  <a:lnTo>
                    <a:pt x="381" y="26"/>
                  </a:lnTo>
                  <a:lnTo>
                    <a:pt x="305" y="0"/>
                  </a:lnTo>
                  <a:lnTo>
                    <a:pt x="247" y="33"/>
                  </a:lnTo>
                  <a:lnTo>
                    <a:pt x="248" y="95"/>
                  </a:lnTo>
                  <a:lnTo>
                    <a:pt x="164" y="93"/>
                  </a:lnTo>
                  <a:lnTo>
                    <a:pt x="104" y="123"/>
                  </a:lnTo>
                  <a:lnTo>
                    <a:pt x="37" y="101"/>
                  </a:lnTo>
                  <a:lnTo>
                    <a:pt x="0" y="174"/>
                  </a:lnTo>
                  <a:lnTo>
                    <a:pt x="15" y="246"/>
                  </a:lnTo>
                  <a:lnTo>
                    <a:pt x="88" y="283"/>
                  </a:lnTo>
                  <a:lnTo>
                    <a:pt x="103" y="336"/>
                  </a:lnTo>
                  <a:lnTo>
                    <a:pt x="15" y="434"/>
                  </a:lnTo>
                  <a:lnTo>
                    <a:pt x="16" y="488"/>
                  </a:lnTo>
                  <a:lnTo>
                    <a:pt x="73" y="519"/>
                  </a:lnTo>
                  <a:lnTo>
                    <a:pt x="73" y="572"/>
                  </a:lnTo>
                  <a:lnTo>
                    <a:pt x="33" y="628"/>
                  </a:lnTo>
                  <a:lnTo>
                    <a:pt x="73" y="677"/>
                  </a:lnTo>
                  <a:lnTo>
                    <a:pt x="164" y="677"/>
                  </a:lnTo>
                  <a:lnTo>
                    <a:pt x="213" y="647"/>
                  </a:lnTo>
                  <a:lnTo>
                    <a:pt x="222" y="585"/>
                  </a:lnTo>
                  <a:lnTo>
                    <a:pt x="254" y="546"/>
                  </a:lnTo>
                  <a:lnTo>
                    <a:pt x="297" y="503"/>
                  </a:lnTo>
                  <a:lnTo>
                    <a:pt x="349" y="503"/>
                  </a:lnTo>
                  <a:lnTo>
                    <a:pt x="426" y="449"/>
                  </a:lnTo>
                  <a:lnTo>
                    <a:pt x="383" y="382"/>
                  </a:lnTo>
                  <a:lnTo>
                    <a:pt x="405" y="325"/>
                  </a:lnTo>
                  <a:lnTo>
                    <a:pt x="460" y="329"/>
                  </a:lnTo>
                  <a:lnTo>
                    <a:pt x="536" y="310"/>
                  </a:lnTo>
                  <a:lnTo>
                    <a:pt x="585" y="201"/>
                  </a:lnTo>
                  <a:lnTo>
                    <a:pt x="498" y="17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9" name="Freeform 20">
              <a:extLst>
                <a:ext uri="{FF2B5EF4-FFF2-40B4-BE49-F238E27FC236}">
                  <a16:creationId xmlns:a16="http://schemas.microsoft.com/office/drawing/2014/main" id="{D8A1B531-19BF-D2F6-9A02-134586632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9814" y="2363401"/>
              <a:ext cx="977253" cy="602539"/>
            </a:xfrm>
            <a:custGeom>
              <a:avLst/>
              <a:gdLst/>
              <a:ahLst/>
              <a:cxnLst>
                <a:cxn ang="0">
                  <a:pos x="878" y="119"/>
                </a:cxn>
                <a:cxn ang="0">
                  <a:pos x="748" y="73"/>
                </a:cxn>
                <a:cxn ang="0">
                  <a:pos x="691" y="112"/>
                </a:cxn>
                <a:cxn ang="0">
                  <a:pos x="607" y="60"/>
                </a:cxn>
                <a:cxn ang="0">
                  <a:pos x="544" y="52"/>
                </a:cxn>
                <a:cxn ang="0">
                  <a:pos x="544" y="96"/>
                </a:cxn>
                <a:cxn ang="0">
                  <a:pos x="449" y="23"/>
                </a:cxn>
                <a:cxn ang="0">
                  <a:pos x="393" y="30"/>
                </a:cxn>
                <a:cxn ang="0">
                  <a:pos x="324" y="20"/>
                </a:cxn>
                <a:cxn ang="0">
                  <a:pos x="265" y="39"/>
                </a:cxn>
                <a:cxn ang="0">
                  <a:pos x="94" y="0"/>
                </a:cxn>
                <a:cxn ang="0">
                  <a:pos x="78" y="46"/>
                </a:cxn>
                <a:cxn ang="0">
                  <a:pos x="27" y="37"/>
                </a:cxn>
                <a:cxn ang="0">
                  <a:pos x="0" y="50"/>
                </a:cxn>
                <a:cxn ang="0">
                  <a:pos x="102" y="200"/>
                </a:cxn>
                <a:cxn ang="0">
                  <a:pos x="130" y="163"/>
                </a:cxn>
                <a:cxn ang="0">
                  <a:pos x="218" y="209"/>
                </a:cxn>
                <a:cxn ang="0">
                  <a:pos x="230" y="280"/>
                </a:cxn>
                <a:cxn ang="0">
                  <a:pos x="355" y="273"/>
                </a:cxn>
                <a:cxn ang="0">
                  <a:pos x="399" y="342"/>
                </a:cxn>
                <a:cxn ang="0">
                  <a:pos x="404" y="407"/>
                </a:cxn>
                <a:cxn ang="0">
                  <a:pos x="455" y="410"/>
                </a:cxn>
                <a:cxn ang="0">
                  <a:pos x="505" y="443"/>
                </a:cxn>
                <a:cxn ang="0">
                  <a:pos x="530" y="352"/>
                </a:cxn>
                <a:cxn ang="0">
                  <a:pos x="622" y="377"/>
                </a:cxn>
                <a:cxn ang="0">
                  <a:pos x="699" y="358"/>
                </a:cxn>
                <a:cxn ang="0">
                  <a:pos x="657" y="292"/>
                </a:cxn>
                <a:cxn ang="0">
                  <a:pos x="717" y="289"/>
                </a:cxn>
                <a:cxn ang="0">
                  <a:pos x="773" y="244"/>
                </a:cxn>
                <a:cxn ang="0">
                  <a:pos x="771" y="181"/>
                </a:cxn>
                <a:cxn ang="0">
                  <a:pos x="838" y="179"/>
                </a:cxn>
                <a:cxn ang="0">
                  <a:pos x="878" y="119"/>
                </a:cxn>
              </a:cxnLst>
              <a:rect l="0" t="0" r="r" b="b"/>
              <a:pathLst>
                <a:path w="879" h="444">
                  <a:moveTo>
                    <a:pt x="878" y="119"/>
                  </a:moveTo>
                  <a:lnTo>
                    <a:pt x="748" y="73"/>
                  </a:lnTo>
                  <a:lnTo>
                    <a:pt x="691" y="112"/>
                  </a:lnTo>
                  <a:lnTo>
                    <a:pt x="607" y="60"/>
                  </a:lnTo>
                  <a:lnTo>
                    <a:pt x="544" y="52"/>
                  </a:lnTo>
                  <a:lnTo>
                    <a:pt x="544" y="96"/>
                  </a:lnTo>
                  <a:lnTo>
                    <a:pt x="449" y="23"/>
                  </a:lnTo>
                  <a:lnTo>
                    <a:pt x="393" y="30"/>
                  </a:lnTo>
                  <a:lnTo>
                    <a:pt x="324" y="20"/>
                  </a:lnTo>
                  <a:lnTo>
                    <a:pt x="265" y="39"/>
                  </a:lnTo>
                  <a:lnTo>
                    <a:pt x="94" y="0"/>
                  </a:lnTo>
                  <a:lnTo>
                    <a:pt x="78" y="46"/>
                  </a:lnTo>
                  <a:lnTo>
                    <a:pt x="27" y="37"/>
                  </a:lnTo>
                  <a:lnTo>
                    <a:pt x="0" y="50"/>
                  </a:lnTo>
                  <a:lnTo>
                    <a:pt x="102" y="200"/>
                  </a:lnTo>
                  <a:lnTo>
                    <a:pt x="130" y="163"/>
                  </a:lnTo>
                  <a:lnTo>
                    <a:pt x="218" y="209"/>
                  </a:lnTo>
                  <a:lnTo>
                    <a:pt x="230" y="280"/>
                  </a:lnTo>
                  <a:lnTo>
                    <a:pt x="355" y="273"/>
                  </a:lnTo>
                  <a:lnTo>
                    <a:pt x="399" y="342"/>
                  </a:lnTo>
                  <a:lnTo>
                    <a:pt x="404" y="407"/>
                  </a:lnTo>
                  <a:lnTo>
                    <a:pt x="455" y="410"/>
                  </a:lnTo>
                  <a:lnTo>
                    <a:pt x="505" y="443"/>
                  </a:lnTo>
                  <a:lnTo>
                    <a:pt x="530" y="352"/>
                  </a:lnTo>
                  <a:lnTo>
                    <a:pt x="622" y="377"/>
                  </a:lnTo>
                  <a:lnTo>
                    <a:pt x="699" y="358"/>
                  </a:lnTo>
                  <a:lnTo>
                    <a:pt x="657" y="292"/>
                  </a:lnTo>
                  <a:lnTo>
                    <a:pt x="717" y="289"/>
                  </a:lnTo>
                  <a:lnTo>
                    <a:pt x="773" y="244"/>
                  </a:lnTo>
                  <a:lnTo>
                    <a:pt x="771" y="181"/>
                  </a:lnTo>
                  <a:lnTo>
                    <a:pt x="838" y="179"/>
                  </a:lnTo>
                  <a:lnTo>
                    <a:pt x="878" y="11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0" name="Freeform 21">
              <a:extLst>
                <a:ext uri="{FF2B5EF4-FFF2-40B4-BE49-F238E27FC236}">
                  <a16:creationId xmlns:a16="http://schemas.microsoft.com/office/drawing/2014/main" id="{D81A9AD3-D758-D529-19CD-EDA9F20D5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147" y="3434465"/>
              <a:ext cx="648000" cy="1008729"/>
            </a:xfrm>
            <a:custGeom>
              <a:avLst/>
              <a:gdLst/>
              <a:ahLst/>
              <a:cxnLst>
                <a:cxn ang="0">
                  <a:pos x="24" y="669"/>
                </a:cxn>
                <a:cxn ang="0">
                  <a:pos x="144" y="688"/>
                </a:cxn>
                <a:cxn ang="0">
                  <a:pos x="209" y="712"/>
                </a:cxn>
                <a:cxn ang="0">
                  <a:pos x="284" y="705"/>
                </a:cxn>
                <a:cxn ang="0">
                  <a:pos x="337" y="736"/>
                </a:cxn>
                <a:cxn ang="0">
                  <a:pos x="404" y="742"/>
                </a:cxn>
                <a:cxn ang="0">
                  <a:pos x="422" y="639"/>
                </a:cxn>
                <a:cxn ang="0">
                  <a:pos x="371" y="582"/>
                </a:cxn>
                <a:cxn ang="0">
                  <a:pos x="526" y="600"/>
                </a:cxn>
                <a:cxn ang="0">
                  <a:pos x="520" y="551"/>
                </a:cxn>
                <a:cxn ang="0">
                  <a:pos x="461" y="455"/>
                </a:cxn>
                <a:cxn ang="0">
                  <a:pos x="464" y="370"/>
                </a:cxn>
                <a:cxn ang="0">
                  <a:pos x="411" y="313"/>
                </a:cxn>
                <a:cxn ang="0">
                  <a:pos x="410" y="215"/>
                </a:cxn>
                <a:cxn ang="0">
                  <a:pos x="454" y="190"/>
                </a:cxn>
                <a:cxn ang="0">
                  <a:pos x="415" y="103"/>
                </a:cxn>
                <a:cxn ang="0">
                  <a:pos x="449" y="11"/>
                </a:cxn>
                <a:cxn ang="0">
                  <a:pos x="366" y="0"/>
                </a:cxn>
                <a:cxn ang="0">
                  <a:pos x="321" y="67"/>
                </a:cxn>
                <a:cxn ang="0">
                  <a:pos x="283" y="72"/>
                </a:cxn>
                <a:cxn ang="0">
                  <a:pos x="194" y="186"/>
                </a:cxn>
                <a:cxn ang="0">
                  <a:pos x="157" y="262"/>
                </a:cxn>
                <a:cxn ang="0">
                  <a:pos x="253" y="288"/>
                </a:cxn>
                <a:cxn ang="0">
                  <a:pos x="275" y="342"/>
                </a:cxn>
                <a:cxn ang="0">
                  <a:pos x="251" y="380"/>
                </a:cxn>
                <a:cxn ang="0">
                  <a:pos x="264" y="411"/>
                </a:cxn>
                <a:cxn ang="0">
                  <a:pos x="237" y="423"/>
                </a:cxn>
                <a:cxn ang="0">
                  <a:pos x="201" y="423"/>
                </a:cxn>
                <a:cxn ang="0">
                  <a:pos x="166" y="455"/>
                </a:cxn>
                <a:cxn ang="0">
                  <a:pos x="101" y="441"/>
                </a:cxn>
                <a:cxn ang="0">
                  <a:pos x="54" y="507"/>
                </a:cxn>
                <a:cxn ang="0">
                  <a:pos x="76" y="520"/>
                </a:cxn>
                <a:cxn ang="0">
                  <a:pos x="63" y="591"/>
                </a:cxn>
                <a:cxn ang="0">
                  <a:pos x="0" y="606"/>
                </a:cxn>
                <a:cxn ang="0">
                  <a:pos x="24" y="669"/>
                </a:cxn>
              </a:cxnLst>
              <a:rect l="0" t="0" r="r" b="b"/>
              <a:pathLst>
                <a:path w="527" h="743">
                  <a:moveTo>
                    <a:pt x="24" y="669"/>
                  </a:moveTo>
                  <a:lnTo>
                    <a:pt x="144" y="688"/>
                  </a:lnTo>
                  <a:lnTo>
                    <a:pt x="209" y="712"/>
                  </a:lnTo>
                  <a:lnTo>
                    <a:pt x="284" y="705"/>
                  </a:lnTo>
                  <a:lnTo>
                    <a:pt x="337" y="736"/>
                  </a:lnTo>
                  <a:lnTo>
                    <a:pt x="404" y="742"/>
                  </a:lnTo>
                  <a:lnTo>
                    <a:pt x="422" y="639"/>
                  </a:lnTo>
                  <a:lnTo>
                    <a:pt x="371" y="582"/>
                  </a:lnTo>
                  <a:lnTo>
                    <a:pt x="526" y="600"/>
                  </a:lnTo>
                  <a:lnTo>
                    <a:pt x="520" y="551"/>
                  </a:lnTo>
                  <a:lnTo>
                    <a:pt x="461" y="455"/>
                  </a:lnTo>
                  <a:lnTo>
                    <a:pt x="464" y="370"/>
                  </a:lnTo>
                  <a:lnTo>
                    <a:pt x="411" y="313"/>
                  </a:lnTo>
                  <a:lnTo>
                    <a:pt x="410" y="215"/>
                  </a:lnTo>
                  <a:lnTo>
                    <a:pt x="454" y="190"/>
                  </a:lnTo>
                  <a:lnTo>
                    <a:pt x="415" y="103"/>
                  </a:lnTo>
                  <a:lnTo>
                    <a:pt x="449" y="11"/>
                  </a:lnTo>
                  <a:lnTo>
                    <a:pt x="366" y="0"/>
                  </a:lnTo>
                  <a:lnTo>
                    <a:pt x="321" y="67"/>
                  </a:lnTo>
                  <a:lnTo>
                    <a:pt x="283" y="72"/>
                  </a:lnTo>
                  <a:lnTo>
                    <a:pt x="194" y="186"/>
                  </a:lnTo>
                  <a:lnTo>
                    <a:pt x="157" y="262"/>
                  </a:lnTo>
                  <a:lnTo>
                    <a:pt x="253" y="288"/>
                  </a:lnTo>
                  <a:lnTo>
                    <a:pt x="275" y="342"/>
                  </a:lnTo>
                  <a:lnTo>
                    <a:pt x="251" y="380"/>
                  </a:lnTo>
                  <a:lnTo>
                    <a:pt x="264" y="411"/>
                  </a:lnTo>
                  <a:lnTo>
                    <a:pt x="237" y="423"/>
                  </a:lnTo>
                  <a:lnTo>
                    <a:pt x="201" y="423"/>
                  </a:lnTo>
                  <a:lnTo>
                    <a:pt x="166" y="455"/>
                  </a:lnTo>
                  <a:lnTo>
                    <a:pt x="101" y="441"/>
                  </a:lnTo>
                  <a:lnTo>
                    <a:pt x="54" y="507"/>
                  </a:lnTo>
                  <a:lnTo>
                    <a:pt x="76" y="520"/>
                  </a:lnTo>
                  <a:lnTo>
                    <a:pt x="63" y="591"/>
                  </a:lnTo>
                  <a:lnTo>
                    <a:pt x="0" y="606"/>
                  </a:lnTo>
                  <a:lnTo>
                    <a:pt x="24" y="66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1" name="Freeform 24">
              <a:extLst>
                <a:ext uri="{FF2B5EF4-FFF2-40B4-BE49-F238E27FC236}">
                  <a16:creationId xmlns:a16="http://schemas.microsoft.com/office/drawing/2014/main" id="{9ADD817B-C477-BFE4-F1A7-669DBFA7D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8881" y="3500150"/>
              <a:ext cx="756922" cy="485629"/>
            </a:xfrm>
            <a:custGeom>
              <a:avLst/>
              <a:gdLst/>
              <a:ahLst/>
              <a:cxnLst>
                <a:cxn ang="0">
                  <a:pos x="215" y="20"/>
                </a:cxn>
                <a:cxn ang="0">
                  <a:pos x="291" y="14"/>
                </a:cxn>
                <a:cxn ang="0">
                  <a:pos x="316" y="69"/>
                </a:cxn>
                <a:cxn ang="0">
                  <a:pos x="400" y="93"/>
                </a:cxn>
                <a:cxn ang="0">
                  <a:pos x="471" y="0"/>
                </a:cxn>
                <a:cxn ang="0">
                  <a:pos x="552" y="20"/>
                </a:cxn>
                <a:cxn ang="0">
                  <a:pos x="665" y="11"/>
                </a:cxn>
                <a:cxn ang="0">
                  <a:pos x="680" y="63"/>
                </a:cxn>
                <a:cxn ang="0">
                  <a:pos x="558" y="154"/>
                </a:cxn>
                <a:cxn ang="0">
                  <a:pos x="501" y="154"/>
                </a:cxn>
                <a:cxn ang="0">
                  <a:pos x="486" y="224"/>
                </a:cxn>
                <a:cxn ang="0">
                  <a:pos x="424" y="287"/>
                </a:cxn>
                <a:cxn ang="0">
                  <a:pos x="375" y="330"/>
                </a:cxn>
                <a:cxn ang="0">
                  <a:pos x="289" y="329"/>
                </a:cxn>
                <a:cxn ang="0">
                  <a:pos x="243" y="352"/>
                </a:cxn>
                <a:cxn ang="0">
                  <a:pos x="203" y="334"/>
                </a:cxn>
                <a:cxn ang="0">
                  <a:pos x="130" y="344"/>
                </a:cxn>
                <a:cxn ang="0">
                  <a:pos x="66" y="359"/>
                </a:cxn>
                <a:cxn ang="0">
                  <a:pos x="11" y="322"/>
                </a:cxn>
                <a:cxn ang="0">
                  <a:pos x="60" y="257"/>
                </a:cxn>
                <a:cxn ang="0">
                  <a:pos x="0" y="217"/>
                </a:cxn>
                <a:cxn ang="0">
                  <a:pos x="10" y="152"/>
                </a:cxn>
                <a:cxn ang="0">
                  <a:pos x="42" y="119"/>
                </a:cxn>
                <a:cxn ang="0">
                  <a:pos x="88" y="73"/>
                </a:cxn>
                <a:cxn ang="0">
                  <a:pos x="141" y="67"/>
                </a:cxn>
                <a:cxn ang="0">
                  <a:pos x="215" y="20"/>
                </a:cxn>
              </a:cxnLst>
              <a:rect l="0" t="0" r="r" b="b"/>
              <a:pathLst>
                <a:path w="681" h="360">
                  <a:moveTo>
                    <a:pt x="215" y="20"/>
                  </a:moveTo>
                  <a:lnTo>
                    <a:pt x="291" y="14"/>
                  </a:lnTo>
                  <a:lnTo>
                    <a:pt x="316" y="69"/>
                  </a:lnTo>
                  <a:lnTo>
                    <a:pt x="400" y="93"/>
                  </a:lnTo>
                  <a:lnTo>
                    <a:pt x="471" y="0"/>
                  </a:lnTo>
                  <a:lnTo>
                    <a:pt x="552" y="20"/>
                  </a:lnTo>
                  <a:lnTo>
                    <a:pt x="665" y="11"/>
                  </a:lnTo>
                  <a:lnTo>
                    <a:pt x="680" y="63"/>
                  </a:lnTo>
                  <a:lnTo>
                    <a:pt x="558" y="154"/>
                  </a:lnTo>
                  <a:lnTo>
                    <a:pt x="501" y="154"/>
                  </a:lnTo>
                  <a:lnTo>
                    <a:pt x="486" y="224"/>
                  </a:lnTo>
                  <a:lnTo>
                    <a:pt x="424" y="287"/>
                  </a:lnTo>
                  <a:lnTo>
                    <a:pt x="375" y="330"/>
                  </a:lnTo>
                  <a:lnTo>
                    <a:pt x="289" y="329"/>
                  </a:lnTo>
                  <a:lnTo>
                    <a:pt x="243" y="352"/>
                  </a:lnTo>
                  <a:lnTo>
                    <a:pt x="203" y="334"/>
                  </a:lnTo>
                  <a:lnTo>
                    <a:pt x="130" y="344"/>
                  </a:lnTo>
                  <a:lnTo>
                    <a:pt x="66" y="359"/>
                  </a:lnTo>
                  <a:lnTo>
                    <a:pt x="11" y="322"/>
                  </a:lnTo>
                  <a:lnTo>
                    <a:pt x="60" y="257"/>
                  </a:lnTo>
                  <a:lnTo>
                    <a:pt x="0" y="217"/>
                  </a:lnTo>
                  <a:lnTo>
                    <a:pt x="10" y="152"/>
                  </a:lnTo>
                  <a:lnTo>
                    <a:pt x="42" y="119"/>
                  </a:lnTo>
                  <a:lnTo>
                    <a:pt x="88" y="73"/>
                  </a:lnTo>
                  <a:lnTo>
                    <a:pt x="141" y="67"/>
                  </a:lnTo>
                  <a:lnTo>
                    <a:pt x="215" y="2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2" name="Freeform 25">
              <a:extLst>
                <a:ext uri="{FF2B5EF4-FFF2-40B4-BE49-F238E27FC236}">
                  <a16:creationId xmlns:a16="http://schemas.microsoft.com/office/drawing/2014/main" id="{2A38BC46-A272-9107-365F-8B217B437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830" y="3786432"/>
              <a:ext cx="683478" cy="623523"/>
            </a:xfrm>
            <a:custGeom>
              <a:avLst/>
              <a:gdLst/>
              <a:ahLst/>
              <a:cxnLst>
                <a:cxn ang="0">
                  <a:pos x="287" y="29"/>
                </a:cxn>
                <a:cxn ang="0">
                  <a:pos x="379" y="27"/>
                </a:cxn>
                <a:cxn ang="0">
                  <a:pos x="430" y="0"/>
                </a:cxn>
                <a:cxn ang="0">
                  <a:pos x="489" y="33"/>
                </a:cxn>
                <a:cxn ang="0">
                  <a:pos x="441" y="101"/>
                </a:cxn>
                <a:cxn ang="0">
                  <a:pos x="486" y="134"/>
                </a:cxn>
                <a:cxn ang="0">
                  <a:pos x="562" y="122"/>
                </a:cxn>
                <a:cxn ang="0">
                  <a:pos x="616" y="185"/>
                </a:cxn>
                <a:cxn ang="0">
                  <a:pos x="585" y="239"/>
                </a:cxn>
                <a:cxn ang="0">
                  <a:pos x="511" y="218"/>
                </a:cxn>
                <a:cxn ang="0">
                  <a:pos x="510" y="272"/>
                </a:cxn>
                <a:cxn ang="0">
                  <a:pos x="491" y="303"/>
                </a:cxn>
                <a:cxn ang="0">
                  <a:pos x="527" y="363"/>
                </a:cxn>
                <a:cxn ang="0">
                  <a:pos x="574" y="341"/>
                </a:cxn>
                <a:cxn ang="0">
                  <a:pos x="612" y="409"/>
                </a:cxn>
                <a:cxn ang="0">
                  <a:pos x="544" y="458"/>
                </a:cxn>
                <a:cxn ang="0">
                  <a:pos x="394" y="442"/>
                </a:cxn>
                <a:cxn ang="0">
                  <a:pos x="341" y="400"/>
                </a:cxn>
                <a:cxn ang="0">
                  <a:pos x="185" y="396"/>
                </a:cxn>
                <a:cxn ang="0">
                  <a:pos x="68" y="336"/>
                </a:cxn>
                <a:cxn ang="0">
                  <a:pos x="60" y="291"/>
                </a:cxn>
                <a:cxn ang="0">
                  <a:pos x="0" y="195"/>
                </a:cxn>
                <a:cxn ang="0">
                  <a:pos x="89" y="185"/>
                </a:cxn>
                <a:cxn ang="0">
                  <a:pos x="133" y="122"/>
                </a:cxn>
                <a:cxn ang="0">
                  <a:pos x="270" y="96"/>
                </a:cxn>
                <a:cxn ang="0">
                  <a:pos x="287" y="29"/>
                </a:cxn>
              </a:cxnLst>
              <a:rect l="0" t="0" r="r" b="b"/>
              <a:pathLst>
                <a:path w="617" h="459">
                  <a:moveTo>
                    <a:pt x="287" y="29"/>
                  </a:moveTo>
                  <a:lnTo>
                    <a:pt x="379" y="27"/>
                  </a:lnTo>
                  <a:lnTo>
                    <a:pt x="430" y="0"/>
                  </a:lnTo>
                  <a:lnTo>
                    <a:pt x="489" y="33"/>
                  </a:lnTo>
                  <a:lnTo>
                    <a:pt x="441" y="101"/>
                  </a:lnTo>
                  <a:lnTo>
                    <a:pt x="486" y="134"/>
                  </a:lnTo>
                  <a:lnTo>
                    <a:pt x="562" y="122"/>
                  </a:lnTo>
                  <a:lnTo>
                    <a:pt x="616" y="185"/>
                  </a:lnTo>
                  <a:lnTo>
                    <a:pt x="585" y="239"/>
                  </a:lnTo>
                  <a:lnTo>
                    <a:pt x="511" y="218"/>
                  </a:lnTo>
                  <a:lnTo>
                    <a:pt x="510" y="272"/>
                  </a:lnTo>
                  <a:lnTo>
                    <a:pt x="491" y="303"/>
                  </a:lnTo>
                  <a:lnTo>
                    <a:pt x="527" y="363"/>
                  </a:lnTo>
                  <a:lnTo>
                    <a:pt x="574" y="341"/>
                  </a:lnTo>
                  <a:lnTo>
                    <a:pt x="612" y="409"/>
                  </a:lnTo>
                  <a:lnTo>
                    <a:pt x="544" y="458"/>
                  </a:lnTo>
                  <a:lnTo>
                    <a:pt x="394" y="442"/>
                  </a:lnTo>
                  <a:lnTo>
                    <a:pt x="341" y="400"/>
                  </a:lnTo>
                  <a:lnTo>
                    <a:pt x="185" y="396"/>
                  </a:lnTo>
                  <a:lnTo>
                    <a:pt x="68" y="336"/>
                  </a:lnTo>
                  <a:lnTo>
                    <a:pt x="60" y="291"/>
                  </a:lnTo>
                  <a:lnTo>
                    <a:pt x="0" y="195"/>
                  </a:lnTo>
                  <a:lnTo>
                    <a:pt x="89" y="185"/>
                  </a:lnTo>
                  <a:lnTo>
                    <a:pt x="133" y="122"/>
                  </a:lnTo>
                  <a:lnTo>
                    <a:pt x="270" y="96"/>
                  </a:lnTo>
                  <a:lnTo>
                    <a:pt x="287" y="2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3" name="Freeform 26">
              <a:extLst>
                <a:ext uri="{FF2B5EF4-FFF2-40B4-BE49-F238E27FC236}">
                  <a16:creationId xmlns:a16="http://schemas.microsoft.com/office/drawing/2014/main" id="{3FCEE5D3-93AE-261C-2642-B19D73702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655" y="3872533"/>
              <a:ext cx="705960" cy="512607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71" y="49"/>
                </a:cxn>
                <a:cxn ang="0">
                  <a:pos x="115" y="68"/>
                </a:cxn>
                <a:cxn ang="0">
                  <a:pos x="153" y="43"/>
                </a:cxn>
                <a:cxn ang="0">
                  <a:pos x="243" y="44"/>
                </a:cxn>
                <a:cxn ang="0">
                  <a:pos x="293" y="0"/>
                </a:cxn>
                <a:cxn ang="0">
                  <a:pos x="396" y="44"/>
                </a:cxn>
                <a:cxn ang="0">
                  <a:pos x="446" y="80"/>
                </a:cxn>
                <a:cxn ang="0">
                  <a:pos x="529" y="215"/>
                </a:cxn>
                <a:cxn ang="0">
                  <a:pos x="624" y="247"/>
                </a:cxn>
                <a:cxn ang="0">
                  <a:pos x="568" y="277"/>
                </a:cxn>
                <a:cxn ang="0">
                  <a:pos x="634" y="298"/>
                </a:cxn>
                <a:cxn ang="0">
                  <a:pos x="567" y="331"/>
                </a:cxn>
                <a:cxn ang="0">
                  <a:pos x="508" y="379"/>
                </a:cxn>
                <a:cxn ang="0">
                  <a:pos x="429" y="365"/>
                </a:cxn>
                <a:cxn ang="0">
                  <a:pos x="337" y="376"/>
                </a:cxn>
                <a:cxn ang="0">
                  <a:pos x="327" y="322"/>
                </a:cxn>
                <a:cxn ang="0">
                  <a:pos x="293" y="269"/>
                </a:cxn>
                <a:cxn ang="0">
                  <a:pos x="286" y="231"/>
                </a:cxn>
                <a:cxn ang="0">
                  <a:pos x="220" y="203"/>
                </a:cxn>
                <a:cxn ang="0">
                  <a:pos x="236" y="165"/>
                </a:cxn>
                <a:cxn ang="0">
                  <a:pos x="210" y="131"/>
                </a:cxn>
                <a:cxn ang="0">
                  <a:pos x="117" y="145"/>
                </a:cxn>
                <a:cxn ang="0">
                  <a:pos x="55" y="126"/>
                </a:cxn>
                <a:cxn ang="0">
                  <a:pos x="0" y="57"/>
                </a:cxn>
              </a:cxnLst>
              <a:rect l="0" t="0" r="r" b="b"/>
              <a:pathLst>
                <a:path w="635" h="380">
                  <a:moveTo>
                    <a:pt x="0" y="57"/>
                  </a:moveTo>
                  <a:lnTo>
                    <a:pt x="71" y="49"/>
                  </a:lnTo>
                  <a:lnTo>
                    <a:pt x="115" y="68"/>
                  </a:lnTo>
                  <a:lnTo>
                    <a:pt x="153" y="43"/>
                  </a:lnTo>
                  <a:lnTo>
                    <a:pt x="243" y="44"/>
                  </a:lnTo>
                  <a:lnTo>
                    <a:pt x="293" y="0"/>
                  </a:lnTo>
                  <a:lnTo>
                    <a:pt x="396" y="44"/>
                  </a:lnTo>
                  <a:lnTo>
                    <a:pt x="446" y="80"/>
                  </a:lnTo>
                  <a:lnTo>
                    <a:pt x="529" y="215"/>
                  </a:lnTo>
                  <a:lnTo>
                    <a:pt x="624" y="247"/>
                  </a:lnTo>
                  <a:lnTo>
                    <a:pt x="568" y="277"/>
                  </a:lnTo>
                  <a:lnTo>
                    <a:pt x="634" y="298"/>
                  </a:lnTo>
                  <a:lnTo>
                    <a:pt x="567" y="331"/>
                  </a:lnTo>
                  <a:lnTo>
                    <a:pt x="508" y="379"/>
                  </a:lnTo>
                  <a:lnTo>
                    <a:pt x="429" y="365"/>
                  </a:lnTo>
                  <a:lnTo>
                    <a:pt x="337" y="376"/>
                  </a:lnTo>
                  <a:lnTo>
                    <a:pt x="327" y="322"/>
                  </a:lnTo>
                  <a:lnTo>
                    <a:pt x="293" y="269"/>
                  </a:lnTo>
                  <a:lnTo>
                    <a:pt x="286" y="231"/>
                  </a:lnTo>
                  <a:lnTo>
                    <a:pt x="220" y="203"/>
                  </a:lnTo>
                  <a:lnTo>
                    <a:pt x="236" y="165"/>
                  </a:lnTo>
                  <a:lnTo>
                    <a:pt x="210" y="131"/>
                  </a:lnTo>
                  <a:lnTo>
                    <a:pt x="117" y="145"/>
                  </a:lnTo>
                  <a:lnTo>
                    <a:pt x="55" y="126"/>
                  </a:lnTo>
                  <a:lnTo>
                    <a:pt x="0" y="57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4" name="Freeform 27">
              <a:extLst>
                <a:ext uri="{FF2B5EF4-FFF2-40B4-BE49-F238E27FC236}">
                  <a16:creationId xmlns:a16="http://schemas.microsoft.com/office/drawing/2014/main" id="{78EDEE83-3FF9-2CE8-1073-ECCBFE202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8063" y="4263899"/>
              <a:ext cx="457151" cy="598041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259" y="33"/>
                </a:cxn>
                <a:cxn ang="0">
                  <a:pos x="200" y="81"/>
                </a:cxn>
                <a:cxn ang="0">
                  <a:pos x="118" y="70"/>
                </a:cxn>
                <a:cxn ang="0">
                  <a:pos x="98" y="143"/>
                </a:cxn>
                <a:cxn ang="0">
                  <a:pos x="44" y="157"/>
                </a:cxn>
                <a:cxn ang="0">
                  <a:pos x="0" y="256"/>
                </a:cxn>
                <a:cxn ang="0">
                  <a:pos x="32" y="373"/>
                </a:cxn>
                <a:cxn ang="0">
                  <a:pos x="88" y="382"/>
                </a:cxn>
                <a:cxn ang="0">
                  <a:pos x="133" y="440"/>
                </a:cxn>
                <a:cxn ang="0">
                  <a:pos x="179" y="437"/>
                </a:cxn>
                <a:cxn ang="0">
                  <a:pos x="210" y="416"/>
                </a:cxn>
                <a:cxn ang="0">
                  <a:pos x="293" y="422"/>
                </a:cxn>
                <a:cxn ang="0">
                  <a:pos x="335" y="332"/>
                </a:cxn>
                <a:cxn ang="0">
                  <a:pos x="391" y="315"/>
                </a:cxn>
                <a:cxn ang="0">
                  <a:pos x="366" y="231"/>
                </a:cxn>
                <a:cxn ang="0">
                  <a:pos x="409" y="203"/>
                </a:cxn>
                <a:cxn ang="0">
                  <a:pos x="396" y="156"/>
                </a:cxn>
                <a:cxn ang="0">
                  <a:pos x="252" y="121"/>
                </a:cxn>
                <a:cxn ang="0">
                  <a:pos x="360" y="63"/>
                </a:cxn>
                <a:cxn ang="0">
                  <a:pos x="328" y="0"/>
                </a:cxn>
              </a:cxnLst>
              <a:rect l="0" t="0" r="r" b="b"/>
              <a:pathLst>
                <a:path w="410" h="441">
                  <a:moveTo>
                    <a:pt x="328" y="0"/>
                  </a:moveTo>
                  <a:lnTo>
                    <a:pt x="259" y="33"/>
                  </a:lnTo>
                  <a:lnTo>
                    <a:pt x="200" y="81"/>
                  </a:lnTo>
                  <a:lnTo>
                    <a:pt x="118" y="70"/>
                  </a:lnTo>
                  <a:lnTo>
                    <a:pt x="98" y="143"/>
                  </a:lnTo>
                  <a:lnTo>
                    <a:pt x="44" y="157"/>
                  </a:lnTo>
                  <a:lnTo>
                    <a:pt x="0" y="256"/>
                  </a:lnTo>
                  <a:lnTo>
                    <a:pt x="32" y="373"/>
                  </a:lnTo>
                  <a:lnTo>
                    <a:pt x="88" y="382"/>
                  </a:lnTo>
                  <a:lnTo>
                    <a:pt x="133" y="440"/>
                  </a:lnTo>
                  <a:lnTo>
                    <a:pt x="179" y="437"/>
                  </a:lnTo>
                  <a:lnTo>
                    <a:pt x="210" y="416"/>
                  </a:lnTo>
                  <a:lnTo>
                    <a:pt x="293" y="422"/>
                  </a:lnTo>
                  <a:lnTo>
                    <a:pt x="335" y="332"/>
                  </a:lnTo>
                  <a:lnTo>
                    <a:pt x="391" y="315"/>
                  </a:lnTo>
                  <a:lnTo>
                    <a:pt x="366" y="231"/>
                  </a:lnTo>
                  <a:lnTo>
                    <a:pt x="409" y="203"/>
                  </a:lnTo>
                  <a:lnTo>
                    <a:pt x="396" y="156"/>
                  </a:lnTo>
                  <a:lnTo>
                    <a:pt x="252" y="121"/>
                  </a:lnTo>
                  <a:lnTo>
                    <a:pt x="360" y="63"/>
                  </a:lnTo>
                  <a:lnTo>
                    <a:pt x="328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5" name="Freeform 28">
              <a:extLst>
                <a:ext uri="{FF2B5EF4-FFF2-40B4-BE49-F238E27FC236}">
                  <a16:creationId xmlns:a16="http://schemas.microsoft.com/office/drawing/2014/main" id="{B5EAD653-A3D9-123B-8E4F-DEFD5D861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873" y="4027081"/>
              <a:ext cx="551578" cy="584553"/>
            </a:xfrm>
            <a:custGeom>
              <a:avLst/>
              <a:gdLst/>
              <a:ahLst/>
              <a:cxnLst>
                <a:cxn ang="0">
                  <a:pos x="119" y="2"/>
                </a:cxn>
                <a:cxn ang="0">
                  <a:pos x="181" y="17"/>
                </a:cxn>
                <a:cxn ang="0">
                  <a:pos x="285" y="0"/>
                </a:cxn>
                <a:cxn ang="0">
                  <a:pos x="303" y="40"/>
                </a:cxn>
                <a:cxn ang="0">
                  <a:pos x="289" y="80"/>
                </a:cxn>
                <a:cxn ang="0">
                  <a:pos x="353" y="104"/>
                </a:cxn>
                <a:cxn ang="0">
                  <a:pos x="358" y="144"/>
                </a:cxn>
                <a:cxn ang="0">
                  <a:pos x="395" y="201"/>
                </a:cxn>
                <a:cxn ang="0">
                  <a:pos x="407" y="246"/>
                </a:cxn>
                <a:cxn ang="0">
                  <a:pos x="492" y="241"/>
                </a:cxn>
                <a:cxn ang="0">
                  <a:pos x="469" y="316"/>
                </a:cxn>
                <a:cxn ang="0">
                  <a:pos x="410" y="330"/>
                </a:cxn>
                <a:cxn ang="0">
                  <a:pos x="373" y="430"/>
                </a:cxn>
                <a:cxn ang="0">
                  <a:pos x="318" y="430"/>
                </a:cxn>
                <a:cxn ang="0">
                  <a:pos x="286" y="403"/>
                </a:cxn>
                <a:cxn ang="0">
                  <a:pos x="234" y="425"/>
                </a:cxn>
                <a:cxn ang="0">
                  <a:pos x="192" y="395"/>
                </a:cxn>
                <a:cxn ang="0">
                  <a:pos x="158" y="405"/>
                </a:cxn>
                <a:cxn ang="0">
                  <a:pos x="111" y="350"/>
                </a:cxn>
                <a:cxn ang="0">
                  <a:pos x="113" y="296"/>
                </a:cxn>
                <a:cxn ang="0">
                  <a:pos x="51" y="271"/>
                </a:cxn>
                <a:cxn ang="0">
                  <a:pos x="112" y="222"/>
                </a:cxn>
                <a:cxn ang="0">
                  <a:pos x="79" y="159"/>
                </a:cxn>
                <a:cxn ang="0">
                  <a:pos x="37" y="175"/>
                </a:cxn>
                <a:cxn ang="0">
                  <a:pos x="0" y="116"/>
                </a:cxn>
                <a:cxn ang="0">
                  <a:pos x="12" y="88"/>
                </a:cxn>
                <a:cxn ang="0">
                  <a:pos x="19" y="29"/>
                </a:cxn>
                <a:cxn ang="0">
                  <a:pos x="91" y="49"/>
                </a:cxn>
                <a:cxn ang="0">
                  <a:pos x="119" y="2"/>
                </a:cxn>
              </a:cxnLst>
              <a:rect l="0" t="0" r="r" b="b"/>
              <a:pathLst>
                <a:path w="493" h="431">
                  <a:moveTo>
                    <a:pt x="119" y="2"/>
                  </a:moveTo>
                  <a:lnTo>
                    <a:pt x="181" y="17"/>
                  </a:lnTo>
                  <a:lnTo>
                    <a:pt x="285" y="0"/>
                  </a:lnTo>
                  <a:lnTo>
                    <a:pt x="303" y="40"/>
                  </a:lnTo>
                  <a:lnTo>
                    <a:pt x="289" y="80"/>
                  </a:lnTo>
                  <a:lnTo>
                    <a:pt x="353" y="104"/>
                  </a:lnTo>
                  <a:lnTo>
                    <a:pt x="358" y="144"/>
                  </a:lnTo>
                  <a:lnTo>
                    <a:pt x="395" y="201"/>
                  </a:lnTo>
                  <a:lnTo>
                    <a:pt x="407" y="246"/>
                  </a:lnTo>
                  <a:lnTo>
                    <a:pt x="492" y="241"/>
                  </a:lnTo>
                  <a:lnTo>
                    <a:pt x="469" y="316"/>
                  </a:lnTo>
                  <a:lnTo>
                    <a:pt x="410" y="330"/>
                  </a:lnTo>
                  <a:lnTo>
                    <a:pt x="373" y="430"/>
                  </a:lnTo>
                  <a:lnTo>
                    <a:pt x="318" y="430"/>
                  </a:lnTo>
                  <a:lnTo>
                    <a:pt x="286" y="403"/>
                  </a:lnTo>
                  <a:lnTo>
                    <a:pt x="234" y="425"/>
                  </a:lnTo>
                  <a:lnTo>
                    <a:pt x="192" y="395"/>
                  </a:lnTo>
                  <a:lnTo>
                    <a:pt x="158" y="405"/>
                  </a:lnTo>
                  <a:lnTo>
                    <a:pt x="111" y="350"/>
                  </a:lnTo>
                  <a:lnTo>
                    <a:pt x="113" y="296"/>
                  </a:lnTo>
                  <a:lnTo>
                    <a:pt x="51" y="271"/>
                  </a:lnTo>
                  <a:lnTo>
                    <a:pt x="112" y="222"/>
                  </a:lnTo>
                  <a:lnTo>
                    <a:pt x="79" y="159"/>
                  </a:lnTo>
                  <a:lnTo>
                    <a:pt x="37" y="175"/>
                  </a:lnTo>
                  <a:lnTo>
                    <a:pt x="0" y="116"/>
                  </a:lnTo>
                  <a:lnTo>
                    <a:pt x="12" y="88"/>
                  </a:lnTo>
                  <a:lnTo>
                    <a:pt x="19" y="29"/>
                  </a:lnTo>
                  <a:lnTo>
                    <a:pt x="91" y="49"/>
                  </a:lnTo>
                  <a:lnTo>
                    <a:pt x="119" y="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6" name="Freeform 29">
              <a:extLst>
                <a:ext uri="{FF2B5EF4-FFF2-40B4-BE49-F238E27FC236}">
                  <a16:creationId xmlns:a16="http://schemas.microsoft.com/office/drawing/2014/main" id="{0A789983-B86F-3134-4823-31E512B78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4460" y="4234589"/>
              <a:ext cx="884324" cy="556075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13" y="12"/>
                </a:cxn>
                <a:cxn ang="0">
                  <a:pos x="331" y="73"/>
                </a:cxn>
                <a:cxn ang="0">
                  <a:pos x="481" y="76"/>
                </a:cxn>
                <a:cxn ang="0">
                  <a:pos x="541" y="118"/>
                </a:cxn>
                <a:cxn ang="0">
                  <a:pos x="687" y="133"/>
                </a:cxn>
                <a:cxn ang="0">
                  <a:pos x="750" y="159"/>
                </a:cxn>
                <a:cxn ang="0">
                  <a:pos x="746" y="211"/>
                </a:cxn>
                <a:cxn ang="0">
                  <a:pos x="794" y="265"/>
                </a:cxn>
                <a:cxn ang="0">
                  <a:pos x="700" y="296"/>
                </a:cxn>
                <a:cxn ang="0">
                  <a:pos x="592" y="366"/>
                </a:cxn>
                <a:cxn ang="0">
                  <a:pos x="525" y="314"/>
                </a:cxn>
                <a:cxn ang="0">
                  <a:pos x="474" y="350"/>
                </a:cxn>
                <a:cxn ang="0">
                  <a:pos x="441" y="335"/>
                </a:cxn>
                <a:cxn ang="0">
                  <a:pos x="398" y="351"/>
                </a:cxn>
                <a:cxn ang="0">
                  <a:pos x="359" y="326"/>
                </a:cxn>
                <a:cxn ang="0">
                  <a:pos x="238" y="323"/>
                </a:cxn>
                <a:cxn ang="0">
                  <a:pos x="198" y="385"/>
                </a:cxn>
                <a:cxn ang="0">
                  <a:pos x="147" y="363"/>
                </a:cxn>
                <a:cxn ang="0">
                  <a:pos x="87" y="407"/>
                </a:cxn>
                <a:cxn ang="0">
                  <a:pos x="10" y="367"/>
                </a:cxn>
                <a:cxn ang="0">
                  <a:pos x="0" y="285"/>
                </a:cxn>
                <a:cxn ang="0">
                  <a:pos x="117" y="249"/>
                </a:cxn>
                <a:cxn ang="0">
                  <a:pos x="128" y="188"/>
                </a:cxn>
                <a:cxn ang="0">
                  <a:pos x="86" y="156"/>
                </a:cxn>
                <a:cxn ang="0">
                  <a:pos x="111" y="59"/>
                </a:cxn>
                <a:cxn ang="0">
                  <a:pos x="56" y="0"/>
                </a:cxn>
              </a:cxnLst>
              <a:rect l="0" t="0" r="r" b="b"/>
              <a:pathLst>
                <a:path w="795" h="408">
                  <a:moveTo>
                    <a:pt x="56" y="0"/>
                  </a:moveTo>
                  <a:lnTo>
                    <a:pt x="213" y="12"/>
                  </a:lnTo>
                  <a:lnTo>
                    <a:pt x="331" y="73"/>
                  </a:lnTo>
                  <a:lnTo>
                    <a:pt x="481" y="76"/>
                  </a:lnTo>
                  <a:lnTo>
                    <a:pt x="541" y="118"/>
                  </a:lnTo>
                  <a:lnTo>
                    <a:pt x="687" y="133"/>
                  </a:lnTo>
                  <a:lnTo>
                    <a:pt x="750" y="159"/>
                  </a:lnTo>
                  <a:lnTo>
                    <a:pt x="746" y="211"/>
                  </a:lnTo>
                  <a:lnTo>
                    <a:pt x="794" y="265"/>
                  </a:lnTo>
                  <a:lnTo>
                    <a:pt x="700" y="296"/>
                  </a:lnTo>
                  <a:lnTo>
                    <a:pt x="592" y="366"/>
                  </a:lnTo>
                  <a:lnTo>
                    <a:pt x="525" y="314"/>
                  </a:lnTo>
                  <a:lnTo>
                    <a:pt x="474" y="350"/>
                  </a:lnTo>
                  <a:lnTo>
                    <a:pt x="441" y="335"/>
                  </a:lnTo>
                  <a:lnTo>
                    <a:pt x="398" y="351"/>
                  </a:lnTo>
                  <a:lnTo>
                    <a:pt x="359" y="326"/>
                  </a:lnTo>
                  <a:lnTo>
                    <a:pt x="238" y="323"/>
                  </a:lnTo>
                  <a:lnTo>
                    <a:pt x="198" y="385"/>
                  </a:lnTo>
                  <a:lnTo>
                    <a:pt x="147" y="363"/>
                  </a:lnTo>
                  <a:lnTo>
                    <a:pt x="87" y="407"/>
                  </a:lnTo>
                  <a:lnTo>
                    <a:pt x="10" y="367"/>
                  </a:lnTo>
                  <a:lnTo>
                    <a:pt x="0" y="285"/>
                  </a:lnTo>
                  <a:lnTo>
                    <a:pt x="117" y="249"/>
                  </a:lnTo>
                  <a:lnTo>
                    <a:pt x="128" y="188"/>
                  </a:lnTo>
                  <a:lnTo>
                    <a:pt x="86" y="156"/>
                  </a:lnTo>
                  <a:lnTo>
                    <a:pt x="111" y="59"/>
                  </a:lnTo>
                  <a:lnTo>
                    <a:pt x="56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7" name="Freeform 30">
              <a:extLst>
                <a:ext uri="{FF2B5EF4-FFF2-40B4-BE49-F238E27FC236}">
                  <a16:creationId xmlns:a16="http://schemas.microsoft.com/office/drawing/2014/main" id="{EE1BDE98-6FD9-0C5E-88DE-7804F3CC9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8577" y="4811648"/>
              <a:ext cx="726944" cy="629519"/>
            </a:xfrm>
            <a:custGeom>
              <a:avLst/>
              <a:gdLst/>
              <a:ahLst/>
              <a:cxnLst>
                <a:cxn ang="0">
                  <a:pos x="93" y="129"/>
                </a:cxn>
                <a:cxn ang="0">
                  <a:pos x="88" y="208"/>
                </a:cxn>
                <a:cxn ang="0">
                  <a:pos x="0" y="216"/>
                </a:cxn>
                <a:cxn ang="0">
                  <a:pos x="0" y="285"/>
                </a:cxn>
                <a:cxn ang="0">
                  <a:pos x="84" y="292"/>
                </a:cxn>
                <a:cxn ang="0">
                  <a:pos x="73" y="358"/>
                </a:cxn>
                <a:cxn ang="0">
                  <a:pos x="111" y="404"/>
                </a:cxn>
                <a:cxn ang="0">
                  <a:pos x="101" y="464"/>
                </a:cxn>
                <a:cxn ang="0">
                  <a:pos x="189" y="428"/>
                </a:cxn>
                <a:cxn ang="0">
                  <a:pos x="281" y="452"/>
                </a:cxn>
                <a:cxn ang="0">
                  <a:pos x="281" y="418"/>
                </a:cxn>
                <a:cxn ang="0">
                  <a:pos x="381" y="366"/>
                </a:cxn>
                <a:cxn ang="0">
                  <a:pos x="469" y="392"/>
                </a:cxn>
                <a:cxn ang="0">
                  <a:pos x="506" y="364"/>
                </a:cxn>
                <a:cxn ang="0">
                  <a:pos x="568" y="360"/>
                </a:cxn>
                <a:cxn ang="0">
                  <a:pos x="602" y="317"/>
                </a:cxn>
                <a:cxn ang="0">
                  <a:pos x="653" y="302"/>
                </a:cxn>
                <a:cxn ang="0">
                  <a:pos x="625" y="246"/>
                </a:cxn>
                <a:cxn ang="0">
                  <a:pos x="635" y="194"/>
                </a:cxn>
                <a:cxn ang="0">
                  <a:pos x="560" y="199"/>
                </a:cxn>
                <a:cxn ang="0">
                  <a:pos x="602" y="156"/>
                </a:cxn>
                <a:cxn ang="0">
                  <a:pos x="565" y="65"/>
                </a:cxn>
                <a:cxn ang="0">
                  <a:pos x="519" y="69"/>
                </a:cxn>
                <a:cxn ang="0">
                  <a:pos x="476" y="2"/>
                </a:cxn>
                <a:cxn ang="0">
                  <a:pos x="386" y="0"/>
                </a:cxn>
                <a:cxn ang="0">
                  <a:pos x="309" y="71"/>
                </a:cxn>
                <a:cxn ang="0">
                  <a:pos x="252" y="53"/>
                </a:cxn>
                <a:cxn ang="0">
                  <a:pos x="203" y="84"/>
                </a:cxn>
                <a:cxn ang="0">
                  <a:pos x="258" y="126"/>
                </a:cxn>
                <a:cxn ang="0">
                  <a:pos x="250" y="158"/>
                </a:cxn>
                <a:cxn ang="0">
                  <a:pos x="174" y="151"/>
                </a:cxn>
                <a:cxn ang="0">
                  <a:pos x="173" y="124"/>
                </a:cxn>
                <a:cxn ang="0">
                  <a:pos x="169" y="124"/>
                </a:cxn>
                <a:cxn ang="0">
                  <a:pos x="161" y="124"/>
                </a:cxn>
                <a:cxn ang="0">
                  <a:pos x="149" y="125"/>
                </a:cxn>
                <a:cxn ang="0">
                  <a:pos x="134" y="125"/>
                </a:cxn>
                <a:cxn ang="0">
                  <a:pos x="119" y="126"/>
                </a:cxn>
                <a:cxn ang="0">
                  <a:pos x="107" y="127"/>
                </a:cxn>
                <a:cxn ang="0">
                  <a:pos x="97" y="128"/>
                </a:cxn>
                <a:cxn ang="0">
                  <a:pos x="93" y="129"/>
                </a:cxn>
              </a:cxnLst>
              <a:rect l="0" t="0" r="r" b="b"/>
              <a:pathLst>
                <a:path w="654" h="465">
                  <a:moveTo>
                    <a:pt x="93" y="129"/>
                  </a:moveTo>
                  <a:lnTo>
                    <a:pt x="88" y="208"/>
                  </a:lnTo>
                  <a:lnTo>
                    <a:pt x="0" y="216"/>
                  </a:lnTo>
                  <a:lnTo>
                    <a:pt x="0" y="285"/>
                  </a:lnTo>
                  <a:lnTo>
                    <a:pt x="84" y="292"/>
                  </a:lnTo>
                  <a:lnTo>
                    <a:pt x="73" y="358"/>
                  </a:lnTo>
                  <a:lnTo>
                    <a:pt x="111" y="404"/>
                  </a:lnTo>
                  <a:lnTo>
                    <a:pt x="101" y="464"/>
                  </a:lnTo>
                  <a:lnTo>
                    <a:pt x="189" y="428"/>
                  </a:lnTo>
                  <a:lnTo>
                    <a:pt x="281" y="452"/>
                  </a:lnTo>
                  <a:lnTo>
                    <a:pt x="281" y="418"/>
                  </a:lnTo>
                  <a:lnTo>
                    <a:pt x="381" y="366"/>
                  </a:lnTo>
                  <a:lnTo>
                    <a:pt x="469" y="392"/>
                  </a:lnTo>
                  <a:lnTo>
                    <a:pt x="506" y="364"/>
                  </a:lnTo>
                  <a:lnTo>
                    <a:pt x="568" y="360"/>
                  </a:lnTo>
                  <a:lnTo>
                    <a:pt x="602" y="317"/>
                  </a:lnTo>
                  <a:lnTo>
                    <a:pt x="653" y="302"/>
                  </a:lnTo>
                  <a:lnTo>
                    <a:pt x="625" y="246"/>
                  </a:lnTo>
                  <a:lnTo>
                    <a:pt x="635" y="194"/>
                  </a:lnTo>
                  <a:lnTo>
                    <a:pt x="560" y="199"/>
                  </a:lnTo>
                  <a:lnTo>
                    <a:pt x="602" y="156"/>
                  </a:lnTo>
                  <a:lnTo>
                    <a:pt x="565" y="65"/>
                  </a:lnTo>
                  <a:lnTo>
                    <a:pt x="519" y="69"/>
                  </a:lnTo>
                  <a:lnTo>
                    <a:pt x="476" y="2"/>
                  </a:lnTo>
                  <a:lnTo>
                    <a:pt x="386" y="0"/>
                  </a:lnTo>
                  <a:lnTo>
                    <a:pt x="309" y="71"/>
                  </a:lnTo>
                  <a:lnTo>
                    <a:pt x="252" y="53"/>
                  </a:lnTo>
                  <a:lnTo>
                    <a:pt x="203" y="84"/>
                  </a:lnTo>
                  <a:lnTo>
                    <a:pt x="258" y="126"/>
                  </a:lnTo>
                  <a:lnTo>
                    <a:pt x="250" y="158"/>
                  </a:lnTo>
                  <a:lnTo>
                    <a:pt x="174" y="151"/>
                  </a:lnTo>
                  <a:lnTo>
                    <a:pt x="173" y="124"/>
                  </a:lnTo>
                  <a:lnTo>
                    <a:pt x="169" y="124"/>
                  </a:lnTo>
                  <a:lnTo>
                    <a:pt x="161" y="124"/>
                  </a:lnTo>
                  <a:lnTo>
                    <a:pt x="149" y="125"/>
                  </a:lnTo>
                  <a:lnTo>
                    <a:pt x="134" y="125"/>
                  </a:lnTo>
                  <a:lnTo>
                    <a:pt x="119" y="126"/>
                  </a:lnTo>
                  <a:lnTo>
                    <a:pt x="107" y="127"/>
                  </a:lnTo>
                  <a:lnTo>
                    <a:pt x="97" y="128"/>
                  </a:lnTo>
                  <a:lnTo>
                    <a:pt x="93" y="12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8" name="Freeform 31">
              <a:extLst>
                <a:ext uri="{FF2B5EF4-FFF2-40B4-BE49-F238E27FC236}">
                  <a16:creationId xmlns:a16="http://schemas.microsoft.com/office/drawing/2014/main" id="{15A2E6C4-9016-4622-235B-E7AFF3D76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355" y="5195354"/>
              <a:ext cx="221830" cy="503615"/>
            </a:xfrm>
            <a:custGeom>
              <a:avLst/>
              <a:gdLst/>
              <a:ahLst/>
              <a:cxnLst>
                <a:cxn ang="0">
                  <a:pos x="143" y="0"/>
                </a:cxn>
                <a:cxn ang="0">
                  <a:pos x="69" y="23"/>
                </a:cxn>
                <a:cxn ang="0">
                  <a:pos x="10" y="132"/>
                </a:cxn>
                <a:cxn ang="0">
                  <a:pos x="12" y="177"/>
                </a:cxn>
                <a:cxn ang="0">
                  <a:pos x="35" y="175"/>
                </a:cxn>
                <a:cxn ang="0">
                  <a:pos x="39" y="213"/>
                </a:cxn>
                <a:cxn ang="0">
                  <a:pos x="0" y="219"/>
                </a:cxn>
                <a:cxn ang="0">
                  <a:pos x="16" y="271"/>
                </a:cxn>
                <a:cxn ang="0">
                  <a:pos x="41" y="277"/>
                </a:cxn>
                <a:cxn ang="0">
                  <a:pos x="85" y="371"/>
                </a:cxn>
                <a:cxn ang="0">
                  <a:pos x="111" y="371"/>
                </a:cxn>
                <a:cxn ang="0">
                  <a:pos x="131" y="322"/>
                </a:cxn>
                <a:cxn ang="0">
                  <a:pos x="123" y="268"/>
                </a:cxn>
                <a:cxn ang="0">
                  <a:pos x="149" y="262"/>
                </a:cxn>
                <a:cxn ang="0">
                  <a:pos x="143" y="232"/>
                </a:cxn>
                <a:cxn ang="0">
                  <a:pos x="166" y="211"/>
                </a:cxn>
                <a:cxn ang="0">
                  <a:pos x="159" y="89"/>
                </a:cxn>
                <a:cxn ang="0">
                  <a:pos x="189" y="78"/>
                </a:cxn>
                <a:cxn ang="0">
                  <a:pos x="198" y="40"/>
                </a:cxn>
                <a:cxn ang="0">
                  <a:pos x="143" y="0"/>
                </a:cxn>
              </a:cxnLst>
              <a:rect l="0" t="0" r="r" b="b"/>
              <a:pathLst>
                <a:path w="199" h="372">
                  <a:moveTo>
                    <a:pt x="143" y="0"/>
                  </a:moveTo>
                  <a:lnTo>
                    <a:pt x="69" y="23"/>
                  </a:lnTo>
                  <a:lnTo>
                    <a:pt x="10" y="132"/>
                  </a:lnTo>
                  <a:lnTo>
                    <a:pt x="12" y="177"/>
                  </a:lnTo>
                  <a:lnTo>
                    <a:pt x="35" y="175"/>
                  </a:lnTo>
                  <a:lnTo>
                    <a:pt x="39" y="213"/>
                  </a:lnTo>
                  <a:lnTo>
                    <a:pt x="0" y="219"/>
                  </a:lnTo>
                  <a:lnTo>
                    <a:pt x="16" y="271"/>
                  </a:lnTo>
                  <a:lnTo>
                    <a:pt x="41" y="277"/>
                  </a:lnTo>
                  <a:lnTo>
                    <a:pt x="85" y="371"/>
                  </a:lnTo>
                  <a:lnTo>
                    <a:pt x="111" y="371"/>
                  </a:lnTo>
                  <a:lnTo>
                    <a:pt x="131" y="322"/>
                  </a:lnTo>
                  <a:lnTo>
                    <a:pt x="123" y="268"/>
                  </a:lnTo>
                  <a:lnTo>
                    <a:pt x="149" y="262"/>
                  </a:lnTo>
                  <a:lnTo>
                    <a:pt x="143" y="232"/>
                  </a:lnTo>
                  <a:lnTo>
                    <a:pt x="166" y="211"/>
                  </a:lnTo>
                  <a:lnTo>
                    <a:pt x="159" y="89"/>
                  </a:lnTo>
                  <a:lnTo>
                    <a:pt x="189" y="78"/>
                  </a:lnTo>
                  <a:lnTo>
                    <a:pt x="198" y="40"/>
                  </a:lnTo>
                  <a:lnTo>
                    <a:pt x="143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9" name="Freeform 32">
              <a:extLst>
                <a:ext uri="{FF2B5EF4-FFF2-40B4-BE49-F238E27FC236}">
                  <a16:creationId xmlns:a16="http://schemas.microsoft.com/office/drawing/2014/main" id="{3D85DDEA-71BC-2250-9727-C97072BE1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740" y="4652935"/>
              <a:ext cx="647505" cy="717950"/>
            </a:xfrm>
            <a:custGeom>
              <a:avLst/>
              <a:gdLst/>
              <a:ahLst/>
              <a:cxnLst>
                <a:cxn ang="0">
                  <a:pos x="11" y="191"/>
                </a:cxn>
                <a:cxn ang="0">
                  <a:pos x="23" y="92"/>
                </a:cxn>
                <a:cxn ang="0">
                  <a:pos x="81" y="51"/>
                </a:cxn>
                <a:cxn ang="0">
                  <a:pos x="137" y="69"/>
                </a:cxn>
                <a:cxn ang="0">
                  <a:pos x="173" y="3"/>
                </a:cxn>
                <a:cxn ang="0">
                  <a:pos x="300" y="9"/>
                </a:cxn>
                <a:cxn ang="0">
                  <a:pos x="331" y="36"/>
                </a:cxn>
                <a:cxn ang="0">
                  <a:pos x="377" y="11"/>
                </a:cxn>
                <a:cxn ang="0">
                  <a:pos x="406" y="38"/>
                </a:cxn>
                <a:cxn ang="0">
                  <a:pos x="465" y="0"/>
                </a:cxn>
                <a:cxn ang="0">
                  <a:pos x="528" y="51"/>
                </a:cxn>
                <a:cxn ang="0">
                  <a:pos x="510" y="120"/>
                </a:cxn>
                <a:cxn ang="0">
                  <a:pos x="551" y="172"/>
                </a:cxn>
                <a:cxn ang="0">
                  <a:pos x="510" y="214"/>
                </a:cxn>
                <a:cxn ang="0">
                  <a:pos x="541" y="309"/>
                </a:cxn>
                <a:cxn ang="0">
                  <a:pos x="580" y="324"/>
                </a:cxn>
                <a:cxn ang="0">
                  <a:pos x="582" y="446"/>
                </a:cxn>
                <a:cxn ang="0">
                  <a:pos x="464" y="441"/>
                </a:cxn>
                <a:cxn ang="0">
                  <a:pos x="458" y="482"/>
                </a:cxn>
                <a:cxn ang="0">
                  <a:pos x="388" y="487"/>
                </a:cxn>
                <a:cxn ang="0">
                  <a:pos x="377" y="529"/>
                </a:cxn>
                <a:cxn ang="0">
                  <a:pos x="246" y="506"/>
                </a:cxn>
                <a:cxn ang="0">
                  <a:pos x="298" y="431"/>
                </a:cxn>
                <a:cxn ang="0">
                  <a:pos x="243" y="386"/>
                </a:cxn>
                <a:cxn ang="0">
                  <a:pos x="178" y="412"/>
                </a:cxn>
                <a:cxn ang="0">
                  <a:pos x="145" y="392"/>
                </a:cxn>
                <a:cxn ang="0">
                  <a:pos x="90" y="424"/>
                </a:cxn>
                <a:cxn ang="0">
                  <a:pos x="67" y="378"/>
                </a:cxn>
                <a:cxn ang="0">
                  <a:pos x="76" y="325"/>
                </a:cxn>
                <a:cxn ang="0">
                  <a:pos x="0" y="328"/>
                </a:cxn>
                <a:cxn ang="0">
                  <a:pos x="48" y="287"/>
                </a:cxn>
                <a:cxn ang="0">
                  <a:pos x="11" y="191"/>
                </a:cxn>
              </a:cxnLst>
              <a:rect l="0" t="0" r="r" b="b"/>
              <a:pathLst>
                <a:path w="583" h="530">
                  <a:moveTo>
                    <a:pt x="11" y="191"/>
                  </a:moveTo>
                  <a:lnTo>
                    <a:pt x="23" y="92"/>
                  </a:lnTo>
                  <a:lnTo>
                    <a:pt x="81" y="51"/>
                  </a:lnTo>
                  <a:lnTo>
                    <a:pt x="137" y="69"/>
                  </a:lnTo>
                  <a:lnTo>
                    <a:pt x="173" y="3"/>
                  </a:lnTo>
                  <a:lnTo>
                    <a:pt x="300" y="9"/>
                  </a:lnTo>
                  <a:lnTo>
                    <a:pt x="331" y="36"/>
                  </a:lnTo>
                  <a:lnTo>
                    <a:pt x="377" y="11"/>
                  </a:lnTo>
                  <a:lnTo>
                    <a:pt x="406" y="38"/>
                  </a:lnTo>
                  <a:lnTo>
                    <a:pt x="465" y="0"/>
                  </a:lnTo>
                  <a:lnTo>
                    <a:pt x="528" y="51"/>
                  </a:lnTo>
                  <a:lnTo>
                    <a:pt x="510" y="120"/>
                  </a:lnTo>
                  <a:lnTo>
                    <a:pt x="551" y="172"/>
                  </a:lnTo>
                  <a:lnTo>
                    <a:pt x="510" y="214"/>
                  </a:lnTo>
                  <a:lnTo>
                    <a:pt x="541" y="309"/>
                  </a:lnTo>
                  <a:lnTo>
                    <a:pt x="580" y="324"/>
                  </a:lnTo>
                  <a:lnTo>
                    <a:pt x="582" y="446"/>
                  </a:lnTo>
                  <a:lnTo>
                    <a:pt x="464" y="441"/>
                  </a:lnTo>
                  <a:lnTo>
                    <a:pt x="458" y="482"/>
                  </a:lnTo>
                  <a:lnTo>
                    <a:pt x="388" y="487"/>
                  </a:lnTo>
                  <a:lnTo>
                    <a:pt x="377" y="529"/>
                  </a:lnTo>
                  <a:lnTo>
                    <a:pt x="246" y="506"/>
                  </a:lnTo>
                  <a:lnTo>
                    <a:pt x="298" y="431"/>
                  </a:lnTo>
                  <a:lnTo>
                    <a:pt x="243" y="386"/>
                  </a:lnTo>
                  <a:lnTo>
                    <a:pt x="178" y="412"/>
                  </a:lnTo>
                  <a:lnTo>
                    <a:pt x="145" y="392"/>
                  </a:lnTo>
                  <a:lnTo>
                    <a:pt x="90" y="424"/>
                  </a:lnTo>
                  <a:lnTo>
                    <a:pt x="67" y="378"/>
                  </a:lnTo>
                  <a:lnTo>
                    <a:pt x="76" y="325"/>
                  </a:lnTo>
                  <a:lnTo>
                    <a:pt x="0" y="328"/>
                  </a:lnTo>
                  <a:lnTo>
                    <a:pt x="48" y="287"/>
                  </a:lnTo>
                  <a:lnTo>
                    <a:pt x="11" y="19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0" name="Freeform 33">
              <a:extLst>
                <a:ext uri="{FF2B5EF4-FFF2-40B4-BE49-F238E27FC236}">
                  <a16:creationId xmlns:a16="http://schemas.microsoft.com/office/drawing/2014/main" id="{B5CA8D97-5249-FC66-492F-E195C30BD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330" y="4569806"/>
              <a:ext cx="536590" cy="792893"/>
            </a:xfrm>
            <a:custGeom>
              <a:avLst/>
              <a:gdLst/>
              <a:ahLst/>
              <a:cxnLst>
                <a:cxn ang="0">
                  <a:pos x="17" y="105"/>
                </a:cxn>
                <a:cxn ang="0">
                  <a:pos x="1" y="170"/>
                </a:cxn>
                <a:cxn ang="0">
                  <a:pos x="40" y="229"/>
                </a:cxn>
                <a:cxn ang="0">
                  <a:pos x="0" y="269"/>
                </a:cxn>
                <a:cxn ang="0">
                  <a:pos x="28" y="364"/>
                </a:cxn>
                <a:cxn ang="0">
                  <a:pos x="66" y="383"/>
                </a:cxn>
                <a:cxn ang="0">
                  <a:pos x="72" y="496"/>
                </a:cxn>
                <a:cxn ang="0">
                  <a:pos x="163" y="496"/>
                </a:cxn>
                <a:cxn ang="0">
                  <a:pos x="123" y="566"/>
                </a:cxn>
                <a:cxn ang="0">
                  <a:pos x="288" y="549"/>
                </a:cxn>
                <a:cxn ang="0">
                  <a:pos x="298" y="433"/>
                </a:cxn>
                <a:cxn ang="0">
                  <a:pos x="334" y="368"/>
                </a:cxn>
                <a:cxn ang="0">
                  <a:pos x="320" y="309"/>
                </a:cxn>
                <a:cxn ang="0">
                  <a:pos x="379" y="280"/>
                </a:cxn>
                <a:cxn ang="0">
                  <a:pos x="381" y="195"/>
                </a:cxn>
                <a:cxn ang="0">
                  <a:pos x="441" y="189"/>
                </a:cxn>
                <a:cxn ang="0">
                  <a:pos x="484" y="155"/>
                </a:cxn>
                <a:cxn ang="0">
                  <a:pos x="442" y="33"/>
                </a:cxn>
                <a:cxn ang="0">
                  <a:pos x="387" y="36"/>
                </a:cxn>
                <a:cxn ang="0">
                  <a:pos x="353" y="5"/>
                </a:cxn>
                <a:cxn ang="0">
                  <a:pos x="302" y="32"/>
                </a:cxn>
                <a:cxn ang="0">
                  <a:pos x="264" y="0"/>
                </a:cxn>
                <a:cxn ang="0">
                  <a:pos x="224" y="8"/>
                </a:cxn>
                <a:cxn ang="0">
                  <a:pos x="142" y="30"/>
                </a:cxn>
                <a:cxn ang="0">
                  <a:pos x="141" y="30"/>
                </a:cxn>
                <a:cxn ang="0">
                  <a:pos x="136" y="32"/>
                </a:cxn>
                <a:cxn ang="0">
                  <a:pos x="130" y="36"/>
                </a:cxn>
                <a:cxn ang="0">
                  <a:pos x="122" y="41"/>
                </a:cxn>
                <a:cxn ang="0">
                  <a:pos x="112" y="46"/>
                </a:cxn>
                <a:cxn ang="0">
                  <a:pos x="101" y="53"/>
                </a:cxn>
                <a:cxn ang="0">
                  <a:pos x="90" y="59"/>
                </a:cxn>
                <a:cxn ang="0">
                  <a:pos x="78" y="66"/>
                </a:cxn>
                <a:cxn ang="0">
                  <a:pos x="66" y="74"/>
                </a:cxn>
                <a:cxn ang="0">
                  <a:pos x="55" y="80"/>
                </a:cxn>
                <a:cxn ang="0">
                  <a:pos x="44" y="86"/>
                </a:cxn>
                <a:cxn ang="0">
                  <a:pos x="35" y="92"/>
                </a:cxn>
                <a:cxn ang="0">
                  <a:pos x="28" y="97"/>
                </a:cxn>
                <a:cxn ang="0">
                  <a:pos x="21" y="101"/>
                </a:cxn>
                <a:cxn ang="0">
                  <a:pos x="18" y="104"/>
                </a:cxn>
                <a:cxn ang="0">
                  <a:pos x="17" y="105"/>
                </a:cxn>
              </a:cxnLst>
              <a:rect l="0" t="0" r="r" b="b"/>
              <a:pathLst>
                <a:path w="485" h="567">
                  <a:moveTo>
                    <a:pt x="17" y="105"/>
                  </a:moveTo>
                  <a:lnTo>
                    <a:pt x="1" y="170"/>
                  </a:lnTo>
                  <a:lnTo>
                    <a:pt x="40" y="229"/>
                  </a:lnTo>
                  <a:lnTo>
                    <a:pt x="0" y="269"/>
                  </a:lnTo>
                  <a:lnTo>
                    <a:pt x="28" y="364"/>
                  </a:lnTo>
                  <a:lnTo>
                    <a:pt x="66" y="383"/>
                  </a:lnTo>
                  <a:lnTo>
                    <a:pt x="72" y="496"/>
                  </a:lnTo>
                  <a:lnTo>
                    <a:pt x="163" y="496"/>
                  </a:lnTo>
                  <a:lnTo>
                    <a:pt x="123" y="566"/>
                  </a:lnTo>
                  <a:lnTo>
                    <a:pt x="288" y="549"/>
                  </a:lnTo>
                  <a:lnTo>
                    <a:pt x="298" y="433"/>
                  </a:lnTo>
                  <a:lnTo>
                    <a:pt x="334" y="368"/>
                  </a:lnTo>
                  <a:lnTo>
                    <a:pt x="320" y="309"/>
                  </a:lnTo>
                  <a:lnTo>
                    <a:pt x="379" y="280"/>
                  </a:lnTo>
                  <a:lnTo>
                    <a:pt x="381" y="195"/>
                  </a:lnTo>
                  <a:lnTo>
                    <a:pt x="441" y="189"/>
                  </a:lnTo>
                  <a:lnTo>
                    <a:pt x="484" y="155"/>
                  </a:lnTo>
                  <a:lnTo>
                    <a:pt x="442" y="33"/>
                  </a:lnTo>
                  <a:lnTo>
                    <a:pt x="387" y="36"/>
                  </a:lnTo>
                  <a:lnTo>
                    <a:pt x="353" y="5"/>
                  </a:lnTo>
                  <a:lnTo>
                    <a:pt x="302" y="32"/>
                  </a:lnTo>
                  <a:lnTo>
                    <a:pt x="264" y="0"/>
                  </a:lnTo>
                  <a:lnTo>
                    <a:pt x="224" y="8"/>
                  </a:lnTo>
                  <a:lnTo>
                    <a:pt x="142" y="30"/>
                  </a:lnTo>
                  <a:lnTo>
                    <a:pt x="141" y="30"/>
                  </a:lnTo>
                  <a:lnTo>
                    <a:pt x="136" y="32"/>
                  </a:lnTo>
                  <a:lnTo>
                    <a:pt x="130" y="36"/>
                  </a:lnTo>
                  <a:lnTo>
                    <a:pt x="122" y="41"/>
                  </a:lnTo>
                  <a:lnTo>
                    <a:pt x="112" y="46"/>
                  </a:lnTo>
                  <a:lnTo>
                    <a:pt x="101" y="53"/>
                  </a:lnTo>
                  <a:lnTo>
                    <a:pt x="90" y="59"/>
                  </a:lnTo>
                  <a:lnTo>
                    <a:pt x="78" y="66"/>
                  </a:lnTo>
                  <a:lnTo>
                    <a:pt x="66" y="74"/>
                  </a:lnTo>
                  <a:lnTo>
                    <a:pt x="55" y="80"/>
                  </a:lnTo>
                  <a:lnTo>
                    <a:pt x="44" y="86"/>
                  </a:lnTo>
                  <a:lnTo>
                    <a:pt x="35" y="92"/>
                  </a:lnTo>
                  <a:lnTo>
                    <a:pt x="28" y="97"/>
                  </a:lnTo>
                  <a:lnTo>
                    <a:pt x="21" y="101"/>
                  </a:lnTo>
                  <a:lnTo>
                    <a:pt x="18" y="104"/>
                  </a:lnTo>
                  <a:lnTo>
                    <a:pt x="17" y="105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1" name="Freeform 34">
              <a:extLst>
                <a:ext uri="{FF2B5EF4-FFF2-40B4-BE49-F238E27FC236}">
                  <a16:creationId xmlns:a16="http://schemas.microsoft.com/office/drawing/2014/main" id="{5982C0BB-EAF8-EAF4-C63F-256D7248C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538" y="4763849"/>
              <a:ext cx="515606" cy="649004"/>
            </a:xfrm>
            <a:custGeom>
              <a:avLst/>
              <a:gdLst/>
              <a:ahLst/>
              <a:cxnLst>
                <a:cxn ang="0">
                  <a:pos x="463" y="46"/>
                </a:cxn>
                <a:cxn ang="0">
                  <a:pos x="432" y="123"/>
                </a:cxn>
                <a:cxn ang="0">
                  <a:pos x="354" y="111"/>
                </a:cxn>
                <a:cxn ang="0">
                  <a:pos x="393" y="164"/>
                </a:cxn>
                <a:cxn ang="0">
                  <a:pos x="393" y="256"/>
                </a:cxn>
                <a:cxn ang="0">
                  <a:pos x="363" y="287"/>
                </a:cxn>
                <a:cxn ang="0">
                  <a:pos x="319" y="352"/>
                </a:cxn>
                <a:cxn ang="0">
                  <a:pos x="225" y="359"/>
                </a:cxn>
                <a:cxn ang="0">
                  <a:pos x="266" y="405"/>
                </a:cxn>
                <a:cxn ang="0">
                  <a:pos x="160" y="477"/>
                </a:cxn>
                <a:cxn ang="0">
                  <a:pos x="95" y="378"/>
                </a:cxn>
                <a:cxn ang="0">
                  <a:pos x="6" y="365"/>
                </a:cxn>
                <a:cxn ang="0">
                  <a:pos x="0" y="281"/>
                </a:cxn>
                <a:cxn ang="0">
                  <a:pos x="55" y="222"/>
                </a:cxn>
                <a:cxn ang="0">
                  <a:pos x="17" y="163"/>
                </a:cxn>
                <a:cxn ang="0">
                  <a:pos x="94" y="131"/>
                </a:cxn>
                <a:cxn ang="0">
                  <a:pos x="94" y="46"/>
                </a:cxn>
                <a:cxn ang="0">
                  <a:pos x="164" y="42"/>
                </a:cxn>
                <a:cxn ang="0">
                  <a:pos x="194" y="0"/>
                </a:cxn>
                <a:cxn ang="0">
                  <a:pos x="249" y="13"/>
                </a:cxn>
                <a:cxn ang="0">
                  <a:pos x="291" y="69"/>
                </a:cxn>
                <a:cxn ang="0">
                  <a:pos x="336" y="72"/>
                </a:cxn>
                <a:cxn ang="0">
                  <a:pos x="358" y="51"/>
                </a:cxn>
                <a:cxn ang="0">
                  <a:pos x="463" y="46"/>
                </a:cxn>
              </a:cxnLst>
              <a:rect l="0" t="0" r="r" b="b"/>
              <a:pathLst>
                <a:path w="464" h="478">
                  <a:moveTo>
                    <a:pt x="463" y="46"/>
                  </a:moveTo>
                  <a:lnTo>
                    <a:pt x="432" y="123"/>
                  </a:lnTo>
                  <a:lnTo>
                    <a:pt x="354" y="111"/>
                  </a:lnTo>
                  <a:lnTo>
                    <a:pt x="393" y="164"/>
                  </a:lnTo>
                  <a:lnTo>
                    <a:pt x="393" y="256"/>
                  </a:lnTo>
                  <a:lnTo>
                    <a:pt x="363" y="287"/>
                  </a:lnTo>
                  <a:lnTo>
                    <a:pt x="319" y="352"/>
                  </a:lnTo>
                  <a:lnTo>
                    <a:pt x="225" y="359"/>
                  </a:lnTo>
                  <a:lnTo>
                    <a:pt x="266" y="405"/>
                  </a:lnTo>
                  <a:lnTo>
                    <a:pt x="160" y="477"/>
                  </a:lnTo>
                  <a:lnTo>
                    <a:pt x="95" y="378"/>
                  </a:lnTo>
                  <a:lnTo>
                    <a:pt x="6" y="365"/>
                  </a:lnTo>
                  <a:lnTo>
                    <a:pt x="0" y="281"/>
                  </a:lnTo>
                  <a:lnTo>
                    <a:pt x="55" y="222"/>
                  </a:lnTo>
                  <a:lnTo>
                    <a:pt x="17" y="163"/>
                  </a:lnTo>
                  <a:lnTo>
                    <a:pt x="94" y="131"/>
                  </a:lnTo>
                  <a:lnTo>
                    <a:pt x="94" y="46"/>
                  </a:lnTo>
                  <a:lnTo>
                    <a:pt x="164" y="42"/>
                  </a:lnTo>
                  <a:lnTo>
                    <a:pt x="194" y="0"/>
                  </a:lnTo>
                  <a:lnTo>
                    <a:pt x="249" y="13"/>
                  </a:lnTo>
                  <a:lnTo>
                    <a:pt x="291" y="69"/>
                  </a:lnTo>
                  <a:lnTo>
                    <a:pt x="336" y="72"/>
                  </a:lnTo>
                  <a:lnTo>
                    <a:pt x="358" y="51"/>
                  </a:lnTo>
                  <a:lnTo>
                    <a:pt x="463" y="46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2" name="Freeform 35">
              <a:extLst>
                <a:ext uri="{FF2B5EF4-FFF2-40B4-BE49-F238E27FC236}">
                  <a16:creationId xmlns:a16="http://schemas.microsoft.com/office/drawing/2014/main" id="{57BF2C90-B3C3-6BD6-5756-09767618D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0754" y="5210343"/>
              <a:ext cx="864838" cy="774907"/>
            </a:xfrm>
            <a:custGeom>
              <a:avLst/>
              <a:gdLst/>
              <a:ahLst/>
              <a:cxnLst>
                <a:cxn ang="0">
                  <a:pos x="778" y="135"/>
                </a:cxn>
                <a:cxn ang="0">
                  <a:pos x="721" y="33"/>
                </a:cxn>
                <a:cxn ang="0">
                  <a:pos x="626" y="26"/>
                </a:cxn>
                <a:cxn ang="0">
                  <a:pos x="615" y="60"/>
                </a:cxn>
                <a:cxn ang="0">
                  <a:pos x="468" y="79"/>
                </a:cxn>
                <a:cxn ang="0">
                  <a:pos x="507" y="4"/>
                </a:cxn>
                <a:cxn ang="0">
                  <a:pos x="411" y="8"/>
                </a:cxn>
                <a:cxn ang="0">
                  <a:pos x="296" y="0"/>
                </a:cxn>
                <a:cxn ang="0">
                  <a:pos x="287" y="47"/>
                </a:cxn>
                <a:cxn ang="0">
                  <a:pos x="212" y="58"/>
                </a:cxn>
                <a:cxn ang="0">
                  <a:pos x="183" y="85"/>
                </a:cxn>
                <a:cxn ang="0">
                  <a:pos x="215" y="150"/>
                </a:cxn>
                <a:cxn ang="0">
                  <a:pos x="146" y="217"/>
                </a:cxn>
                <a:cxn ang="0">
                  <a:pos x="145" y="294"/>
                </a:cxn>
                <a:cxn ang="0">
                  <a:pos x="70" y="343"/>
                </a:cxn>
                <a:cxn ang="0">
                  <a:pos x="70" y="385"/>
                </a:cxn>
                <a:cxn ang="0">
                  <a:pos x="0" y="454"/>
                </a:cxn>
                <a:cxn ang="0">
                  <a:pos x="10" y="511"/>
                </a:cxn>
                <a:cxn ang="0">
                  <a:pos x="30" y="559"/>
                </a:cxn>
                <a:cxn ang="0">
                  <a:pos x="80" y="570"/>
                </a:cxn>
                <a:cxn ang="0">
                  <a:pos x="104" y="536"/>
                </a:cxn>
                <a:cxn ang="0">
                  <a:pos x="90" y="469"/>
                </a:cxn>
                <a:cxn ang="0">
                  <a:pos x="229" y="396"/>
                </a:cxn>
                <a:cxn ang="0">
                  <a:pos x="312" y="388"/>
                </a:cxn>
                <a:cxn ang="0">
                  <a:pos x="400" y="341"/>
                </a:cxn>
                <a:cxn ang="0">
                  <a:pos x="382" y="276"/>
                </a:cxn>
                <a:cxn ang="0">
                  <a:pos x="451" y="253"/>
                </a:cxn>
                <a:cxn ang="0">
                  <a:pos x="485" y="326"/>
                </a:cxn>
                <a:cxn ang="0">
                  <a:pos x="579" y="324"/>
                </a:cxn>
                <a:cxn ang="0">
                  <a:pos x="529" y="276"/>
                </a:cxn>
                <a:cxn ang="0">
                  <a:pos x="721" y="212"/>
                </a:cxn>
                <a:cxn ang="0">
                  <a:pos x="778" y="135"/>
                </a:cxn>
              </a:cxnLst>
              <a:rect l="0" t="0" r="r" b="b"/>
              <a:pathLst>
                <a:path w="779" h="571">
                  <a:moveTo>
                    <a:pt x="778" y="135"/>
                  </a:moveTo>
                  <a:lnTo>
                    <a:pt x="721" y="33"/>
                  </a:lnTo>
                  <a:lnTo>
                    <a:pt x="626" y="26"/>
                  </a:lnTo>
                  <a:lnTo>
                    <a:pt x="615" y="60"/>
                  </a:lnTo>
                  <a:lnTo>
                    <a:pt x="468" y="79"/>
                  </a:lnTo>
                  <a:lnTo>
                    <a:pt x="507" y="4"/>
                  </a:lnTo>
                  <a:lnTo>
                    <a:pt x="411" y="8"/>
                  </a:lnTo>
                  <a:lnTo>
                    <a:pt x="296" y="0"/>
                  </a:lnTo>
                  <a:lnTo>
                    <a:pt x="287" y="47"/>
                  </a:lnTo>
                  <a:lnTo>
                    <a:pt x="212" y="58"/>
                  </a:lnTo>
                  <a:lnTo>
                    <a:pt x="183" y="85"/>
                  </a:lnTo>
                  <a:lnTo>
                    <a:pt x="215" y="150"/>
                  </a:lnTo>
                  <a:lnTo>
                    <a:pt x="146" y="217"/>
                  </a:lnTo>
                  <a:lnTo>
                    <a:pt x="145" y="294"/>
                  </a:lnTo>
                  <a:lnTo>
                    <a:pt x="70" y="343"/>
                  </a:lnTo>
                  <a:lnTo>
                    <a:pt x="70" y="385"/>
                  </a:lnTo>
                  <a:lnTo>
                    <a:pt x="0" y="454"/>
                  </a:lnTo>
                  <a:lnTo>
                    <a:pt x="10" y="511"/>
                  </a:lnTo>
                  <a:lnTo>
                    <a:pt x="30" y="559"/>
                  </a:lnTo>
                  <a:lnTo>
                    <a:pt x="80" y="570"/>
                  </a:lnTo>
                  <a:lnTo>
                    <a:pt x="104" y="536"/>
                  </a:lnTo>
                  <a:lnTo>
                    <a:pt x="90" y="469"/>
                  </a:lnTo>
                  <a:lnTo>
                    <a:pt x="229" y="396"/>
                  </a:lnTo>
                  <a:lnTo>
                    <a:pt x="312" y="388"/>
                  </a:lnTo>
                  <a:lnTo>
                    <a:pt x="400" y="341"/>
                  </a:lnTo>
                  <a:lnTo>
                    <a:pt x="382" y="276"/>
                  </a:lnTo>
                  <a:lnTo>
                    <a:pt x="451" y="253"/>
                  </a:lnTo>
                  <a:lnTo>
                    <a:pt x="485" y="326"/>
                  </a:lnTo>
                  <a:lnTo>
                    <a:pt x="579" y="324"/>
                  </a:lnTo>
                  <a:lnTo>
                    <a:pt x="529" y="276"/>
                  </a:lnTo>
                  <a:lnTo>
                    <a:pt x="721" y="212"/>
                  </a:lnTo>
                  <a:lnTo>
                    <a:pt x="778" y="135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3" name="Freeform 36">
              <a:extLst>
                <a:ext uri="{FF2B5EF4-FFF2-40B4-BE49-F238E27FC236}">
                  <a16:creationId xmlns:a16="http://schemas.microsoft.com/office/drawing/2014/main" id="{76583447-7E6D-7B64-228D-6F07EFA2C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347" y="6003236"/>
              <a:ext cx="280286" cy="283284"/>
            </a:xfrm>
            <a:custGeom>
              <a:avLst/>
              <a:gdLst/>
              <a:ahLst/>
              <a:cxnLst>
                <a:cxn ang="0">
                  <a:pos x="177" y="19"/>
                </a:cxn>
                <a:cxn ang="0">
                  <a:pos x="209" y="0"/>
                </a:cxn>
                <a:cxn ang="0">
                  <a:pos x="245" y="12"/>
                </a:cxn>
                <a:cxn ang="0">
                  <a:pos x="252" y="65"/>
                </a:cxn>
                <a:cxn ang="0">
                  <a:pos x="219" y="93"/>
                </a:cxn>
                <a:cxn ang="0">
                  <a:pos x="210" y="125"/>
                </a:cxn>
                <a:cxn ang="0">
                  <a:pos x="210" y="149"/>
                </a:cxn>
                <a:cxn ang="0">
                  <a:pos x="159" y="181"/>
                </a:cxn>
                <a:cxn ang="0">
                  <a:pos x="138" y="209"/>
                </a:cxn>
                <a:cxn ang="0">
                  <a:pos x="47" y="189"/>
                </a:cxn>
                <a:cxn ang="0">
                  <a:pos x="10" y="151"/>
                </a:cxn>
                <a:cxn ang="0">
                  <a:pos x="0" y="80"/>
                </a:cxn>
                <a:cxn ang="0">
                  <a:pos x="44" y="60"/>
                </a:cxn>
                <a:cxn ang="0">
                  <a:pos x="73" y="32"/>
                </a:cxn>
                <a:cxn ang="0">
                  <a:pos x="177" y="19"/>
                </a:cxn>
              </a:cxnLst>
              <a:rect l="0" t="0" r="r" b="b"/>
              <a:pathLst>
                <a:path w="253" h="210">
                  <a:moveTo>
                    <a:pt x="177" y="19"/>
                  </a:moveTo>
                  <a:lnTo>
                    <a:pt x="209" y="0"/>
                  </a:lnTo>
                  <a:lnTo>
                    <a:pt x="245" y="12"/>
                  </a:lnTo>
                  <a:lnTo>
                    <a:pt x="252" y="65"/>
                  </a:lnTo>
                  <a:lnTo>
                    <a:pt x="219" y="93"/>
                  </a:lnTo>
                  <a:lnTo>
                    <a:pt x="210" y="125"/>
                  </a:lnTo>
                  <a:lnTo>
                    <a:pt x="210" y="149"/>
                  </a:lnTo>
                  <a:lnTo>
                    <a:pt x="159" y="181"/>
                  </a:lnTo>
                  <a:lnTo>
                    <a:pt x="138" y="209"/>
                  </a:lnTo>
                  <a:lnTo>
                    <a:pt x="47" y="189"/>
                  </a:lnTo>
                  <a:lnTo>
                    <a:pt x="10" y="151"/>
                  </a:lnTo>
                  <a:lnTo>
                    <a:pt x="0" y="80"/>
                  </a:lnTo>
                  <a:lnTo>
                    <a:pt x="44" y="60"/>
                  </a:lnTo>
                  <a:lnTo>
                    <a:pt x="73" y="32"/>
                  </a:lnTo>
                  <a:lnTo>
                    <a:pt x="177" y="1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4" name="Freeform 37">
              <a:extLst>
                <a:ext uri="{FF2B5EF4-FFF2-40B4-BE49-F238E27FC236}">
                  <a16:creationId xmlns:a16="http://schemas.microsoft.com/office/drawing/2014/main" id="{C6A26F53-E937-A489-3CB0-E7D48852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983" y="5149863"/>
              <a:ext cx="932287" cy="692470"/>
            </a:xfrm>
            <a:custGeom>
              <a:avLst/>
              <a:gdLst/>
              <a:ahLst/>
              <a:cxnLst>
                <a:cxn ang="0">
                  <a:pos x="0" y="206"/>
                </a:cxn>
                <a:cxn ang="0">
                  <a:pos x="67" y="172"/>
                </a:cxn>
                <a:cxn ang="0">
                  <a:pos x="170" y="200"/>
                </a:cxn>
                <a:cxn ang="0">
                  <a:pos x="169" y="163"/>
                </a:cxn>
                <a:cxn ang="0">
                  <a:pos x="266" y="112"/>
                </a:cxn>
                <a:cxn ang="0">
                  <a:pos x="357" y="135"/>
                </a:cxn>
                <a:cxn ang="0">
                  <a:pos x="396" y="106"/>
                </a:cxn>
                <a:cxn ang="0">
                  <a:pos x="450" y="106"/>
                </a:cxn>
                <a:cxn ang="0">
                  <a:pos x="484" y="63"/>
                </a:cxn>
                <a:cxn ang="0">
                  <a:pos x="525" y="47"/>
                </a:cxn>
                <a:cxn ang="0">
                  <a:pos x="584" y="8"/>
                </a:cxn>
                <a:cxn ang="0">
                  <a:pos x="624" y="30"/>
                </a:cxn>
                <a:cxn ang="0">
                  <a:pos x="690" y="0"/>
                </a:cxn>
                <a:cxn ang="0">
                  <a:pos x="740" y="49"/>
                </a:cxn>
                <a:cxn ang="0">
                  <a:pos x="696" y="125"/>
                </a:cxn>
                <a:cxn ang="0">
                  <a:pos x="815" y="146"/>
                </a:cxn>
                <a:cxn ang="0">
                  <a:pos x="838" y="202"/>
                </a:cxn>
                <a:cxn ang="0">
                  <a:pos x="770" y="267"/>
                </a:cxn>
                <a:cxn ang="0">
                  <a:pos x="760" y="352"/>
                </a:cxn>
                <a:cxn ang="0">
                  <a:pos x="678" y="395"/>
                </a:cxn>
                <a:cxn ang="0">
                  <a:pos x="696" y="440"/>
                </a:cxn>
                <a:cxn ang="0">
                  <a:pos x="606" y="510"/>
                </a:cxn>
                <a:cxn ang="0">
                  <a:pos x="537" y="508"/>
                </a:cxn>
                <a:cxn ang="0">
                  <a:pos x="465" y="468"/>
                </a:cxn>
                <a:cxn ang="0">
                  <a:pos x="384" y="508"/>
                </a:cxn>
                <a:cxn ang="0">
                  <a:pos x="272" y="472"/>
                </a:cxn>
                <a:cxn ang="0">
                  <a:pos x="259" y="382"/>
                </a:cxn>
                <a:cxn ang="0">
                  <a:pos x="178" y="376"/>
                </a:cxn>
                <a:cxn ang="0">
                  <a:pos x="137" y="354"/>
                </a:cxn>
                <a:cxn ang="0">
                  <a:pos x="132" y="322"/>
                </a:cxn>
                <a:cxn ang="0">
                  <a:pos x="184" y="322"/>
                </a:cxn>
                <a:cxn ang="0">
                  <a:pos x="166" y="269"/>
                </a:cxn>
                <a:cxn ang="0">
                  <a:pos x="86" y="269"/>
                </a:cxn>
                <a:cxn ang="0">
                  <a:pos x="0" y="247"/>
                </a:cxn>
                <a:cxn ang="0">
                  <a:pos x="0" y="206"/>
                </a:cxn>
              </a:cxnLst>
              <a:rect l="0" t="0" r="r" b="b"/>
              <a:pathLst>
                <a:path w="839" h="511">
                  <a:moveTo>
                    <a:pt x="0" y="206"/>
                  </a:moveTo>
                  <a:lnTo>
                    <a:pt x="67" y="172"/>
                  </a:lnTo>
                  <a:lnTo>
                    <a:pt x="170" y="200"/>
                  </a:lnTo>
                  <a:lnTo>
                    <a:pt x="169" y="163"/>
                  </a:lnTo>
                  <a:lnTo>
                    <a:pt x="266" y="112"/>
                  </a:lnTo>
                  <a:lnTo>
                    <a:pt x="357" y="135"/>
                  </a:lnTo>
                  <a:lnTo>
                    <a:pt x="396" y="106"/>
                  </a:lnTo>
                  <a:lnTo>
                    <a:pt x="450" y="106"/>
                  </a:lnTo>
                  <a:lnTo>
                    <a:pt x="484" y="63"/>
                  </a:lnTo>
                  <a:lnTo>
                    <a:pt x="525" y="47"/>
                  </a:lnTo>
                  <a:lnTo>
                    <a:pt x="584" y="8"/>
                  </a:lnTo>
                  <a:lnTo>
                    <a:pt x="624" y="30"/>
                  </a:lnTo>
                  <a:lnTo>
                    <a:pt x="690" y="0"/>
                  </a:lnTo>
                  <a:lnTo>
                    <a:pt x="740" y="49"/>
                  </a:lnTo>
                  <a:lnTo>
                    <a:pt x="696" y="125"/>
                  </a:lnTo>
                  <a:lnTo>
                    <a:pt x="815" y="146"/>
                  </a:lnTo>
                  <a:lnTo>
                    <a:pt x="838" y="202"/>
                  </a:lnTo>
                  <a:lnTo>
                    <a:pt x="770" y="267"/>
                  </a:lnTo>
                  <a:lnTo>
                    <a:pt x="760" y="352"/>
                  </a:lnTo>
                  <a:lnTo>
                    <a:pt x="678" y="395"/>
                  </a:lnTo>
                  <a:lnTo>
                    <a:pt x="696" y="440"/>
                  </a:lnTo>
                  <a:lnTo>
                    <a:pt x="606" y="510"/>
                  </a:lnTo>
                  <a:lnTo>
                    <a:pt x="537" y="508"/>
                  </a:lnTo>
                  <a:lnTo>
                    <a:pt x="465" y="468"/>
                  </a:lnTo>
                  <a:lnTo>
                    <a:pt x="384" y="508"/>
                  </a:lnTo>
                  <a:lnTo>
                    <a:pt x="272" y="472"/>
                  </a:lnTo>
                  <a:lnTo>
                    <a:pt x="259" y="382"/>
                  </a:lnTo>
                  <a:lnTo>
                    <a:pt x="178" y="376"/>
                  </a:lnTo>
                  <a:lnTo>
                    <a:pt x="137" y="354"/>
                  </a:lnTo>
                  <a:lnTo>
                    <a:pt x="132" y="322"/>
                  </a:lnTo>
                  <a:lnTo>
                    <a:pt x="184" y="322"/>
                  </a:lnTo>
                  <a:lnTo>
                    <a:pt x="166" y="269"/>
                  </a:lnTo>
                  <a:lnTo>
                    <a:pt x="86" y="269"/>
                  </a:lnTo>
                  <a:lnTo>
                    <a:pt x="0" y="247"/>
                  </a:lnTo>
                  <a:lnTo>
                    <a:pt x="0" y="206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5" name="Line 38">
              <a:extLst>
                <a:ext uri="{FF2B5EF4-FFF2-40B4-BE49-F238E27FC236}">
                  <a16:creationId xmlns:a16="http://schemas.microsoft.com/office/drawing/2014/main" id="{3FDA498B-2F9B-2EEB-FCA6-01B428E1E9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8386" y="3527130"/>
              <a:ext cx="1499" cy="2998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596" name="Elipse 8595">
            <a:extLst>
              <a:ext uri="{FF2B5EF4-FFF2-40B4-BE49-F238E27FC236}">
                <a16:creationId xmlns:a16="http://schemas.microsoft.com/office/drawing/2014/main" id="{EFF37E8A-081A-BFF8-0CBB-137B5CE515C2}"/>
              </a:ext>
            </a:extLst>
          </p:cNvPr>
          <p:cNvSpPr/>
          <p:nvPr/>
        </p:nvSpPr>
        <p:spPr>
          <a:xfrm>
            <a:off x="7799542" y="205041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597" name="Elipse 8596">
            <a:extLst>
              <a:ext uri="{FF2B5EF4-FFF2-40B4-BE49-F238E27FC236}">
                <a16:creationId xmlns:a16="http://schemas.microsoft.com/office/drawing/2014/main" id="{95B012C2-01CB-4A67-5CB0-5879EEF74289}"/>
              </a:ext>
            </a:extLst>
          </p:cNvPr>
          <p:cNvSpPr/>
          <p:nvPr/>
        </p:nvSpPr>
        <p:spPr>
          <a:xfrm>
            <a:off x="7827799" y="2552673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598" name="Elipse 8597">
            <a:extLst>
              <a:ext uri="{FF2B5EF4-FFF2-40B4-BE49-F238E27FC236}">
                <a16:creationId xmlns:a16="http://schemas.microsoft.com/office/drawing/2014/main" id="{952BFAE3-7DEB-7406-8834-E3C8A3AA24C2}"/>
              </a:ext>
            </a:extLst>
          </p:cNvPr>
          <p:cNvSpPr/>
          <p:nvPr/>
        </p:nvSpPr>
        <p:spPr>
          <a:xfrm>
            <a:off x="7522092" y="295744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599" name="Elipse 8598">
            <a:extLst>
              <a:ext uri="{FF2B5EF4-FFF2-40B4-BE49-F238E27FC236}">
                <a16:creationId xmlns:a16="http://schemas.microsoft.com/office/drawing/2014/main" id="{65C1A9EF-1B41-AB1A-72FC-8E506D70D8D6}"/>
              </a:ext>
            </a:extLst>
          </p:cNvPr>
          <p:cNvSpPr/>
          <p:nvPr/>
        </p:nvSpPr>
        <p:spPr>
          <a:xfrm>
            <a:off x="7050059" y="3202723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0" name="Elipse 8599">
            <a:extLst>
              <a:ext uri="{FF2B5EF4-FFF2-40B4-BE49-F238E27FC236}">
                <a16:creationId xmlns:a16="http://schemas.microsoft.com/office/drawing/2014/main" id="{FF479E4F-888B-2B9E-5FA6-32F22E71C15B}"/>
              </a:ext>
            </a:extLst>
          </p:cNvPr>
          <p:cNvSpPr/>
          <p:nvPr/>
        </p:nvSpPr>
        <p:spPr>
          <a:xfrm>
            <a:off x="6837614" y="3934003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1" name="Elipse 8600">
            <a:extLst>
              <a:ext uri="{FF2B5EF4-FFF2-40B4-BE49-F238E27FC236}">
                <a16:creationId xmlns:a16="http://schemas.microsoft.com/office/drawing/2014/main" id="{548E2CEF-7170-E276-0BC1-8922C1C9BB64}"/>
              </a:ext>
            </a:extLst>
          </p:cNvPr>
          <p:cNvSpPr/>
          <p:nvPr/>
        </p:nvSpPr>
        <p:spPr>
          <a:xfrm>
            <a:off x="7212093" y="3584840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2" name="Elipse 8601">
            <a:extLst>
              <a:ext uri="{FF2B5EF4-FFF2-40B4-BE49-F238E27FC236}">
                <a16:creationId xmlns:a16="http://schemas.microsoft.com/office/drawing/2014/main" id="{9D387E7B-FD50-ACC2-2E2E-BA3BE77D4D70}"/>
              </a:ext>
            </a:extLst>
          </p:cNvPr>
          <p:cNvSpPr/>
          <p:nvPr/>
        </p:nvSpPr>
        <p:spPr>
          <a:xfrm>
            <a:off x="6698576" y="3526889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3" name="Elipse 8602">
            <a:extLst>
              <a:ext uri="{FF2B5EF4-FFF2-40B4-BE49-F238E27FC236}">
                <a16:creationId xmlns:a16="http://schemas.microsoft.com/office/drawing/2014/main" id="{14D58201-EE10-E758-E651-014B12A8CDDA}"/>
              </a:ext>
            </a:extLst>
          </p:cNvPr>
          <p:cNvSpPr/>
          <p:nvPr/>
        </p:nvSpPr>
        <p:spPr>
          <a:xfrm>
            <a:off x="7281062" y="4175481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4" name="Elipse 8603">
            <a:extLst>
              <a:ext uri="{FF2B5EF4-FFF2-40B4-BE49-F238E27FC236}">
                <a16:creationId xmlns:a16="http://schemas.microsoft.com/office/drawing/2014/main" id="{5082BA4F-530E-7FB6-370E-CFA76CB674D0}"/>
              </a:ext>
            </a:extLst>
          </p:cNvPr>
          <p:cNvSpPr/>
          <p:nvPr/>
        </p:nvSpPr>
        <p:spPr>
          <a:xfrm>
            <a:off x="7625216" y="4385136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5" name="Elipse 8604">
            <a:extLst>
              <a:ext uri="{FF2B5EF4-FFF2-40B4-BE49-F238E27FC236}">
                <a16:creationId xmlns:a16="http://schemas.microsoft.com/office/drawing/2014/main" id="{C9732351-71D3-5E51-816F-7077D3D41716}"/>
              </a:ext>
            </a:extLst>
          </p:cNvPr>
          <p:cNvSpPr/>
          <p:nvPr/>
        </p:nvSpPr>
        <p:spPr>
          <a:xfrm>
            <a:off x="7458619" y="4818583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6" name="Elipse 8605">
            <a:extLst>
              <a:ext uri="{FF2B5EF4-FFF2-40B4-BE49-F238E27FC236}">
                <a16:creationId xmlns:a16="http://schemas.microsoft.com/office/drawing/2014/main" id="{27B19675-22BE-27FA-9EA3-F83E49570B94}"/>
              </a:ext>
            </a:extLst>
          </p:cNvPr>
          <p:cNvSpPr/>
          <p:nvPr/>
        </p:nvSpPr>
        <p:spPr>
          <a:xfrm>
            <a:off x="7173791" y="4622075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7" name="Elipse 8606">
            <a:extLst>
              <a:ext uri="{FF2B5EF4-FFF2-40B4-BE49-F238E27FC236}">
                <a16:creationId xmlns:a16="http://schemas.microsoft.com/office/drawing/2014/main" id="{EF99C022-6889-AD38-E722-E7D793FDB405}"/>
              </a:ext>
            </a:extLst>
          </p:cNvPr>
          <p:cNvSpPr/>
          <p:nvPr/>
        </p:nvSpPr>
        <p:spPr>
          <a:xfrm>
            <a:off x="6786054" y="4304564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8" name="Elipse 8607">
            <a:extLst>
              <a:ext uri="{FF2B5EF4-FFF2-40B4-BE49-F238E27FC236}">
                <a16:creationId xmlns:a16="http://schemas.microsoft.com/office/drawing/2014/main" id="{6D35979B-5B0A-1338-0B2B-B2A92E79B3EA}"/>
              </a:ext>
            </a:extLst>
          </p:cNvPr>
          <p:cNvSpPr/>
          <p:nvPr/>
        </p:nvSpPr>
        <p:spPr>
          <a:xfrm>
            <a:off x="6752741" y="4717633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9" name="Elipse 8608">
            <a:extLst>
              <a:ext uri="{FF2B5EF4-FFF2-40B4-BE49-F238E27FC236}">
                <a16:creationId xmlns:a16="http://schemas.microsoft.com/office/drawing/2014/main" id="{C9D2531C-7F35-E4A9-1856-0887C356B357}"/>
              </a:ext>
            </a:extLst>
          </p:cNvPr>
          <p:cNvSpPr/>
          <p:nvPr/>
        </p:nvSpPr>
        <p:spPr>
          <a:xfrm>
            <a:off x="6536534" y="5275386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10" name="Elipse 8609">
            <a:extLst>
              <a:ext uri="{FF2B5EF4-FFF2-40B4-BE49-F238E27FC236}">
                <a16:creationId xmlns:a16="http://schemas.microsoft.com/office/drawing/2014/main" id="{53C06130-8844-B340-CF23-83CE43CF8F6F}"/>
              </a:ext>
            </a:extLst>
          </p:cNvPr>
          <p:cNvSpPr/>
          <p:nvPr/>
        </p:nvSpPr>
        <p:spPr>
          <a:xfrm>
            <a:off x="7046287" y="5206808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13" name="TextBox 24">
            <a:extLst>
              <a:ext uri="{FF2B5EF4-FFF2-40B4-BE49-F238E27FC236}">
                <a16:creationId xmlns:a16="http://schemas.microsoft.com/office/drawing/2014/main" id="{47029F9E-7753-2D9D-B41E-07F4423098CC}"/>
              </a:ext>
            </a:extLst>
          </p:cNvPr>
          <p:cNvSpPr txBox="1"/>
          <p:nvPr/>
        </p:nvSpPr>
        <p:spPr>
          <a:xfrm>
            <a:off x="8761117" y="2657970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8614" name="Conector recto de flecha 8613">
            <a:extLst>
              <a:ext uri="{FF2B5EF4-FFF2-40B4-BE49-F238E27FC236}">
                <a16:creationId xmlns:a16="http://schemas.microsoft.com/office/drawing/2014/main" id="{364C8EE9-72E7-8C18-3D52-83720BEA98FE}"/>
              </a:ext>
            </a:extLst>
          </p:cNvPr>
          <p:cNvCxnSpPr>
            <a:cxnSpLocks/>
          </p:cNvCxnSpPr>
          <p:nvPr/>
        </p:nvCxnSpPr>
        <p:spPr>
          <a:xfrm flipH="1" flipV="1">
            <a:off x="8223060" y="2750303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22" name="TextBox 24">
            <a:extLst>
              <a:ext uri="{FF2B5EF4-FFF2-40B4-BE49-F238E27FC236}">
                <a16:creationId xmlns:a16="http://schemas.microsoft.com/office/drawing/2014/main" id="{010AFF52-E730-A586-37F6-6D25D7B4D663}"/>
              </a:ext>
            </a:extLst>
          </p:cNvPr>
          <p:cNvSpPr txBox="1"/>
          <p:nvPr/>
        </p:nvSpPr>
        <p:spPr>
          <a:xfrm>
            <a:off x="8140594" y="3691264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8623" name="Conector recto de flecha 8622">
            <a:extLst>
              <a:ext uri="{FF2B5EF4-FFF2-40B4-BE49-F238E27FC236}">
                <a16:creationId xmlns:a16="http://schemas.microsoft.com/office/drawing/2014/main" id="{0198A486-BECF-7E9E-4941-6B31337C2BC2}"/>
              </a:ext>
            </a:extLst>
          </p:cNvPr>
          <p:cNvCxnSpPr>
            <a:cxnSpLocks/>
          </p:cNvCxnSpPr>
          <p:nvPr/>
        </p:nvCxnSpPr>
        <p:spPr>
          <a:xfrm flipH="1" flipV="1">
            <a:off x="7602537" y="3783597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24" name="TextBox 24">
            <a:extLst>
              <a:ext uri="{FF2B5EF4-FFF2-40B4-BE49-F238E27FC236}">
                <a16:creationId xmlns:a16="http://schemas.microsoft.com/office/drawing/2014/main" id="{60941468-EB34-11B8-241D-83D53847BC47}"/>
              </a:ext>
            </a:extLst>
          </p:cNvPr>
          <p:cNvSpPr txBox="1"/>
          <p:nvPr/>
        </p:nvSpPr>
        <p:spPr>
          <a:xfrm>
            <a:off x="8547766" y="4491966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8625" name="Conector recto de flecha 8624">
            <a:extLst>
              <a:ext uri="{FF2B5EF4-FFF2-40B4-BE49-F238E27FC236}">
                <a16:creationId xmlns:a16="http://schemas.microsoft.com/office/drawing/2014/main" id="{1DB63BFE-4B09-FCF5-21D2-2EED2026B4B2}"/>
              </a:ext>
            </a:extLst>
          </p:cNvPr>
          <p:cNvCxnSpPr>
            <a:cxnSpLocks/>
          </p:cNvCxnSpPr>
          <p:nvPr/>
        </p:nvCxnSpPr>
        <p:spPr>
          <a:xfrm flipH="1" flipV="1">
            <a:off x="8009709" y="4584299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26" name="TextBox 24">
            <a:extLst>
              <a:ext uri="{FF2B5EF4-FFF2-40B4-BE49-F238E27FC236}">
                <a16:creationId xmlns:a16="http://schemas.microsoft.com/office/drawing/2014/main" id="{C90D5BE3-0A91-4EE0-4E98-62CABA5E95A4}"/>
              </a:ext>
            </a:extLst>
          </p:cNvPr>
          <p:cNvSpPr txBox="1"/>
          <p:nvPr/>
        </p:nvSpPr>
        <p:spPr>
          <a:xfrm>
            <a:off x="5114178" y="2172195"/>
            <a:ext cx="1942556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237557316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BA54750-34E4-0CF2-D78E-90567CE882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BA54750-34E4-0CF2-D78E-90567CE88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D7B5031-6A1B-628A-6B0A-F307F8E035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F95C227-BB3B-39E5-85EB-4F9139C1D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horopleth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EEE1C1D-BA36-064A-911B-8BCA80571B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E60889-959F-BE1E-EF87-9537597CC1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-30488" y="1520825"/>
            <a:ext cx="8230981" cy="4787899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CADE6778-AE56-B8B4-E0EB-D23362954DD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11437" name="Freeform 5">
                <a:extLst>
                  <a:ext uri="{FF2B5EF4-FFF2-40B4-BE49-F238E27FC236}">
                    <a16:creationId xmlns:a16="http://schemas.microsoft.com/office/drawing/2014/main" id="{242F7805-2A1D-6BD6-BBB2-C8CC75B40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38" name="Freeform 6">
                <a:extLst>
                  <a:ext uri="{FF2B5EF4-FFF2-40B4-BE49-F238E27FC236}">
                    <a16:creationId xmlns:a16="http://schemas.microsoft.com/office/drawing/2014/main" id="{4998ACE7-E557-7BD4-4D96-094BD979C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39" name="Freeform 7">
                <a:extLst>
                  <a:ext uri="{FF2B5EF4-FFF2-40B4-BE49-F238E27FC236}">
                    <a16:creationId xmlns:a16="http://schemas.microsoft.com/office/drawing/2014/main" id="{361FCF18-6899-B726-3F6B-E60BEE9199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0" name="Freeform 8">
                <a:extLst>
                  <a:ext uri="{FF2B5EF4-FFF2-40B4-BE49-F238E27FC236}">
                    <a16:creationId xmlns:a16="http://schemas.microsoft.com/office/drawing/2014/main" id="{8DC3D5C7-B8D3-2E9F-1590-8E39A67982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1" name="Freeform 9">
                <a:extLst>
                  <a:ext uri="{FF2B5EF4-FFF2-40B4-BE49-F238E27FC236}">
                    <a16:creationId xmlns:a16="http://schemas.microsoft.com/office/drawing/2014/main" id="{868C7511-7294-0A68-6C38-8CF6D8911C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2" name="Freeform 10">
                <a:extLst>
                  <a:ext uri="{FF2B5EF4-FFF2-40B4-BE49-F238E27FC236}">
                    <a16:creationId xmlns:a16="http://schemas.microsoft.com/office/drawing/2014/main" id="{EC3FC91F-598C-3025-BE21-C5DFFB667B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3" name="Freeform 11">
                <a:extLst>
                  <a:ext uri="{FF2B5EF4-FFF2-40B4-BE49-F238E27FC236}">
                    <a16:creationId xmlns:a16="http://schemas.microsoft.com/office/drawing/2014/main" id="{865B6094-B338-7821-BAF0-0E7AEF0DEE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4" name="Freeform 12">
                <a:extLst>
                  <a:ext uri="{FF2B5EF4-FFF2-40B4-BE49-F238E27FC236}">
                    <a16:creationId xmlns:a16="http://schemas.microsoft.com/office/drawing/2014/main" id="{FC34D3FE-88D7-FAAC-2D42-E260F4CE0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5" name="Freeform 13">
                <a:extLst>
                  <a:ext uri="{FF2B5EF4-FFF2-40B4-BE49-F238E27FC236}">
                    <a16:creationId xmlns:a16="http://schemas.microsoft.com/office/drawing/2014/main" id="{F2CEB0EE-5310-1607-EB0C-FD70D3326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6" name="Freeform 14">
                <a:extLst>
                  <a:ext uri="{FF2B5EF4-FFF2-40B4-BE49-F238E27FC236}">
                    <a16:creationId xmlns:a16="http://schemas.microsoft.com/office/drawing/2014/main" id="{7F19FD24-CF9A-BE23-65D6-9EFDCA0114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7" name="Freeform 15">
                <a:extLst>
                  <a:ext uri="{FF2B5EF4-FFF2-40B4-BE49-F238E27FC236}">
                    <a16:creationId xmlns:a16="http://schemas.microsoft.com/office/drawing/2014/main" id="{F64B6226-1B03-B2D9-E671-D2BF49C7B9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8" name="Freeform 16">
                <a:extLst>
                  <a:ext uri="{FF2B5EF4-FFF2-40B4-BE49-F238E27FC236}">
                    <a16:creationId xmlns:a16="http://schemas.microsoft.com/office/drawing/2014/main" id="{C1D62C72-4E52-33C5-9EB2-F29938E3A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9" name="Freeform 17">
                <a:extLst>
                  <a:ext uri="{FF2B5EF4-FFF2-40B4-BE49-F238E27FC236}">
                    <a16:creationId xmlns:a16="http://schemas.microsoft.com/office/drawing/2014/main" id="{E359377B-838E-F29E-9FB1-F8B080BE0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0" name="Freeform 18">
                <a:extLst>
                  <a:ext uri="{FF2B5EF4-FFF2-40B4-BE49-F238E27FC236}">
                    <a16:creationId xmlns:a16="http://schemas.microsoft.com/office/drawing/2014/main" id="{E29927EF-9062-3F51-64F6-ED4180703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1" name="Freeform 19">
                <a:extLst>
                  <a:ext uri="{FF2B5EF4-FFF2-40B4-BE49-F238E27FC236}">
                    <a16:creationId xmlns:a16="http://schemas.microsoft.com/office/drawing/2014/main" id="{851E8AEB-8BDE-73CC-049E-AA89FD91D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2" name="Freeform 20">
                <a:extLst>
                  <a:ext uri="{FF2B5EF4-FFF2-40B4-BE49-F238E27FC236}">
                    <a16:creationId xmlns:a16="http://schemas.microsoft.com/office/drawing/2014/main" id="{C6E09C6D-9603-B585-58B7-560D5B8B8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3" name="Freeform 21">
                <a:extLst>
                  <a:ext uri="{FF2B5EF4-FFF2-40B4-BE49-F238E27FC236}">
                    <a16:creationId xmlns:a16="http://schemas.microsoft.com/office/drawing/2014/main" id="{474AC348-CC6D-3F65-E353-2129E4672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4" name="Freeform 22">
                <a:extLst>
                  <a:ext uri="{FF2B5EF4-FFF2-40B4-BE49-F238E27FC236}">
                    <a16:creationId xmlns:a16="http://schemas.microsoft.com/office/drawing/2014/main" id="{300C7A3F-6709-B3B8-6846-47C79DE8E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5" name="Freeform 23">
                <a:extLst>
                  <a:ext uri="{FF2B5EF4-FFF2-40B4-BE49-F238E27FC236}">
                    <a16:creationId xmlns:a16="http://schemas.microsoft.com/office/drawing/2014/main" id="{228D32EB-B1AF-2592-D741-93A5DD9B6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6" name="Freeform 24">
                <a:extLst>
                  <a:ext uri="{FF2B5EF4-FFF2-40B4-BE49-F238E27FC236}">
                    <a16:creationId xmlns:a16="http://schemas.microsoft.com/office/drawing/2014/main" id="{2C43506E-6C31-316F-E162-154B160AA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7" name="Freeform 25">
                <a:extLst>
                  <a:ext uri="{FF2B5EF4-FFF2-40B4-BE49-F238E27FC236}">
                    <a16:creationId xmlns:a16="http://schemas.microsoft.com/office/drawing/2014/main" id="{E40C781E-1E2A-393E-1C1D-01A37B364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8" name="Freeform 26">
                <a:extLst>
                  <a:ext uri="{FF2B5EF4-FFF2-40B4-BE49-F238E27FC236}">
                    <a16:creationId xmlns:a16="http://schemas.microsoft.com/office/drawing/2014/main" id="{A5A579C7-1AFF-21AB-5C7A-B81304C03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9" name="Freeform 27">
                <a:extLst>
                  <a:ext uri="{FF2B5EF4-FFF2-40B4-BE49-F238E27FC236}">
                    <a16:creationId xmlns:a16="http://schemas.microsoft.com/office/drawing/2014/main" id="{8154303C-A46E-D740-EF31-5EC975BA9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0" name="Freeform 28">
                <a:extLst>
                  <a:ext uri="{FF2B5EF4-FFF2-40B4-BE49-F238E27FC236}">
                    <a16:creationId xmlns:a16="http://schemas.microsoft.com/office/drawing/2014/main" id="{A524BD20-D1A3-DF15-C156-79424CD36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1" name="Freeform 29">
                <a:extLst>
                  <a:ext uri="{FF2B5EF4-FFF2-40B4-BE49-F238E27FC236}">
                    <a16:creationId xmlns:a16="http://schemas.microsoft.com/office/drawing/2014/main" id="{040DE889-AC24-5BDA-D4A8-C33A0189D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2" name="Freeform 30">
                <a:extLst>
                  <a:ext uri="{FF2B5EF4-FFF2-40B4-BE49-F238E27FC236}">
                    <a16:creationId xmlns:a16="http://schemas.microsoft.com/office/drawing/2014/main" id="{BA803346-CFB5-27CD-D3A2-D295A5C7E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3" name="Freeform 31">
                <a:extLst>
                  <a:ext uri="{FF2B5EF4-FFF2-40B4-BE49-F238E27FC236}">
                    <a16:creationId xmlns:a16="http://schemas.microsoft.com/office/drawing/2014/main" id="{252418F6-70D1-79B2-8E2B-F7ECC88F6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4" name="Freeform 32">
                <a:extLst>
                  <a:ext uri="{FF2B5EF4-FFF2-40B4-BE49-F238E27FC236}">
                    <a16:creationId xmlns:a16="http://schemas.microsoft.com/office/drawing/2014/main" id="{EB05288E-874F-303B-5CF8-DFDE737261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5" name="Freeform 33">
                <a:extLst>
                  <a:ext uri="{FF2B5EF4-FFF2-40B4-BE49-F238E27FC236}">
                    <a16:creationId xmlns:a16="http://schemas.microsoft.com/office/drawing/2014/main" id="{312524A8-4FA2-CB9E-9622-EA469EE8D0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6" name="Freeform 34">
                <a:extLst>
                  <a:ext uri="{FF2B5EF4-FFF2-40B4-BE49-F238E27FC236}">
                    <a16:creationId xmlns:a16="http://schemas.microsoft.com/office/drawing/2014/main" id="{5CC7B272-17CD-5222-F2B1-12CA61271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7" name="Freeform 35">
                <a:extLst>
                  <a:ext uri="{FF2B5EF4-FFF2-40B4-BE49-F238E27FC236}">
                    <a16:creationId xmlns:a16="http://schemas.microsoft.com/office/drawing/2014/main" id="{71C3E491-F439-143A-0662-0A4C5EC5C7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8" name="Freeform 36">
                <a:extLst>
                  <a:ext uri="{FF2B5EF4-FFF2-40B4-BE49-F238E27FC236}">
                    <a16:creationId xmlns:a16="http://schemas.microsoft.com/office/drawing/2014/main" id="{0F5A54D7-FE7C-FA64-6FED-7E79A935C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9" name="Freeform 37">
                <a:extLst>
                  <a:ext uri="{FF2B5EF4-FFF2-40B4-BE49-F238E27FC236}">
                    <a16:creationId xmlns:a16="http://schemas.microsoft.com/office/drawing/2014/main" id="{2980B08B-0BB8-9F93-23C5-E7AC03DF8A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0" name="Freeform 38">
                <a:extLst>
                  <a:ext uri="{FF2B5EF4-FFF2-40B4-BE49-F238E27FC236}">
                    <a16:creationId xmlns:a16="http://schemas.microsoft.com/office/drawing/2014/main" id="{703C37D8-A1FC-7DB3-160A-F4E56D8CB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1" name="Freeform 39">
                <a:extLst>
                  <a:ext uri="{FF2B5EF4-FFF2-40B4-BE49-F238E27FC236}">
                    <a16:creationId xmlns:a16="http://schemas.microsoft.com/office/drawing/2014/main" id="{8CB51E0B-190B-ED56-589A-305C931C6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2" name="Freeform 40">
                <a:extLst>
                  <a:ext uri="{FF2B5EF4-FFF2-40B4-BE49-F238E27FC236}">
                    <a16:creationId xmlns:a16="http://schemas.microsoft.com/office/drawing/2014/main" id="{CDE6454B-7DBA-1C05-09D6-ECBFE0F31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3" name="Freeform 41">
                <a:extLst>
                  <a:ext uri="{FF2B5EF4-FFF2-40B4-BE49-F238E27FC236}">
                    <a16:creationId xmlns:a16="http://schemas.microsoft.com/office/drawing/2014/main" id="{71FF9A78-FA27-1C89-F7E4-AA04E5316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4" name="Freeform 42">
                <a:extLst>
                  <a:ext uri="{FF2B5EF4-FFF2-40B4-BE49-F238E27FC236}">
                    <a16:creationId xmlns:a16="http://schemas.microsoft.com/office/drawing/2014/main" id="{47971B4E-F78C-3F17-3E47-942A91D18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5" name="Freeform 43">
                <a:extLst>
                  <a:ext uri="{FF2B5EF4-FFF2-40B4-BE49-F238E27FC236}">
                    <a16:creationId xmlns:a16="http://schemas.microsoft.com/office/drawing/2014/main" id="{74EE79BE-ABD7-2405-9EFC-C7487B41C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6" name="Freeform 44">
                <a:extLst>
                  <a:ext uri="{FF2B5EF4-FFF2-40B4-BE49-F238E27FC236}">
                    <a16:creationId xmlns:a16="http://schemas.microsoft.com/office/drawing/2014/main" id="{29934905-1642-FA64-704B-BCF3CEAA9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7" name="Freeform 45">
                <a:extLst>
                  <a:ext uri="{FF2B5EF4-FFF2-40B4-BE49-F238E27FC236}">
                    <a16:creationId xmlns:a16="http://schemas.microsoft.com/office/drawing/2014/main" id="{A7A611F3-C59B-BA4E-25B5-F260B9393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8" name="Freeform 46">
                <a:extLst>
                  <a:ext uri="{FF2B5EF4-FFF2-40B4-BE49-F238E27FC236}">
                    <a16:creationId xmlns:a16="http://schemas.microsoft.com/office/drawing/2014/main" id="{BB5E3B5B-D78A-C151-DE65-7B7A89AAE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9" name="Freeform 47">
                <a:extLst>
                  <a:ext uri="{FF2B5EF4-FFF2-40B4-BE49-F238E27FC236}">
                    <a16:creationId xmlns:a16="http://schemas.microsoft.com/office/drawing/2014/main" id="{2C124753-92A0-25EF-F166-EB3052113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0" name="Freeform 48">
                <a:extLst>
                  <a:ext uri="{FF2B5EF4-FFF2-40B4-BE49-F238E27FC236}">
                    <a16:creationId xmlns:a16="http://schemas.microsoft.com/office/drawing/2014/main" id="{C206551F-3FBB-6731-B6E3-1BAD26056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1" name="Freeform 49">
                <a:extLst>
                  <a:ext uri="{FF2B5EF4-FFF2-40B4-BE49-F238E27FC236}">
                    <a16:creationId xmlns:a16="http://schemas.microsoft.com/office/drawing/2014/main" id="{2CFDD61E-55CB-1E42-41AA-4E9ABD78C1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2" name="Freeform 50">
                <a:extLst>
                  <a:ext uri="{FF2B5EF4-FFF2-40B4-BE49-F238E27FC236}">
                    <a16:creationId xmlns:a16="http://schemas.microsoft.com/office/drawing/2014/main" id="{9405C160-8D5F-9559-8C03-3089711F42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3" name="Freeform 51">
                <a:extLst>
                  <a:ext uri="{FF2B5EF4-FFF2-40B4-BE49-F238E27FC236}">
                    <a16:creationId xmlns:a16="http://schemas.microsoft.com/office/drawing/2014/main" id="{A7E51F38-436C-9A8D-65E9-4107A7DB40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4" name="Freeform 52">
                <a:extLst>
                  <a:ext uri="{FF2B5EF4-FFF2-40B4-BE49-F238E27FC236}">
                    <a16:creationId xmlns:a16="http://schemas.microsoft.com/office/drawing/2014/main" id="{769049E4-D8C4-1463-12A4-8E1437163C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5" name="Freeform 53">
                <a:extLst>
                  <a:ext uri="{FF2B5EF4-FFF2-40B4-BE49-F238E27FC236}">
                    <a16:creationId xmlns:a16="http://schemas.microsoft.com/office/drawing/2014/main" id="{71AFEB3B-834B-CFDA-8270-5435D81AE5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6" name="Freeform 54">
                <a:extLst>
                  <a:ext uri="{FF2B5EF4-FFF2-40B4-BE49-F238E27FC236}">
                    <a16:creationId xmlns:a16="http://schemas.microsoft.com/office/drawing/2014/main" id="{5CDC8B27-1FB6-D0C0-569C-8947FE895F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7" name="Freeform 55">
                <a:extLst>
                  <a:ext uri="{FF2B5EF4-FFF2-40B4-BE49-F238E27FC236}">
                    <a16:creationId xmlns:a16="http://schemas.microsoft.com/office/drawing/2014/main" id="{7566BD66-7138-A0B0-6784-2EAC040498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8" name="Freeform 56">
                <a:extLst>
                  <a:ext uri="{FF2B5EF4-FFF2-40B4-BE49-F238E27FC236}">
                    <a16:creationId xmlns:a16="http://schemas.microsoft.com/office/drawing/2014/main" id="{5F5165E8-69BB-E725-CA09-096F8A5794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9" name="Freeform 57">
                <a:extLst>
                  <a:ext uri="{FF2B5EF4-FFF2-40B4-BE49-F238E27FC236}">
                    <a16:creationId xmlns:a16="http://schemas.microsoft.com/office/drawing/2014/main" id="{D845663C-51CA-E456-3614-97F2EADDCE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0" name="Freeform 58">
                <a:extLst>
                  <a:ext uri="{FF2B5EF4-FFF2-40B4-BE49-F238E27FC236}">
                    <a16:creationId xmlns:a16="http://schemas.microsoft.com/office/drawing/2014/main" id="{6E1D8065-12CA-38CE-90F4-37070836ED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1" name="Freeform 59">
                <a:extLst>
                  <a:ext uri="{FF2B5EF4-FFF2-40B4-BE49-F238E27FC236}">
                    <a16:creationId xmlns:a16="http://schemas.microsoft.com/office/drawing/2014/main" id="{C1EA50A6-A393-4B9C-304F-850F296391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2" name="Freeform 60">
                <a:extLst>
                  <a:ext uri="{FF2B5EF4-FFF2-40B4-BE49-F238E27FC236}">
                    <a16:creationId xmlns:a16="http://schemas.microsoft.com/office/drawing/2014/main" id="{96B0C609-882C-C5B4-FB2B-30395B71A9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3" name="Freeform 61">
                <a:extLst>
                  <a:ext uri="{FF2B5EF4-FFF2-40B4-BE49-F238E27FC236}">
                    <a16:creationId xmlns:a16="http://schemas.microsoft.com/office/drawing/2014/main" id="{49079596-88D0-905F-0DBE-93B4EBBED5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4" name="Freeform 62">
                <a:extLst>
                  <a:ext uri="{FF2B5EF4-FFF2-40B4-BE49-F238E27FC236}">
                    <a16:creationId xmlns:a16="http://schemas.microsoft.com/office/drawing/2014/main" id="{EEBD968E-75F4-3B72-F4DB-2705B7E233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5" name="Freeform 63">
                <a:extLst>
                  <a:ext uri="{FF2B5EF4-FFF2-40B4-BE49-F238E27FC236}">
                    <a16:creationId xmlns:a16="http://schemas.microsoft.com/office/drawing/2014/main" id="{7212B6EF-5C7B-E22B-7302-082B292438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6" name="Freeform 64">
                <a:extLst>
                  <a:ext uri="{FF2B5EF4-FFF2-40B4-BE49-F238E27FC236}">
                    <a16:creationId xmlns:a16="http://schemas.microsoft.com/office/drawing/2014/main" id="{C08C38E7-0604-7CB5-5FF1-DCCBF8A8A9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7" name="Freeform 65">
                <a:extLst>
                  <a:ext uri="{FF2B5EF4-FFF2-40B4-BE49-F238E27FC236}">
                    <a16:creationId xmlns:a16="http://schemas.microsoft.com/office/drawing/2014/main" id="{2D9BBFF7-D4CD-748A-C5ED-A6D06762B9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8" name="Freeform 66">
                <a:extLst>
                  <a:ext uri="{FF2B5EF4-FFF2-40B4-BE49-F238E27FC236}">
                    <a16:creationId xmlns:a16="http://schemas.microsoft.com/office/drawing/2014/main" id="{0681F019-0D67-0A22-B0D9-DE2C79A3E7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9" name="Freeform 67">
                <a:extLst>
                  <a:ext uri="{FF2B5EF4-FFF2-40B4-BE49-F238E27FC236}">
                    <a16:creationId xmlns:a16="http://schemas.microsoft.com/office/drawing/2014/main" id="{EB7DADE0-ECBB-842D-3E5A-CFE589AA3F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0" name="Freeform 68">
                <a:extLst>
                  <a:ext uri="{FF2B5EF4-FFF2-40B4-BE49-F238E27FC236}">
                    <a16:creationId xmlns:a16="http://schemas.microsoft.com/office/drawing/2014/main" id="{41D69E34-9F6A-9C21-99E6-8D0FBFB141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1" name="Freeform 69">
                <a:extLst>
                  <a:ext uri="{FF2B5EF4-FFF2-40B4-BE49-F238E27FC236}">
                    <a16:creationId xmlns:a16="http://schemas.microsoft.com/office/drawing/2014/main" id="{9F60CEEF-5BB3-A11F-C3C9-90C583ACC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2" name="Freeform 70">
                <a:extLst>
                  <a:ext uri="{FF2B5EF4-FFF2-40B4-BE49-F238E27FC236}">
                    <a16:creationId xmlns:a16="http://schemas.microsoft.com/office/drawing/2014/main" id="{D9C1D371-70B8-7CFD-B705-ADE31D1D1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3" name="Freeform 71">
                <a:extLst>
                  <a:ext uri="{FF2B5EF4-FFF2-40B4-BE49-F238E27FC236}">
                    <a16:creationId xmlns:a16="http://schemas.microsoft.com/office/drawing/2014/main" id="{C046F752-9F3D-5434-E046-99565B841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4" name="Freeform 72">
                <a:extLst>
                  <a:ext uri="{FF2B5EF4-FFF2-40B4-BE49-F238E27FC236}">
                    <a16:creationId xmlns:a16="http://schemas.microsoft.com/office/drawing/2014/main" id="{A938004D-6574-A97A-BB19-B2F87D9F3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5" name="Freeform 73">
                <a:extLst>
                  <a:ext uri="{FF2B5EF4-FFF2-40B4-BE49-F238E27FC236}">
                    <a16:creationId xmlns:a16="http://schemas.microsoft.com/office/drawing/2014/main" id="{0F7E5F26-C8EA-CD06-416C-C43C67C6EB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6" name="Freeform 74">
                <a:extLst>
                  <a:ext uri="{FF2B5EF4-FFF2-40B4-BE49-F238E27FC236}">
                    <a16:creationId xmlns:a16="http://schemas.microsoft.com/office/drawing/2014/main" id="{938DF8D5-B9D4-105F-2D72-2F486B1E95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7" name="Freeform 75">
                <a:extLst>
                  <a:ext uri="{FF2B5EF4-FFF2-40B4-BE49-F238E27FC236}">
                    <a16:creationId xmlns:a16="http://schemas.microsoft.com/office/drawing/2014/main" id="{D07B2EE4-BC8B-279F-E3B3-0B6F3E7274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8" name="Freeform 76">
                <a:extLst>
                  <a:ext uri="{FF2B5EF4-FFF2-40B4-BE49-F238E27FC236}">
                    <a16:creationId xmlns:a16="http://schemas.microsoft.com/office/drawing/2014/main" id="{BB848D4C-6EA4-12A8-7C33-9BC14842C9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9" name="Freeform 77">
                <a:extLst>
                  <a:ext uri="{FF2B5EF4-FFF2-40B4-BE49-F238E27FC236}">
                    <a16:creationId xmlns:a16="http://schemas.microsoft.com/office/drawing/2014/main" id="{6AB6F471-F6F5-0B7E-7AFD-5FB0B8E0C7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0" name="Freeform 78">
                <a:extLst>
                  <a:ext uri="{FF2B5EF4-FFF2-40B4-BE49-F238E27FC236}">
                    <a16:creationId xmlns:a16="http://schemas.microsoft.com/office/drawing/2014/main" id="{ADE1E017-1C2B-9FA3-1AA0-9F128A88B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1" name="Freeform 79">
                <a:extLst>
                  <a:ext uri="{FF2B5EF4-FFF2-40B4-BE49-F238E27FC236}">
                    <a16:creationId xmlns:a16="http://schemas.microsoft.com/office/drawing/2014/main" id="{27B840EF-5DD4-DE24-9703-6B12AA3C5C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2" name="Freeform 80">
                <a:extLst>
                  <a:ext uri="{FF2B5EF4-FFF2-40B4-BE49-F238E27FC236}">
                    <a16:creationId xmlns:a16="http://schemas.microsoft.com/office/drawing/2014/main" id="{55683395-7650-B06B-287C-33C5CE23B4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3" name="Freeform 81">
                <a:extLst>
                  <a:ext uri="{FF2B5EF4-FFF2-40B4-BE49-F238E27FC236}">
                    <a16:creationId xmlns:a16="http://schemas.microsoft.com/office/drawing/2014/main" id="{F7DFD559-E240-9D38-7363-9B85495D53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4" name="Freeform 82">
                <a:extLst>
                  <a:ext uri="{FF2B5EF4-FFF2-40B4-BE49-F238E27FC236}">
                    <a16:creationId xmlns:a16="http://schemas.microsoft.com/office/drawing/2014/main" id="{A166B716-12CB-999C-7CDF-A082ED82EE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5" name="Freeform 83">
                <a:extLst>
                  <a:ext uri="{FF2B5EF4-FFF2-40B4-BE49-F238E27FC236}">
                    <a16:creationId xmlns:a16="http://schemas.microsoft.com/office/drawing/2014/main" id="{46AAAB9D-85F6-CB6D-9441-184C88C85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6" name="Freeform 84">
                <a:extLst>
                  <a:ext uri="{FF2B5EF4-FFF2-40B4-BE49-F238E27FC236}">
                    <a16:creationId xmlns:a16="http://schemas.microsoft.com/office/drawing/2014/main" id="{F8CFA73B-BF76-25C0-A5EC-5DF4DBA7A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7" name="Freeform 85">
                <a:extLst>
                  <a:ext uri="{FF2B5EF4-FFF2-40B4-BE49-F238E27FC236}">
                    <a16:creationId xmlns:a16="http://schemas.microsoft.com/office/drawing/2014/main" id="{28666E35-CE92-4B15-5DF5-B224B06CA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8" name="Freeform 86">
                <a:extLst>
                  <a:ext uri="{FF2B5EF4-FFF2-40B4-BE49-F238E27FC236}">
                    <a16:creationId xmlns:a16="http://schemas.microsoft.com/office/drawing/2014/main" id="{BC4DD25F-50C6-65BC-6955-ED6CFAD0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9" name="Freeform 87">
                <a:extLst>
                  <a:ext uri="{FF2B5EF4-FFF2-40B4-BE49-F238E27FC236}">
                    <a16:creationId xmlns:a16="http://schemas.microsoft.com/office/drawing/2014/main" id="{A65BA473-F51C-2D60-3D1D-80C4E7E6A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0" name="Freeform 88">
                <a:extLst>
                  <a:ext uri="{FF2B5EF4-FFF2-40B4-BE49-F238E27FC236}">
                    <a16:creationId xmlns:a16="http://schemas.microsoft.com/office/drawing/2014/main" id="{CE069443-6811-145A-383F-149BE6B6B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1" name="Freeform 89">
                <a:extLst>
                  <a:ext uri="{FF2B5EF4-FFF2-40B4-BE49-F238E27FC236}">
                    <a16:creationId xmlns:a16="http://schemas.microsoft.com/office/drawing/2014/main" id="{314E6E6F-4DE7-9D1A-0F12-D69C77EBC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2" name="Freeform 90">
                <a:extLst>
                  <a:ext uri="{FF2B5EF4-FFF2-40B4-BE49-F238E27FC236}">
                    <a16:creationId xmlns:a16="http://schemas.microsoft.com/office/drawing/2014/main" id="{79D7FD66-685A-7325-6F3C-508771051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3" name="Freeform 91">
                <a:extLst>
                  <a:ext uri="{FF2B5EF4-FFF2-40B4-BE49-F238E27FC236}">
                    <a16:creationId xmlns:a16="http://schemas.microsoft.com/office/drawing/2014/main" id="{85C4AAB2-EA35-06A6-EB0B-6B253BD9A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4" name="Freeform 92">
                <a:extLst>
                  <a:ext uri="{FF2B5EF4-FFF2-40B4-BE49-F238E27FC236}">
                    <a16:creationId xmlns:a16="http://schemas.microsoft.com/office/drawing/2014/main" id="{6EC0C337-A43D-DC1D-6AE6-262EE88AD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5" name="Freeform 93">
                <a:extLst>
                  <a:ext uri="{FF2B5EF4-FFF2-40B4-BE49-F238E27FC236}">
                    <a16:creationId xmlns:a16="http://schemas.microsoft.com/office/drawing/2014/main" id="{5B42158C-73FB-BCFA-F1BE-2EE4C24826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6" name="Freeform 94">
                <a:extLst>
                  <a:ext uri="{FF2B5EF4-FFF2-40B4-BE49-F238E27FC236}">
                    <a16:creationId xmlns:a16="http://schemas.microsoft.com/office/drawing/2014/main" id="{4173EC77-5827-9AD5-915B-B0E659DA6C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7" name="Freeform 95">
                <a:extLst>
                  <a:ext uri="{FF2B5EF4-FFF2-40B4-BE49-F238E27FC236}">
                    <a16:creationId xmlns:a16="http://schemas.microsoft.com/office/drawing/2014/main" id="{74C91BA9-0DD5-B1F8-74A6-50280EF676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8" name="Freeform 96">
                <a:extLst>
                  <a:ext uri="{FF2B5EF4-FFF2-40B4-BE49-F238E27FC236}">
                    <a16:creationId xmlns:a16="http://schemas.microsoft.com/office/drawing/2014/main" id="{868DE757-9CF1-7448-E68D-377FF2DEC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9" name="Freeform 97">
                <a:extLst>
                  <a:ext uri="{FF2B5EF4-FFF2-40B4-BE49-F238E27FC236}">
                    <a16:creationId xmlns:a16="http://schemas.microsoft.com/office/drawing/2014/main" id="{E405D1C7-6801-21B6-5078-7A10DC4260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0" name="Freeform 98">
                <a:extLst>
                  <a:ext uri="{FF2B5EF4-FFF2-40B4-BE49-F238E27FC236}">
                    <a16:creationId xmlns:a16="http://schemas.microsoft.com/office/drawing/2014/main" id="{84DBE9AF-3E6A-D92D-4931-486AE9907F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1" name="Freeform 99">
                <a:extLst>
                  <a:ext uri="{FF2B5EF4-FFF2-40B4-BE49-F238E27FC236}">
                    <a16:creationId xmlns:a16="http://schemas.microsoft.com/office/drawing/2014/main" id="{B84D5682-573B-5C50-9A49-315F73BC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2" name="Freeform 100">
                <a:extLst>
                  <a:ext uri="{FF2B5EF4-FFF2-40B4-BE49-F238E27FC236}">
                    <a16:creationId xmlns:a16="http://schemas.microsoft.com/office/drawing/2014/main" id="{F858DEE7-1B3B-AC8A-9275-FF414CB985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3" name="Freeform 101">
                <a:extLst>
                  <a:ext uri="{FF2B5EF4-FFF2-40B4-BE49-F238E27FC236}">
                    <a16:creationId xmlns:a16="http://schemas.microsoft.com/office/drawing/2014/main" id="{7679D41E-8F7A-519D-6797-977432A003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4" name="Freeform 102">
                <a:extLst>
                  <a:ext uri="{FF2B5EF4-FFF2-40B4-BE49-F238E27FC236}">
                    <a16:creationId xmlns:a16="http://schemas.microsoft.com/office/drawing/2014/main" id="{8573CA28-5750-22E9-1DC6-3228F1FE73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5" name="Freeform 103">
                <a:extLst>
                  <a:ext uri="{FF2B5EF4-FFF2-40B4-BE49-F238E27FC236}">
                    <a16:creationId xmlns:a16="http://schemas.microsoft.com/office/drawing/2014/main" id="{A0322C12-5C4D-B19C-0B75-E379C00D0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6" name="Freeform 104">
                <a:extLst>
                  <a:ext uri="{FF2B5EF4-FFF2-40B4-BE49-F238E27FC236}">
                    <a16:creationId xmlns:a16="http://schemas.microsoft.com/office/drawing/2014/main" id="{C44100FF-226C-BBAC-E184-ACA3FABE6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7" name="Freeform 105">
                <a:extLst>
                  <a:ext uri="{FF2B5EF4-FFF2-40B4-BE49-F238E27FC236}">
                    <a16:creationId xmlns:a16="http://schemas.microsoft.com/office/drawing/2014/main" id="{FBA63786-AA89-2EA6-D3C5-6B74AC3B3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8" name="Freeform 106">
                <a:extLst>
                  <a:ext uri="{FF2B5EF4-FFF2-40B4-BE49-F238E27FC236}">
                    <a16:creationId xmlns:a16="http://schemas.microsoft.com/office/drawing/2014/main" id="{3C6C6E29-194C-43CE-D5C2-A8533AFCD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9" name="Freeform 107">
                <a:extLst>
                  <a:ext uri="{FF2B5EF4-FFF2-40B4-BE49-F238E27FC236}">
                    <a16:creationId xmlns:a16="http://schemas.microsoft.com/office/drawing/2014/main" id="{8F75661A-D18C-DD20-3022-9EA4B86C8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0" name="Freeform 108">
                <a:extLst>
                  <a:ext uri="{FF2B5EF4-FFF2-40B4-BE49-F238E27FC236}">
                    <a16:creationId xmlns:a16="http://schemas.microsoft.com/office/drawing/2014/main" id="{71436605-454F-AC97-8B9C-8A177B62E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1" name="Freeform 109">
                <a:extLst>
                  <a:ext uri="{FF2B5EF4-FFF2-40B4-BE49-F238E27FC236}">
                    <a16:creationId xmlns:a16="http://schemas.microsoft.com/office/drawing/2014/main" id="{C802367E-F86E-C3D7-F80F-66392C22F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2" name="Freeform 110">
                <a:extLst>
                  <a:ext uri="{FF2B5EF4-FFF2-40B4-BE49-F238E27FC236}">
                    <a16:creationId xmlns:a16="http://schemas.microsoft.com/office/drawing/2014/main" id="{FD942FBA-50EC-F152-9AAD-9AD85C56C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3" name="Freeform 111">
                <a:extLst>
                  <a:ext uri="{FF2B5EF4-FFF2-40B4-BE49-F238E27FC236}">
                    <a16:creationId xmlns:a16="http://schemas.microsoft.com/office/drawing/2014/main" id="{EFACF8ED-F387-ABE4-42DA-E2BE5E3F2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4" name="Freeform 112">
                <a:extLst>
                  <a:ext uri="{FF2B5EF4-FFF2-40B4-BE49-F238E27FC236}">
                    <a16:creationId xmlns:a16="http://schemas.microsoft.com/office/drawing/2014/main" id="{15356002-1F2B-F41A-5CA5-89D6EAECE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5" name="Freeform 113">
                <a:extLst>
                  <a:ext uri="{FF2B5EF4-FFF2-40B4-BE49-F238E27FC236}">
                    <a16:creationId xmlns:a16="http://schemas.microsoft.com/office/drawing/2014/main" id="{5A9E6FD0-F853-C338-2C24-E6FA6E85B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6" name="Freeform 114">
                <a:extLst>
                  <a:ext uri="{FF2B5EF4-FFF2-40B4-BE49-F238E27FC236}">
                    <a16:creationId xmlns:a16="http://schemas.microsoft.com/office/drawing/2014/main" id="{3E7A23C1-2CA4-DD6A-16A6-DEDC3714D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7" name="Freeform 115">
                <a:extLst>
                  <a:ext uri="{FF2B5EF4-FFF2-40B4-BE49-F238E27FC236}">
                    <a16:creationId xmlns:a16="http://schemas.microsoft.com/office/drawing/2014/main" id="{75AF7E3D-5984-20F4-4639-7CE8744DA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8" name="Freeform 116">
                <a:extLst>
                  <a:ext uri="{FF2B5EF4-FFF2-40B4-BE49-F238E27FC236}">
                    <a16:creationId xmlns:a16="http://schemas.microsoft.com/office/drawing/2014/main" id="{3CED8B0B-5604-C22C-2441-DA551EABC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9" name="Freeform 117">
                <a:extLst>
                  <a:ext uri="{FF2B5EF4-FFF2-40B4-BE49-F238E27FC236}">
                    <a16:creationId xmlns:a16="http://schemas.microsoft.com/office/drawing/2014/main" id="{1751B567-8CBC-779C-55F7-433B4DF9C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0" name="Freeform 118">
                <a:extLst>
                  <a:ext uri="{FF2B5EF4-FFF2-40B4-BE49-F238E27FC236}">
                    <a16:creationId xmlns:a16="http://schemas.microsoft.com/office/drawing/2014/main" id="{ABF73260-7FE3-EF04-EE3C-04BFF22B7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1" name="Freeform 119">
                <a:extLst>
                  <a:ext uri="{FF2B5EF4-FFF2-40B4-BE49-F238E27FC236}">
                    <a16:creationId xmlns:a16="http://schemas.microsoft.com/office/drawing/2014/main" id="{C87813BF-E3EF-0733-B220-83B71B377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2" name="Freeform 120">
                <a:extLst>
                  <a:ext uri="{FF2B5EF4-FFF2-40B4-BE49-F238E27FC236}">
                    <a16:creationId xmlns:a16="http://schemas.microsoft.com/office/drawing/2014/main" id="{6CEEAED2-B095-E0AC-0FEB-EAF54B373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3" name="Freeform 121">
                <a:extLst>
                  <a:ext uri="{FF2B5EF4-FFF2-40B4-BE49-F238E27FC236}">
                    <a16:creationId xmlns:a16="http://schemas.microsoft.com/office/drawing/2014/main" id="{C099592B-67D2-833E-EF5B-F991E596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4" name="Freeform 122">
                <a:extLst>
                  <a:ext uri="{FF2B5EF4-FFF2-40B4-BE49-F238E27FC236}">
                    <a16:creationId xmlns:a16="http://schemas.microsoft.com/office/drawing/2014/main" id="{23EA3601-9B04-C489-A5AF-B1FEB9D1DA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5" name="Freeform 123">
                <a:extLst>
                  <a:ext uri="{FF2B5EF4-FFF2-40B4-BE49-F238E27FC236}">
                    <a16:creationId xmlns:a16="http://schemas.microsoft.com/office/drawing/2014/main" id="{91582B00-134E-9EE4-169A-16F6190E5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6" name="Freeform 124">
                <a:extLst>
                  <a:ext uri="{FF2B5EF4-FFF2-40B4-BE49-F238E27FC236}">
                    <a16:creationId xmlns:a16="http://schemas.microsoft.com/office/drawing/2014/main" id="{59250F46-FEA0-2D20-A178-5257236E0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7" name="Freeform 125">
                <a:extLst>
                  <a:ext uri="{FF2B5EF4-FFF2-40B4-BE49-F238E27FC236}">
                    <a16:creationId xmlns:a16="http://schemas.microsoft.com/office/drawing/2014/main" id="{331F0552-8AB2-84DC-CEEC-B7D9ACA6E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8" name="Freeform 126">
                <a:extLst>
                  <a:ext uri="{FF2B5EF4-FFF2-40B4-BE49-F238E27FC236}">
                    <a16:creationId xmlns:a16="http://schemas.microsoft.com/office/drawing/2014/main" id="{18351E80-931B-07B3-37E7-C8B2B9A36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9" name="Freeform 127">
                <a:extLst>
                  <a:ext uri="{FF2B5EF4-FFF2-40B4-BE49-F238E27FC236}">
                    <a16:creationId xmlns:a16="http://schemas.microsoft.com/office/drawing/2014/main" id="{45392CB3-82F5-BECA-2526-CF3ABF553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0" name="Freeform 128">
                <a:extLst>
                  <a:ext uri="{FF2B5EF4-FFF2-40B4-BE49-F238E27FC236}">
                    <a16:creationId xmlns:a16="http://schemas.microsoft.com/office/drawing/2014/main" id="{2441E2A9-A39F-D007-0409-832C223CB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1" name="Freeform 129">
                <a:extLst>
                  <a:ext uri="{FF2B5EF4-FFF2-40B4-BE49-F238E27FC236}">
                    <a16:creationId xmlns:a16="http://schemas.microsoft.com/office/drawing/2014/main" id="{06DDBC30-D1F3-48CF-50BD-79E87ABF31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2" name="Freeform 130">
                <a:extLst>
                  <a:ext uri="{FF2B5EF4-FFF2-40B4-BE49-F238E27FC236}">
                    <a16:creationId xmlns:a16="http://schemas.microsoft.com/office/drawing/2014/main" id="{DFB56766-7F32-1E81-0380-52B34A68D8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3" name="Freeform 131">
                <a:extLst>
                  <a:ext uri="{FF2B5EF4-FFF2-40B4-BE49-F238E27FC236}">
                    <a16:creationId xmlns:a16="http://schemas.microsoft.com/office/drawing/2014/main" id="{54D44CA4-7C7F-E962-9243-6C4656561D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4" name="Freeform 132">
                <a:extLst>
                  <a:ext uri="{FF2B5EF4-FFF2-40B4-BE49-F238E27FC236}">
                    <a16:creationId xmlns:a16="http://schemas.microsoft.com/office/drawing/2014/main" id="{1912D387-C8CD-01E3-A0E2-585FD2A3E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5" name="Freeform 133">
                <a:extLst>
                  <a:ext uri="{FF2B5EF4-FFF2-40B4-BE49-F238E27FC236}">
                    <a16:creationId xmlns:a16="http://schemas.microsoft.com/office/drawing/2014/main" id="{7BB13DDE-98E5-3A24-7612-51FD929C2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6" name="Freeform 134">
                <a:extLst>
                  <a:ext uri="{FF2B5EF4-FFF2-40B4-BE49-F238E27FC236}">
                    <a16:creationId xmlns:a16="http://schemas.microsoft.com/office/drawing/2014/main" id="{ADC6A27B-E979-A8BE-1A4F-CB23C1F0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7" name="Freeform 135">
                <a:extLst>
                  <a:ext uri="{FF2B5EF4-FFF2-40B4-BE49-F238E27FC236}">
                    <a16:creationId xmlns:a16="http://schemas.microsoft.com/office/drawing/2014/main" id="{71EFD5F5-F835-CB0D-F119-F0F737748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8" name="Freeform 136">
                <a:extLst>
                  <a:ext uri="{FF2B5EF4-FFF2-40B4-BE49-F238E27FC236}">
                    <a16:creationId xmlns:a16="http://schemas.microsoft.com/office/drawing/2014/main" id="{06B0E820-42D8-5373-CF3C-40698ECCD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9" name="Freeform 137">
                <a:extLst>
                  <a:ext uri="{FF2B5EF4-FFF2-40B4-BE49-F238E27FC236}">
                    <a16:creationId xmlns:a16="http://schemas.microsoft.com/office/drawing/2014/main" id="{68E902BA-A679-6D85-E924-F172EC558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0" name="Freeform 138">
                <a:extLst>
                  <a:ext uri="{FF2B5EF4-FFF2-40B4-BE49-F238E27FC236}">
                    <a16:creationId xmlns:a16="http://schemas.microsoft.com/office/drawing/2014/main" id="{944B122D-26B0-F55B-3F46-8EC2F8A32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1" name="Freeform 139">
                <a:extLst>
                  <a:ext uri="{FF2B5EF4-FFF2-40B4-BE49-F238E27FC236}">
                    <a16:creationId xmlns:a16="http://schemas.microsoft.com/office/drawing/2014/main" id="{16BE6B91-9CB6-5BE8-0D5A-FAAE03F2A7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2" name="Freeform 140">
                <a:extLst>
                  <a:ext uri="{FF2B5EF4-FFF2-40B4-BE49-F238E27FC236}">
                    <a16:creationId xmlns:a16="http://schemas.microsoft.com/office/drawing/2014/main" id="{BBC6D6FF-0383-BFB4-89CB-9DF85573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3" name="Freeform 141">
                <a:extLst>
                  <a:ext uri="{FF2B5EF4-FFF2-40B4-BE49-F238E27FC236}">
                    <a16:creationId xmlns:a16="http://schemas.microsoft.com/office/drawing/2014/main" id="{19859DD6-4DC2-24DD-2B6B-7B36CA180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4" name="Freeform 142">
                <a:extLst>
                  <a:ext uri="{FF2B5EF4-FFF2-40B4-BE49-F238E27FC236}">
                    <a16:creationId xmlns:a16="http://schemas.microsoft.com/office/drawing/2014/main" id="{71ADFDF7-DF7E-A209-A8F7-728A14D4E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5" name="Freeform 143">
                <a:extLst>
                  <a:ext uri="{FF2B5EF4-FFF2-40B4-BE49-F238E27FC236}">
                    <a16:creationId xmlns:a16="http://schemas.microsoft.com/office/drawing/2014/main" id="{5D17D0BC-3996-F9F9-2E33-15CB2672C2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6" name="Freeform 144">
                <a:extLst>
                  <a:ext uri="{FF2B5EF4-FFF2-40B4-BE49-F238E27FC236}">
                    <a16:creationId xmlns:a16="http://schemas.microsoft.com/office/drawing/2014/main" id="{88F73419-85EB-62C0-F16E-53856486E8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7" name="Freeform 145">
                <a:extLst>
                  <a:ext uri="{FF2B5EF4-FFF2-40B4-BE49-F238E27FC236}">
                    <a16:creationId xmlns:a16="http://schemas.microsoft.com/office/drawing/2014/main" id="{93CD643A-D25A-2DDE-4B1D-C051EF5A8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8" name="Freeform 146">
                <a:extLst>
                  <a:ext uri="{FF2B5EF4-FFF2-40B4-BE49-F238E27FC236}">
                    <a16:creationId xmlns:a16="http://schemas.microsoft.com/office/drawing/2014/main" id="{BED3ED66-7EDC-F46C-ADAE-A0BA048F3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9" name="Freeform 147">
                <a:extLst>
                  <a:ext uri="{FF2B5EF4-FFF2-40B4-BE49-F238E27FC236}">
                    <a16:creationId xmlns:a16="http://schemas.microsoft.com/office/drawing/2014/main" id="{A66F9870-96E5-1175-7E6A-D36861B0EF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0" name="Freeform 148">
                <a:extLst>
                  <a:ext uri="{FF2B5EF4-FFF2-40B4-BE49-F238E27FC236}">
                    <a16:creationId xmlns:a16="http://schemas.microsoft.com/office/drawing/2014/main" id="{8E259F21-9381-57EC-B811-42C5E761A9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1" name="Freeform 149">
                <a:extLst>
                  <a:ext uri="{FF2B5EF4-FFF2-40B4-BE49-F238E27FC236}">
                    <a16:creationId xmlns:a16="http://schemas.microsoft.com/office/drawing/2014/main" id="{FA4E2020-13AE-EDBC-1C24-BFFA57360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2" name="Freeform 150">
                <a:extLst>
                  <a:ext uri="{FF2B5EF4-FFF2-40B4-BE49-F238E27FC236}">
                    <a16:creationId xmlns:a16="http://schemas.microsoft.com/office/drawing/2014/main" id="{832A212A-E8E7-A195-47F5-20602CD62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3" name="Freeform 151">
                <a:extLst>
                  <a:ext uri="{FF2B5EF4-FFF2-40B4-BE49-F238E27FC236}">
                    <a16:creationId xmlns:a16="http://schemas.microsoft.com/office/drawing/2014/main" id="{8B3978B0-2BDE-7745-885B-CCF2B7371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4" name="Freeform 152">
                <a:extLst>
                  <a:ext uri="{FF2B5EF4-FFF2-40B4-BE49-F238E27FC236}">
                    <a16:creationId xmlns:a16="http://schemas.microsoft.com/office/drawing/2014/main" id="{C19DB6B4-D6EE-64A5-7C7F-2DAF4CDFA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5" name="Freeform 153">
                <a:extLst>
                  <a:ext uri="{FF2B5EF4-FFF2-40B4-BE49-F238E27FC236}">
                    <a16:creationId xmlns:a16="http://schemas.microsoft.com/office/drawing/2014/main" id="{1E44EBF4-1D7B-F729-A421-1E9FA05C8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6" name="Freeform 154">
                <a:extLst>
                  <a:ext uri="{FF2B5EF4-FFF2-40B4-BE49-F238E27FC236}">
                    <a16:creationId xmlns:a16="http://schemas.microsoft.com/office/drawing/2014/main" id="{D1A3C02F-E303-BC05-0BCF-31E1DDD70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7" name="Freeform 155">
                <a:extLst>
                  <a:ext uri="{FF2B5EF4-FFF2-40B4-BE49-F238E27FC236}">
                    <a16:creationId xmlns:a16="http://schemas.microsoft.com/office/drawing/2014/main" id="{517EB02C-411C-3710-D066-9ECD20F560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8" name="Freeform 156">
                <a:extLst>
                  <a:ext uri="{FF2B5EF4-FFF2-40B4-BE49-F238E27FC236}">
                    <a16:creationId xmlns:a16="http://schemas.microsoft.com/office/drawing/2014/main" id="{6905F568-8EA9-C1F6-91E3-0464B25BAE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9" name="Freeform 157">
                <a:extLst>
                  <a:ext uri="{FF2B5EF4-FFF2-40B4-BE49-F238E27FC236}">
                    <a16:creationId xmlns:a16="http://schemas.microsoft.com/office/drawing/2014/main" id="{A69C05C2-F742-5A84-782D-2407470865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0" name="Freeform 158">
                <a:extLst>
                  <a:ext uri="{FF2B5EF4-FFF2-40B4-BE49-F238E27FC236}">
                    <a16:creationId xmlns:a16="http://schemas.microsoft.com/office/drawing/2014/main" id="{E2F45BCD-AD3A-3699-694D-4EB0025315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1" name="Freeform 159">
                <a:extLst>
                  <a:ext uri="{FF2B5EF4-FFF2-40B4-BE49-F238E27FC236}">
                    <a16:creationId xmlns:a16="http://schemas.microsoft.com/office/drawing/2014/main" id="{7EDC2663-B241-7B8E-DE66-146C5A9CB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2" name="Freeform 160">
                <a:extLst>
                  <a:ext uri="{FF2B5EF4-FFF2-40B4-BE49-F238E27FC236}">
                    <a16:creationId xmlns:a16="http://schemas.microsoft.com/office/drawing/2014/main" id="{5C90C0E0-59E4-7341-2780-DF1E6548E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3" name="Freeform 161">
                <a:extLst>
                  <a:ext uri="{FF2B5EF4-FFF2-40B4-BE49-F238E27FC236}">
                    <a16:creationId xmlns:a16="http://schemas.microsoft.com/office/drawing/2014/main" id="{BF49D5DA-3C85-84D2-B52E-5416A2FA03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4" name="Freeform 162">
                <a:extLst>
                  <a:ext uri="{FF2B5EF4-FFF2-40B4-BE49-F238E27FC236}">
                    <a16:creationId xmlns:a16="http://schemas.microsoft.com/office/drawing/2014/main" id="{28C5CD28-DB87-90C0-8427-CAAF75F1A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5" name="Freeform 163">
                <a:extLst>
                  <a:ext uri="{FF2B5EF4-FFF2-40B4-BE49-F238E27FC236}">
                    <a16:creationId xmlns:a16="http://schemas.microsoft.com/office/drawing/2014/main" id="{81FBD36F-30DF-7BFD-DF0D-0C1078D8E7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6" name="Freeform 164">
                <a:extLst>
                  <a:ext uri="{FF2B5EF4-FFF2-40B4-BE49-F238E27FC236}">
                    <a16:creationId xmlns:a16="http://schemas.microsoft.com/office/drawing/2014/main" id="{5ECBB8AB-87EC-02C5-6038-210EDCBE13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7" name="Freeform 165">
                <a:extLst>
                  <a:ext uri="{FF2B5EF4-FFF2-40B4-BE49-F238E27FC236}">
                    <a16:creationId xmlns:a16="http://schemas.microsoft.com/office/drawing/2014/main" id="{755010B4-A60F-F834-EAD1-2634B0675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8" name="Freeform 166">
                <a:extLst>
                  <a:ext uri="{FF2B5EF4-FFF2-40B4-BE49-F238E27FC236}">
                    <a16:creationId xmlns:a16="http://schemas.microsoft.com/office/drawing/2014/main" id="{6A751888-8AFA-2C2A-4E22-914265E2F6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9" name="Freeform 167">
                <a:extLst>
                  <a:ext uri="{FF2B5EF4-FFF2-40B4-BE49-F238E27FC236}">
                    <a16:creationId xmlns:a16="http://schemas.microsoft.com/office/drawing/2014/main" id="{8820D536-0617-D7AD-EACC-BCDE38C53F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0" name="Freeform 168">
                <a:extLst>
                  <a:ext uri="{FF2B5EF4-FFF2-40B4-BE49-F238E27FC236}">
                    <a16:creationId xmlns:a16="http://schemas.microsoft.com/office/drawing/2014/main" id="{802C498D-27D1-F518-64CE-5ABF80AAF3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1" name="Freeform 169">
                <a:extLst>
                  <a:ext uri="{FF2B5EF4-FFF2-40B4-BE49-F238E27FC236}">
                    <a16:creationId xmlns:a16="http://schemas.microsoft.com/office/drawing/2014/main" id="{EAA3A467-AEB8-42CE-4AB7-A76D1F9F8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2" name="Freeform 170">
                <a:extLst>
                  <a:ext uri="{FF2B5EF4-FFF2-40B4-BE49-F238E27FC236}">
                    <a16:creationId xmlns:a16="http://schemas.microsoft.com/office/drawing/2014/main" id="{741B1A39-5968-F0D3-E162-B09E740DC9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3" name="Freeform 171">
                <a:extLst>
                  <a:ext uri="{FF2B5EF4-FFF2-40B4-BE49-F238E27FC236}">
                    <a16:creationId xmlns:a16="http://schemas.microsoft.com/office/drawing/2014/main" id="{08AC24F4-7F95-BEF8-AE49-ADBD018DC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4" name="Freeform 172">
                <a:extLst>
                  <a:ext uri="{FF2B5EF4-FFF2-40B4-BE49-F238E27FC236}">
                    <a16:creationId xmlns:a16="http://schemas.microsoft.com/office/drawing/2014/main" id="{642AB355-4F70-4BBB-8A19-3CC5A167F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5" name="Freeform 173">
                <a:extLst>
                  <a:ext uri="{FF2B5EF4-FFF2-40B4-BE49-F238E27FC236}">
                    <a16:creationId xmlns:a16="http://schemas.microsoft.com/office/drawing/2014/main" id="{440933CC-1D32-C0E9-2D4B-2455BA178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6" name="Freeform 174">
                <a:extLst>
                  <a:ext uri="{FF2B5EF4-FFF2-40B4-BE49-F238E27FC236}">
                    <a16:creationId xmlns:a16="http://schemas.microsoft.com/office/drawing/2014/main" id="{CE351FE7-4031-BF4C-B5D4-E5A4A8512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7" name="Freeform 175">
                <a:extLst>
                  <a:ext uri="{FF2B5EF4-FFF2-40B4-BE49-F238E27FC236}">
                    <a16:creationId xmlns:a16="http://schemas.microsoft.com/office/drawing/2014/main" id="{8DE92F48-5E86-5978-9023-753C05CF60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8" name="Freeform 176">
                <a:extLst>
                  <a:ext uri="{FF2B5EF4-FFF2-40B4-BE49-F238E27FC236}">
                    <a16:creationId xmlns:a16="http://schemas.microsoft.com/office/drawing/2014/main" id="{8FF7FF71-7BB8-72E8-BA72-15EB9610B7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9" name="Freeform 177">
                <a:extLst>
                  <a:ext uri="{FF2B5EF4-FFF2-40B4-BE49-F238E27FC236}">
                    <a16:creationId xmlns:a16="http://schemas.microsoft.com/office/drawing/2014/main" id="{3DB874E1-AAF5-FC0A-DE60-27427A239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0" name="Freeform 178">
                <a:extLst>
                  <a:ext uri="{FF2B5EF4-FFF2-40B4-BE49-F238E27FC236}">
                    <a16:creationId xmlns:a16="http://schemas.microsoft.com/office/drawing/2014/main" id="{DEFD4AAB-BE8F-63C4-A10A-DFCE1E7172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1" name="Freeform 179">
                <a:extLst>
                  <a:ext uri="{FF2B5EF4-FFF2-40B4-BE49-F238E27FC236}">
                    <a16:creationId xmlns:a16="http://schemas.microsoft.com/office/drawing/2014/main" id="{08D47E99-E95B-CCD9-7380-D50AFBA91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2" name="Freeform 180">
                <a:extLst>
                  <a:ext uri="{FF2B5EF4-FFF2-40B4-BE49-F238E27FC236}">
                    <a16:creationId xmlns:a16="http://schemas.microsoft.com/office/drawing/2014/main" id="{6153B019-87C5-D5CB-982E-87439A8F8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3" name="Freeform 181">
                <a:extLst>
                  <a:ext uri="{FF2B5EF4-FFF2-40B4-BE49-F238E27FC236}">
                    <a16:creationId xmlns:a16="http://schemas.microsoft.com/office/drawing/2014/main" id="{8507F026-411E-C6E5-36E4-EFACD1EBC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4" name="Freeform 182">
                <a:extLst>
                  <a:ext uri="{FF2B5EF4-FFF2-40B4-BE49-F238E27FC236}">
                    <a16:creationId xmlns:a16="http://schemas.microsoft.com/office/drawing/2014/main" id="{9A42F16C-BF09-E735-249C-F52866998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5" name="Freeform 183">
                <a:extLst>
                  <a:ext uri="{FF2B5EF4-FFF2-40B4-BE49-F238E27FC236}">
                    <a16:creationId xmlns:a16="http://schemas.microsoft.com/office/drawing/2014/main" id="{E206B1D4-1CDB-F57C-8BC1-7E30FA046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6" name="Freeform 184">
                <a:extLst>
                  <a:ext uri="{FF2B5EF4-FFF2-40B4-BE49-F238E27FC236}">
                    <a16:creationId xmlns:a16="http://schemas.microsoft.com/office/drawing/2014/main" id="{007B9009-E48E-D21A-40EB-6CFBE2460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7" name="Freeform 185">
                <a:extLst>
                  <a:ext uri="{FF2B5EF4-FFF2-40B4-BE49-F238E27FC236}">
                    <a16:creationId xmlns:a16="http://schemas.microsoft.com/office/drawing/2014/main" id="{7F07EF2D-0A3F-C0E5-E5B7-A84174886F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8" name="Freeform 186">
                <a:extLst>
                  <a:ext uri="{FF2B5EF4-FFF2-40B4-BE49-F238E27FC236}">
                    <a16:creationId xmlns:a16="http://schemas.microsoft.com/office/drawing/2014/main" id="{C4FE1AAE-07E2-4271-5650-897C4A1E0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9" name="Freeform 187">
                <a:extLst>
                  <a:ext uri="{FF2B5EF4-FFF2-40B4-BE49-F238E27FC236}">
                    <a16:creationId xmlns:a16="http://schemas.microsoft.com/office/drawing/2014/main" id="{48DF62ED-81CD-703D-BF23-3D089DB3D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0" name="Freeform 188">
                <a:extLst>
                  <a:ext uri="{FF2B5EF4-FFF2-40B4-BE49-F238E27FC236}">
                    <a16:creationId xmlns:a16="http://schemas.microsoft.com/office/drawing/2014/main" id="{B0DD28E3-5E3B-C431-C0B7-FEFAA89A0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1" name="Freeform 189">
                <a:extLst>
                  <a:ext uri="{FF2B5EF4-FFF2-40B4-BE49-F238E27FC236}">
                    <a16:creationId xmlns:a16="http://schemas.microsoft.com/office/drawing/2014/main" id="{1FF58C47-9AF3-EF70-7A4D-B32261300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2" name="Freeform 190">
                <a:extLst>
                  <a:ext uri="{FF2B5EF4-FFF2-40B4-BE49-F238E27FC236}">
                    <a16:creationId xmlns:a16="http://schemas.microsoft.com/office/drawing/2014/main" id="{73B83D55-7E0B-F83E-2668-9274CFC41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3" name="Freeform 191">
                <a:extLst>
                  <a:ext uri="{FF2B5EF4-FFF2-40B4-BE49-F238E27FC236}">
                    <a16:creationId xmlns:a16="http://schemas.microsoft.com/office/drawing/2014/main" id="{EDD5C945-9E09-169F-A328-3A4C5C4FA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4" name="Freeform 192">
                <a:extLst>
                  <a:ext uri="{FF2B5EF4-FFF2-40B4-BE49-F238E27FC236}">
                    <a16:creationId xmlns:a16="http://schemas.microsoft.com/office/drawing/2014/main" id="{7F087811-EB6A-DC79-07A3-EC527D6AA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5" name="Freeform 193">
                <a:extLst>
                  <a:ext uri="{FF2B5EF4-FFF2-40B4-BE49-F238E27FC236}">
                    <a16:creationId xmlns:a16="http://schemas.microsoft.com/office/drawing/2014/main" id="{1FAC0491-B06B-D157-DE76-FA8A77285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6" name="Freeform 194">
                <a:extLst>
                  <a:ext uri="{FF2B5EF4-FFF2-40B4-BE49-F238E27FC236}">
                    <a16:creationId xmlns:a16="http://schemas.microsoft.com/office/drawing/2014/main" id="{4799F023-8903-235F-EF7E-148880D21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7" name="Freeform 195">
                <a:extLst>
                  <a:ext uri="{FF2B5EF4-FFF2-40B4-BE49-F238E27FC236}">
                    <a16:creationId xmlns:a16="http://schemas.microsoft.com/office/drawing/2014/main" id="{B28CE7F8-9FDD-F0D8-980C-773063007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8" name="Freeform 196">
                <a:extLst>
                  <a:ext uri="{FF2B5EF4-FFF2-40B4-BE49-F238E27FC236}">
                    <a16:creationId xmlns:a16="http://schemas.microsoft.com/office/drawing/2014/main" id="{ABC712B1-8505-1F26-676B-35FA4DA66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9" name="Freeform 197">
                <a:extLst>
                  <a:ext uri="{FF2B5EF4-FFF2-40B4-BE49-F238E27FC236}">
                    <a16:creationId xmlns:a16="http://schemas.microsoft.com/office/drawing/2014/main" id="{4908AB81-6D6A-82FF-A2EC-EBA16472E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0" name="Freeform 198">
                <a:extLst>
                  <a:ext uri="{FF2B5EF4-FFF2-40B4-BE49-F238E27FC236}">
                    <a16:creationId xmlns:a16="http://schemas.microsoft.com/office/drawing/2014/main" id="{ACFF761F-057A-A327-21B3-9229228F2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1" name="Freeform 199">
                <a:extLst>
                  <a:ext uri="{FF2B5EF4-FFF2-40B4-BE49-F238E27FC236}">
                    <a16:creationId xmlns:a16="http://schemas.microsoft.com/office/drawing/2014/main" id="{03DBFC05-F0A5-2FCD-E1CE-87E8F82F7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2" name="Freeform 200">
                <a:extLst>
                  <a:ext uri="{FF2B5EF4-FFF2-40B4-BE49-F238E27FC236}">
                    <a16:creationId xmlns:a16="http://schemas.microsoft.com/office/drawing/2014/main" id="{E67DB3FA-7EB6-852E-4E54-79DF8724D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3" name="Freeform 201">
                <a:extLst>
                  <a:ext uri="{FF2B5EF4-FFF2-40B4-BE49-F238E27FC236}">
                    <a16:creationId xmlns:a16="http://schemas.microsoft.com/office/drawing/2014/main" id="{961381BC-BCB0-9B69-81C7-0C95FCD8F3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4" name="Freeform 202">
                <a:extLst>
                  <a:ext uri="{FF2B5EF4-FFF2-40B4-BE49-F238E27FC236}">
                    <a16:creationId xmlns:a16="http://schemas.microsoft.com/office/drawing/2014/main" id="{7A612B79-0BDB-AB06-BA75-1DF13FA8E5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5" name="Freeform 203">
                <a:extLst>
                  <a:ext uri="{FF2B5EF4-FFF2-40B4-BE49-F238E27FC236}">
                    <a16:creationId xmlns:a16="http://schemas.microsoft.com/office/drawing/2014/main" id="{3ADB7449-6060-2431-D526-78F528FEE2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6" name="Freeform 204">
                <a:extLst>
                  <a:ext uri="{FF2B5EF4-FFF2-40B4-BE49-F238E27FC236}">
                    <a16:creationId xmlns:a16="http://schemas.microsoft.com/office/drawing/2014/main" id="{19E2891D-1CE0-F691-002E-3E17BA53A8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8" name="Freeform 206">
              <a:extLst>
                <a:ext uri="{FF2B5EF4-FFF2-40B4-BE49-F238E27FC236}">
                  <a16:creationId xmlns:a16="http://schemas.microsoft.com/office/drawing/2014/main" id="{734FF9EA-23B4-FC70-FE31-D1CCEC71EF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207">
              <a:extLst>
                <a:ext uri="{FF2B5EF4-FFF2-40B4-BE49-F238E27FC236}">
                  <a16:creationId xmlns:a16="http://schemas.microsoft.com/office/drawing/2014/main" id="{35F736EA-3ECD-1D7C-E6BD-041A483CE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208">
              <a:extLst>
                <a:ext uri="{FF2B5EF4-FFF2-40B4-BE49-F238E27FC236}">
                  <a16:creationId xmlns:a16="http://schemas.microsoft.com/office/drawing/2014/main" id="{3AAC350D-6CC3-6F5B-56C9-1B8EC41B4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209">
              <a:extLst>
                <a:ext uri="{FF2B5EF4-FFF2-40B4-BE49-F238E27FC236}">
                  <a16:creationId xmlns:a16="http://schemas.microsoft.com/office/drawing/2014/main" id="{973210F2-D2AF-208D-BBD7-848D07516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210">
              <a:extLst>
                <a:ext uri="{FF2B5EF4-FFF2-40B4-BE49-F238E27FC236}">
                  <a16:creationId xmlns:a16="http://schemas.microsoft.com/office/drawing/2014/main" id="{7305C9D3-12B4-F885-2D60-2430ADA64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211">
              <a:extLst>
                <a:ext uri="{FF2B5EF4-FFF2-40B4-BE49-F238E27FC236}">
                  <a16:creationId xmlns:a16="http://schemas.microsoft.com/office/drawing/2014/main" id="{6E3433B6-E2F6-5F14-C460-B18FA3848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212">
              <a:extLst>
                <a:ext uri="{FF2B5EF4-FFF2-40B4-BE49-F238E27FC236}">
                  <a16:creationId xmlns:a16="http://schemas.microsoft.com/office/drawing/2014/main" id="{3026F40C-27C3-78DC-9156-46B2A0029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213">
              <a:extLst>
                <a:ext uri="{FF2B5EF4-FFF2-40B4-BE49-F238E27FC236}">
                  <a16:creationId xmlns:a16="http://schemas.microsoft.com/office/drawing/2014/main" id="{F8BA8DD4-2006-334B-BD72-5980A88CB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14">
              <a:extLst>
                <a:ext uri="{FF2B5EF4-FFF2-40B4-BE49-F238E27FC236}">
                  <a16:creationId xmlns:a16="http://schemas.microsoft.com/office/drawing/2014/main" id="{665646F2-A47F-6D4F-4C59-BD0D0B780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215">
              <a:extLst>
                <a:ext uri="{FF2B5EF4-FFF2-40B4-BE49-F238E27FC236}">
                  <a16:creationId xmlns:a16="http://schemas.microsoft.com/office/drawing/2014/main" id="{5C7AB392-AC18-0001-A869-D7166610D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16">
              <a:extLst>
                <a:ext uri="{FF2B5EF4-FFF2-40B4-BE49-F238E27FC236}">
                  <a16:creationId xmlns:a16="http://schemas.microsoft.com/office/drawing/2014/main" id="{73DC60FD-0F2F-852A-BBAF-F222D2ED2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217">
              <a:extLst>
                <a:ext uri="{FF2B5EF4-FFF2-40B4-BE49-F238E27FC236}">
                  <a16:creationId xmlns:a16="http://schemas.microsoft.com/office/drawing/2014/main" id="{76182EDB-03B4-76D7-5491-C59D95F26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18">
              <a:extLst>
                <a:ext uri="{FF2B5EF4-FFF2-40B4-BE49-F238E27FC236}">
                  <a16:creationId xmlns:a16="http://schemas.microsoft.com/office/drawing/2014/main" id="{F47B0E37-CE06-0350-B7EA-A5328AD1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219">
              <a:extLst>
                <a:ext uri="{FF2B5EF4-FFF2-40B4-BE49-F238E27FC236}">
                  <a16:creationId xmlns:a16="http://schemas.microsoft.com/office/drawing/2014/main" id="{81ED1BFF-B0F7-1058-84CE-08FE6CD9A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20">
              <a:extLst>
                <a:ext uri="{FF2B5EF4-FFF2-40B4-BE49-F238E27FC236}">
                  <a16:creationId xmlns:a16="http://schemas.microsoft.com/office/drawing/2014/main" id="{DC5C644F-B3CC-32BE-F7ED-0169BC3D35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21">
              <a:extLst>
                <a:ext uri="{FF2B5EF4-FFF2-40B4-BE49-F238E27FC236}">
                  <a16:creationId xmlns:a16="http://schemas.microsoft.com/office/drawing/2014/main" id="{684536B8-7C00-80E5-D348-B4AA1E4E7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222">
              <a:extLst>
                <a:ext uri="{FF2B5EF4-FFF2-40B4-BE49-F238E27FC236}">
                  <a16:creationId xmlns:a16="http://schemas.microsoft.com/office/drawing/2014/main" id="{9A58A212-BF66-DBFB-9A74-2CD455BC7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23">
              <a:extLst>
                <a:ext uri="{FF2B5EF4-FFF2-40B4-BE49-F238E27FC236}">
                  <a16:creationId xmlns:a16="http://schemas.microsoft.com/office/drawing/2014/main" id="{C4D4DCD4-5DE7-24FB-5263-0E4714DA0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24">
              <a:extLst>
                <a:ext uri="{FF2B5EF4-FFF2-40B4-BE49-F238E27FC236}">
                  <a16:creationId xmlns:a16="http://schemas.microsoft.com/office/drawing/2014/main" id="{BE56794D-3A15-ED62-32A9-A26D89BB3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25">
              <a:extLst>
                <a:ext uri="{FF2B5EF4-FFF2-40B4-BE49-F238E27FC236}">
                  <a16:creationId xmlns:a16="http://schemas.microsoft.com/office/drawing/2014/main" id="{78BB7B1C-0C1C-7A14-3EAA-A2D282B17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26">
              <a:extLst>
                <a:ext uri="{FF2B5EF4-FFF2-40B4-BE49-F238E27FC236}">
                  <a16:creationId xmlns:a16="http://schemas.microsoft.com/office/drawing/2014/main" id="{E0BBE072-6F6D-E1D7-6E20-167526F59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227">
              <a:extLst>
                <a:ext uri="{FF2B5EF4-FFF2-40B4-BE49-F238E27FC236}">
                  <a16:creationId xmlns:a16="http://schemas.microsoft.com/office/drawing/2014/main" id="{1F58F374-A883-9163-63FA-EE0C39AD0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228">
              <a:extLst>
                <a:ext uri="{FF2B5EF4-FFF2-40B4-BE49-F238E27FC236}">
                  <a16:creationId xmlns:a16="http://schemas.microsoft.com/office/drawing/2014/main" id="{A3AF243F-E47C-38DD-F4BE-21F6E6F6F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229">
              <a:extLst>
                <a:ext uri="{FF2B5EF4-FFF2-40B4-BE49-F238E27FC236}">
                  <a16:creationId xmlns:a16="http://schemas.microsoft.com/office/drawing/2014/main" id="{290716B3-E261-C303-E87F-CB6403687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4" name="Freeform 230">
              <a:extLst>
                <a:ext uri="{FF2B5EF4-FFF2-40B4-BE49-F238E27FC236}">
                  <a16:creationId xmlns:a16="http://schemas.microsoft.com/office/drawing/2014/main" id="{29459285-6137-510C-6FD2-F0A2A116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5" name="Freeform 231">
              <a:extLst>
                <a:ext uri="{FF2B5EF4-FFF2-40B4-BE49-F238E27FC236}">
                  <a16:creationId xmlns:a16="http://schemas.microsoft.com/office/drawing/2014/main" id="{689BFCF0-A99C-6048-3A46-4587C55FC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7" name="Freeform 232">
              <a:extLst>
                <a:ext uri="{FF2B5EF4-FFF2-40B4-BE49-F238E27FC236}">
                  <a16:creationId xmlns:a16="http://schemas.microsoft.com/office/drawing/2014/main" id="{2D94833A-5D68-E2C1-16D8-DE4EAEF65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8" name="Freeform 233">
              <a:extLst>
                <a:ext uri="{FF2B5EF4-FFF2-40B4-BE49-F238E27FC236}">
                  <a16:creationId xmlns:a16="http://schemas.microsoft.com/office/drawing/2014/main" id="{2E0F7C8A-1F54-2920-9F78-B13C013F3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9" name="Freeform 234">
              <a:extLst>
                <a:ext uri="{FF2B5EF4-FFF2-40B4-BE49-F238E27FC236}">
                  <a16:creationId xmlns:a16="http://schemas.microsoft.com/office/drawing/2014/main" id="{CF0E563C-31AA-3DBB-6B32-56B395CBC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0" name="Freeform 235">
              <a:extLst>
                <a:ext uri="{FF2B5EF4-FFF2-40B4-BE49-F238E27FC236}">
                  <a16:creationId xmlns:a16="http://schemas.microsoft.com/office/drawing/2014/main" id="{B68B6BA3-AE97-4091-3925-7C2F4901A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1" name="Freeform 236">
              <a:extLst>
                <a:ext uri="{FF2B5EF4-FFF2-40B4-BE49-F238E27FC236}">
                  <a16:creationId xmlns:a16="http://schemas.microsoft.com/office/drawing/2014/main" id="{4B36CD41-7A28-928B-B72E-8AB62BB15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2" name="Freeform 237">
              <a:extLst>
                <a:ext uri="{FF2B5EF4-FFF2-40B4-BE49-F238E27FC236}">
                  <a16:creationId xmlns:a16="http://schemas.microsoft.com/office/drawing/2014/main" id="{F012B845-F932-60A8-88F3-FF5F341FE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3" name="Freeform 238">
              <a:extLst>
                <a:ext uri="{FF2B5EF4-FFF2-40B4-BE49-F238E27FC236}">
                  <a16:creationId xmlns:a16="http://schemas.microsoft.com/office/drawing/2014/main" id="{2356D487-FB5F-4AA7-D635-0CC4530F8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4" name="Freeform 239">
              <a:extLst>
                <a:ext uri="{FF2B5EF4-FFF2-40B4-BE49-F238E27FC236}">
                  <a16:creationId xmlns:a16="http://schemas.microsoft.com/office/drawing/2014/main" id="{185DB9F7-6818-CFC7-A0BC-66EBFBF10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5" name="Freeform 240">
              <a:extLst>
                <a:ext uri="{FF2B5EF4-FFF2-40B4-BE49-F238E27FC236}">
                  <a16:creationId xmlns:a16="http://schemas.microsoft.com/office/drawing/2014/main" id="{E2C736AF-89AC-4DC0-0850-A44189C5C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6" name="Freeform 241">
              <a:extLst>
                <a:ext uri="{FF2B5EF4-FFF2-40B4-BE49-F238E27FC236}">
                  <a16:creationId xmlns:a16="http://schemas.microsoft.com/office/drawing/2014/main" id="{5D7DE4CA-200F-F676-4950-673670640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7" name="Freeform 242">
              <a:extLst>
                <a:ext uri="{FF2B5EF4-FFF2-40B4-BE49-F238E27FC236}">
                  <a16:creationId xmlns:a16="http://schemas.microsoft.com/office/drawing/2014/main" id="{ADF4AD34-C5F1-D7D4-6EBC-A1FB264B5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8" name="Freeform 243">
              <a:extLst>
                <a:ext uri="{FF2B5EF4-FFF2-40B4-BE49-F238E27FC236}">
                  <a16:creationId xmlns:a16="http://schemas.microsoft.com/office/drawing/2014/main" id="{7B26411C-FA8C-6728-3A36-15FD1D223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9" name="Freeform 244">
              <a:extLst>
                <a:ext uri="{FF2B5EF4-FFF2-40B4-BE49-F238E27FC236}">
                  <a16:creationId xmlns:a16="http://schemas.microsoft.com/office/drawing/2014/main" id="{03704D47-5D59-B455-98FB-CA95A2C29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0" name="Freeform 245">
              <a:extLst>
                <a:ext uri="{FF2B5EF4-FFF2-40B4-BE49-F238E27FC236}">
                  <a16:creationId xmlns:a16="http://schemas.microsoft.com/office/drawing/2014/main" id="{703F8820-CF36-A270-583A-40DA07B09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1" name="Freeform 246">
              <a:extLst>
                <a:ext uri="{FF2B5EF4-FFF2-40B4-BE49-F238E27FC236}">
                  <a16:creationId xmlns:a16="http://schemas.microsoft.com/office/drawing/2014/main" id="{3ADA4A22-ED2C-8B42-1FF4-7DF2BDE08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2" name="Freeform 247">
              <a:extLst>
                <a:ext uri="{FF2B5EF4-FFF2-40B4-BE49-F238E27FC236}">
                  <a16:creationId xmlns:a16="http://schemas.microsoft.com/office/drawing/2014/main" id="{E9A273CA-A351-1CA5-8564-E2B54F260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3" name="Freeform 248">
              <a:extLst>
                <a:ext uri="{FF2B5EF4-FFF2-40B4-BE49-F238E27FC236}">
                  <a16:creationId xmlns:a16="http://schemas.microsoft.com/office/drawing/2014/main" id="{7FBDF164-93AD-7AC1-A748-10B4C6C20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4" name="Freeform 249">
              <a:extLst>
                <a:ext uri="{FF2B5EF4-FFF2-40B4-BE49-F238E27FC236}">
                  <a16:creationId xmlns:a16="http://schemas.microsoft.com/office/drawing/2014/main" id="{DE6CC94C-2CB4-D4A3-8A52-D9A5ADC60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5" name="Freeform 250">
              <a:extLst>
                <a:ext uri="{FF2B5EF4-FFF2-40B4-BE49-F238E27FC236}">
                  <a16:creationId xmlns:a16="http://schemas.microsoft.com/office/drawing/2014/main" id="{69A30AB2-5DC8-A6B7-1949-8579760E4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6" name="Freeform 251">
              <a:extLst>
                <a:ext uri="{FF2B5EF4-FFF2-40B4-BE49-F238E27FC236}">
                  <a16:creationId xmlns:a16="http://schemas.microsoft.com/office/drawing/2014/main" id="{649F6898-62AF-F609-0D15-CEF5C0B74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7" name="Freeform 252">
              <a:extLst>
                <a:ext uri="{FF2B5EF4-FFF2-40B4-BE49-F238E27FC236}">
                  <a16:creationId xmlns:a16="http://schemas.microsoft.com/office/drawing/2014/main" id="{FC76FFB2-EADC-98D1-DCDC-B6C621C83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8" name="Freeform 253">
              <a:extLst>
                <a:ext uri="{FF2B5EF4-FFF2-40B4-BE49-F238E27FC236}">
                  <a16:creationId xmlns:a16="http://schemas.microsoft.com/office/drawing/2014/main" id="{C8F7760F-784B-8541-B81A-763D54DDA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9" name="Freeform 254">
              <a:extLst>
                <a:ext uri="{FF2B5EF4-FFF2-40B4-BE49-F238E27FC236}">
                  <a16:creationId xmlns:a16="http://schemas.microsoft.com/office/drawing/2014/main" id="{B155F59B-A68A-D961-D972-894936582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0" name="Freeform 255">
              <a:extLst>
                <a:ext uri="{FF2B5EF4-FFF2-40B4-BE49-F238E27FC236}">
                  <a16:creationId xmlns:a16="http://schemas.microsoft.com/office/drawing/2014/main" id="{242DBCAE-405C-B18D-4192-E8FB3BFE9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1" name="Freeform 256">
              <a:extLst>
                <a:ext uri="{FF2B5EF4-FFF2-40B4-BE49-F238E27FC236}">
                  <a16:creationId xmlns:a16="http://schemas.microsoft.com/office/drawing/2014/main" id="{A45CE788-F752-7802-038D-44731671A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2" name="Freeform 257">
              <a:extLst>
                <a:ext uri="{FF2B5EF4-FFF2-40B4-BE49-F238E27FC236}">
                  <a16:creationId xmlns:a16="http://schemas.microsoft.com/office/drawing/2014/main" id="{01F9F1AB-09AB-4D66-6435-3043EE0B1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3" name="Freeform 258">
              <a:extLst>
                <a:ext uri="{FF2B5EF4-FFF2-40B4-BE49-F238E27FC236}">
                  <a16:creationId xmlns:a16="http://schemas.microsoft.com/office/drawing/2014/main" id="{3986EB86-7EC7-FBC1-4D9E-6992ECBCE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4" name="Freeform 259">
              <a:extLst>
                <a:ext uri="{FF2B5EF4-FFF2-40B4-BE49-F238E27FC236}">
                  <a16:creationId xmlns:a16="http://schemas.microsoft.com/office/drawing/2014/main" id="{D2C0B1A9-CE9C-5721-FEFB-283123A63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5" name="Freeform 260">
              <a:extLst>
                <a:ext uri="{FF2B5EF4-FFF2-40B4-BE49-F238E27FC236}">
                  <a16:creationId xmlns:a16="http://schemas.microsoft.com/office/drawing/2014/main" id="{132B35BA-E5BF-9E86-BEAE-69B43F8E6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6" name="Freeform 261">
              <a:extLst>
                <a:ext uri="{FF2B5EF4-FFF2-40B4-BE49-F238E27FC236}">
                  <a16:creationId xmlns:a16="http://schemas.microsoft.com/office/drawing/2014/main" id="{D8E1A385-376B-E145-CA0F-24068D585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7" name="Freeform 262">
              <a:extLst>
                <a:ext uri="{FF2B5EF4-FFF2-40B4-BE49-F238E27FC236}">
                  <a16:creationId xmlns:a16="http://schemas.microsoft.com/office/drawing/2014/main" id="{F0FDAAA8-1D58-0DC7-DA94-E58F0F9490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8" name="Freeform 263">
              <a:extLst>
                <a:ext uri="{FF2B5EF4-FFF2-40B4-BE49-F238E27FC236}">
                  <a16:creationId xmlns:a16="http://schemas.microsoft.com/office/drawing/2014/main" id="{49834286-B242-0234-BB47-FFB75653B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9" name="Freeform 264">
              <a:extLst>
                <a:ext uri="{FF2B5EF4-FFF2-40B4-BE49-F238E27FC236}">
                  <a16:creationId xmlns:a16="http://schemas.microsoft.com/office/drawing/2014/main" id="{EE68EE13-A770-740D-9177-80502BB5E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0" name="Freeform 265">
              <a:extLst>
                <a:ext uri="{FF2B5EF4-FFF2-40B4-BE49-F238E27FC236}">
                  <a16:creationId xmlns:a16="http://schemas.microsoft.com/office/drawing/2014/main" id="{4E36D56C-FA50-2D9C-D79D-18FF6546C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1" name="Freeform 266">
              <a:extLst>
                <a:ext uri="{FF2B5EF4-FFF2-40B4-BE49-F238E27FC236}">
                  <a16:creationId xmlns:a16="http://schemas.microsoft.com/office/drawing/2014/main" id="{E874628A-7769-F3C8-EA2B-8331D46B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2" name="Freeform 267">
              <a:extLst>
                <a:ext uri="{FF2B5EF4-FFF2-40B4-BE49-F238E27FC236}">
                  <a16:creationId xmlns:a16="http://schemas.microsoft.com/office/drawing/2014/main" id="{1CBFD2A7-F80A-4DAF-E030-16237649C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3" name="Freeform 268">
              <a:extLst>
                <a:ext uri="{FF2B5EF4-FFF2-40B4-BE49-F238E27FC236}">
                  <a16:creationId xmlns:a16="http://schemas.microsoft.com/office/drawing/2014/main" id="{85DCA233-2D1F-F5FB-9A6A-A8EF39C26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4" name="Freeform 269">
              <a:extLst>
                <a:ext uri="{FF2B5EF4-FFF2-40B4-BE49-F238E27FC236}">
                  <a16:creationId xmlns:a16="http://schemas.microsoft.com/office/drawing/2014/main" id="{29A6F9D5-0E25-AB39-5921-FBB7EF53F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5" name="Freeform 270">
              <a:extLst>
                <a:ext uri="{FF2B5EF4-FFF2-40B4-BE49-F238E27FC236}">
                  <a16:creationId xmlns:a16="http://schemas.microsoft.com/office/drawing/2014/main" id="{6BB6AB7C-4780-BE48-8A54-40077B73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6" name="Freeform 271">
              <a:extLst>
                <a:ext uri="{FF2B5EF4-FFF2-40B4-BE49-F238E27FC236}">
                  <a16:creationId xmlns:a16="http://schemas.microsoft.com/office/drawing/2014/main" id="{A333A262-2384-E0B7-7CD7-F2D1AC8DD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7" name="Freeform 272">
              <a:extLst>
                <a:ext uri="{FF2B5EF4-FFF2-40B4-BE49-F238E27FC236}">
                  <a16:creationId xmlns:a16="http://schemas.microsoft.com/office/drawing/2014/main" id="{D6A72FA6-4228-8303-D7C3-E138D124D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8" name="Freeform 273">
              <a:extLst>
                <a:ext uri="{FF2B5EF4-FFF2-40B4-BE49-F238E27FC236}">
                  <a16:creationId xmlns:a16="http://schemas.microsoft.com/office/drawing/2014/main" id="{1B4A816B-13DA-0163-41B0-FD41EB890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9" name="Freeform 274">
              <a:extLst>
                <a:ext uri="{FF2B5EF4-FFF2-40B4-BE49-F238E27FC236}">
                  <a16:creationId xmlns:a16="http://schemas.microsoft.com/office/drawing/2014/main" id="{AD655EBB-CC7C-56B3-6CAC-E678B3875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0" name="Freeform 275">
              <a:extLst>
                <a:ext uri="{FF2B5EF4-FFF2-40B4-BE49-F238E27FC236}">
                  <a16:creationId xmlns:a16="http://schemas.microsoft.com/office/drawing/2014/main" id="{813090FD-C087-415F-D1DA-705448822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1" name="Freeform 276">
              <a:extLst>
                <a:ext uri="{FF2B5EF4-FFF2-40B4-BE49-F238E27FC236}">
                  <a16:creationId xmlns:a16="http://schemas.microsoft.com/office/drawing/2014/main" id="{6DB7B527-50DE-3285-D395-E681BD8FB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2" name="Freeform 277">
              <a:extLst>
                <a:ext uri="{FF2B5EF4-FFF2-40B4-BE49-F238E27FC236}">
                  <a16:creationId xmlns:a16="http://schemas.microsoft.com/office/drawing/2014/main" id="{B20815E0-DB53-F568-3630-0D2749D0F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3" name="Freeform 278">
              <a:extLst>
                <a:ext uri="{FF2B5EF4-FFF2-40B4-BE49-F238E27FC236}">
                  <a16:creationId xmlns:a16="http://schemas.microsoft.com/office/drawing/2014/main" id="{B1E6B20A-C05E-686E-46DE-C4E7AE399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4" name="Freeform 279">
              <a:extLst>
                <a:ext uri="{FF2B5EF4-FFF2-40B4-BE49-F238E27FC236}">
                  <a16:creationId xmlns:a16="http://schemas.microsoft.com/office/drawing/2014/main" id="{4F36367D-CC2E-9975-F900-E34935046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5" name="Freeform 280">
              <a:extLst>
                <a:ext uri="{FF2B5EF4-FFF2-40B4-BE49-F238E27FC236}">
                  <a16:creationId xmlns:a16="http://schemas.microsoft.com/office/drawing/2014/main" id="{0C90B40E-71C3-0360-6001-3C6B6C6DD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6" name="Freeform 281">
              <a:extLst>
                <a:ext uri="{FF2B5EF4-FFF2-40B4-BE49-F238E27FC236}">
                  <a16:creationId xmlns:a16="http://schemas.microsoft.com/office/drawing/2014/main" id="{C678F200-7363-1972-564F-559F7DB33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7" name="Freeform 282">
              <a:extLst>
                <a:ext uri="{FF2B5EF4-FFF2-40B4-BE49-F238E27FC236}">
                  <a16:creationId xmlns:a16="http://schemas.microsoft.com/office/drawing/2014/main" id="{44C84FE2-95E1-405A-5D76-099BD4241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8" name="Freeform 283">
              <a:extLst>
                <a:ext uri="{FF2B5EF4-FFF2-40B4-BE49-F238E27FC236}">
                  <a16:creationId xmlns:a16="http://schemas.microsoft.com/office/drawing/2014/main" id="{D9245415-2D14-34CD-8673-520C721E7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9" name="Freeform 284">
              <a:extLst>
                <a:ext uri="{FF2B5EF4-FFF2-40B4-BE49-F238E27FC236}">
                  <a16:creationId xmlns:a16="http://schemas.microsoft.com/office/drawing/2014/main" id="{5803D576-A51C-C61E-A8B4-C38B25567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0" name="Freeform 285">
              <a:extLst>
                <a:ext uri="{FF2B5EF4-FFF2-40B4-BE49-F238E27FC236}">
                  <a16:creationId xmlns:a16="http://schemas.microsoft.com/office/drawing/2014/main" id="{F97F9FBF-E60D-610C-3054-33881F552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1" name="Freeform 286">
              <a:extLst>
                <a:ext uri="{FF2B5EF4-FFF2-40B4-BE49-F238E27FC236}">
                  <a16:creationId xmlns:a16="http://schemas.microsoft.com/office/drawing/2014/main" id="{44EB3B6C-E342-231C-7267-EBAE9E730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2" name="Freeform 287">
              <a:extLst>
                <a:ext uri="{FF2B5EF4-FFF2-40B4-BE49-F238E27FC236}">
                  <a16:creationId xmlns:a16="http://schemas.microsoft.com/office/drawing/2014/main" id="{1B29C3C2-8252-485C-BC8D-32E9347EF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3" name="Freeform 288">
              <a:extLst>
                <a:ext uri="{FF2B5EF4-FFF2-40B4-BE49-F238E27FC236}">
                  <a16:creationId xmlns:a16="http://schemas.microsoft.com/office/drawing/2014/main" id="{266BA951-6DB0-2550-9E71-0F94C5B07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4" name="Freeform 289">
              <a:extLst>
                <a:ext uri="{FF2B5EF4-FFF2-40B4-BE49-F238E27FC236}">
                  <a16:creationId xmlns:a16="http://schemas.microsoft.com/office/drawing/2014/main" id="{A21C1BCC-41F9-2B13-A1BA-6483BD65A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5" name="Freeform 290">
              <a:extLst>
                <a:ext uri="{FF2B5EF4-FFF2-40B4-BE49-F238E27FC236}">
                  <a16:creationId xmlns:a16="http://schemas.microsoft.com/office/drawing/2014/main" id="{9EB80AA4-9490-C3CD-0C8D-642209A9E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6" name="Freeform 291">
              <a:extLst>
                <a:ext uri="{FF2B5EF4-FFF2-40B4-BE49-F238E27FC236}">
                  <a16:creationId xmlns:a16="http://schemas.microsoft.com/office/drawing/2014/main" id="{CF1085CD-B9A8-BF04-8A89-8B00DA043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7" name="Freeform 292">
              <a:extLst>
                <a:ext uri="{FF2B5EF4-FFF2-40B4-BE49-F238E27FC236}">
                  <a16:creationId xmlns:a16="http://schemas.microsoft.com/office/drawing/2014/main" id="{B1DFB2BD-3F35-AAF3-51C8-702670D5B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8" name="Freeform 293">
              <a:extLst>
                <a:ext uri="{FF2B5EF4-FFF2-40B4-BE49-F238E27FC236}">
                  <a16:creationId xmlns:a16="http://schemas.microsoft.com/office/drawing/2014/main" id="{EC11B573-0642-3AEF-0977-E97FDAE3A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9" name="Freeform 294">
              <a:extLst>
                <a:ext uri="{FF2B5EF4-FFF2-40B4-BE49-F238E27FC236}">
                  <a16:creationId xmlns:a16="http://schemas.microsoft.com/office/drawing/2014/main" id="{743679CA-2D78-4918-7E68-48CDFC542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0" name="Freeform 295">
              <a:extLst>
                <a:ext uri="{FF2B5EF4-FFF2-40B4-BE49-F238E27FC236}">
                  <a16:creationId xmlns:a16="http://schemas.microsoft.com/office/drawing/2014/main" id="{8B94CBEC-E205-8F4C-827C-C85C4E9AD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1" name="Freeform 296">
              <a:extLst>
                <a:ext uri="{FF2B5EF4-FFF2-40B4-BE49-F238E27FC236}">
                  <a16:creationId xmlns:a16="http://schemas.microsoft.com/office/drawing/2014/main" id="{75CB6E7B-E021-989D-20F2-88E603760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2" name="Freeform 297">
              <a:extLst>
                <a:ext uri="{FF2B5EF4-FFF2-40B4-BE49-F238E27FC236}">
                  <a16:creationId xmlns:a16="http://schemas.microsoft.com/office/drawing/2014/main" id="{1DE4278B-EB67-16FD-BD24-012E020B6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3" name="Freeform 298">
              <a:extLst>
                <a:ext uri="{FF2B5EF4-FFF2-40B4-BE49-F238E27FC236}">
                  <a16:creationId xmlns:a16="http://schemas.microsoft.com/office/drawing/2014/main" id="{68A52D4E-C101-9B2C-72BF-85C79B5D7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4" name="Freeform 299">
              <a:extLst>
                <a:ext uri="{FF2B5EF4-FFF2-40B4-BE49-F238E27FC236}">
                  <a16:creationId xmlns:a16="http://schemas.microsoft.com/office/drawing/2014/main" id="{028F5B6F-BD96-7232-BE74-1A8E61512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5" name="Freeform 300">
              <a:extLst>
                <a:ext uri="{FF2B5EF4-FFF2-40B4-BE49-F238E27FC236}">
                  <a16:creationId xmlns:a16="http://schemas.microsoft.com/office/drawing/2014/main" id="{3560F7DF-020B-6400-0D54-6EBF637CC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6" name="Freeform 301">
              <a:extLst>
                <a:ext uri="{FF2B5EF4-FFF2-40B4-BE49-F238E27FC236}">
                  <a16:creationId xmlns:a16="http://schemas.microsoft.com/office/drawing/2014/main" id="{BFBC790A-B736-B6C3-4DE7-A43B90BCD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7" name="Freeform 302">
              <a:extLst>
                <a:ext uri="{FF2B5EF4-FFF2-40B4-BE49-F238E27FC236}">
                  <a16:creationId xmlns:a16="http://schemas.microsoft.com/office/drawing/2014/main" id="{6E770AC3-314D-7C83-FDD7-94925A44E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8" name="Freeform 303">
              <a:extLst>
                <a:ext uri="{FF2B5EF4-FFF2-40B4-BE49-F238E27FC236}">
                  <a16:creationId xmlns:a16="http://schemas.microsoft.com/office/drawing/2014/main" id="{59778AAA-EC65-1624-AB1F-C770AFB642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9" name="Freeform 304">
              <a:extLst>
                <a:ext uri="{FF2B5EF4-FFF2-40B4-BE49-F238E27FC236}">
                  <a16:creationId xmlns:a16="http://schemas.microsoft.com/office/drawing/2014/main" id="{6D691A8A-69E5-F5F7-F248-3BDCD4BE4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0" name="Freeform 305">
              <a:extLst>
                <a:ext uri="{FF2B5EF4-FFF2-40B4-BE49-F238E27FC236}">
                  <a16:creationId xmlns:a16="http://schemas.microsoft.com/office/drawing/2014/main" id="{2C891A20-EBE9-FCF3-1578-B22BBE1148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1" name="Freeform 306">
              <a:extLst>
                <a:ext uri="{FF2B5EF4-FFF2-40B4-BE49-F238E27FC236}">
                  <a16:creationId xmlns:a16="http://schemas.microsoft.com/office/drawing/2014/main" id="{FAE7FEFD-DACB-942C-2F94-61C255BA5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2" name="Freeform 307">
              <a:extLst>
                <a:ext uri="{FF2B5EF4-FFF2-40B4-BE49-F238E27FC236}">
                  <a16:creationId xmlns:a16="http://schemas.microsoft.com/office/drawing/2014/main" id="{EC8B0579-D59D-8D9E-560F-60EA33B16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3" name="Freeform 308">
              <a:extLst>
                <a:ext uri="{FF2B5EF4-FFF2-40B4-BE49-F238E27FC236}">
                  <a16:creationId xmlns:a16="http://schemas.microsoft.com/office/drawing/2014/main" id="{E8F9A3A4-1071-B27B-70F5-99CF00B6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4" name="Freeform 309">
              <a:extLst>
                <a:ext uri="{FF2B5EF4-FFF2-40B4-BE49-F238E27FC236}">
                  <a16:creationId xmlns:a16="http://schemas.microsoft.com/office/drawing/2014/main" id="{F9BB2C32-900E-5598-8078-9F39168FD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5" name="Freeform 310">
              <a:extLst>
                <a:ext uri="{FF2B5EF4-FFF2-40B4-BE49-F238E27FC236}">
                  <a16:creationId xmlns:a16="http://schemas.microsoft.com/office/drawing/2014/main" id="{D253B849-0510-5644-8785-F60FC3D590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6" name="Freeform 311">
              <a:extLst>
                <a:ext uri="{FF2B5EF4-FFF2-40B4-BE49-F238E27FC236}">
                  <a16:creationId xmlns:a16="http://schemas.microsoft.com/office/drawing/2014/main" id="{34A13D82-2058-DB37-EB9A-DD8C1C8F2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7" name="Freeform 312">
              <a:extLst>
                <a:ext uri="{FF2B5EF4-FFF2-40B4-BE49-F238E27FC236}">
                  <a16:creationId xmlns:a16="http://schemas.microsoft.com/office/drawing/2014/main" id="{CA80DFD2-C26B-EF38-E2E3-D781ADCD7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8" name="Freeform 313">
              <a:extLst>
                <a:ext uri="{FF2B5EF4-FFF2-40B4-BE49-F238E27FC236}">
                  <a16:creationId xmlns:a16="http://schemas.microsoft.com/office/drawing/2014/main" id="{A7FD3A52-EE94-8185-5269-8758AA752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9" name="Freeform 314">
              <a:extLst>
                <a:ext uri="{FF2B5EF4-FFF2-40B4-BE49-F238E27FC236}">
                  <a16:creationId xmlns:a16="http://schemas.microsoft.com/office/drawing/2014/main" id="{751B22F6-201A-9548-F23C-F0C5AEC1A4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0" name="Freeform 315">
              <a:extLst>
                <a:ext uri="{FF2B5EF4-FFF2-40B4-BE49-F238E27FC236}">
                  <a16:creationId xmlns:a16="http://schemas.microsoft.com/office/drawing/2014/main" id="{1DAD37B4-094E-7FE4-729A-6F92B0F35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1" name="Freeform 316">
              <a:extLst>
                <a:ext uri="{FF2B5EF4-FFF2-40B4-BE49-F238E27FC236}">
                  <a16:creationId xmlns:a16="http://schemas.microsoft.com/office/drawing/2014/main" id="{93D514C1-9C87-7FF7-CAC0-02382B0AF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2" name="Freeform 317">
              <a:extLst>
                <a:ext uri="{FF2B5EF4-FFF2-40B4-BE49-F238E27FC236}">
                  <a16:creationId xmlns:a16="http://schemas.microsoft.com/office/drawing/2014/main" id="{73F4FB67-986C-39CF-90B6-383EBA03C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3" name="Freeform 318">
              <a:extLst>
                <a:ext uri="{FF2B5EF4-FFF2-40B4-BE49-F238E27FC236}">
                  <a16:creationId xmlns:a16="http://schemas.microsoft.com/office/drawing/2014/main" id="{832CF2DE-BBCD-3776-12F0-A6CBF571F7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4" name="Freeform 319">
              <a:extLst>
                <a:ext uri="{FF2B5EF4-FFF2-40B4-BE49-F238E27FC236}">
                  <a16:creationId xmlns:a16="http://schemas.microsoft.com/office/drawing/2014/main" id="{0BCD4A11-90B5-D96E-06C8-DBC66B968C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5" name="Freeform 320">
              <a:extLst>
                <a:ext uri="{FF2B5EF4-FFF2-40B4-BE49-F238E27FC236}">
                  <a16:creationId xmlns:a16="http://schemas.microsoft.com/office/drawing/2014/main" id="{5FCCA10E-A24A-3D55-508B-077F85C88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6" name="Freeform 321">
              <a:extLst>
                <a:ext uri="{FF2B5EF4-FFF2-40B4-BE49-F238E27FC236}">
                  <a16:creationId xmlns:a16="http://schemas.microsoft.com/office/drawing/2014/main" id="{C437944E-B8F8-7C7D-142B-1BB58AF7F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7" name="Freeform 322">
              <a:extLst>
                <a:ext uri="{FF2B5EF4-FFF2-40B4-BE49-F238E27FC236}">
                  <a16:creationId xmlns:a16="http://schemas.microsoft.com/office/drawing/2014/main" id="{F8758AE4-3D49-F993-4A92-59FBAA47B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8" name="Freeform 323">
              <a:extLst>
                <a:ext uri="{FF2B5EF4-FFF2-40B4-BE49-F238E27FC236}">
                  <a16:creationId xmlns:a16="http://schemas.microsoft.com/office/drawing/2014/main" id="{962A0BCD-22B0-ED49-3CBA-7F100823C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9" name="Freeform 324">
              <a:extLst>
                <a:ext uri="{FF2B5EF4-FFF2-40B4-BE49-F238E27FC236}">
                  <a16:creationId xmlns:a16="http://schemas.microsoft.com/office/drawing/2014/main" id="{A9DE02FC-DD3D-E165-F18E-A197B55960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0" name="Freeform 325">
              <a:extLst>
                <a:ext uri="{FF2B5EF4-FFF2-40B4-BE49-F238E27FC236}">
                  <a16:creationId xmlns:a16="http://schemas.microsoft.com/office/drawing/2014/main" id="{BCD0CEBC-B401-05FA-681F-787948E33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1" name="Freeform 326">
              <a:extLst>
                <a:ext uri="{FF2B5EF4-FFF2-40B4-BE49-F238E27FC236}">
                  <a16:creationId xmlns:a16="http://schemas.microsoft.com/office/drawing/2014/main" id="{107BB287-AC88-5087-9A8B-ACD0A0C88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2" name="Freeform 327">
              <a:extLst>
                <a:ext uri="{FF2B5EF4-FFF2-40B4-BE49-F238E27FC236}">
                  <a16:creationId xmlns:a16="http://schemas.microsoft.com/office/drawing/2014/main" id="{6EC939E2-1ED7-34E4-5B41-D5B442E28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3" name="Freeform 328">
              <a:extLst>
                <a:ext uri="{FF2B5EF4-FFF2-40B4-BE49-F238E27FC236}">
                  <a16:creationId xmlns:a16="http://schemas.microsoft.com/office/drawing/2014/main" id="{AD64D7EA-8251-3337-BC76-F25234497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4" name="Freeform 329">
              <a:extLst>
                <a:ext uri="{FF2B5EF4-FFF2-40B4-BE49-F238E27FC236}">
                  <a16:creationId xmlns:a16="http://schemas.microsoft.com/office/drawing/2014/main" id="{84E3C0E3-F0FB-9787-7FC8-356B87F638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5" name="Freeform 330">
              <a:extLst>
                <a:ext uri="{FF2B5EF4-FFF2-40B4-BE49-F238E27FC236}">
                  <a16:creationId xmlns:a16="http://schemas.microsoft.com/office/drawing/2014/main" id="{F7A064D8-3C72-8E09-6851-D83F0F404F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6" name="Freeform 331">
              <a:extLst>
                <a:ext uri="{FF2B5EF4-FFF2-40B4-BE49-F238E27FC236}">
                  <a16:creationId xmlns:a16="http://schemas.microsoft.com/office/drawing/2014/main" id="{3D460985-25E4-6AB0-515A-90AFA0CF4D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7" name="Freeform 332">
              <a:extLst>
                <a:ext uri="{FF2B5EF4-FFF2-40B4-BE49-F238E27FC236}">
                  <a16:creationId xmlns:a16="http://schemas.microsoft.com/office/drawing/2014/main" id="{58D8B2AF-0A3A-6098-3A11-19E4953C5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8" name="Freeform 333">
              <a:extLst>
                <a:ext uri="{FF2B5EF4-FFF2-40B4-BE49-F238E27FC236}">
                  <a16:creationId xmlns:a16="http://schemas.microsoft.com/office/drawing/2014/main" id="{52505DAD-D24A-00AB-4758-5638FEF76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9" name="Freeform 334">
              <a:extLst>
                <a:ext uri="{FF2B5EF4-FFF2-40B4-BE49-F238E27FC236}">
                  <a16:creationId xmlns:a16="http://schemas.microsoft.com/office/drawing/2014/main" id="{940BE584-0879-A6AC-AD9D-49A922C6F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0" name="Freeform 335">
              <a:extLst>
                <a:ext uri="{FF2B5EF4-FFF2-40B4-BE49-F238E27FC236}">
                  <a16:creationId xmlns:a16="http://schemas.microsoft.com/office/drawing/2014/main" id="{F4620D7F-4A25-3D53-799B-1ADEAD45C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1" name="Freeform 336">
              <a:extLst>
                <a:ext uri="{FF2B5EF4-FFF2-40B4-BE49-F238E27FC236}">
                  <a16:creationId xmlns:a16="http://schemas.microsoft.com/office/drawing/2014/main" id="{720C132E-B55C-02ED-7537-D96AF1F6C1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2" name="Freeform 337">
              <a:extLst>
                <a:ext uri="{FF2B5EF4-FFF2-40B4-BE49-F238E27FC236}">
                  <a16:creationId xmlns:a16="http://schemas.microsoft.com/office/drawing/2014/main" id="{91760811-1A2E-7D25-40E2-C23D080563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3" name="Freeform 338">
              <a:extLst>
                <a:ext uri="{FF2B5EF4-FFF2-40B4-BE49-F238E27FC236}">
                  <a16:creationId xmlns:a16="http://schemas.microsoft.com/office/drawing/2014/main" id="{653AD686-88A2-8878-944F-574C547B4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4" name="Freeform 339">
              <a:extLst>
                <a:ext uri="{FF2B5EF4-FFF2-40B4-BE49-F238E27FC236}">
                  <a16:creationId xmlns:a16="http://schemas.microsoft.com/office/drawing/2014/main" id="{A71BAB04-A598-6ECF-6E67-DB89AA9380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5" name="Freeform 340">
              <a:extLst>
                <a:ext uri="{FF2B5EF4-FFF2-40B4-BE49-F238E27FC236}">
                  <a16:creationId xmlns:a16="http://schemas.microsoft.com/office/drawing/2014/main" id="{C1CE397D-6F2C-1C8F-5B54-6BC7D4B161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6" name="Freeform 341">
              <a:extLst>
                <a:ext uri="{FF2B5EF4-FFF2-40B4-BE49-F238E27FC236}">
                  <a16:creationId xmlns:a16="http://schemas.microsoft.com/office/drawing/2014/main" id="{4CB0C338-A041-4C56-5DE0-2B523BDC76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7" name="Freeform 342">
              <a:extLst>
                <a:ext uri="{FF2B5EF4-FFF2-40B4-BE49-F238E27FC236}">
                  <a16:creationId xmlns:a16="http://schemas.microsoft.com/office/drawing/2014/main" id="{3170584D-D608-F9F9-586E-396A152D41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8" name="Freeform 343">
              <a:extLst>
                <a:ext uri="{FF2B5EF4-FFF2-40B4-BE49-F238E27FC236}">
                  <a16:creationId xmlns:a16="http://schemas.microsoft.com/office/drawing/2014/main" id="{007E3A2B-D7CC-3A8B-BB21-1E637232E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9" name="Freeform 344">
              <a:extLst>
                <a:ext uri="{FF2B5EF4-FFF2-40B4-BE49-F238E27FC236}">
                  <a16:creationId xmlns:a16="http://schemas.microsoft.com/office/drawing/2014/main" id="{36550BBA-D96D-1B96-C705-F35C168A07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0" name="Freeform 345">
              <a:extLst>
                <a:ext uri="{FF2B5EF4-FFF2-40B4-BE49-F238E27FC236}">
                  <a16:creationId xmlns:a16="http://schemas.microsoft.com/office/drawing/2014/main" id="{0D9D3930-346F-03DC-8430-8BF9FC67B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1" name="Freeform 346">
              <a:extLst>
                <a:ext uri="{FF2B5EF4-FFF2-40B4-BE49-F238E27FC236}">
                  <a16:creationId xmlns:a16="http://schemas.microsoft.com/office/drawing/2014/main" id="{192D7640-1C27-3D87-0B17-DA88827D4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2" name="Freeform 347">
              <a:extLst>
                <a:ext uri="{FF2B5EF4-FFF2-40B4-BE49-F238E27FC236}">
                  <a16:creationId xmlns:a16="http://schemas.microsoft.com/office/drawing/2014/main" id="{7C41D496-17EA-E4AA-64A5-AF725934E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3" name="Freeform 348">
              <a:extLst>
                <a:ext uri="{FF2B5EF4-FFF2-40B4-BE49-F238E27FC236}">
                  <a16:creationId xmlns:a16="http://schemas.microsoft.com/office/drawing/2014/main" id="{54FA5579-DEB6-FF2B-1D71-DAB31667C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4" name="Freeform 349">
              <a:extLst>
                <a:ext uri="{FF2B5EF4-FFF2-40B4-BE49-F238E27FC236}">
                  <a16:creationId xmlns:a16="http://schemas.microsoft.com/office/drawing/2014/main" id="{60A3DA44-9195-FC59-3D0E-22452A18D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5" name="Freeform 350">
              <a:extLst>
                <a:ext uri="{FF2B5EF4-FFF2-40B4-BE49-F238E27FC236}">
                  <a16:creationId xmlns:a16="http://schemas.microsoft.com/office/drawing/2014/main" id="{A4C9083B-B361-A1AD-B2A1-D6E5F81D6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6" name="Freeform 351">
              <a:extLst>
                <a:ext uri="{FF2B5EF4-FFF2-40B4-BE49-F238E27FC236}">
                  <a16:creationId xmlns:a16="http://schemas.microsoft.com/office/drawing/2014/main" id="{C0019226-CD21-5B20-A116-F9F5705F4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7" name="Freeform 352">
              <a:extLst>
                <a:ext uri="{FF2B5EF4-FFF2-40B4-BE49-F238E27FC236}">
                  <a16:creationId xmlns:a16="http://schemas.microsoft.com/office/drawing/2014/main" id="{70E9921E-E0AE-F935-27AF-9BB86BC6F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8" name="Freeform 353">
              <a:extLst>
                <a:ext uri="{FF2B5EF4-FFF2-40B4-BE49-F238E27FC236}">
                  <a16:creationId xmlns:a16="http://schemas.microsoft.com/office/drawing/2014/main" id="{F3064F53-3B80-6A7E-98C5-DC065E957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9" name="Freeform 354">
              <a:extLst>
                <a:ext uri="{FF2B5EF4-FFF2-40B4-BE49-F238E27FC236}">
                  <a16:creationId xmlns:a16="http://schemas.microsoft.com/office/drawing/2014/main" id="{CDF6E0DA-702A-F338-1E79-CD48F5798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0" name="Freeform 355">
              <a:extLst>
                <a:ext uri="{FF2B5EF4-FFF2-40B4-BE49-F238E27FC236}">
                  <a16:creationId xmlns:a16="http://schemas.microsoft.com/office/drawing/2014/main" id="{D1793AD0-45E5-486A-6C95-156718F87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1" name="Freeform 356">
              <a:extLst>
                <a:ext uri="{FF2B5EF4-FFF2-40B4-BE49-F238E27FC236}">
                  <a16:creationId xmlns:a16="http://schemas.microsoft.com/office/drawing/2014/main" id="{DAC78E80-A7F6-2AE3-43BD-E89A8639F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2" name="Freeform 357">
              <a:extLst>
                <a:ext uri="{FF2B5EF4-FFF2-40B4-BE49-F238E27FC236}">
                  <a16:creationId xmlns:a16="http://schemas.microsoft.com/office/drawing/2014/main" id="{AF1629E2-3828-68DC-BE80-1A92C2344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3" name="Freeform 358">
              <a:extLst>
                <a:ext uri="{FF2B5EF4-FFF2-40B4-BE49-F238E27FC236}">
                  <a16:creationId xmlns:a16="http://schemas.microsoft.com/office/drawing/2014/main" id="{A776FD2B-7140-B78F-2846-E30981CE8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4" name="Freeform 359">
              <a:extLst>
                <a:ext uri="{FF2B5EF4-FFF2-40B4-BE49-F238E27FC236}">
                  <a16:creationId xmlns:a16="http://schemas.microsoft.com/office/drawing/2014/main" id="{EFB57581-43FA-2344-7845-684D4325D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5" name="Freeform 360">
              <a:extLst>
                <a:ext uri="{FF2B5EF4-FFF2-40B4-BE49-F238E27FC236}">
                  <a16:creationId xmlns:a16="http://schemas.microsoft.com/office/drawing/2014/main" id="{3E7D17BA-A5FD-7BF4-A12A-2BA21F0026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6" name="Freeform 361">
              <a:extLst>
                <a:ext uri="{FF2B5EF4-FFF2-40B4-BE49-F238E27FC236}">
                  <a16:creationId xmlns:a16="http://schemas.microsoft.com/office/drawing/2014/main" id="{177E56FB-F8FD-D21A-26FB-7068AB12E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7" name="Freeform 362">
              <a:extLst>
                <a:ext uri="{FF2B5EF4-FFF2-40B4-BE49-F238E27FC236}">
                  <a16:creationId xmlns:a16="http://schemas.microsoft.com/office/drawing/2014/main" id="{FA067E95-D8A1-863F-9C88-91B34D5CB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8" name="Freeform 363">
              <a:extLst>
                <a:ext uri="{FF2B5EF4-FFF2-40B4-BE49-F238E27FC236}">
                  <a16:creationId xmlns:a16="http://schemas.microsoft.com/office/drawing/2014/main" id="{9093A953-364F-7D7A-4058-FA3861EC1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9" name="Freeform 364">
              <a:extLst>
                <a:ext uri="{FF2B5EF4-FFF2-40B4-BE49-F238E27FC236}">
                  <a16:creationId xmlns:a16="http://schemas.microsoft.com/office/drawing/2014/main" id="{4B456FF1-E650-EEAF-578D-B5DC5CF22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0" name="Freeform 365">
              <a:extLst>
                <a:ext uri="{FF2B5EF4-FFF2-40B4-BE49-F238E27FC236}">
                  <a16:creationId xmlns:a16="http://schemas.microsoft.com/office/drawing/2014/main" id="{663F2A2A-CFD0-6A15-8E17-478CEACDB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1" name="Freeform 366">
              <a:extLst>
                <a:ext uri="{FF2B5EF4-FFF2-40B4-BE49-F238E27FC236}">
                  <a16:creationId xmlns:a16="http://schemas.microsoft.com/office/drawing/2014/main" id="{10F7E028-082C-E77E-9CC6-374C1E044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2" name="Freeform 367">
              <a:extLst>
                <a:ext uri="{FF2B5EF4-FFF2-40B4-BE49-F238E27FC236}">
                  <a16:creationId xmlns:a16="http://schemas.microsoft.com/office/drawing/2014/main" id="{B0AC89B4-9388-1016-6E10-E5A477E90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3" name="Freeform 368">
              <a:extLst>
                <a:ext uri="{FF2B5EF4-FFF2-40B4-BE49-F238E27FC236}">
                  <a16:creationId xmlns:a16="http://schemas.microsoft.com/office/drawing/2014/main" id="{2A608B97-C4E0-4FA6-43BC-990CA2F31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4" name="Freeform 369">
              <a:extLst>
                <a:ext uri="{FF2B5EF4-FFF2-40B4-BE49-F238E27FC236}">
                  <a16:creationId xmlns:a16="http://schemas.microsoft.com/office/drawing/2014/main" id="{2D457961-A81B-D4F8-6E1C-CBF3D6A3E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5" name="Freeform 370">
              <a:extLst>
                <a:ext uri="{FF2B5EF4-FFF2-40B4-BE49-F238E27FC236}">
                  <a16:creationId xmlns:a16="http://schemas.microsoft.com/office/drawing/2014/main" id="{37449FD6-6118-7AF1-F26D-A785273BD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6" name="Freeform 371">
              <a:extLst>
                <a:ext uri="{FF2B5EF4-FFF2-40B4-BE49-F238E27FC236}">
                  <a16:creationId xmlns:a16="http://schemas.microsoft.com/office/drawing/2014/main" id="{D9F07016-0B52-532A-4126-8FA4078CC0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7" name="Freeform 372">
              <a:extLst>
                <a:ext uri="{FF2B5EF4-FFF2-40B4-BE49-F238E27FC236}">
                  <a16:creationId xmlns:a16="http://schemas.microsoft.com/office/drawing/2014/main" id="{2D67C4E1-7146-F9CE-0B45-275F356F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8" name="Freeform 373">
              <a:extLst>
                <a:ext uri="{FF2B5EF4-FFF2-40B4-BE49-F238E27FC236}">
                  <a16:creationId xmlns:a16="http://schemas.microsoft.com/office/drawing/2014/main" id="{FF4EB477-9AC0-D9BA-FB65-151942BEC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9" name="Freeform 374">
              <a:extLst>
                <a:ext uri="{FF2B5EF4-FFF2-40B4-BE49-F238E27FC236}">
                  <a16:creationId xmlns:a16="http://schemas.microsoft.com/office/drawing/2014/main" id="{D92F1E64-8A2E-A84D-FADF-9F6D63117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0" name="Freeform 375">
              <a:extLst>
                <a:ext uri="{FF2B5EF4-FFF2-40B4-BE49-F238E27FC236}">
                  <a16:creationId xmlns:a16="http://schemas.microsoft.com/office/drawing/2014/main" id="{AE1D74D7-CE82-E366-619C-4A3289A1B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1" name="Freeform 376">
              <a:extLst>
                <a:ext uri="{FF2B5EF4-FFF2-40B4-BE49-F238E27FC236}">
                  <a16:creationId xmlns:a16="http://schemas.microsoft.com/office/drawing/2014/main" id="{3412F112-9041-AA99-E708-134E7F09D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2" name="Freeform 377">
              <a:extLst>
                <a:ext uri="{FF2B5EF4-FFF2-40B4-BE49-F238E27FC236}">
                  <a16:creationId xmlns:a16="http://schemas.microsoft.com/office/drawing/2014/main" id="{FD2CF728-A86D-E191-8378-AE6AC7815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3" name="Freeform 378">
              <a:extLst>
                <a:ext uri="{FF2B5EF4-FFF2-40B4-BE49-F238E27FC236}">
                  <a16:creationId xmlns:a16="http://schemas.microsoft.com/office/drawing/2014/main" id="{C3E3AF1B-EBBA-B79C-FC47-A56216397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4" name="Freeform 379">
              <a:extLst>
                <a:ext uri="{FF2B5EF4-FFF2-40B4-BE49-F238E27FC236}">
                  <a16:creationId xmlns:a16="http://schemas.microsoft.com/office/drawing/2014/main" id="{EB508AAC-C25C-F657-5601-54C6928E7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5" name="Freeform 380">
              <a:extLst>
                <a:ext uri="{FF2B5EF4-FFF2-40B4-BE49-F238E27FC236}">
                  <a16:creationId xmlns:a16="http://schemas.microsoft.com/office/drawing/2014/main" id="{AB96CF7D-EF07-A3BC-B5F3-05AC942E8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6" name="Freeform 381">
              <a:extLst>
                <a:ext uri="{FF2B5EF4-FFF2-40B4-BE49-F238E27FC236}">
                  <a16:creationId xmlns:a16="http://schemas.microsoft.com/office/drawing/2014/main" id="{B0EAFDE1-5511-F26B-CB29-858BBB7BB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7" name="Freeform 382">
              <a:extLst>
                <a:ext uri="{FF2B5EF4-FFF2-40B4-BE49-F238E27FC236}">
                  <a16:creationId xmlns:a16="http://schemas.microsoft.com/office/drawing/2014/main" id="{1AD8441F-5E3E-8EB7-8967-AC34BE736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8" name="Freeform 383">
              <a:extLst>
                <a:ext uri="{FF2B5EF4-FFF2-40B4-BE49-F238E27FC236}">
                  <a16:creationId xmlns:a16="http://schemas.microsoft.com/office/drawing/2014/main" id="{73F4308F-577C-28DB-1AFD-079E108C7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9" name="Freeform 384">
              <a:extLst>
                <a:ext uri="{FF2B5EF4-FFF2-40B4-BE49-F238E27FC236}">
                  <a16:creationId xmlns:a16="http://schemas.microsoft.com/office/drawing/2014/main" id="{512781D2-2BFC-74FB-BFE0-35A5F9FF23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0" name="Freeform 385">
              <a:extLst>
                <a:ext uri="{FF2B5EF4-FFF2-40B4-BE49-F238E27FC236}">
                  <a16:creationId xmlns:a16="http://schemas.microsoft.com/office/drawing/2014/main" id="{5E9A45DB-E0EE-DEC3-1C3F-1CD8ACA63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1" name="Freeform 386">
              <a:extLst>
                <a:ext uri="{FF2B5EF4-FFF2-40B4-BE49-F238E27FC236}">
                  <a16:creationId xmlns:a16="http://schemas.microsoft.com/office/drawing/2014/main" id="{8A10B156-7F05-FDB1-B5C9-2C7757705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2" name="Freeform 387">
              <a:extLst>
                <a:ext uri="{FF2B5EF4-FFF2-40B4-BE49-F238E27FC236}">
                  <a16:creationId xmlns:a16="http://schemas.microsoft.com/office/drawing/2014/main" id="{87B89A2C-891F-0CC3-B449-14A2C221D0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3" name="Freeform 388">
              <a:extLst>
                <a:ext uri="{FF2B5EF4-FFF2-40B4-BE49-F238E27FC236}">
                  <a16:creationId xmlns:a16="http://schemas.microsoft.com/office/drawing/2014/main" id="{E18DA33E-1011-2FAF-64B8-865305C7F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4" name="Freeform 389">
              <a:extLst>
                <a:ext uri="{FF2B5EF4-FFF2-40B4-BE49-F238E27FC236}">
                  <a16:creationId xmlns:a16="http://schemas.microsoft.com/office/drawing/2014/main" id="{05BB938F-E7C5-8EA1-9A03-7B9CCB72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5" name="Freeform 390">
              <a:extLst>
                <a:ext uri="{FF2B5EF4-FFF2-40B4-BE49-F238E27FC236}">
                  <a16:creationId xmlns:a16="http://schemas.microsoft.com/office/drawing/2014/main" id="{50BE87B6-4A38-5E1B-E579-B3B172363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6" name="Freeform 391">
              <a:extLst>
                <a:ext uri="{FF2B5EF4-FFF2-40B4-BE49-F238E27FC236}">
                  <a16:creationId xmlns:a16="http://schemas.microsoft.com/office/drawing/2014/main" id="{74D2B70D-6275-3C6A-6035-BAD056CE6F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7" name="Freeform 392">
              <a:extLst>
                <a:ext uri="{FF2B5EF4-FFF2-40B4-BE49-F238E27FC236}">
                  <a16:creationId xmlns:a16="http://schemas.microsoft.com/office/drawing/2014/main" id="{6156F6E4-2722-1E4A-B2F9-F74A5A43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8" name="Freeform 393">
              <a:extLst>
                <a:ext uri="{FF2B5EF4-FFF2-40B4-BE49-F238E27FC236}">
                  <a16:creationId xmlns:a16="http://schemas.microsoft.com/office/drawing/2014/main" id="{1BE34F85-E842-2830-2D23-9FFA20900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9" name="Freeform 394">
              <a:extLst>
                <a:ext uri="{FF2B5EF4-FFF2-40B4-BE49-F238E27FC236}">
                  <a16:creationId xmlns:a16="http://schemas.microsoft.com/office/drawing/2014/main" id="{DD1A8E3F-88A3-7B00-A85E-F5B7BCE67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0" name="Freeform 395">
              <a:extLst>
                <a:ext uri="{FF2B5EF4-FFF2-40B4-BE49-F238E27FC236}">
                  <a16:creationId xmlns:a16="http://schemas.microsoft.com/office/drawing/2014/main" id="{F86487C3-49E4-3CF5-C919-B1903E9A2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1" name="Freeform 396">
              <a:extLst>
                <a:ext uri="{FF2B5EF4-FFF2-40B4-BE49-F238E27FC236}">
                  <a16:creationId xmlns:a16="http://schemas.microsoft.com/office/drawing/2014/main" id="{3599A32E-87C3-BAFF-BAA8-19EE36B07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2" name="Freeform 397">
              <a:extLst>
                <a:ext uri="{FF2B5EF4-FFF2-40B4-BE49-F238E27FC236}">
                  <a16:creationId xmlns:a16="http://schemas.microsoft.com/office/drawing/2014/main" id="{90387843-9035-1E50-5795-42EAC6A46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3" name="Freeform 398">
              <a:extLst>
                <a:ext uri="{FF2B5EF4-FFF2-40B4-BE49-F238E27FC236}">
                  <a16:creationId xmlns:a16="http://schemas.microsoft.com/office/drawing/2014/main" id="{28049AD4-4D4D-C770-5230-71D548F6D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4" name="Freeform 399">
              <a:extLst>
                <a:ext uri="{FF2B5EF4-FFF2-40B4-BE49-F238E27FC236}">
                  <a16:creationId xmlns:a16="http://schemas.microsoft.com/office/drawing/2014/main" id="{CDB5F810-7882-BEDC-9AA5-2A86C39FB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5" name="Freeform 400">
              <a:extLst>
                <a:ext uri="{FF2B5EF4-FFF2-40B4-BE49-F238E27FC236}">
                  <a16:creationId xmlns:a16="http://schemas.microsoft.com/office/drawing/2014/main" id="{501941CB-ECDF-3F59-FCAD-B230600F81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6" name="Freeform 401">
              <a:extLst>
                <a:ext uri="{FF2B5EF4-FFF2-40B4-BE49-F238E27FC236}">
                  <a16:creationId xmlns:a16="http://schemas.microsoft.com/office/drawing/2014/main" id="{A737C05C-0DAB-78CE-9014-42CFF94BB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1637" name="Elipse 11636">
            <a:extLst>
              <a:ext uri="{FF2B5EF4-FFF2-40B4-BE49-F238E27FC236}">
                <a16:creationId xmlns:a16="http://schemas.microsoft.com/office/drawing/2014/main" id="{54522329-ECA6-3233-4687-E517C2DD49DB}"/>
              </a:ext>
            </a:extLst>
          </p:cNvPr>
          <p:cNvSpPr/>
          <p:nvPr/>
        </p:nvSpPr>
        <p:spPr>
          <a:xfrm>
            <a:off x="8895563" y="163313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38" name="TextBox 24">
            <a:extLst>
              <a:ext uri="{FF2B5EF4-FFF2-40B4-BE49-F238E27FC236}">
                <a16:creationId xmlns:a16="http://schemas.microsoft.com/office/drawing/2014/main" id="{E0DE7FAB-5064-B4A2-ADE9-CA4DD6D5F8B7}"/>
              </a:ext>
            </a:extLst>
          </p:cNvPr>
          <p:cNvSpPr txBox="1"/>
          <p:nvPr/>
        </p:nvSpPr>
        <p:spPr>
          <a:xfrm>
            <a:off x="9417062" y="1738428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641" name="Elipse 11640">
            <a:extLst>
              <a:ext uri="{FF2B5EF4-FFF2-40B4-BE49-F238E27FC236}">
                <a16:creationId xmlns:a16="http://schemas.microsoft.com/office/drawing/2014/main" id="{D9387FAD-B595-D836-E38F-24E4EFD8FCAA}"/>
              </a:ext>
            </a:extLst>
          </p:cNvPr>
          <p:cNvSpPr/>
          <p:nvPr/>
        </p:nvSpPr>
        <p:spPr>
          <a:xfrm>
            <a:off x="8895563" y="2098930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42" name="TextBox 24">
            <a:extLst>
              <a:ext uri="{FF2B5EF4-FFF2-40B4-BE49-F238E27FC236}">
                <a16:creationId xmlns:a16="http://schemas.microsoft.com/office/drawing/2014/main" id="{A9038615-E4A1-5F78-34A6-8D6B988FBC0D}"/>
              </a:ext>
            </a:extLst>
          </p:cNvPr>
          <p:cNvSpPr txBox="1"/>
          <p:nvPr/>
        </p:nvSpPr>
        <p:spPr>
          <a:xfrm>
            <a:off x="9417062" y="2204227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644" name="Elipse 11643">
            <a:extLst>
              <a:ext uri="{FF2B5EF4-FFF2-40B4-BE49-F238E27FC236}">
                <a16:creationId xmlns:a16="http://schemas.microsoft.com/office/drawing/2014/main" id="{1BDF186B-CC2C-26D3-9B8D-BE80137697BE}"/>
              </a:ext>
            </a:extLst>
          </p:cNvPr>
          <p:cNvSpPr/>
          <p:nvPr/>
        </p:nvSpPr>
        <p:spPr>
          <a:xfrm>
            <a:off x="8895563" y="2564729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45" name="TextBox 24">
            <a:extLst>
              <a:ext uri="{FF2B5EF4-FFF2-40B4-BE49-F238E27FC236}">
                <a16:creationId xmlns:a16="http://schemas.microsoft.com/office/drawing/2014/main" id="{0690495D-D95C-D3AA-DE74-90B8AABA2055}"/>
              </a:ext>
            </a:extLst>
          </p:cNvPr>
          <p:cNvSpPr txBox="1"/>
          <p:nvPr/>
        </p:nvSpPr>
        <p:spPr>
          <a:xfrm>
            <a:off x="9417062" y="2670026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47" name="Elipse 11646">
            <a:extLst>
              <a:ext uri="{FF2B5EF4-FFF2-40B4-BE49-F238E27FC236}">
                <a16:creationId xmlns:a16="http://schemas.microsoft.com/office/drawing/2014/main" id="{439624FF-CE2E-E355-74B3-949417315304}"/>
              </a:ext>
            </a:extLst>
          </p:cNvPr>
          <p:cNvSpPr/>
          <p:nvPr/>
        </p:nvSpPr>
        <p:spPr>
          <a:xfrm>
            <a:off x="8895563" y="3030528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48" name="TextBox 24">
            <a:extLst>
              <a:ext uri="{FF2B5EF4-FFF2-40B4-BE49-F238E27FC236}">
                <a16:creationId xmlns:a16="http://schemas.microsoft.com/office/drawing/2014/main" id="{2A9B3DF5-2216-A941-B96A-340E8839EA64}"/>
              </a:ext>
            </a:extLst>
          </p:cNvPr>
          <p:cNvSpPr txBox="1"/>
          <p:nvPr/>
        </p:nvSpPr>
        <p:spPr>
          <a:xfrm>
            <a:off x="9417062" y="3135825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0" name="Elipse 11649">
            <a:extLst>
              <a:ext uri="{FF2B5EF4-FFF2-40B4-BE49-F238E27FC236}">
                <a16:creationId xmlns:a16="http://schemas.microsoft.com/office/drawing/2014/main" id="{88C6DCE7-DF22-AFAA-29DB-7E9563C36827}"/>
              </a:ext>
            </a:extLst>
          </p:cNvPr>
          <p:cNvSpPr/>
          <p:nvPr/>
        </p:nvSpPr>
        <p:spPr>
          <a:xfrm>
            <a:off x="8895563" y="34963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51" name="TextBox 24">
            <a:extLst>
              <a:ext uri="{FF2B5EF4-FFF2-40B4-BE49-F238E27FC236}">
                <a16:creationId xmlns:a16="http://schemas.microsoft.com/office/drawing/2014/main" id="{82E02AD9-1BC6-7ECB-68F5-00770656DDC7}"/>
              </a:ext>
            </a:extLst>
          </p:cNvPr>
          <p:cNvSpPr txBox="1"/>
          <p:nvPr/>
        </p:nvSpPr>
        <p:spPr>
          <a:xfrm>
            <a:off x="9417062" y="3601624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3" name="Elipse 11652">
            <a:extLst>
              <a:ext uri="{FF2B5EF4-FFF2-40B4-BE49-F238E27FC236}">
                <a16:creationId xmlns:a16="http://schemas.microsoft.com/office/drawing/2014/main" id="{A7F14D66-CF20-2142-E07C-1A86AC827488}"/>
              </a:ext>
            </a:extLst>
          </p:cNvPr>
          <p:cNvSpPr/>
          <p:nvPr/>
        </p:nvSpPr>
        <p:spPr>
          <a:xfrm>
            <a:off x="8895563" y="3962126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54" name="TextBox 24">
            <a:extLst>
              <a:ext uri="{FF2B5EF4-FFF2-40B4-BE49-F238E27FC236}">
                <a16:creationId xmlns:a16="http://schemas.microsoft.com/office/drawing/2014/main" id="{BCEBFD7F-16D5-547B-D0E3-CF1BEA80C8B6}"/>
              </a:ext>
            </a:extLst>
          </p:cNvPr>
          <p:cNvSpPr txBox="1"/>
          <p:nvPr/>
        </p:nvSpPr>
        <p:spPr>
          <a:xfrm>
            <a:off x="9417062" y="4067423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6" name="Elipse 11655">
            <a:extLst>
              <a:ext uri="{FF2B5EF4-FFF2-40B4-BE49-F238E27FC236}">
                <a16:creationId xmlns:a16="http://schemas.microsoft.com/office/drawing/2014/main" id="{EC5F70AF-9233-585B-D228-2E3CA7ED55CC}"/>
              </a:ext>
            </a:extLst>
          </p:cNvPr>
          <p:cNvSpPr/>
          <p:nvPr/>
        </p:nvSpPr>
        <p:spPr>
          <a:xfrm>
            <a:off x="8895563" y="4427925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57" name="TextBox 24">
            <a:extLst>
              <a:ext uri="{FF2B5EF4-FFF2-40B4-BE49-F238E27FC236}">
                <a16:creationId xmlns:a16="http://schemas.microsoft.com/office/drawing/2014/main" id="{20CA2EA3-4502-74E5-1011-F1DF50E5D8FB}"/>
              </a:ext>
            </a:extLst>
          </p:cNvPr>
          <p:cNvSpPr txBox="1"/>
          <p:nvPr/>
        </p:nvSpPr>
        <p:spPr>
          <a:xfrm>
            <a:off x="9417062" y="4533222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9" name="Elipse 11658">
            <a:extLst>
              <a:ext uri="{FF2B5EF4-FFF2-40B4-BE49-F238E27FC236}">
                <a16:creationId xmlns:a16="http://schemas.microsoft.com/office/drawing/2014/main" id="{3E83AE73-23C2-8D92-C715-ED16967157C0}"/>
              </a:ext>
            </a:extLst>
          </p:cNvPr>
          <p:cNvSpPr/>
          <p:nvPr/>
        </p:nvSpPr>
        <p:spPr>
          <a:xfrm>
            <a:off x="8895563" y="4893724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60" name="TextBox 24">
            <a:extLst>
              <a:ext uri="{FF2B5EF4-FFF2-40B4-BE49-F238E27FC236}">
                <a16:creationId xmlns:a16="http://schemas.microsoft.com/office/drawing/2014/main" id="{73CEB66B-DDE0-D486-9280-5C5ACCF7081A}"/>
              </a:ext>
            </a:extLst>
          </p:cNvPr>
          <p:cNvSpPr txBox="1"/>
          <p:nvPr/>
        </p:nvSpPr>
        <p:spPr>
          <a:xfrm>
            <a:off x="9417062" y="4999021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62" name="Elipse 11661">
            <a:extLst>
              <a:ext uri="{FF2B5EF4-FFF2-40B4-BE49-F238E27FC236}">
                <a16:creationId xmlns:a16="http://schemas.microsoft.com/office/drawing/2014/main" id="{D139AFA6-6B42-127A-35DE-438C4627D363}"/>
              </a:ext>
            </a:extLst>
          </p:cNvPr>
          <p:cNvSpPr/>
          <p:nvPr/>
        </p:nvSpPr>
        <p:spPr>
          <a:xfrm>
            <a:off x="8895563" y="5359523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63" name="TextBox 24">
            <a:extLst>
              <a:ext uri="{FF2B5EF4-FFF2-40B4-BE49-F238E27FC236}">
                <a16:creationId xmlns:a16="http://schemas.microsoft.com/office/drawing/2014/main" id="{E06CE861-CCA6-74D6-C487-229084B17F27}"/>
              </a:ext>
            </a:extLst>
          </p:cNvPr>
          <p:cNvSpPr txBox="1"/>
          <p:nvPr/>
        </p:nvSpPr>
        <p:spPr>
          <a:xfrm>
            <a:off x="9417062" y="5464820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665" name="Elipse 11664">
            <a:extLst>
              <a:ext uri="{FF2B5EF4-FFF2-40B4-BE49-F238E27FC236}">
                <a16:creationId xmlns:a16="http://schemas.microsoft.com/office/drawing/2014/main" id="{F05FE49D-66ED-A77E-4E63-20AA2A037681}"/>
              </a:ext>
            </a:extLst>
          </p:cNvPr>
          <p:cNvSpPr/>
          <p:nvPr/>
        </p:nvSpPr>
        <p:spPr>
          <a:xfrm>
            <a:off x="8895563" y="5825320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66" name="TextBox 24">
            <a:extLst>
              <a:ext uri="{FF2B5EF4-FFF2-40B4-BE49-F238E27FC236}">
                <a16:creationId xmlns:a16="http://schemas.microsoft.com/office/drawing/2014/main" id="{68512A92-5026-E8B5-6D0C-F9F02948C623}"/>
              </a:ext>
            </a:extLst>
          </p:cNvPr>
          <p:cNvSpPr txBox="1"/>
          <p:nvPr/>
        </p:nvSpPr>
        <p:spPr>
          <a:xfrm>
            <a:off x="9417062" y="5930617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95590991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3772554151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ángulo 12">
            <a:extLst>
              <a:ext uri="{FF2B5EF4-FFF2-40B4-BE49-F238E27FC236}">
                <a16:creationId xmlns:a16="http://schemas.microsoft.com/office/drawing/2014/main" id="{7F8768EF-4E47-054C-1D91-8C3DB362C178}"/>
              </a:ext>
            </a:extLst>
          </p:cNvPr>
          <p:cNvSpPr/>
          <p:nvPr/>
        </p:nvSpPr>
        <p:spPr>
          <a:xfrm>
            <a:off x="384173" y="3775075"/>
            <a:ext cx="5680077" cy="2533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gaining power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ppliers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2308DD6-747E-346E-6B0D-74BA46621962}"/>
              </a:ext>
            </a:extLst>
          </p:cNvPr>
          <p:cNvSpPr/>
          <p:nvPr/>
        </p:nvSpPr>
        <p:spPr>
          <a:xfrm>
            <a:off x="384173" y="1152525"/>
            <a:ext cx="5680077" cy="2533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reat of new entrants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EEE09D9D-6106-54F8-6D44-3B2DF68A0F55}"/>
              </a:ext>
            </a:extLst>
          </p:cNvPr>
          <p:cNvSpPr/>
          <p:nvPr/>
        </p:nvSpPr>
        <p:spPr>
          <a:xfrm>
            <a:off x="6140448" y="1152525"/>
            <a:ext cx="5680077" cy="2533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gaining power of buyers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7544DA7-719A-39C9-81AD-2C13D10BCCC3}"/>
              </a:ext>
            </a:extLst>
          </p:cNvPr>
          <p:cNvSpPr/>
          <p:nvPr/>
        </p:nvSpPr>
        <p:spPr>
          <a:xfrm>
            <a:off x="6140448" y="3775075"/>
            <a:ext cx="5680077" cy="2533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reat of substitutes</a:t>
            </a:r>
          </a:p>
        </p:txBody>
      </p:sp>
      <p:sp>
        <p:nvSpPr>
          <p:cNvPr id="17" name="TextBox 18">
            <a:extLst>
              <a:ext uri="{FF2B5EF4-FFF2-40B4-BE49-F238E27FC236}">
                <a16:creationId xmlns:a16="http://schemas.microsoft.com/office/drawing/2014/main" id="{3ECAB7AD-8765-15F7-7D73-6BEAFB2ECD3F}"/>
              </a:ext>
            </a:extLst>
          </p:cNvPr>
          <p:cNvSpPr txBox="1"/>
          <p:nvPr/>
        </p:nvSpPr>
        <p:spPr>
          <a:xfrm>
            <a:off x="7750684" y="1649450"/>
            <a:ext cx="4069841" cy="50546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w, moderate, or high</a:t>
            </a:r>
          </a:p>
          <a:p>
            <a:pPr marL="177800" marR="0" lvl="0" indent="-17780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6C8828D1-9B33-0023-2339-F38F41C9DFB2}"/>
              </a:ext>
            </a:extLst>
          </p:cNvPr>
          <p:cNvSpPr txBox="1"/>
          <p:nvPr/>
        </p:nvSpPr>
        <p:spPr>
          <a:xfrm>
            <a:off x="384173" y="1649450"/>
            <a:ext cx="4069841" cy="50546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w, moderate, or high</a:t>
            </a:r>
          </a:p>
          <a:p>
            <a:pPr marL="177800" marR="0" lvl="0" indent="-17780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5DF6BD-9904-FE80-B3A4-E5E376034329}"/>
              </a:ext>
            </a:extLst>
          </p:cNvPr>
          <p:cNvSpPr txBox="1"/>
          <p:nvPr/>
        </p:nvSpPr>
        <p:spPr>
          <a:xfrm>
            <a:off x="7750684" y="4289196"/>
            <a:ext cx="4069841" cy="50546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w, moderate, or high</a:t>
            </a:r>
          </a:p>
          <a:p>
            <a:pPr marL="177800" marR="0" lvl="0" indent="-17780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20" name="TextBox 18">
            <a:extLst>
              <a:ext uri="{FF2B5EF4-FFF2-40B4-BE49-F238E27FC236}">
                <a16:creationId xmlns:a16="http://schemas.microsoft.com/office/drawing/2014/main" id="{A0EBBF6F-7C5E-0CD8-B8EB-59CBE45156B8}"/>
              </a:ext>
            </a:extLst>
          </p:cNvPr>
          <p:cNvSpPr txBox="1"/>
          <p:nvPr/>
        </p:nvSpPr>
        <p:spPr>
          <a:xfrm>
            <a:off x="384173" y="4289196"/>
            <a:ext cx="4069841" cy="50546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w, moderate, or high</a:t>
            </a:r>
          </a:p>
          <a:p>
            <a:pPr marL="177800" marR="0" lvl="0" indent="-177800" algn="l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FE0E35DD-9DF5-C54B-2CC8-ACD1D140D816}"/>
              </a:ext>
            </a:extLst>
          </p:cNvPr>
          <p:cNvSpPr txBox="1">
            <a:spLocks/>
          </p:cNvSpPr>
          <p:nvPr/>
        </p:nvSpPr>
        <p:spPr>
          <a:xfrm>
            <a:off x="371475" y="549275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21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91421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mplate — Porter’s Five Forces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06C11698-DCC2-A6A6-94CE-6CBF740B55AE}"/>
                  </a:ext>
                </a:extLst>
              </p14:cNvPr>
              <p14:cNvContentPartPr/>
              <p14:nvPr/>
            </p14:nvContentPartPr>
            <p14:xfrm>
              <a:off x="4397913" y="-723371"/>
              <a:ext cx="360" cy="36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06C11698-DCC2-A6A6-94CE-6CBF740B55AE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4389273" y="-732371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Elipse 15">
            <a:extLst>
              <a:ext uri="{FF2B5EF4-FFF2-40B4-BE49-F238E27FC236}">
                <a16:creationId xmlns:a16="http://schemas.microsoft.com/office/drawing/2014/main" id="{3ADEAA5C-EC82-DDE5-BD60-3E0E1C5EEFC6}"/>
              </a:ext>
            </a:extLst>
          </p:cNvPr>
          <p:cNvSpPr/>
          <p:nvPr/>
        </p:nvSpPr>
        <p:spPr>
          <a:xfrm>
            <a:off x="4568062" y="2196338"/>
            <a:ext cx="3068574" cy="3068574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nsity of competition from existing competitors</a:t>
            </a:r>
          </a:p>
        </p:txBody>
      </p:sp>
      <p:sp>
        <p:nvSpPr>
          <p:cNvPr id="21" name="TextBox 18">
            <a:extLst>
              <a:ext uri="{FF2B5EF4-FFF2-40B4-BE49-F238E27FC236}">
                <a16:creationId xmlns:a16="http://schemas.microsoft.com/office/drawing/2014/main" id="{C4FEE613-B67F-EB46-6D5D-2E9A46EA89FD}"/>
              </a:ext>
            </a:extLst>
          </p:cNvPr>
          <p:cNvSpPr txBox="1"/>
          <p:nvPr/>
        </p:nvSpPr>
        <p:spPr>
          <a:xfrm>
            <a:off x="4568062" y="3790284"/>
            <a:ext cx="3068575" cy="469359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w, moderate, or high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5" name="Marcador de pie de página 14">
            <a:extLst>
              <a:ext uri="{FF2B5EF4-FFF2-40B4-BE49-F238E27FC236}">
                <a16:creationId xmlns:a16="http://schemas.microsoft.com/office/drawing/2014/main" id="{DF91AC12-CB8A-BD11-DCDB-2EB0C15157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864179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B7E92C4B-2914-9F77-7898-8B72F97EB1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B7E92C4B-2914-9F77-7898-8B72F97EB1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lecha: pentágono 38">
            <a:extLst>
              <a:ext uri="{FF2B5EF4-FFF2-40B4-BE49-F238E27FC236}">
                <a16:creationId xmlns:a16="http://schemas.microsoft.com/office/drawing/2014/main" id="{7253BD28-ED7F-6A71-164A-B4ADABFD3EA1}"/>
              </a:ext>
            </a:extLst>
          </p:cNvPr>
          <p:cNvSpPr/>
          <p:nvPr/>
        </p:nvSpPr>
        <p:spPr>
          <a:xfrm>
            <a:off x="371475" y="1152524"/>
            <a:ext cx="11449050" cy="5156195"/>
          </a:xfrm>
          <a:prstGeom prst="homePlate">
            <a:avLst>
              <a:gd name="adj" fmla="val 1818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Porter's Value Chain</a:t>
            </a:r>
          </a:p>
        </p:txBody>
      </p:sp>
      <p:sp>
        <p:nvSpPr>
          <p:cNvPr id="16" name="Marcador de pie de página 15">
            <a:extLst>
              <a:ext uri="{FF2B5EF4-FFF2-40B4-BE49-F238E27FC236}">
                <a16:creationId xmlns:a16="http://schemas.microsoft.com/office/drawing/2014/main" id="{D60078A2-E521-C36F-7271-8511EF0372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BCAF17AF-E9BA-62A9-6982-93CBBEE15D29}"/>
              </a:ext>
            </a:extLst>
          </p:cNvPr>
          <p:cNvSpPr/>
          <p:nvPr/>
        </p:nvSpPr>
        <p:spPr>
          <a:xfrm>
            <a:off x="371475" y="4617583"/>
            <a:ext cx="10512425" cy="16907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DDC42D9E-E7AF-CBB0-11A7-69098F490679}"/>
              </a:ext>
            </a:extLst>
          </p:cNvPr>
          <p:cNvSpPr txBox="1"/>
          <p:nvPr/>
        </p:nvSpPr>
        <p:spPr>
          <a:xfrm rot="16200000">
            <a:off x="-944992" y="2634821"/>
            <a:ext cx="3293343" cy="48259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58841F63-C0D2-452C-0AD7-EDBDC2434EB2}"/>
              </a:ext>
            </a:extLst>
          </p:cNvPr>
          <p:cNvSpPr txBox="1"/>
          <p:nvPr/>
        </p:nvSpPr>
        <p:spPr>
          <a:xfrm rot="16200000">
            <a:off x="-66099" y="5221497"/>
            <a:ext cx="1535557" cy="48259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9963BECD-D9EE-3964-B742-39923587DC7D}"/>
              </a:ext>
            </a:extLst>
          </p:cNvPr>
          <p:cNvSpPr txBox="1"/>
          <p:nvPr/>
        </p:nvSpPr>
        <p:spPr>
          <a:xfrm>
            <a:off x="1007827" y="1229452"/>
            <a:ext cx="9799873" cy="78294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" name="TextBox 25">
            <a:extLst>
              <a:ext uri="{FF2B5EF4-FFF2-40B4-BE49-F238E27FC236}">
                <a16:creationId xmlns:a16="http://schemas.microsoft.com/office/drawing/2014/main" id="{357DDAB8-E443-A70D-536B-79E77B18CB30}"/>
              </a:ext>
            </a:extLst>
          </p:cNvPr>
          <p:cNvSpPr txBox="1"/>
          <p:nvPr/>
        </p:nvSpPr>
        <p:spPr>
          <a:xfrm>
            <a:off x="1007827" y="2066249"/>
            <a:ext cx="9799873" cy="78294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5">
            <a:extLst>
              <a:ext uri="{FF2B5EF4-FFF2-40B4-BE49-F238E27FC236}">
                <a16:creationId xmlns:a16="http://schemas.microsoft.com/office/drawing/2014/main" id="{D4E421E3-3EC1-55AA-9866-01D5853F8FDB}"/>
              </a:ext>
            </a:extLst>
          </p:cNvPr>
          <p:cNvSpPr txBox="1"/>
          <p:nvPr/>
        </p:nvSpPr>
        <p:spPr>
          <a:xfrm>
            <a:off x="1007827" y="2903046"/>
            <a:ext cx="9799873" cy="78294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819FA60B-7ACC-5835-793E-3947E3D4F19D}"/>
              </a:ext>
            </a:extLst>
          </p:cNvPr>
          <p:cNvSpPr txBox="1"/>
          <p:nvPr/>
        </p:nvSpPr>
        <p:spPr>
          <a:xfrm>
            <a:off x="1007827" y="3739844"/>
            <a:ext cx="9191859" cy="78294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FE6F8A8C-9D72-8248-6260-822B89922635}"/>
              </a:ext>
            </a:extLst>
          </p:cNvPr>
          <p:cNvSpPr txBox="1"/>
          <p:nvPr/>
        </p:nvSpPr>
        <p:spPr>
          <a:xfrm>
            <a:off x="1007827" y="4695017"/>
            <a:ext cx="1904432" cy="15355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7FF20CEB-A7A0-2608-A7CE-89CCDDADCB2F}"/>
              </a:ext>
            </a:extLst>
          </p:cNvPr>
          <p:cNvSpPr txBox="1"/>
          <p:nvPr/>
        </p:nvSpPr>
        <p:spPr>
          <a:xfrm>
            <a:off x="2981688" y="4695017"/>
            <a:ext cx="1904432" cy="15355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07C8AE7F-CA67-BEEF-66B0-E401C7DBCDFD}"/>
              </a:ext>
            </a:extLst>
          </p:cNvPr>
          <p:cNvSpPr txBox="1"/>
          <p:nvPr/>
        </p:nvSpPr>
        <p:spPr>
          <a:xfrm>
            <a:off x="4955548" y="4695017"/>
            <a:ext cx="1904432" cy="15355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005C3869-61AA-2A58-1AD1-F9AAC9C4420F}"/>
              </a:ext>
            </a:extLst>
          </p:cNvPr>
          <p:cNvSpPr txBox="1"/>
          <p:nvPr/>
        </p:nvSpPr>
        <p:spPr>
          <a:xfrm>
            <a:off x="6929409" y="4695017"/>
            <a:ext cx="1904432" cy="15355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FC9B261B-2BC1-503B-6F28-E6A814F02635}"/>
              </a:ext>
            </a:extLst>
          </p:cNvPr>
          <p:cNvSpPr txBox="1"/>
          <p:nvPr/>
        </p:nvSpPr>
        <p:spPr>
          <a:xfrm>
            <a:off x="8903268" y="4695017"/>
            <a:ext cx="1904432" cy="15355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E0948CF0-0CFA-9906-75F8-C00D4DC3D6EB}"/>
              </a:ext>
            </a:extLst>
          </p:cNvPr>
          <p:cNvSpPr txBox="1"/>
          <p:nvPr/>
        </p:nvSpPr>
        <p:spPr>
          <a:xfrm rot="14903997">
            <a:off x="10245784" y="2496054"/>
            <a:ext cx="191327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5" name="Straight Connector 34">
            <a:extLst>
              <a:ext uri="{FF2B5EF4-FFF2-40B4-BE49-F238E27FC236}">
                <a16:creationId xmlns:a16="http://schemas.microsoft.com/office/drawing/2014/main" id="{2C57B4A1-0BDD-9F3D-D841-3C681F9AF710}"/>
              </a:ext>
            </a:extLst>
          </p:cNvPr>
          <p:cNvCxnSpPr>
            <a:cxnSpLocks/>
          </p:cNvCxnSpPr>
          <p:nvPr/>
        </p:nvCxnSpPr>
        <p:spPr>
          <a:xfrm>
            <a:off x="1007827" y="2039325"/>
            <a:ext cx="979987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4">
            <a:extLst>
              <a:ext uri="{FF2B5EF4-FFF2-40B4-BE49-F238E27FC236}">
                <a16:creationId xmlns:a16="http://schemas.microsoft.com/office/drawing/2014/main" id="{9C15E8C4-8978-60EA-4FAF-C60BC88AB0A3}"/>
              </a:ext>
            </a:extLst>
          </p:cNvPr>
          <p:cNvCxnSpPr>
            <a:cxnSpLocks/>
          </p:cNvCxnSpPr>
          <p:nvPr/>
        </p:nvCxnSpPr>
        <p:spPr>
          <a:xfrm>
            <a:off x="1007827" y="2876121"/>
            <a:ext cx="1001069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4">
            <a:extLst>
              <a:ext uri="{FF2B5EF4-FFF2-40B4-BE49-F238E27FC236}">
                <a16:creationId xmlns:a16="http://schemas.microsoft.com/office/drawing/2014/main" id="{3B594F32-B95C-6BF4-68EC-A4145C07087E}"/>
              </a:ext>
            </a:extLst>
          </p:cNvPr>
          <p:cNvCxnSpPr>
            <a:cxnSpLocks/>
          </p:cNvCxnSpPr>
          <p:nvPr/>
        </p:nvCxnSpPr>
        <p:spPr>
          <a:xfrm>
            <a:off x="1007827" y="3712920"/>
            <a:ext cx="1031549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34">
            <a:extLst>
              <a:ext uri="{FF2B5EF4-FFF2-40B4-BE49-F238E27FC236}">
                <a16:creationId xmlns:a16="http://schemas.microsoft.com/office/drawing/2014/main" id="{362D1602-01D1-E7E8-25C5-0ADAFE34FA53}"/>
              </a:ext>
            </a:extLst>
          </p:cNvPr>
          <p:cNvCxnSpPr>
            <a:cxnSpLocks/>
          </p:cNvCxnSpPr>
          <p:nvPr/>
        </p:nvCxnSpPr>
        <p:spPr>
          <a:xfrm>
            <a:off x="2946973" y="4695017"/>
            <a:ext cx="0" cy="15355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4">
            <a:extLst>
              <a:ext uri="{FF2B5EF4-FFF2-40B4-BE49-F238E27FC236}">
                <a16:creationId xmlns:a16="http://schemas.microsoft.com/office/drawing/2014/main" id="{021175D5-DC54-1ACA-7648-660091AD9E2A}"/>
              </a:ext>
            </a:extLst>
          </p:cNvPr>
          <p:cNvCxnSpPr>
            <a:cxnSpLocks/>
          </p:cNvCxnSpPr>
          <p:nvPr/>
        </p:nvCxnSpPr>
        <p:spPr>
          <a:xfrm>
            <a:off x="4920834" y="4695017"/>
            <a:ext cx="0" cy="15355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4">
            <a:extLst>
              <a:ext uri="{FF2B5EF4-FFF2-40B4-BE49-F238E27FC236}">
                <a16:creationId xmlns:a16="http://schemas.microsoft.com/office/drawing/2014/main" id="{ADAF285A-807D-61AC-53F6-94B9E01F0BCC}"/>
              </a:ext>
            </a:extLst>
          </p:cNvPr>
          <p:cNvCxnSpPr>
            <a:cxnSpLocks/>
          </p:cNvCxnSpPr>
          <p:nvPr/>
        </p:nvCxnSpPr>
        <p:spPr>
          <a:xfrm>
            <a:off x="6894694" y="4695017"/>
            <a:ext cx="0" cy="15355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4">
            <a:extLst>
              <a:ext uri="{FF2B5EF4-FFF2-40B4-BE49-F238E27FC236}">
                <a16:creationId xmlns:a16="http://schemas.microsoft.com/office/drawing/2014/main" id="{6DC62E1C-8903-83EC-E7E5-BF562FC2A217}"/>
              </a:ext>
            </a:extLst>
          </p:cNvPr>
          <p:cNvCxnSpPr>
            <a:cxnSpLocks/>
          </p:cNvCxnSpPr>
          <p:nvPr/>
        </p:nvCxnSpPr>
        <p:spPr>
          <a:xfrm>
            <a:off x="8868555" y="4695017"/>
            <a:ext cx="0" cy="15355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2FCD77AE-6983-BD44-D389-2D1A2D876BE2}"/>
              </a:ext>
            </a:extLst>
          </p:cNvPr>
          <p:cNvCxnSpPr>
            <a:cxnSpLocks/>
          </p:cNvCxnSpPr>
          <p:nvPr/>
        </p:nvCxnSpPr>
        <p:spPr>
          <a:xfrm>
            <a:off x="384174" y="4608905"/>
            <a:ext cx="1118393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5">
            <a:extLst>
              <a:ext uri="{FF2B5EF4-FFF2-40B4-BE49-F238E27FC236}">
                <a16:creationId xmlns:a16="http://schemas.microsoft.com/office/drawing/2014/main" id="{710EF2EE-46C7-79A5-0EF1-72D2FD8F3EF4}"/>
              </a:ext>
            </a:extLst>
          </p:cNvPr>
          <p:cNvSpPr txBox="1"/>
          <p:nvPr/>
        </p:nvSpPr>
        <p:spPr>
          <a:xfrm rot="17510211">
            <a:off x="10162200" y="5356039"/>
            <a:ext cx="169945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543048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E28DB5DA-8943-841E-F430-1E269010C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E28DB5DA-8943-841E-F430-1E269010C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Porter's Generic Strategies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143328E9-AB65-AE9D-579E-012F02EB73FE}"/>
              </a:ext>
            </a:extLst>
          </p:cNvPr>
          <p:cNvSpPr txBox="1"/>
          <p:nvPr/>
        </p:nvSpPr>
        <p:spPr>
          <a:xfrm rot="16200000">
            <a:off x="68618" y="2928337"/>
            <a:ext cx="217476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B8A1ADE7-1D67-B4C1-B394-E3FAC6A0AA98}"/>
              </a:ext>
            </a:extLst>
          </p:cNvPr>
          <p:cNvSpPr txBox="1"/>
          <p:nvPr/>
        </p:nvSpPr>
        <p:spPr>
          <a:xfrm rot="16200000">
            <a:off x="68618" y="5103107"/>
            <a:ext cx="217476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ADDE7C0A-04F6-E51B-4107-4249AB8EAEAE}"/>
              </a:ext>
            </a:extLst>
          </p:cNvPr>
          <p:cNvSpPr txBox="1"/>
          <p:nvPr/>
        </p:nvSpPr>
        <p:spPr>
          <a:xfrm rot="16200000">
            <a:off x="-1555917" y="4015722"/>
            <a:ext cx="434954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5455D2EF-456F-E319-B081-363A2BE9D61B}"/>
              </a:ext>
            </a:extLst>
          </p:cNvPr>
          <p:cNvSpPr txBox="1"/>
          <p:nvPr/>
        </p:nvSpPr>
        <p:spPr>
          <a:xfrm>
            <a:off x="1458472" y="1681818"/>
            <a:ext cx="5140528" cy="221018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A5EDA730-3F97-444D-6FEB-8C63267487D6}"/>
              </a:ext>
            </a:extLst>
          </p:cNvPr>
          <p:cNvSpPr txBox="1"/>
          <p:nvPr/>
        </p:nvSpPr>
        <p:spPr>
          <a:xfrm>
            <a:off x="6599002" y="1681818"/>
            <a:ext cx="5221523" cy="221018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B80E8445-3B41-7AFE-5557-81AD220A77B4}"/>
              </a:ext>
            </a:extLst>
          </p:cNvPr>
          <p:cNvSpPr/>
          <p:nvPr/>
        </p:nvSpPr>
        <p:spPr>
          <a:xfrm>
            <a:off x="1458474" y="1948674"/>
            <a:ext cx="5221523" cy="2174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26F13012-4C82-2127-C4BF-AFA78657BF52}"/>
              </a:ext>
            </a:extLst>
          </p:cNvPr>
          <p:cNvSpPr/>
          <p:nvPr/>
        </p:nvSpPr>
        <p:spPr>
          <a:xfrm>
            <a:off x="6599002" y="1948674"/>
            <a:ext cx="5221523" cy="2174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90FC9CB3-D974-5363-5F36-860162DFEF94}"/>
              </a:ext>
            </a:extLst>
          </p:cNvPr>
          <p:cNvSpPr/>
          <p:nvPr/>
        </p:nvSpPr>
        <p:spPr>
          <a:xfrm>
            <a:off x="1458474" y="4123444"/>
            <a:ext cx="5221523" cy="2174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F08E0B43-E7FF-2D49-497C-B40BBD1B53C6}"/>
              </a:ext>
            </a:extLst>
          </p:cNvPr>
          <p:cNvSpPr/>
          <p:nvPr/>
        </p:nvSpPr>
        <p:spPr>
          <a:xfrm>
            <a:off x="6599002" y="4123444"/>
            <a:ext cx="5221523" cy="2174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1E031E22-FB33-8D14-F0AD-49E2F5E8919F}"/>
              </a:ext>
            </a:extLst>
          </p:cNvPr>
          <p:cNvSpPr txBox="1"/>
          <p:nvPr/>
        </p:nvSpPr>
        <p:spPr>
          <a:xfrm>
            <a:off x="1458472" y="4123444"/>
            <a:ext cx="5140528" cy="257369"/>
          </a:xfrm>
          <a:prstGeom prst="rect">
            <a:avLst/>
          </a:prstGeom>
          <a:noFill/>
        </p:spPr>
        <p:txBody>
          <a:bodyPr wrap="square" lIns="0" tIns="72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284EE7F9-9BE2-21B8-2F15-1FAABF021A4A}"/>
              </a:ext>
            </a:extLst>
          </p:cNvPr>
          <p:cNvSpPr txBox="1"/>
          <p:nvPr/>
        </p:nvSpPr>
        <p:spPr>
          <a:xfrm>
            <a:off x="6599002" y="4123444"/>
            <a:ext cx="5221523" cy="257369"/>
          </a:xfrm>
          <a:prstGeom prst="rect">
            <a:avLst/>
          </a:prstGeom>
          <a:noFill/>
        </p:spPr>
        <p:txBody>
          <a:bodyPr wrap="square" lIns="0" tIns="72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FFBC1FF2-043B-871B-0818-00BA20409198}"/>
              </a:ext>
            </a:extLst>
          </p:cNvPr>
          <p:cNvSpPr txBox="1"/>
          <p:nvPr/>
        </p:nvSpPr>
        <p:spPr>
          <a:xfrm>
            <a:off x="1458472" y="1948674"/>
            <a:ext cx="5140528" cy="257369"/>
          </a:xfrm>
          <a:prstGeom prst="rect">
            <a:avLst/>
          </a:prstGeom>
          <a:noFill/>
        </p:spPr>
        <p:txBody>
          <a:bodyPr wrap="square" lIns="0" tIns="72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1CC683AE-273F-E314-2833-C5FF8E77CAA0}"/>
              </a:ext>
            </a:extLst>
          </p:cNvPr>
          <p:cNvSpPr txBox="1"/>
          <p:nvPr/>
        </p:nvSpPr>
        <p:spPr>
          <a:xfrm>
            <a:off x="6599002" y="1948674"/>
            <a:ext cx="5221523" cy="257369"/>
          </a:xfrm>
          <a:prstGeom prst="rect">
            <a:avLst/>
          </a:prstGeom>
          <a:noFill/>
        </p:spPr>
        <p:txBody>
          <a:bodyPr wrap="square" lIns="0" tIns="72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9FCB8386-2450-DE8A-5728-3D13571F0E81}"/>
              </a:ext>
            </a:extLst>
          </p:cNvPr>
          <p:cNvSpPr txBox="1"/>
          <p:nvPr/>
        </p:nvSpPr>
        <p:spPr>
          <a:xfrm>
            <a:off x="1458472" y="2405165"/>
            <a:ext cx="5140528" cy="184666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336" name="TextBox 24">
            <a:extLst>
              <a:ext uri="{FF2B5EF4-FFF2-40B4-BE49-F238E27FC236}">
                <a16:creationId xmlns:a16="http://schemas.microsoft.com/office/drawing/2014/main" id="{D2695F5C-921F-6A8D-0566-85CB3DB6CF4A}"/>
              </a:ext>
            </a:extLst>
          </p:cNvPr>
          <p:cNvSpPr txBox="1"/>
          <p:nvPr/>
        </p:nvSpPr>
        <p:spPr>
          <a:xfrm>
            <a:off x="6599002" y="2405165"/>
            <a:ext cx="5221523" cy="184666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337" name="TextBox 24">
            <a:extLst>
              <a:ext uri="{FF2B5EF4-FFF2-40B4-BE49-F238E27FC236}">
                <a16:creationId xmlns:a16="http://schemas.microsoft.com/office/drawing/2014/main" id="{B89CAF5E-AEAD-F933-4056-49D15946DC78}"/>
              </a:ext>
            </a:extLst>
          </p:cNvPr>
          <p:cNvSpPr txBox="1"/>
          <p:nvPr/>
        </p:nvSpPr>
        <p:spPr>
          <a:xfrm>
            <a:off x="1458472" y="4586152"/>
            <a:ext cx="5140528" cy="184666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339" name="TextBox 24">
            <a:extLst>
              <a:ext uri="{FF2B5EF4-FFF2-40B4-BE49-F238E27FC236}">
                <a16:creationId xmlns:a16="http://schemas.microsoft.com/office/drawing/2014/main" id="{87B3B2FF-703D-CE0D-FB34-C23A954339AE}"/>
              </a:ext>
            </a:extLst>
          </p:cNvPr>
          <p:cNvSpPr txBox="1"/>
          <p:nvPr/>
        </p:nvSpPr>
        <p:spPr>
          <a:xfrm>
            <a:off x="6599002" y="4586152"/>
            <a:ext cx="5221523" cy="184666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BC6D21C-BA4D-CBFE-99A8-2C7E0F0CF62A}"/>
              </a:ext>
            </a:extLst>
          </p:cNvPr>
          <p:cNvCxnSpPr>
            <a:cxnSpLocks/>
          </p:cNvCxnSpPr>
          <p:nvPr/>
        </p:nvCxnSpPr>
        <p:spPr>
          <a:xfrm flipH="1">
            <a:off x="1458472" y="4123444"/>
            <a:ext cx="1036205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40" name="Conector recto 14339">
            <a:extLst>
              <a:ext uri="{FF2B5EF4-FFF2-40B4-BE49-F238E27FC236}">
                <a16:creationId xmlns:a16="http://schemas.microsoft.com/office/drawing/2014/main" id="{1810ED6A-E48C-E16A-2A79-7B7EDB1C381B}"/>
              </a:ext>
            </a:extLst>
          </p:cNvPr>
          <p:cNvCxnSpPr>
            <a:cxnSpLocks/>
          </p:cNvCxnSpPr>
          <p:nvPr/>
        </p:nvCxnSpPr>
        <p:spPr>
          <a:xfrm rot="5400000" flipH="1">
            <a:off x="4441099" y="4140311"/>
            <a:ext cx="4315806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1" name="TextBox 25">
            <a:extLst>
              <a:ext uri="{FF2B5EF4-FFF2-40B4-BE49-F238E27FC236}">
                <a16:creationId xmlns:a16="http://schemas.microsoft.com/office/drawing/2014/main" id="{B69981F6-F0B6-7145-AB12-B4FD3B53E655}"/>
              </a:ext>
            </a:extLst>
          </p:cNvPr>
          <p:cNvSpPr txBox="1"/>
          <p:nvPr/>
        </p:nvSpPr>
        <p:spPr>
          <a:xfrm>
            <a:off x="1458474" y="1152525"/>
            <a:ext cx="1036205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A2A968A3-6428-43E1-107C-80F0F8642D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712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645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ontent slid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610629923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B31C177-DCE8-5686-5F3D-AA4B843F2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— BCG Growth Share Matri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CDC5B1A-41D1-2D52-E18C-CFA90E56FEF9}"/>
              </a:ext>
            </a:extLst>
          </p:cNvPr>
          <p:cNvSpPr/>
          <p:nvPr/>
        </p:nvSpPr>
        <p:spPr>
          <a:xfrm>
            <a:off x="667657" y="1152525"/>
            <a:ext cx="11152868" cy="4819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192B9689-DE90-33F8-EDAC-D09961832186}"/>
              </a:ext>
            </a:extLst>
          </p:cNvPr>
          <p:cNvCxnSpPr>
            <a:cxnSpLocks/>
          </p:cNvCxnSpPr>
          <p:nvPr/>
        </p:nvCxnSpPr>
        <p:spPr>
          <a:xfrm flipV="1">
            <a:off x="463810" y="1548122"/>
            <a:ext cx="0" cy="4028587"/>
          </a:xfrm>
          <a:prstGeom prst="line">
            <a:avLst/>
          </a:prstGeom>
          <a:noFill/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25">
            <a:extLst>
              <a:ext uri="{FF2B5EF4-FFF2-40B4-BE49-F238E27FC236}">
                <a16:creationId xmlns:a16="http://schemas.microsoft.com/office/drawing/2014/main" id="{C3E43C24-8532-CEF0-69FF-54BFD2732510}"/>
              </a:ext>
            </a:extLst>
          </p:cNvPr>
          <p:cNvSpPr txBox="1"/>
          <p:nvPr/>
        </p:nvSpPr>
        <p:spPr>
          <a:xfrm rot="16200000">
            <a:off x="266011" y="1257991"/>
            <a:ext cx="39559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2F8F0FFB-8A69-E44F-764A-A482F3EB4371}"/>
              </a:ext>
            </a:extLst>
          </p:cNvPr>
          <p:cNvSpPr txBox="1"/>
          <p:nvPr/>
        </p:nvSpPr>
        <p:spPr>
          <a:xfrm rot="16200000">
            <a:off x="266011" y="5682174"/>
            <a:ext cx="39559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w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C76751BB-CA9D-0B45-71AD-3A6C0F522E4F}"/>
              </a:ext>
            </a:extLst>
          </p:cNvPr>
          <p:cNvSpPr txBox="1"/>
          <p:nvPr/>
        </p:nvSpPr>
        <p:spPr>
          <a:xfrm rot="16200000">
            <a:off x="-158744" y="3470083"/>
            <a:ext cx="124510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 growth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90A29912-F56C-B23F-22BD-0A42D7775597}"/>
              </a:ext>
            </a:extLst>
          </p:cNvPr>
          <p:cNvCxnSpPr>
            <a:cxnSpLocks/>
          </p:cNvCxnSpPr>
          <p:nvPr/>
        </p:nvCxnSpPr>
        <p:spPr>
          <a:xfrm>
            <a:off x="6244091" y="1152525"/>
            <a:ext cx="0" cy="481978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77113975-1BE6-6EE4-17F2-583F331C44FD}"/>
              </a:ext>
            </a:extLst>
          </p:cNvPr>
          <p:cNvCxnSpPr>
            <a:cxnSpLocks/>
          </p:cNvCxnSpPr>
          <p:nvPr/>
        </p:nvCxnSpPr>
        <p:spPr>
          <a:xfrm flipH="1">
            <a:off x="667657" y="3562415"/>
            <a:ext cx="1115286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2DA94C4B-2001-8005-309C-936997179962}"/>
              </a:ext>
            </a:extLst>
          </p:cNvPr>
          <p:cNvCxnSpPr>
            <a:cxnSpLocks/>
          </p:cNvCxnSpPr>
          <p:nvPr/>
        </p:nvCxnSpPr>
        <p:spPr>
          <a:xfrm>
            <a:off x="1041400" y="6141684"/>
            <a:ext cx="10385425" cy="0"/>
          </a:xfrm>
          <a:prstGeom prst="line">
            <a:avLst/>
          </a:prstGeom>
          <a:noFill/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1213AF4A-BA28-EF1F-7F7B-52A7AAA20807}"/>
              </a:ext>
            </a:extLst>
          </p:cNvPr>
          <p:cNvSpPr txBox="1"/>
          <p:nvPr/>
        </p:nvSpPr>
        <p:spPr>
          <a:xfrm>
            <a:off x="667657" y="1152525"/>
            <a:ext cx="5576429" cy="263387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Question marks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A93190C0-A1D8-1B1B-983B-FFE657485A39}"/>
              </a:ext>
            </a:extLst>
          </p:cNvPr>
          <p:cNvSpPr txBox="1"/>
          <p:nvPr/>
        </p:nvSpPr>
        <p:spPr>
          <a:xfrm>
            <a:off x="6244047" y="1152525"/>
            <a:ext cx="5576429" cy="263387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ars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8B7CE110-EC41-B019-DACA-5F074FAE591E}"/>
              </a:ext>
            </a:extLst>
          </p:cNvPr>
          <p:cNvSpPr txBox="1"/>
          <p:nvPr/>
        </p:nvSpPr>
        <p:spPr>
          <a:xfrm>
            <a:off x="667657" y="3562415"/>
            <a:ext cx="5576429" cy="263387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ogs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60F17C8F-8B0E-A045-D36D-EEAD12C9C06D}"/>
              </a:ext>
            </a:extLst>
          </p:cNvPr>
          <p:cNvSpPr txBox="1"/>
          <p:nvPr/>
        </p:nvSpPr>
        <p:spPr>
          <a:xfrm>
            <a:off x="6244047" y="3562415"/>
            <a:ext cx="5576429" cy="263387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ash cows</a:t>
            </a:r>
          </a:p>
        </p:txBody>
      </p:sp>
      <p:sp>
        <p:nvSpPr>
          <p:cNvPr id="21" name="TextBox 25">
            <a:extLst>
              <a:ext uri="{FF2B5EF4-FFF2-40B4-BE49-F238E27FC236}">
                <a16:creationId xmlns:a16="http://schemas.microsoft.com/office/drawing/2014/main" id="{3BF3EA22-F8EB-DAF6-17A9-19E8B146982B}"/>
              </a:ext>
            </a:extLst>
          </p:cNvPr>
          <p:cNvSpPr txBox="1"/>
          <p:nvPr/>
        </p:nvSpPr>
        <p:spPr>
          <a:xfrm>
            <a:off x="667657" y="6049351"/>
            <a:ext cx="37374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w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D27957C8-A44C-88CD-17BE-91C5A5808936}"/>
              </a:ext>
            </a:extLst>
          </p:cNvPr>
          <p:cNvSpPr txBox="1"/>
          <p:nvPr/>
        </p:nvSpPr>
        <p:spPr>
          <a:xfrm>
            <a:off x="11426825" y="6049351"/>
            <a:ext cx="3937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3E760AAE-43AC-D576-1313-E767BEA58997}"/>
              </a:ext>
            </a:extLst>
          </p:cNvPr>
          <p:cNvSpPr txBox="1"/>
          <p:nvPr/>
        </p:nvSpPr>
        <p:spPr>
          <a:xfrm>
            <a:off x="5634214" y="6049351"/>
            <a:ext cx="116981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 share</a:t>
            </a:r>
          </a:p>
        </p:txBody>
      </p:sp>
      <p:sp>
        <p:nvSpPr>
          <p:cNvPr id="1034" name="TextBox 4">
            <a:extLst>
              <a:ext uri="{FF2B5EF4-FFF2-40B4-BE49-F238E27FC236}">
                <a16:creationId xmlns:a16="http://schemas.microsoft.com/office/drawing/2014/main" id="{D0DC4D25-CD0C-2EC1-FCC4-9ED841C4A30D}"/>
              </a:ext>
            </a:extLst>
          </p:cNvPr>
          <p:cNvSpPr txBox="1"/>
          <p:nvPr/>
        </p:nvSpPr>
        <p:spPr>
          <a:xfrm>
            <a:off x="667657" y="1548122"/>
            <a:ext cx="5576424" cy="531211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35" name="TextBox 4">
            <a:extLst>
              <a:ext uri="{FF2B5EF4-FFF2-40B4-BE49-F238E27FC236}">
                <a16:creationId xmlns:a16="http://schemas.microsoft.com/office/drawing/2014/main" id="{A7250CC4-5547-5637-D0D4-AB68213E156C}"/>
              </a:ext>
            </a:extLst>
          </p:cNvPr>
          <p:cNvSpPr txBox="1"/>
          <p:nvPr/>
        </p:nvSpPr>
        <p:spPr>
          <a:xfrm>
            <a:off x="6244091" y="1548122"/>
            <a:ext cx="5576424" cy="531211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36" name="TextBox 4">
            <a:extLst>
              <a:ext uri="{FF2B5EF4-FFF2-40B4-BE49-F238E27FC236}">
                <a16:creationId xmlns:a16="http://schemas.microsoft.com/office/drawing/2014/main" id="{34490045-5437-8FA4-9E98-FF2F76451A1E}"/>
              </a:ext>
            </a:extLst>
          </p:cNvPr>
          <p:cNvSpPr txBox="1"/>
          <p:nvPr/>
        </p:nvSpPr>
        <p:spPr>
          <a:xfrm>
            <a:off x="667657" y="3930376"/>
            <a:ext cx="5576424" cy="531211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37" name="TextBox 4">
            <a:extLst>
              <a:ext uri="{FF2B5EF4-FFF2-40B4-BE49-F238E27FC236}">
                <a16:creationId xmlns:a16="http://schemas.microsoft.com/office/drawing/2014/main" id="{E6D5D1C8-EDF5-1A80-8136-603AF67BF4A0}"/>
              </a:ext>
            </a:extLst>
          </p:cNvPr>
          <p:cNvSpPr txBox="1"/>
          <p:nvPr/>
        </p:nvSpPr>
        <p:spPr>
          <a:xfrm>
            <a:off x="6244091" y="3930376"/>
            <a:ext cx="5576424" cy="531211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/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  <a:p>
            <a:pPr marL="171450" marR="0" lvl="0" indent="-1714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38" name="Marcador de pie de página 1037">
            <a:extLst>
              <a:ext uri="{FF2B5EF4-FFF2-40B4-BE49-F238E27FC236}">
                <a16:creationId xmlns:a16="http://schemas.microsoft.com/office/drawing/2014/main" id="{47F73158-6E42-31AC-5264-BA4F8FC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292107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4" name="Objeto 3083" hidden="1">
            <a:extLst>
              <a:ext uri="{FF2B5EF4-FFF2-40B4-BE49-F238E27FC236}">
                <a16:creationId xmlns:a16="http://schemas.microsoft.com/office/drawing/2014/main" id="{F2BFB47D-CE56-BC40-1CFC-173F799A89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084" name="Objeto 3083" hidden="1">
                        <a:extLst>
                          <a:ext uri="{FF2B5EF4-FFF2-40B4-BE49-F238E27FC236}">
                            <a16:creationId xmlns:a16="http://schemas.microsoft.com/office/drawing/2014/main" id="{F2BFB47D-CE56-BC40-1CFC-173F799A8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GE McKinsey Matrix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ADE3FCD-BF53-1B31-7CFD-FE5B8C35724D}"/>
              </a:ext>
            </a:extLst>
          </p:cNvPr>
          <p:cNvCxnSpPr>
            <a:cxnSpLocks/>
          </p:cNvCxnSpPr>
          <p:nvPr/>
        </p:nvCxnSpPr>
        <p:spPr>
          <a:xfrm flipV="1">
            <a:off x="476507" y="1754549"/>
            <a:ext cx="0" cy="3851277"/>
          </a:xfrm>
          <a:prstGeom prst="line">
            <a:avLst/>
          </a:prstGeom>
          <a:noFill/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25">
            <a:extLst>
              <a:ext uri="{FF2B5EF4-FFF2-40B4-BE49-F238E27FC236}">
                <a16:creationId xmlns:a16="http://schemas.microsoft.com/office/drawing/2014/main" id="{40CA22F4-F8A4-DBE3-D94E-45B61863520C}"/>
              </a:ext>
            </a:extLst>
          </p:cNvPr>
          <p:cNvSpPr txBox="1"/>
          <p:nvPr/>
        </p:nvSpPr>
        <p:spPr>
          <a:xfrm rot="16200000">
            <a:off x="287415" y="1473122"/>
            <a:ext cx="37818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CE99EA9D-4783-03AA-1890-E00B21600BA0}"/>
              </a:ext>
            </a:extLst>
          </p:cNvPr>
          <p:cNvSpPr txBox="1"/>
          <p:nvPr/>
        </p:nvSpPr>
        <p:spPr>
          <a:xfrm rot="16200000">
            <a:off x="287415" y="5702584"/>
            <a:ext cx="37818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w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AF9B2BD-F1C2-5D01-E40D-89F8A1091090}"/>
              </a:ext>
            </a:extLst>
          </p:cNvPr>
          <p:cNvSpPr txBox="1"/>
          <p:nvPr/>
        </p:nvSpPr>
        <p:spPr>
          <a:xfrm rot="16200000">
            <a:off x="85620" y="3587854"/>
            <a:ext cx="78177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edium</a:t>
            </a:r>
          </a:p>
        </p:txBody>
      </p:sp>
      <p:sp>
        <p:nvSpPr>
          <p:cNvPr id="3073" name="Rectángulo 3072">
            <a:extLst>
              <a:ext uri="{FF2B5EF4-FFF2-40B4-BE49-F238E27FC236}">
                <a16:creationId xmlns:a16="http://schemas.microsoft.com/office/drawing/2014/main" id="{D39DF928-BAC7-A7B4-86F1-6737B1BD4D79}"/>
              </a:ext>
            </a:extLst>
          </p:cNvPr>
          <p:cNvSpPr/>
          <p:nvPr/>
        </p:nvSpPr>
        <p:spPr>
          <a:xfrm>
            <a:off x="4409016" y="1376363"/>
            <a:ext cx="3697816" cy="15358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5" name="Rectángulo 3074">
            <a:extLst>
              <a:ext uri="{FF2B5EF4-FFF2-40B4-BE49-F238E27FC236}">
                <a16:creationId xmlns:a16="http://schemas.microsoft.com/office/drawing/2014/main" id="{8E5FE205-47D8-98F7-866C-540F10B3C203}"/>
              </a:ext>
            </a:extLst>
          </p:cNvPr>
          <p:cNvSpPr/>
          <p:nvPr/>
        </p:nvSpPr>
        <p:spPr>
          <a:xfrm>
            <a:off x="8106833" y="1376363"/>
            <a:ext cx="3697816" cy="153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6" name="Rectángulo 3075">
            <a:extLst>
              <a:ext uri="{FF2B5EF4-FFF2-40B4-BE49-F238E27FC236}">
                <a16:creationId xmlns:a16="http://schemas.microsoft.com/office/drawing/2014/main" id="{32765153-647C-8D72-AAD6-B57A945F356B}"/>
              </a:ext>
            </a:extLst>
          </p:cNvPr>
          <p:cNvSpPr/>
          <p:nvPr/>
        </p:nvSpPr>
        <p:spPr>
          <a:xfrm>
            <a:off x="711200" y="1376363"/>
            <a:ext cx="3697816" cy="153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7" name="Rectángulo 3076">
            <a:extLst>
              <a:ext uri="{FF2B5EF4-FFF2-40B4-BE49-F238E27FC236}">
                <a16:creationId xmlns:a16="http://schemas.microsoft.com/office/drawing/2014/main" id="{7293CDF0-5BDD-974F-1D70-251CDDD2C1CE}"/>
              </a:ext>
            </a:extLst>
          </p:cNvPr>
          <p:cNvSpPr/>
          <p:nvPr/>
        </p:nvSpPr>
        <p:spPr>
          <a:xfrm>
            <a:off x="4409016" y="2912245"/>
            <a:ext cx="3697816" cy="153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8" name="Rectángulo 3077">
            <a:extLst>
              <a:ext uri="{FF2B5EF4-FFF2-40B4-BE49-F238E27FC236}">
                <a16:creationId xmlns:a16="http://schemas.microsoft.com/office/drawing/2014/main" id="{51271E1A-23E5-FC2C-B483-C6393DEE8DEE}"/>
              </a:ext>
            </a:extLst>
          </p:cNvPr>
          <p:cNvSpPr/>
          <p:nvPr/>
        </p:nvSpPr>
        <p:spPr>
          <a:xfrm>
            <a:off x="8106833" y="2912245"/>
            <a:ext cx="3697816" cy="15358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9" name="Rectángulo 3078">
            <a:extLst>
              <a:ext uri="{FF2B5EF4-FFF2-40B4-BE49-F238E27FC236}">
                <a16:creationId xmlns:a16="http://schemas.microsoft.com/office/drawing/2014/main" id="{134A8E3B-15D9-023A-BAEC-F58B9A3F0F98}"/>
              </a:ext>
            </a:extLst>
          </p:cNvPr>
          <p:cNvSpPr/>
          <p:nvPr/>
        </p:nvSpPr>
        <p:spPr>
          <a:xfrm>
            <a:off x="711200" y="2912245"/>
            <a:ext cx="3697816" cy="15358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0" name="Rectángulo 3079">
            <a:extLst>
              <a:ext uri="{FF2B5EF4-FFF2-40B4-BE49-F238E27FC236}">
                <a16:creationId xmlns:a16="http://schemas.microsoft.com/office/drawing/2014/main" id="{ADBE206F-9383-5309-3205-7E92CFC112AB}"/>
              </a:ext>
            </a:extLst>
          </p:cNvPr>
          <p:cNvSpPr/>
          <p:nvPr/>
        </p:nvSpPr>
        <p:spPr>
          <a:xfrm>
            <a:off x="4409016" y="4448127"/>
            <a:ext cx="3697816" cy="15358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1" name="Rectángulo 3080">
            <a:extLst>
              <a:ext uri="{FF2B5EF4-FFF2-40B4-BE49-F238E27FC236}">
                <a16:creationId xmlns:a16="http://schemas.microsoft.com/office/drawing/2014/main" id="{F09549C0-1C3E-3006-F006-5B09F7446739}"/>
              </a:ext>
            </a:extLst>
          </p:cNvPr>
          <p:cNvSpPr/>
          <p:nvPr/>
        </p:nvSpPr>
        <p:spPr>
          <a:xfrm>
            <a:off x="8106833" y="4448127"/>
            <a:ext cx="3697816" cy="153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2" name="Rectángulo 3081">
            <a:extLst>
              <a:ext uri="{FF2B5EF4-FFF2-40B4-BE49-F238E27FC236}">
                <a16:creationId xmlns:a16="http://schemas.microsoft.com/office/drawing/2014/main" id="{AE722678-D902-1ACD-76C4-AA7E6E3042AC}"/>
              </a:ext>
            </a:extLst>
          </p:cNvPr>
          <p:cNvSpPr/>
          <p:nvPr/>
        </p:nvSpPr>
        <p:spPr>
          <a:xfrm>
            <a:off x="711200" y="4448127"/>
            <a:ext cx="3697816" cy="153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4D8FD5FD-6614-CA37-3B43-2B6239BC457D}"/>
              </a:ext>
            </a:extLst>
          </p:cNvPr>
          <p:cNvCxnSpPr>
            <a:cxnSpLocks/>
          </p:cNvCxnSpPr>
          <p:nvPr/>
        </p:nvCxnSpPr>
        <p:spPr>
          <a:xfrm>
            <a:off x="1155461" y="6145935"/>
            <a:ext cx="10179289" cy="0"/>
          </a:xfrm>
          <a:prstGeom prst="line">
            <a:avLst/>
          </a:prstGeom>
          <a:noFill/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24">
            <a:extLst>
              <a:ext uri="{FF2B5EF4-FFF2-40B4-BE49-F238E27FC236}">
                <a16:creationId xmlns:a16="http://schemas.microsoft.com/office/drawing/2014/main" id="{99D0DC6E-8B21-78DE-4A11-4F2B6B1A99BD}"/>
              </a:ext>
            </a:extLst>
          </p:cNvPr>
          <p:cNvSpPr txBox="1"/>
          <p:nvPr/>
        </p:nvSpPr>
        <p:spPr>
          <a:xfrm>
            <a:off x="711202" y="1376363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2FA6F243-4E41-AB0B-69A5-B9C97144DAF3}"/>
              </a:ext>
            </a:extLst>
          </p:cNvPr>
          <p:cNvSpPr txBox="1"/>
          <p:nvPr/>
        </p:nvSpPr>
        <p:spPr>
          <a:xfrm>
            <a:off x="711209" y="2912245"/>
            <a:ext cx="369779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F4D1886-607C-88FD-60CA-9226E70360B1}"/>
              </a:ext>
            </a:extLst>
          </p:cNvPr>
          <p:cNvSpPr txBox="1"/>
          <p:nvPr/>
        </p:nvSpPr>
        <p:spPr>
          <a:xfrm>
            <a:off x="711200" y="6053602"/>
            <a:ext cx="444261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w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6A239BD0-B988-45DB-FA51-354EAC54FBAF}"/>
              </a:ext>
            </a:extLst>
          </p:cNvPr>
          <p:cNvSpPr txBox="1"/>
          <p:nvPr/>
        </p:nvSpPr>
        <p:spPr>
          <a:xfrm>
            <a:off x="11334750" y="6053602"/>
            <a:ext cx="46989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41166E5B-4C6E-363B-D046-243ABD188B78}"/>
              </a:ext>
            </a:extLst>
          </p:cNvPr>
          <p:cNvSpPr txBox="1"/>
          <p:nvPr/>
        </p:nvSpPr>
        <p:spPr>
          <a:xfrm>
            <a:off x="5798671" y="6053602"/>
            <a:ext cx="868830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edium</a:t>
            </a:r>
          </a:p>
        </p:txBody>
      </p:sp>
      <p:sp>
        <p:nvSpPr>
          <p:cNvPr id="3085" name="TextBox 24">
            <a:extLst>
              <a:ext uri="{FF2B5EF4-FFF2-40B4-BE49-F238E27FC236}">
                <a16:creationId xmlns:a16="http://schemas.microsoft.com/office/drawing/2014/main" id="{619C0A59-79A9-74A0-22DC-1CD2E9C704E2}"/>
              </a:ext>
            </a:extLst>
          </p:cNvPr>
          <p:cNvSpPr txBox="1"/>
          <p:nvPr/>
        </p:nvSpPr>
        <p:spPr>
          <a:xfrm>
            <a:off x="4409016" y="1376363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86" name="TextBox 24">
            <a:extLst>
              <a:ext uri="{FF2B5EF4-FFF2-40B4-BE49-F238E27FC236}">
                <a16:creationId xmlns:a16="http://schemas.microsoft.com/office/drawing/2014/main" id="{9FA68155-0F58-9E98-60C1-89A848290E1E}"/>
              </a:ext>
            </a:extLst>
          </p:cNvPr>
          <p:cNvSpPr txBox="1"/>
          <p:nvPr/>
        </p:nvSpPr>
        <p:spPr>
          <a:xfrm>
            <a:off x="8106833" y="1376363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87" name="TextBox 24">
            <a:extLst>
              <a:ext uri="{FF2B5EF4-FFF2-40B4-BE49-F238E27FC236}">
                <a16:creationId xmlns:a16="http://schemas.microsoft.com/office/drawing/2014/main" id="{1CBAEA6F-EBF5-F682-B7E7-3BFDF3F7B365}"/>
              </a:ext>
            </a:extLst>
          </p:cNvPr>
          <p:cNvSpPr txBox="1"/>
          <p:nvPr/>
        </p:nvSpPr>
        <p:spPr>
          <a:xfrm>
            <a:off x="4409016" y="2912245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88" name="TextBox 24">
            <a:extLst>
              <a:ext uri="{FF2B5EF4-FFF2-40B4-BE49-F238E27FC236}">
                <a16:creationId xmlns:a16="http://schemas.microsoft.com/office/drawing/2014/main" id="{4326895A-80AF-7DBD-D37A-2B14BD1B2DAF}"/>
              </a:ext>
            </a:extLst>
          </p:cNvPr>
          <p:cNvSpPr txBox="1"/>
          <p:nvPr/>
        </p:nvSpPr>
        <p:spPr>
          <a:xfrm>
            <a:off x="8106833" y="2912245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89" name="TextBox 24">
            <a:extLst>
              <a:ext uri="{FF2B5EF4-FFF2-40B4-BE49-F238E27FC236}">
                <a16:creationId xmlns:a16="http://schemas.microsoft.com/office/drawing/2014/main" id="{972B2166-E3FD-0D34-22D8-CDE5212BAFFF}"/>
              </a:ext>
            </a:extLst>
          </p:cNvPr>
          <p:cNvSpPr txBox="1"/>
          <p:nvPr/>
        </p:nvSpPr>
        <p:spPr>
          <a:xfrm>
            <a:off x="711209" y="4448127"/>
            <a:ext cx="369779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90" name="TextBox 24">
            <a:extLst>
              <a:ext uri="{FF2B5EF4-FFF2-40B4-BE49-F238E27FC236}">
                <a16:creationId xmlns:a16="http://schemas.microsoft.com/office/drawing/2014/main" id="{4B47E314-0EA7-5F22-09DB-0AD256D3D498}"/>
              </a:ext>
            </a:extLst>
          </p:cNvPr>
          <p:cNvSpPr txBox="1"/>
          <p:nvPr/>
        </p:nvSpPr>
        <p:spPr>
          <a:xfrm>
            <a:off x="4409016" y="4448127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91" name="TextBox 24">
            <a:extLst>
              <a:ext uri="{FF2B5EF4-FFF2-40B4-BE49-F238E27FC236}">
                <a16:creationId xmlns:a16="http://schemas.microsoft.com/office/drawing/2014/main" id="{BC86FA86-45F1-865F-3D6B-2F5617BC1B5D}"/>
              </a:ext>
            </a:extLst>
          </p:cNvPr>
          <p:cNvSpPr txBox="1"/>
          <p:nvPr/>
        </p:nvSpPr>
        <p:spPr>
          <a:xfrm>
            <a:off x="8106833" y="4448127"/>
            <a:ext cx="3697807" cy="251795"/>
          </a:xfrm>
          <a:prstGeom prst="rect">
            <a:avLst/>
          </a:prstGeom>
          <a:noFill/>
        </p:spPr>
        <p:txBody>
          <a:bodyPr wrap="square" lIns="0" tIns="3600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145309F1-45F5-0924-DA4F-9F7A7602417C}"/>
              </a:ext>
            </a:extLst>
          </p:cNvPr>
          <p:cNvSpPr txBox="1"/>
          <p:nvPr/>
        </p:nvSpPr>
        <p:spPr>
          <a:xfrm>
            <a:off x="711200" y="1662215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3FB54A21-8F88-239D-B15A-C5903835C78C}"/>
              </a:ext>
            </a:extLst>
          </p:cNvPr>
          <p:cNvSpPr txBox="1"/>
          <p:nvPr/>
        </p:nvSpPr>
        <p:spPr>
          <a:xfrm>
            <a:off x="4409016" y="1662215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D581B4AC-7F72-92D7-3B22-2AF65CE9C76E}"/>
              </a:ext>
            </a:extLst>
          </p:cNvPr>
          <p:cNvSpPr txBox="1"/>
          <p:nvPr/>
        </p:nvSpPr>
        <p:spPr>
          <a:xfrm>
            <a:off x="8106833" y="1662215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3A4370BE-75CE-67AB-0C08-5C0F9C6C5AE2}"/>
              </a:ext>
            </a:extLst>
          </p:cNvPr>
          <p:cNvSpPr txBox="1"/>
          <p:nvPr/>
        </p:nvSpPr>
        <p:spPr>
          <a:xfrm>
            <a:off x="711200" y="3215759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8AE344-682E-3F36-D5EE-9CB6539D67AA}"/>
              </a:ext>
            </a:extLst>
          </p:cNvPr>
          <p:cNvSpPr txBox="1"/>
          <p:nvPr/>
        </p:nvSpPr>
        <p:spPr>
          <a:xfrm>
            <a:off x="4409016" y="3215759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1C660F47-CAEA-AE63-A914-DBD72A6F792F}"/>
              </a:ext>
            </a:extLst>
          </p:cNvPr>
          <p:cNvSpPr txBox="1"/>
          <p:nvPr/>
        </p:nvSpPr>
        <p:spPr>
          <a:xfrm>
            <a:off x="8106833" y="3215759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8" name="TextBox 25">
            <a:extLst>
              <a:ext uri="{FF2B5EF4-FFF2-40B4-BE49-F238E27FC236}">
                <a16:creationId xmlns:a16="http://schemas.microsoft.com/office/drawing/2014/main" id="{A23F79F3-91AC-6598-02FC-8766D652871E}"/>
              </a:ext>
            </a:extLst>
          </p:cNvPr>
          <p:cNvSpPr txBox="1"/>
          <p:nvPr/>
        </p:nvSpPr>
        <p:spPr>
          <a:xfrm>
            <a:off x="711200" y="4783244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9" name="TextBox 25">
            <a:extLst>
              <a:ext uri="{FF2B5EF4-FFF2-40B4-BE49-F238E27FC236}">
                <a16:creationId xmlns:a16="http://schemas.microsoft.com/office/drawing/2014/main" id="{3F9811D9-9B0B-E118-4C77-0A5FA364746F}"/>
              </a:ext>
            </a:extLst>
          </p:cNvPr>
          <p:cNvSpPr txBox="1"/>
          <p:nvPr/>
        </p:nvSpPr>
        <p:spPr>
          <a:xfrm>
            <a:off x="4409016" y="4783244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" name="TextBox 25">
            <a:extLst>
              <a:ext uri="{FF2B5EF4-FFF2-40B4-BE49-F238E27FC236}">
                <a16:creationId xmlns:a16="http://schemas.microsoft.com/office/drawing/2014/main" id="{3B050670-6B81-8695-DA00-C25CF5F0795B}"/>
              </a:ext>
            </a:extLst>
          </p:cNvPr>
          <p:cNvSpPr txBox="1"/>
          <p:nvPr/>
        </p:nvSpPr>
        <p:spPr>
          <a:xfrm>
            <a:off x="8106833" y="4783244"/>
            <a:ext cx="3697803" cy="184666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1" name="Marcador de pie de página 30">
            <a:extLst>
              <a:ext uri="{FF2B5EF4-FFF2-40B4-BE49-F238E27FC236}">
                <a16:creationId xmlns:a16="http://schemas.microsoft.com/office/drawing/2014/main" id="{26074205-2232-E460-8113-FB7AD2772D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890077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49CC052-AB94-8E50-B0C6-C00F9032CC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49CC052-AB94-8E50-B0C6-C00F9032C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B31C177-DCE8-5686-5F3D-AA4B843F2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Ansoff Matrix 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E39B6120-658B-2D5E-B17B-04A14D628FED}"/>
              </a:ext>
            </a:extLst>
          </p:cNvPr>
          <p:cNvSpPr/>
          <p:nvPr/>
        </p:nvSpPr>
        <p:spPr>
          <a:xfrm>
            <a:off x="659621" y="1152525"/>
            <a:ext cx="5580452" cy="2422943"/>
          </a:xfrm>
          <a:prstGeom prst="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 development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C11EF65-EA24-9A88-794F-7E17F7E62850}"/>
              </a:ext>
            </a:extLst>
          </p:cNvPr>
          <p:cNvSpPr/>
          <p:nvPr/>
        </p:nvSpPr>
        <p:spPr>
          <a:xfrm>
            <a:off x="6240073" y="1152525"/>
            <a:ext cx="5580452" cy="2422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versification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6633C7B9-0085-FCAE-26DB-77FAFE142AE9}"/>
              </a:ext>
            </a:extLst>
          </p:cNvPr>
          <p:cNvSpPr/>
          <p:nvPr/>
        </p:nvSpPr>
        <p:spPr>
          <a:xfrm>
            <a:off x="659621" y="3575468"/>
            <a:ext cx="5580452" cy="2422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 penetration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8FE3BA11-85FC-6C46-6CAC-FB97D08C3B97}"/>
              </a:ext>
            </a:extLst>
          </p:cNvPr>
          <p:cNvSpPr/>
          <p:nvPr/>
        </p:nvSpPr>
        <p:spPr>
          <a:xfrm>
            <a:off x="6240073" y="3575468"/>
            <a:ext cx="5580452" cy="2422943"/>
          </a:xfrm>
          <a:prstGeom prst="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duct developmen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32364BB3-24B6-31EE-B7AB-0C1490C52E17}"/>
              </a:ext>
            </a:extLst>
          </p:cNvPr>
          <p:cNvSpPr txBox="1"/>
          <p:nvPr/>
        </p:nvSpPr>
        <p:spPr>
          <a:xfrm rot="16200000">
            <a:off x="-353789" y="2235312"/>
            <a:ext cx="1738678" cy="257369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7200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w markets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D56508F5-0F58-3D2D-1F08-C63083EE4D93}"/>
              </a:ext>
            </a:extLst>
          </p:cNvPr>
          <p:cNvSpPr txBox="1"/>
          <p:nvPr/>
        </p:nvSpPr>
        <p:spPr>
          <a:xfrm>
            <a:off x="2157565" y="6051355"/>
            <a:ext cx="2584564" cy="257369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7200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xisting products/ services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FAA903C0-6125-5D79-4074-70A71FF44B40}"/>
              </a:ext>
            </a:extLst>
          </p:cNvPr>
          <p:cNvSpPr txBox="1"/>
          <p:nvPr/>
        </p:nvSpPr>
        <p:spPr>
          <a:xfrm>
            <a:off x="7738017" y="6051355"/>
            <a:ext cx="2584564" cy="257369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7200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w products/ services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BC1AFB6C-6504-73D5-180A-DEEB2F948D54}"/>
              </a:ext>
            </a:extLst>
          </p:cNvPr>
          <p:cNvSpPr txBox="1"/>
          <p:nvPr/>
        </p:nvSpPr>
        <p:spPr>
          <a:xfrm rot="16200000">
            <a:off x="-341091" y="4658255"/>
            <a:ext cx="1738678" cy="257369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7200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xisting markets</a:t>
            </a:r>
          </a:p>
        </p:txBody>
      </p:sp>
      <p:sp>
        <p:nvSpPr>
          <p:cNvPr id="20" name="TextBox 25">
            <a:extLst>
              <a:ext uri="{FF2B5EF4-FFF2-40B4-BE49-F238E27FC236}">
                <a16:creationId xmlns:a16="http://schemas.microsoft.com/office/drawing/2014/main" id="{AA15F2B9-287F-6DA8-4CBA-C6954ABC4D8E}"/>
              </a:ext>
            </a:extLst>
          </p:cNvPr>
          <p:cNvSpPr txBox="1"/>
          <p:nvPr/>
        </p:nvSpPr>
        <p:spPr>
          <a:xfrm>
            <a:off x="659622" y="1585085"/>
            <a:ext cx="5580452" cy="553998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5">
            <a:extLst>
              <a:ext uri="{FF2B5EF4-FFF2-40B4-BE49-F238E27FC236}">
                <a16:creationId xmlns:a16="http://schemas.microsoft.com/office/drawing/2014/main" id="{A36E0C95-BB90-59E2-CDC5-553165145E9E}"/>
              </a:ext>
            </a:extLst>
          </p:cNvPr>
          <p:cNvSpPr txBox="1"/>
          <p:nvPr/>
        </p:nvSpPr>
        <p:spPr>
          <a:xfrm>
            <a:off x="6240073" y="1585085"/>
            <a:ext cx="5580452" cy="553998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E73E698C-722A-1869-9CC0-AFECD041E2D6}"/>
              </a:ext>
            </a:extLst>
          </p:cNvPr>
          <p:cNvSpPr txBox="1"/>
          <p:nvPr/>
        </p:nvSpPr>
        <p:spPr>
          <a:xfrm>
            <a:off x="659622" y="4008027"/>
            <a:ext cx="5580452" cy="553998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777B8D96-C386-5B25-D477-DA5B3C921924}"/>
              </a:ext>
            </a:extLst>
          </p:cNvPr>
          <p:cNvSpPr txBox="1"/>
          <p:nvPr/>
        </p:nvSpPr>
        <p:spPr>
          <a:xfrm>
            <a:off x="6240073" y="4008027"/>
            <a:ext cx="5580452" cy="553998"/>
          </a:xfrm>
          <a:prstGeom prst="rect">
            <a:avLst/>
          </a:prstGeom>
          <a:noFill/>
        </p:spPr>
        <p:txBody>
          <a:bodyPr wrap="square" lIns="72000" tIns="0" rIns="3600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63569CC-8384-21F4-9D2C-ED5EFAF5A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924884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to 72" hidden="1">
            <a:extLst>
              <a:ext uri="{FF2B5EF4-FFF2-40B4-BE49-F238E27FC236}">
                <a16:creationId xmlns:a16="http://schemas.microsoft.com/office/drawing/2014/main" id="{13A79729-64B1-08F7-DD9A-5E8EF05AA9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3" name="Objeto 72" hidden="1">
                        <a:extLst>
                          <a:ext uri="{FF2B5EF4-FFF2-40B4-BE49-F238E27FC236}">
                            <a16:creationId xmlns:a16="http://schemas.microsoft.com/office/drawing/2014/main" id="{13A79729-64B1-08F7-DD9A-5E8EF05AA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upo 58">
            <a:extLst>
              <a:ext uri="{FF2B5EF4-FFF2-40B4-BE49-F238E27FC236}">
                <a16:creationId xmlns:a16="http://schemas.microsoft.com/office/drawing/2014/main" id="{F1700CDF-F2AA-960A-C4F2-B76DFB8DCE84}"/>
              </a:ext>
            </a:extLst>
          </p:cNvPr>
          <p:cNvGrpSpPr/>
          <p:nvPr/>
        </p:nvGrpSpPr>
        <p:grpSpPr>
          <a:xfrm>
            <a:off x="4549933" y="2000250"/>
            <a:ext cx="3082451" cy="3738454"/>
            <a:chOff x="4549933" y="2000250"/>
            <a:chExt cx="3082451" cy="3738454"/>
          </a:xfrm>
        </p:grpSpPr>
        <p:cxnSp>
          <p:nvCxnSpPr>
            <p:cNvPr id="60" name="Conector recto 59">
              <a:extLst>
                <a:ext uri="{FF2B5EF4-FFF2-40B4-BE49-F238E27FC236}">
                  <a16:creationId xmlns:a16="http://schemas.microsoft.com/office/drawing/2014/main" id="{11139C9C-56BD-6787-E8BA-9AB2C5B72B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52950" y="2000250"/>
              <a:ext cx="1536700" cy="9398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recto 60">
              <a:extLst>
                <a:ext uri="{FF2B5EF4-FFF2-40B4-BE49-F238E27FC236}">
                  <a16:creationId xmlns:a16="http://schemas.microsoft.com/office/drawing/2014/main" id="{D5F2D60C-CE4C-AD95-87C7-3C6DBF69A571}"/>
                </a:ext>
              </a:extLst>
            </p:cNvPr>
            <p:cNvCxnSpPr>
              <a:cxnSpLocks/>
            </p:cNvCxnSpPr>
            <p:nvPr/>
          </p:nvCxnSpPr>
          <p:spPr>
            <a:xfrm>
              <a:off x="6089650" y="2000250"/>
              <a:ext cx="1536700" cy="9398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cto 61">
              <a:extLst>
                <a:ext uri="{FF2B5EF4-FFF2-40B4-BE49-F238E27FC236}">
                  <a16:creationId xmlns:a16="http://schemas.microsoft.com/office/drawing/2014/main" id="{40B112F0-ED5E-6B1C-98B7-92E32E529BD7}"/>
                </a:ext>
              </a:extLst>
            </p:cNvPr>
            <p:cNvCxnSpPr>
              <a:cxnSpLocks/>
            </p:cNvCxnSpPr>
            <p:nvPr/>
          </p:nvCxnSpPr>
          <p:spPr>
            <a:xfrm>
              <a:off x="4552950" y="4798904"/>
              <a:ext cx="1536700" cy="9398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cto 62">
              <a:extLst>
                <a:ext uri="{FF2B5EF4-FFF2-40B4-BE49-F238E27FC236}">
                  <a16:creationId xmlns:a16="http://schemas.microsoft.com/office/drawing/2014/main" id="{2CA68006-19DA-98DE-E8B9-D95FA840D4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89650" y="4798904"/>
              <a:ext cx="1536700" cy="9398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cto 63">
              <a:extLst>
                <a:ext uri="{FF2B5EF4-FFF2-40B4-BE49-F238E27FC236}">
                  <a16:creationId xmlns:a16="http://schemas.microsoft.com/office/drawing/2014/main" id="{F2CE0E70-FD03-9188-4071-76304F4DE2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32384" y="3554097"/>
              <a:ext cx="0" cy="721356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cto 64">
              <a:extLst>
                <a:ext uri="{FF2B5EF4-FFF2-40B4-BE49-F238E27FC236}">
                  <a16:creationId xmlns:a16="http://schemas.microsoft.com/office/drawing/2014/main" id="{7BBEB7A7-28DB-C644-2B43-142C7061A7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56440" y="3554097"/>
              <a:ext cx="0" cy="721356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cto 65">
              <a:extLst>
                <a:ext uri="{FF2B5EF4-FFF2-40B4-BE49-F238E27FC236}">
                  <a16:creationId xmlns:a16="http://schemas.microsoft.com/office/drawing/2014/main" id="{4C692A18-6D3E-169D-048D-7D372342176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89650" y="2000250"/>
              <a:ext cx="1536700" cy="2798654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cto 66">
              <a:extLst>
                <a:ext uri="{FF2B5EF4-FFF2-40B4-BE49-F238E27FC236}">
                  <a16:creationId xmlns:a16="http://schemas.microsoft.com/office/drawing/2014/main" id="{DE0C07D4-AC30-0451-8EA3-39BF2148F0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49933" y="2000250"/>
              <a:ext cx="1536700" cy="2798654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cto 67">
              <a:extLst>
                <a:ext uri="{FF2B5EF4-FFF2-40B4-BE49-F238E27FC236}">
                  <a16:creationId xmlns:a16="http://schemas.microsoft.com/office/drawing/2014/main" id="{75545892-0A78-8F91-1E0C-2EE29FA2B747}"/>
                </a:ext>
              </a:extLst>
            </p:cNvPr>
            <p:cNvCxnSpPr>
              <a:cxnSpLocks/>
            </p:cNvCxnSpPr>
            <p:nvPr/>
          </p:nvCxnSpPr>
          <p:spPr>
            <a:xfrm>
              <a:off x="5133550" y="2976987"/>
              <a:ext cx="1921723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cto 68">
              <a:extLst>
                <a:ext uri="{FF2B5EF4-FFF2-40B4-BE49-F238E27FC236}">
                  <a16:creationId xmlns:a16="http://schemas.microsoft.com/office/drawing/2014/main" id="{D4128D13-3B2D-E360-8A2D-9D637C3DD73C}"/>
                </a:ext>
              </a:extLst>
            </p:cNvPr>
            <p:cNvCxnSpPr>
              <a:cxnSpLocks/>
            </p:cNvCxnSpPr>
            <p:nvPr/>
          </p:nvCxnSpPr>
          <p:spPr>
            <a:xfrm>
              <a:off x="5133550" y="4852564"/>
              <a:ext cx="1921723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cto 69">
              <a:extLst>
                <a:ext uri="{FF2B5EF4-FFF2-40B4-BE49-F238E27FC236}">
                  <a16:creationId xmlns:a16="http://schemas.microsoft.com/office/drawing/2014/main" id="{5B6265BE-79E2-2DB5-BC6C-F0E29AC170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50406" y="2938310"/>
              <a:ext cx="3075944" cy="1860594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cto 70">
              <a:extLst>
                <a:ext uri="{FF2B5EF4-FFF2-40B4-BE49-F238E27FC236}">
                  <a16:creationId xmlns:a16="http://schemas.microsoft.com/office/drawing/2014/main" id="{AF1603EB-450D-4511-18F4-922AA397B5B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53423" y="2938310"/>
              <a:ext cx="3075944" cy="1860594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31C177-DCE8-5686-5F3D-AA4B843F2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McKinsey 7-S Framework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58B674E0-0CDC-0236-E69F-62C387736408}"/>
              </a:ext>
            </a:extLst>
          </p:cNvPr>
          <p:cNvSpPr/>
          <p:nvPr/>
        </p:nvSpPr>
        <p:spPr>
          <a:xfrm>
            <a:off x="5329440" y="3149805"/>
            <a:ext cx="1529944" cy="152994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red values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AAEFE3A9-0F92-9A97-504B-4F6D09DCC65B}"/>
              </a:ext>
            </a:extLst>
          </p:cNvPr>
          <p:cNvSpPr/>
          <p:nvPr/>
        </p:nvSpPr>
        <p:spPr>
          <a:xfrm>
            <a:off x="5517301" y="1520825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5AC80EA-A2BF-6D1A-5047-EB14FDCA799B}"/>
              </a:ext>
            </a:extLst>
          </p:cNvPr>
          <p:cNvSpPr/>
          <p:nvPr/>
        </p:nvSpPr>
        <p:spPr>
          <a:xfrm>
            <a:off x="5517301" y="5154504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ff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094D6D9F-70EF-0425-75E4-11134E82B1B1}"/>
              </a:ext>
            </a:extLst>
          </p:cNvPr>
          <p:cNvSpPr/>
          <p:nvPr/>
        </p:nvSpPr>
        <p:spPr>
          <a:xfrm>
            <a:off x="3979329" y="2399876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ategy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2711F026-A8AB-131C-D778-B9184A17E450}"/>
              </a:ext>
            </a:extLst>
          </p:cNvPr>
          <p:cNvSpPr/>
          <p:nvPr/>
        </p:nvSpPr>
        <p:spPr>
          <a:xfrm>
            <a:off x="7055273" y="2399876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ystems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19B886FE-3D2B-1C65-FABF-72541522D6C6}"/>
              </a:ext>
            </a:extLst>
          </p:cNvPr>
          <p:cNvSpPr/>
          <p:nvPr/>
        </p:nvSpPr>
        <p:spPr>
          <a:xfrm>
            <a:off x="3979329" y="4275453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kill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0AE37387-86B5-4143-481E-6D12F1223BD7}"/>
              </a:ext>
            </a:extLst>
          </p:cNvPr>
          <p:cNvSpPr/>
          <p:nvPr/>
        </p:nvSpPr>
        <p:spPr>
          <a:xfrm>
            <a:off x="7055273" y="4275453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y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6" name="Group 146">
            <a:extLst>
              <a:ext uri="{FF2B5EF4-FFF2-40B4-BE49-F238E27FC236}">
                <a16:creationId xmlns:a16="http://schemas.microsoft.com/office/drawing/2014/main" id="{08817272-FF04-DFD0-4226-7740834523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835" y="1630628"/>
            <a:ext cx="485152" cy="502815"/>
            <a:chOff x="6545" y="1716"/>
            <a:chExt cx="412" cy="427"/>
          </a:xfrm>
          <a:solidFill>
            <a:schemeClr val="tx2"/>
          </a:solidFill>
        </p:grpSpPr>
        <p:sp>
          <p:nvSpPr>
            <p:cNvPr id="17" name="Freeform 147">
              <a:extLst>
                <a:ext uri="{FF2B5EF4-FFF2-40B4-BE49-F238E27FC236}">
                  <a16:creationId xmlns:a16="http://schemas.microsoft.com/office/drawing/2014/main" id="{FAD589AE-EE06-6630-DFBC-556C3EE0B1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1743"/>
              <a:ext cx="195" cy="169"/>
            </a:xfrm>
            <a:custGeom>
              <a:avLst/>
              <a:gdLst>
                <a:gd name="T0" fmla="*/ 66 w 132"/>
                <a:gd name="T1" fmla="*/ 114 h 114"/>
                <a:gd name="T2" fmla="*/ 64 w 132"/>
                <a:gd name="T3" fmla="*/ 114 h 114"/>
                <a:gd name="T4" fmla="*/ 4 w 132"/>
                <a:gd name="T5" fmla="*/ 90 h 114"/>
                <a:gd name="T6" fmla="*/ 0 w 132"/>
                <a:gd name="T7" fmla="*/ 84 h 114"/>
                <a:gd name="T8" fmla="*/ 0 w 132"/>
                <a:gd name="T9" fmla="*/ 6 h 114"/>
                <a:gd name="T10" fmla="*/ 3 w 132"/>
                <a:gd name="T11" fmla="*/ 1 h 114"/>
                <a:gd name="T12" fmla="*/ 8 w 132"/>
                <a:gd name="T13" fmla="*/ 0 h 114"/>
                <a:gd name="T14" fmla="*/ 66 w 132"/>
                <a:gd name="T15" fmla="*/ 18 h 114"/>
                <a:gd name="T16" fmla="*/ 125 w 132"/>
                <a:gd name="T17" fmla="*/ 0 h 114"/>
                <a:gd name="T18" fmla="*/ 130 w 132"/>
                <a:gd name="T19" fmla="*/ 1 h 114"/>
                <a:gd name="T20" fmla="*/ 132 w 132"/>
                <a:gd name="T21" fmla="*/ 6 h 114"/>
                <a:gd name="T22" fmla="*/ 132 w 132"/>
                <a:gd name="T23" fmla="*/ 84 h 114"/>
                <a:gd name="T24" fmla="*/ 128 w 132"/>
                <a:gd name="T25" fmla="*/ 90 h 114"/>
                <a:gd name="T26" fmla="*/ 68 w 132"/>
                <a:gd name="T27" fmla="*/ 114 h 114"/>
                <a:gd name="T28" fmla="*/ 66 w 132"/>
                <a:gd name="T29" fmla="*/ 114 h 114"/>
                <a:gd name="T30" fmla="*/ 12 w 132"/>
                <a:gd name="T31" fmla="*/ 80 h 114"/>
                <a:gd name="T32" fmla="*/ 66 w 132"/>
                <a:gd name="T33" fmla="*/ 102 h 114"/>
                <a:gd name="T34" fmla="*/ 120 w 132"/>
                <a:gd name="T35" fmla="*/ 80 h 114"/>
                <a:gd name="T36" fmla="*/ 120 w 132"/>
                <a:gd name="T37" fmla="*/ 14 h 114"/>
                <a:gd name="T38" fmla="*/ 68 w 132"/>
                <a:gd name="T39" fmla="*/ 30 h 114"/>
                <a:gd name="T40" fmla="*/ 65 w 132"/>
                <a:gd name="T41" fmla="*/ 30 h 114"/>
                <a:gd name="T42" fmla="*/ 12 w 132"/>
                <a:gd name="T43" fmla="*/ 14 h 114"/>
                <a:gd name="T44" fmla="*/ 12 w 132"/>
                <a:gd name="T45" fmla="*/ 8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14">
                  <a:moveTo>
                    <a:pt x="66" y="114"/>
                  </a:moveTo>
                  <a:cubicBezTo>
                    <a:pt x="65" y="114"/>
                    <a:pt x="65" y="114"/>
                    <a:pt x="64" y="114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2" y="89"/>
                    <a:pt x="0" y="86"/>
                    <a:pt x="0" y="8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0"/>
                    <a:pt x="128" y="0"/>
                    <a:pt x="130" y="1"/>
                  </a:cubicBezTo>
                  <a:cubicBezTo>
                    <a:pt x="131" y="2"/>
                    <a:pt x="132" y="4"/>
                    <a:pt x="132" y="6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6"/>
                    <a:pt x="131" y="89"/>
                    <a:pt x="128" y="90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68" y="114"/>
                    <a:pt x="67" y="114"/>
                    <a:pt x="66" y="114"/>
                  </a:cubicBezTo>
                  <a:close/>
                  <a:moveTo>
                    <a:pt x="12" y="80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6" y="30"/>
                    <a:pt x="65" y="30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48">
              <a:extLst>
                <a:ext uri="{FF2B5EF4-FFF2-40B4-BE49-F238E27FC236}">
                  <a16:creationId xmlns:a16="http://schemas.microsoft.com/office/drawing/2014/main" id="{8CB20712-CE83-751B-A7CD-F97BD67A6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716"/>
              <a:ext cx="197" cy="46"/>
            </a:xfrm>
            <a:custGeom>
              <a:avLst/>
              <a:gdLst>
                <a:gd name="T0" fmla="*/ 126 w 133"/>
                <a:gd name="T1" fmla="*/ 30 h 31"/>
                <a:gd name="T2" fmla="*/ 125 w 133"/>
                <a:gd name="T3" fmla="*/ 30 h 31"/>
                <a:gd name="T4" fmla="*/ 66 w 133"/>
                <a:gd name="T5" fmla="*/ 12 h 31"/>
                <a:gd name="T6" fmla="*/ 8 w 133"/>
                <a:gd name="T7" fmla="*/ 30 h 31"/>
                <a:gd name="T8" fmla="*/ 0 w 133"/>
                <a:gd name="T9" fmla="*/ 26 h 31"/>
                <a:gd name="T10" fmla="*/ 5 w 133"/>
                <a:gd name="T11" fmla="*/ 18 h 31"/>
                <a:gd name="T12" fmla="*/ 65 w 133"/>
                <a:gd name="T13" fmla="*/ 0 h 31"/>
                <a:gd name="T14" fmla="*/ 68 w 133"/>
                <a:gd name="T15" fmla="*/ 0 h 31"/>
                <a:gd name="T16" fmla="*/ 128 w 133"/>
                <a:gd name="T17" fmla="*/ 18 h 31"/>
                <a:gd name="T18" fmla="*/ 132 w 133"/>
                <a:gd name="T19" fmla="*/ 26 h 31"/>
                <a:gd name="T20" fmla="*/ 126 w 133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31">
                  <a:moveTo>
                    <a:pt x="126" y="30"/>
                  </a:moveTo>
                  <a:cubicBezTo>
                    <a:pt x="126" y="30"/>
                    <a:pt x="125" y="30"/>
                    <a:pt x="125" y="30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5" y="31"/>
                    <a:pt x="1" y="29"/>
                    <a:pt x="0" y="26"/>
                  </a:cubicBezTo>
                  <a:cubicBezTo>
                    <a:pt x="0" y="23"/>
                    <a:pt x="1" y="19"/>
                    <a:pt x="5" y="1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7" y="0"/>
                    <a:pt x="68" y="0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31" y="19"/>
                    <a:pt x="133" y="23"/>
                    <a:pt x="132" y="26"/>
                  </a:cubicBezTo>
                  <a:cubicBezTo>
                    <a:pt x="131" y="28"/>
                    <a:pt x="129" y="30"/>
                    <a:pt x="12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9">
              <a:extLst>
                <a:ext uri="{FF2B5EF4-FFF2-40B4-BE49-F238E27FC236}">
                  <a16:creationId xmlns:a16="http://schemas.microsoft.com/office/drawing/2014/main" id="{D55D1367-1735-188C-BBA3-798E1657D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0" y="1770"/>
              <a:ext cx="18" cy="142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10" y="96"/>
                    <a:pt x="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EFFE2171-D562-A229-947E-28701B3A9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5" y="1929"/>
              <a:ext cx="160" cy="134"/>
            </a:xfrm>
            <a:custGeom>
              <a:avLst/>
              <a:gdLst>
                <a:gd name="T0" fmla="*/ 54 w 108"/>
                <a:gd name="T1" fmla="*/ 90 h 90"/>
                <a:gd name="T2" fmla="*/ 52 w 108"/>
                <a:gd name="T3" fmla="*/ 89 h 90"/>
                <a:gd name="T4" fmla="*/ 4 w 108"/>
                <a:gd name="T5" fmla="*/ 65 h 90"/>
                <a:gd name="T6" fmla="*/ 0 w 108"/>
                <a:gd name="T7" fmla="*/ 60 h 90"/>
                <a:gd name="T8" fmla="*/ 0 w 108"/>
                <a:gd name="T9" fmla="*/ 6 h 90"/>
                <a:gd name="T10" fmla="*/ 3 w 108"/>
                <a:gd name="T11" fmla="*/ 1 h 90"/>
                <a:gd name="T12" fmla="*/ 8 w 108"/>
                <a:gd name="T13" fmla="*/ 0 h 90"/>
                <a:gd name="T14" fmla="*/ 54 w 108"/>
                <a:gd name="T15" fmla="*/ 18 h 90"/>
                <a:gd name="T16" fmla="*/ 100 w 108"/>
                <a:gd name="T17" fmla="*/ 0 h 90"/>
                <a:gd name="T18" fmla="*/ 106 w 108"/>
                <a:gd name="T19" fmla="*/ 1 h 90"/>
                <a:gd name="T20" fmla="*/ 108 w 108"/>
                <a:gd name="T21" fmla="*/ 6 h 90"/>
                <a:gd name="T22" fmla="*/ 108 w 108"/>
                <a:gd name="T23" fmla="*/ 60 h 90"/>
                <a:gd name="T24" fmla="*/ 105 w 108"/>
                <a:gd name="T25" fmla="*/ 65 h 90"/>
                <a:gd name="T26" fmla="*/ 57 w 108"/>
                <a:gd name="T27" fmla="*/ 89 h 90"/>
                <a:gd name="T28" fmla="*/ 54 w 108"/>
                <a:gd name="T29" fmla="*/ 90 h 90"/>
                <a:gd name="T30" fmla="*/ 12 w 108"/>
                <a:gd name="T31" fmla="*/ 56 h 90"/>
                <a:gd name="T32" fmla="*/ 54 w 108"/>
                <a:gd name="T33" fmla="*/ 77 h 90"/>
                <a:gd name="T34" fmla="*/ 96 w 108"/>
                <a:gd name="T35" fmla="*/ 56 h 90"/>
                <a:gd name="T36" fmla="*/ 96 w 108"/>
                <a:gd name="T37" fmla="*/ 15 h 90"/>
                <a:gd name="T38" fmla="*/ 56 w 108"/>
                <a:gd name="T39" fmla="*/ 30 h 90"/>
                <a:gd name="T40" fmla="*/ 52 w 108"/>
                <a:gd name="T41" fmla="*/ 30 h 90"/>
                <a:gd name="T42" fmla="*/ 12 w 108"/>
                <a:gd name="T43" fmla="*/ 15 h 90"/>
                <a:gd name="T44" fmla="*/ 12 w 108"/>
                <a:gd name="T45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90">
                  <a:moveTo>
                    <a:pt x="54" y="90"/>
                  </a:moveTo>
                  <a:cubicBezTo>
                    <a:pt x="53" y="90"/>
                    <a:pt x="52" y="90"/>
                    <a:pt x="52" y="89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0"/>
                    <a:pt x="106" y="1"/>
                  </a:cubicBezTo>
                  <a:cubicBezTo>
                    <a:pt x="107" y="2"/>
                    <a:pt x="108" y="4"/>
                    <a:pt x="108" y="6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2"/>
                    <a:pt x="107" y="64"/>
                    <a:pt x="105" y="65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90"/>
                    <a:pt x="55" y="90"/>
                    <a:pt x="54" y="90"/>
                  </a:cubicBezTo>
                  <a:close/>
                  <a:moveTo>
                    <a:pt x="12" y="56"/>
                  </a:moveTo>
                  <a:cubicBezTo>
                    <a:pt x="54" y="77"/>
                    <a:pt x="54" y="77"/>
                    <a:pt x="54" y="7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5" y="30"/>
                    <a:pt x="53" y="30"/>
                    <a:pt x="52" y="30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12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E44C4FAD-1F5C-E35A-AD63-83B0A759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" y="1903"/>
              <a:ext cx="163" cy="46"/>
            </a:xfrm>
            <a:custGeom>
              <a:avLst/>
              <a:gdLst>
                <a:gd name="T0" fmla="*/ 103 w 110"/>
                <a:gd name="T1" fmla="*/ 30 h 31"/>
                <a:gd name="T2" fmla="*/ 101 w 110"/>
                <a:gd name="T3" fmla="*/ 30 h 31"/>
                <a:gd name="T4" fmla="*/ 55 w 110"/>
                <a:gd name="T5" fmla="*/ 12 h 31"/>
                <a:gd name="T6" fmla="*/ 9 w 110"/>
                <a:gd name="T7" fmla="*/ 30 h 31"/>
                <a:gd name="T8" fmla="*/ 2 w 110"/>
                <a:gd name="T9" fmla="*/ 26 h 31"/>
                <a:gd name="T10" fmla="*/ 5 w 110"/>
                <a:gd name="T11" fmla="*/ 18 h 31"/>
                <a:gd name="T12" fmla="*/ 53 w 110"/>
                <a:gd name="T13" fmla="*/ 0 h 31"/>
                <a:gd name="T14" fmla="*/ 57 w 110"/>
                <a:gd name="T15" fmla="*/ 0 h 31"/>
                <a:gd name="T16" fmla="*/ 105 w 110"/>
                <a:gd name="T17" fmla="*/ 18 h 31"/>
                <a:gd name="T18" fmla="*/ 109 w 110"/>
                <a:gd name="T19" fmla="*/ 26 h 31"/>
                <a:gd name="T20" fmla="*/ 103 w 110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1">
                  <a:moveTo>
                    <a:pt x="103" y="30"/>
                  </a:moveTo>
                  <a:cubicBezTo>
                    <a:pt x="103" y="30"/>
                    <a:pt x="102" y="30"/>
                    <a:pt x="101" y="3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6" y="31"/>
                    <a:pt x="3" y="29"/>
                    <a:pt x="2" y="26"/>
                  </a:cubicBezTo>
                  <a:cubicBezTo>
                    <a:pt x="0" y="23"/>
                    <a:pt x="2" y="20"/>
                    <a:pt x="5" y="18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6" y="0"/>
                    <a:pt x="57" y="0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20"/>
                    <a:pt x="110" y="23"/>
                    <a:pt x="109" y="26"/>
                  </a:cubicBezTo>
                  <a:cubicBezTo>
                    <a:pt x="108" y="29"/>
                    <a:pt x="106" y="30"/>
                    <a:pt x="103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152">
              <a:extLst>
                <a:ext uri="{FF2B5EF4-FFF2-40B4-BE49-F238E27FC236}">
                  <a16:creationId xmlns:a16="http://schemas.microsoft.com/office/drawing/2014/main" id="{04097849-84AA-1E2D-5975-31B196A5B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6" y="1956"/>
              <a:ext cx="18" cy="107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10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53">
              <a:extLst>
                <a:ext uri="{FF2B5EF4-FFF2-40B4-BE49-F238E27FC236}">
                  <a16:creationId xmlns:a16="http://schemas.microsoft.com/office/drawing/2014/main" id="{BFEC05B2-BCC6-24EF-3CFF-13EFBF0B8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" y="1947"/>
              <a:ext cx="231" cy="196"/>
            </a:xfrm>
            <a:custGeom>
              <a:avLst/>
              <a:gdLst>
                <a:gd name="T0" fmla="*/ 78 w 156"/>
                <a:gd name="T1" fmla="*/ 132 h 132"/>
                <a:gd name="T2" fmla="*/ 76 w 156"/>
                <a:gd name="T3" fmla="*/ 132 h 132"/>
                <a:gd name="T4" fmla="*/ 4 w 156"/>
                <a:gd name="T5" fmla="*/ 108 h 132"/>
                <a:gd name="T6" fmla="*/ 0 w 156"/>
                <a:gd name="T7" fmla="*/ 102 h 132"/>
                <a:gd name="T8" fmla="*/ 0 w 156"/>
                <a:gd name="T9" fmla="*/ 6 h 132"/>
                <a:gd name="T10" fmla="*/ 3 w 156"/>
                <a:gd name="T11" fmla="*/ 1 h 132"/>
                <a:gd name="T12" fmla="*/ 8 w 156"/>
                <a:gd name="T13" fmla="*/ 0 h 132"/>
                <a:gd name="T14" fmla="*/ 78 w 156"/>
                <a:gd name="T15" fmla="*/ 24 h 132"/>
                <a:gd name="T16" fmla="*/ 148 w 156"/>
                <a:gd name="T17" fmla="*/ 0 h 132"/>
                <a:gd name="T18" fmla="*/ 154 w 156"/>
                <a:gd name="T19" fmla="*/ 1 h 132"/>
                <a:gd name="T20" fmla="*/ 156 w 156"/>
                <a:gd name="T21" fmla="*/ 6 h 132"/>
                <a:gd name="T22" fmla="*/ 156 w 156"/>
                <a:gd name="T23" fmla="*/ 102 h 132"/>
                <a:gd name="T24" fmla="*/ 152 w 156"/>
                <a:gd name="T25" fmla="*/ 108 h 132"/>
                <a:gd name="T26" fmla="*/ 80 w 156"/>
                <a:gd name="T27" fmla="*/ 132 h 132"/>
                <a:gd name="T28" fmla="*/ 78 w 156"/>
                <a:gd name="T29" fmla="*/ 132 h 132"/>
                <a:gd name="T30" fmla="*/ 12 w 156"/>
                <a:gd name="T31" fmla="*/ 98 h 132"/>
                <a:gd name="T32" fmla="*/ 78 w 156"/>
                <a:gd name="T33" fmla="*/ 120 h 132"/>
                <a:gd name="T34" fmla="*/ 144 w 156"/>
                <a:gd name="T35" fmla="*/ 98 h 132"/>
                <a:gd name="T36" fmla="*/ 144 w 156"/>
                <a:gd name="T37" fmla="*/ 14 h 132"/>
                <a:gd name="T38" fmla="*/ 80 w 156"/>
                <a:gd name="T39" fmla="*/ 36 h 132"/>
                <a:gd name="T40" fmla="*/ 76 w 156"/>
                <a:gd name="T41" fmla="*/ 36 h 132"/>
                <a:gd name="T42" fmla="*/ 12 w 156"/>
                <a:gd name="T43" fmla="*/ 14 h 132"/>
                <a:gd name="T44" fmla="*/ 12 w 156"/>
                <a:gd name="T45" fmla="*/ 9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6" h="132">
                  <a:moveTo>
                    <a:pt x="78" y="132"/>
                  </a:moveTo>
                  <a:cubicBezTo>
                    <a:pt x="78" y="132"/>
                    <a:pt x="77" y="132"/>
                    <a:pt x="76" y="132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2" y="107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0" y="0"/>
                    <a:pt x="152" y="0"/>
                    <a:pt x="154" y="1"/>
                  </a:cubicBezTo>
                  <a:cubicBezTo>
                    <a:pt x="155" y="2"/>
                    <a:pt x="156" y="4"/>
                    <a:pt x="156" y="6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5"/>
                    <a:pt x="155" y="107"/>
                    <a:pt x="152" y="108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2"/>
                    <a:pt x="79" y="132"/>
                    <a:pt x="78" y="132"/>
                  </a:cubicBezTo>
                  <a:close/>
                  <a:moveTo>
                    <a:pt x="12" y="98"/>
                  </a:moveTo>
                  <a:cubicBezTo>
                    <a:pt x="78" y="120"/>
                    <a:pt x="78" y="120"/>
                    <a:pt x="78" y="120"/>
                  </a:cubicBezTo>
                  <a:cubicBezTo>
                    <a:pt x="144" y="98"/>
                    <a:pt x="144" y="98"/>
                    <a:pt x="144" y="98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6"/>
                    <a:pt x="78" y="36"/>
                    <a:pt x="76" y="36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54">
              <a:extLst>
                <a:ext uri="{FF2B5EF4-FFF2-40B4-BE49-F238E27FC236}">
                  <a16:creationId xmlns:a16="http://schemas.microsoft.com/office/drawing/2014/main" id="{DC9A792A-03A4-7538-899B-DD0972BC8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" y="1912"/>
              <a:ext cx="234" cy="54"/>
            </a:xfrm>
            <a:custGeom>
              <a:avLst/>
              <a:gdLst>
                <a:gd name="T0" fmla="*/ 151 w 158"/>
                <a:gd name="T1" fmla="*/ 36 h 37"/>
                <a:gd name="T2" fmla="*/ 149 w 158"/>
                <a:gd name="T3" fmla="*/ 36 h 37"/>
                <a:gd name="T4" fmla="*/ 79 w 158"/>
                <a:gd name="T5" fmla="*/ 12 h 37"/>
                <a:gd name="T6" fmla="*/ 9 w 158"/>
                <a:gd name="T7" fmla="*/ 36 h 37"/>
                <a:gd name="T8" fmla="*/ 2 w 158"/>
                <a:gd name="T9" fmla="*/ 32 h 37"/>
                <a:gd name="T10" fmla="*/ 5 w 158"/>
                <a:gd name="T11" fmla="*/ 24 h 37"/>
                <a:gd name="T12" fmla="*/ 77 w 158"/>
                <a:gd name="T13" fmla="*/ 0 h 37"/>
                <a:gd name="T14" fmla="*/ 81 w 158"/>
                <a:gd name="T15" fmla="*/ 0 h 37"/>
                <a:gd name="T16" fmla="*/ 153 w 158"/>
                <a:gd name="T17" fmla="*/ 24 h 37"/>
                <a:gd name="T18" fmla="*/ 157 w 158"/>
                <a:gd name="T19" fmla="*/ 32 h 37"/>
                <a:gd name="T20" fmla="*/ 151 w 158"/>
                <a:gd name="T21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37">
                  <a:moveTo>
                    <a:pt x="151" y="36"/>
                  </a:moveTo>
                  <a:cubicBezTo>
                    <a:pt x="151" y="36"/>
                    <a:pt x="150" y="36"/>
                    <a:pt x="149" y="3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6" y="37"/>
                    <a:pt x="3" y="35"/>
                    <a:pt x="2" y="32"/>
                  </a:cubicBezTo>
                  <a:cubicBezTo>
                    <a:pt x="0" y="29"/>
                    <a:pt x="2" y="25"/>
                    <a:pt x="5" y="2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0" y="0"/>
                    <a:pt x="81" y="0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6" y="25"/>
                    <a:pt x="158" y="29"/>
                    <a:pt x="157" y="32"/>
                  </a:cubicBezTo>
                  <a:cubicBezTo>
                    <a:pt x="156" y="34"/>
                    <a:pt x="154" y="36"/>
                    <a:pt x="15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55">
              <a:extLst>
                <a:ext uri="{FF2B5EF4-FFF2-40B4-BE49-F238E27FC236}">
                  <a16:creationId xmlns:a16="http://schemas.microsoft.com/office/drawing/2014/main" id="{66F54A93-721A-9C35-2DEE-B98DBE322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" y="1983"/>
              <a:ext cx="18" cy="160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6" name="Group 38">
            <a:extLst>
              <a:ext uri="{FF2B5EF4-FFF2-40B4-BE49-F238E27FC236}">
                <a16:creationId xmlns:a16="http://schemas.microsoft.com/office/drawing/2014/main" id="{B3C201A0-13DD-4175-C050-E958FCBC58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67799" y="2489489"/>
            <a:ext cx="529168" cy="543194"/>
            <a:chOff x="4482" y="439"/>
            <a:chExt cx="415" cy="426"/>
          </a:xfrm>
          <a:solidFill>
            <a:schemeClr val="tx2"/>
          </a:solidFill>
        </p:grpSpPr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928495EF-CDEC-CD55-2C9F-3244BC78FA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" y="439"/>
              <a:ext cx="246" cy="249"/>
            </a:xfrm>
            <a:custGeom>
              <a:avLst/>
              <a:gdLst>
                <a:gd name="T0" fmla="*/ 66 w 166"/>
                <a:gd name="T1" fmla="*/ 168 h 168"/>
                <a:gd name="T2" fmla="*/ 60 w 166"/>
                <a:gd name="T3" fmla="*/ 146 h 168"/>
                <a:gd name="T4" fmla="*/ 27 w 166"/>
                <a:gd name="T5" fmla="*/ 143 h 168"/>
                <a:gd name="T6" fmla="*/ 1 w 166"/>
                <a:gd name="T7" fmla="*/ 110 h 168"/>
                <a:gd name="T8" fmla="*/ 3 w 166"/>
                <a:gd name="T9" fmla="*/ 102 h 168"/>
                <a:gd name="T10" fmla="*/ 18 w 166"/>
                <a:gd name="T11" fmla="*/ 74 h 168"/>
                <a:gd name="T12" fmla="*/ 1 w 166"/>
                <a:gd name="T13" fmla="*/ 62 h 168"/>
                <a:gd name="T14" fmla="*/ 20 w 166"/>
                <a:gd name="T15" fmla="*/ 26 h 168"/>
                <a:gd name="T16" fmla="*/ 42 w 166"/>
                <a:gd name="T17" fmla="*/ 32 h 168"/>
                <a:gd name="T18" fmla="*/ 60 w 166"/>
                <a:gd name="T19" fmla="*/ 6 h 168"/>
                <a:gd name="T20" fmla="*/ 102 w 166"/>
                <a:gd name="T21" fmla="*/ 0 h 168"/>
                <a:gd name="T22" fmla="*/ 108 w 166"/>
                <a:gd name="T23" fmla="*/ 23 h 168"/>
                <a:gd name="T24" fmla="*/ 139 w 166"/>
                <a:gd name="T25" fmla="*/ 24 h 168"/>
                <a:gd name="T26" fmla="*/ 147 w 166"/>
                <a:gd name="T27" fmla="*/ 26 h 168"/>
                <a:gd name="T28" fmla="*/ 165 w 166"/>
                <a:gd name="T29" fmla="*/ 62 h 168"/>
                <a:gd name="T30" fmla="*/ 148 w 166"/>
                <a:gd name="T31" fmla="*/ 74 h 168"/>
                <a:gd name="T32" fmla="*/ 163 w 166"/>
                <a:gd name="T33" fmla="*/ 102 h 168"/>
                <a:gd name="T34" fmla="*/ 165 w 166"/>
                <a:gd name="T35" fmla="*/ 110 h 168"/>
                <a:gd name="T36" fmla="*/ 143 w 166"/>
                <a:gd name="T37" fmla="*/ 144 h 168"/>
                <a:gd name="T38" fmla="*/ 125 w 166"/>
                <a:gd name="T39" fmla="*/ 135 h 168"/>
                <a:gd name="T40" fmla="*/ 108 w 166"/>
                <a:gd name="T41" fmla="*/ 162 h 168"/>
                <a:gd name="T42" fmla="*/ 72 w 166"/>
                <a:gd name="T43" fmla="*/ 156 h 168"/>
                <a:gd name="T44" fmla="*/ 96 w 166"/>
                <a:gd name="T45" fmla="*/ 141 h 168"/>
                <a:gd name="T46" fmla="*/ 120 w 166"/>
                <a:gd name="T47" fmla="*/ 123 h 168"/>
                <a:gd name="T48" fmla="*/ 139 w 166"/>
                <a:gd name="T49" fmla="*/ 130 h 168"/>
                <a:gd name="T50" fmla="*/ 139 w 166"/>
                <a:gd name="T51" fmla="*/ 102 h 168"/>
                <a:gd name="T52" fmla="*/ 136 w 166"/>
                <a:gd name="T53" fmla="*/ 72 h 168"/>
                <a:gd name="T54" fmla="*/ 151 w 166"/>
                <a:gd name="T55" fmla="*/ 58 h 168"/>
                <a:gd name="T56" fmla="*/ 127 w 166"/>
                <a:gd name="T57" fmla="*/ 45 h 168"/>
                <a:gd name="T58" fmla="*/ 100 w 166"/>
                <a:gd name="T59" fmla="*/ 32 h 168"/>
                <a:gd name="T60" fmla="*/ 96 w 166"/>
                <a:gd name="T61" fmla="*/ 12 h 168"/>
                <a:gd name="T62" fmla="*/ 72 w 166"/>
                <a:gd name="T63" fmla="*/ 26 h 168"/>
                <a:gd name="T64" fmla="*/ 48 w 166"/>
                <a:gd name="T65" fmla="*/ 44 h 168"/>
                <a:gd name="T66" fmla="*/ 27 w 166"/>
                <a:gd name="T67" fmla="*/ 37 h 168"/>
                <a:gd name="T68" fmla="*/ 28 w 166"/>
                <a:gd name="T69" fmla="*/ 65 h 168"/>
                <a:gd name="T70" fmla="*/ 30 w 166"/>
                <a:gd name="T71" fmla="*/ 95 h 168"/>
                <a:gd name="T72" fmla="*/ 15 w 166"/>
                <a:gd name="T73" fmla="*/ 109 h 168"/>
                <a:gd name="T74" fmla="*/ 40 w 166"/>
                <a:gd name="T75" fmla="*/ 123 h 168"/>
                <a:gd name="T76" fmla="*/ 68 w 166"/>
                <a:gd name="T77" fmla="*/ 135 h 168"/>
                <a:gd name="T78" fmla="*/ 72 w 166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5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09"/>
                    <a:pt x="0" y="107"/>
                    <a:pt x="1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7" y="87"/>
                    <a:pt x="17" y="80"/>
                    <a:pt x="18" y="7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1" y="63"/>
                    <a:pt x="1" y="62"/>
                  </a:cubicBezTo>
                  <a:cubicBezTo>
                    <a:pt x="0" y="60"/>
                    <a:pt x="1" y="59"/>
                    <a:pt x="1" y="5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3"/>
                    <a:pt x="25" y="22"/>
                    <a:pt x="28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1" y="29"/>
                    <a:pt x="125" y="32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3"/>
                    <a:pt x="142" y="23"/>
                    <a:pt x="143" y="23"/>
                  </a:cubicBezTo>
                  <a:cubicBezTo>
                    <a:pt x="145" y="24"/>
                    <a:pt x="146" y="25"/>
                    <a:pt x="147" y="26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6" y="59"/>
                    <a:pt x="166" y="60"/>
                    <a:pt x="165" y="62"/>
                  </a:cubicBezTo>
                  <a:cubicBezTo>
                    <a:pt x="165" y="63"/>
                    <a:pt x="164" y="65"/>
                    <a:pt x="163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6" y="107"/>
                    <a:pt x="166" y="109"/>
                    <a:pt x="165" y="110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6" y="143"/>
                    <a:pt x="145" y="144"/>
                    <a:pt x="143" y="144"/>
                  </a:cubicBezTo>
                  <a:cubicBezTo>
                    <a:pt x="142" y="144"/>
                    <a:pt x="140" y="144"/>
                    <a:pt x="139" y="143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21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6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8" y="136"/>
                    <a:pt x="100" y="135"/>
                  </a:cubicBezTo>
                  <a:cubicBezTo>
                    <a:pt x="109" y="131"/>
                    <a:pt x="116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6" y="101"/>
                    <a:pt x="135" y="98"/>
                    <a:pt x="136" y="95"/>
                  </a:cubicBezTo>
                  <a:cubicBezTo>
                    <a:pt x="137" y="87"/>
                    <a:pt x="137" y="80"/>
                    <a:pt x="136" y="72"/>
                  </a:cubicBezTo>
                  <a:cubicBezTo>
                    <a:pt x="135" y="69"/>
                    <a:pt x="136" y="67"/>
                    <a:pt x="139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8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1" y="32"/>
                    <a:pt x="68" y="32"/>
                  </a:cubicBezTo>
                  <a:cubicBezTo>
                    <a:pt x="57" y="35"/>
                    <a:pt x="54" y="38"/>
                    <a:pt x="48" y="44"/>
                  </a:cubicBezTo>
                  <a:cubicBezTo>
                    <a:pt x="46" y="45"/>
                    <a:pt x="43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0" y="67"/>
                    <a:pt x="31" y="69"/>
                    <a:pt x="30" y="72"/>
                  </a:cubicBezTo>
                  <a:cubicBezTo>
                    <a:pt x="29" y="80"/>
                    <a:pt x="29" y="88"/>
                    <a:pt x="30" y="95"/>
                  </a:cubicBezTo>
                  <a:cubicBezTo>
                    <a:pt x="31" y="98"/>
                    <a:pt x="30" y="101"/>
                    <a:pt x="28" y="102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3" y="121"/>
                    <a:pt x="45" y="122"/>
                    <a:pt x="47" y="123"/>
                  </a:cubicBezTo>
                  <a:cubicBezTo>
                    <a:pt x="54" y="129"/>
                    <a:pt x="57" y="133"/>
                    <a:pt x="68" y="135"/>
                  </a:cubicBezTo>
                  <a:cubicBezTo>
                    <a:pt x="71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40">
              <a:extLst>
                <a:ext uri="{FF2B5EF4-FFF2-40B4-BE49-F238E27FC236}">
                  <a16:creationId xmlns:a16="http://schemas.microsoft.com/office/drawing/2014/main" id="{426A4B48-262E-2DC4-17DE-67A086F3D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" y="519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FAA206A8-29E2-1BB8-12AB-2A60A36ECA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2" y="617"/>
              <a:ext cx="246" cy="248"/>
            </a:xfrm>
            <a:custGeom>
              <a:avLst/>
              <a:gdLst>
                <a:gd name="T0" fmla="*/ 66 w 166"/>
                <a:gd name="T1" fmla="*/ 168 h 168"/>
                <a:gd name="T2" fmla="*/ 60 w 166"/>
                <a:gd name="T3" fmla="*/ 146 h 168"/>
                <a:gd name="T4" fmla="*/ 27 w 166"/>
                <a:gd name="T5" fmla="*/ 143 h 168"/>
                <a:gd name="T6" fmla="*/ 1 w 166"/>
                <a:gd name="T7" fmla="*/ 110 h 168"/>
                <a:gd name="T8" fmla="*/ 3 w 166"/>
                <a:gd name="T9" fmla="*/ 102 h 168"/>
                <a:gd name="T10" fmla="*/ 18 w 166"/>
                <a:gd name="T11" fmla="*/ 74 h 168"/>
                <a:gd name="T12" fmla="*/ 1 w 166"/>
                <a:gd name="T13" fmla="*/ 62 h 168"/>
                <a:gd name="T14" fmla="*/ 20 w 166"/>
                <a:gd name="T15" fmla="*/ 26 h 168"/>
                <a:gd name="T16" fmla="*/ 42 w 166"/>
                <a:gd name="T17" fmla="*/ 32 h 168"/>
                <a:gd name="T18" fmla="*/ 60 w 166"/>
                <a:gd name="T19" fmla="*/ 6 h 168"/>
                <a:gd name="T20" fmla="*/ 102 w 166"/>
                <a:gd name="T21" fmla="*/ 0 h 168"/>
                <a:gd name="T22" fmla="*/ 108 w 166"/>
                <a:gd name="T23" fmla="*/ 23 h 168"/>
                <a:gd name="T24" fmla="*/ 138 w 166"/>
                <a:gd name="T25" fmla="*/ 24 h 168"/>
                <a:gd name="T26" fmla="*/ 147 w 166"/>
                <a:gd name="T27" fmla="*/ 26 h 168"/>
                <a:gd name="T28" fmla="*/ 165 w 166"/>
                <a:gd name="T29" fmla="*/ 62 h 168"/>
                <a:gd name="T30" fmla="*/ 148 w 166"/>
                <a:gd name="T31" fmla="*/ 74 h 168"/>
                <a:gd name="T32" fmla="*/ 163 w 166"/>
                <a:gd name="T33" fmla="*/ 102 h 168"/>
                <a:gd name="T34" fmla="*/ 165 w 166"/>
                <a:gd name="T35" fmla="*/ 110 h 168"/>
                <a:gd name="T36" fmla="*/ 143 w 166"/>
                <a:gd name="T37" fmla="*/ 144 h 168"/>
                <a:gd name="T38" fmla="*/ 125 w 166"/>
                <a:gd name="T39" fmla="*/ 135 h 168"/>
                <a:gd name="T40" fmla="*/ 108 w 166"/>
                <a:gd name="T41" fmla="*/ 162 h 168"/>
                <a:gd name="T42" fmla="*/ 72 w 166"/>
                <a:gd name="T43" fmla="*/ 156 h 168"/>
                <a:gd name="T44" fmla="*/ 96 w 166"/>
                <a:gd name="T45" fmla="*/ 141 h 168"/>
                <a:gd name="T46" fmla="*/ 120 w 166"/>
                <a:gd name="T47" fmla="*/ 123 h 168"/>
                <a:gd name="T48" fmla="*/ 139 w 166"/>
                <a:gd name="T49" fmla="*/ 130 h 168"/>
                <a:gd name="T50" fmla="*/ 139 w 166"/>
                <a:gd name="T51" fmla="*/ 102 h 168"/>
                <a:gd name="T52" fmla="*/ 136 w 166"/>
                <a:gd name="T53" fmla="*/ 72 h 168"/>
                <a:gd name="T54" fmla="*/ 151 w 166"/>
                <a:gd name="T55" fmla="*/ 58 h 168"/>
                <a:gd name="T56" fmla="*/ 127 w 166"/>
                <a:gd name="T57" fmla="*/ 45 h 168"/>
                <a:gd name="T58" fmla="*/ 100 w 166"/>
                <a:gd name="T59" fmla="*/ 32 h 168"/>
                <a:gd name="T60" fmla="*/ 96 w 166"/>
                <a:gd name="T61" fmla="*/ 12 h 168"/>
                <a:gd name="T62" fmla="*/ 72 w 166"/>
                <a:gd name="T63" fmla="*/ 26 h 168"/>
                <a:gd name="T64" fmla="*/ 48 w 166"/>
                <a:gd name="T65" fmla="*/ 44 h 168"/>
                <a:gd name="T66" fmla="*/ 27 w 166"/>
                <a:gd name="T67" fmla="*/ 37 h 168"/>
                <a:gd name="T68" fmla="*/ 28 w 166"/>
                <a:gd name="T69" fmla="*/ 65 h 168"/>
                <a:gd name="T70" fmla="*/ 30 w 166"/>
                <a:gd name="T71" fmla="*/ 95 h 168"/>
                <a:gd name="T72" fmla="*/ 15 w 166"/>
                <a:gd name="T73" fmla="*/ 109 h 168"/>
                <a:gd name="T74" fmla="*/ 40 w 166"/>
                <a:gd name="T75" fmla="*/ 123 h 168"/>
                <a:gd name="T76" fmla="*/ 68 w 166"/>
                <a:gd name="T77" fmla="*/ 135 h 168"/>
                <a:gd name="T78" fmla="*/ 72 w 166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5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1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7" y="87"/>
                    <a:pt x="17" y="80"/>
                    <a:pt x="18" y="7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1" y="63"/>
                    <a:pt x="1" y="62"/>
                  </a:cubicBezTo>
                  <a:cubicBezTo>
                    <a:pt x="0" y="60"/>
                    <a:pt x="1" y="59"/>
                    <a:pt x="1" y="5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3"/>
                    <a:pt x="25" y="22"/>
                    <a:pt x="28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1" y="29"/>
                    <a:pt x="125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40" y="23"/>
                    <a:pt x="142" y="23"/>
                    <a:pt x="143" y="23"/>
                  </a:cubicBezTo>
                  <a:cubicBezTo>
                    <a:pt x="145" y="24"/>
                    <a:pt x="146" y="25"/>
                    <a:pt x="147" y="26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6" y="59"/>
                    <a:pt x="166" y="60"/>
                    <a:pt x="165" y="62"/>
                  </a:cubicBezTo>
                  <a:cubicBezTo>
                    <a:pt x="165" y="63"/>
                    <a:pt x="164" y="65"/>
                    <a:pt x="163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6" y="107"/>
                    <a:pt x="166" y="109"/>
                    <a:pt x="165" y="110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6" y="143"/>
                    <a:pt x="145" y="144"/>
                    <a:pt x="143" y="144"/>
                  </a:cubicBezTo>
                  <a:cubicBezTo>
                    <a:pt x="142" y="144"/>
                    <a:pt x="140" y="144"/>
                    <a:pt x="138" y="143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21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6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8" y="136"/>
                    <a:pt x="100" y="135"/>
                  </a:cubicBezTo>
                  <a:cubicBezTo>
                    <a:pt x="109" y="131"/>
                    <a:pt x="116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6" y="101"/>
                    <a:pt x="135" y="98"/>
                    <a:pt x="136" y="95"/>
                  </a:cubicBezTo>
                  <a:cubicBezTo>
                    <a:pt x="137" y="87"/>
                    <a:pt x="137" y="80"/>
                    <a:pt x="136" y="72"/>
                  </a:cubicBezTo>
                  <a:cubicBezTo>
                    <a:pt x="135" y="69"/>
                    <a:pt x="136" y="67"/>
                    <a:pt x="139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8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1" y="32"/>
                    <a:pt x="68" y="32"/>
                  </a:cubicBezTo>
                  <a:cubicBezTo>
                    <a:pt x="58" y="35"/>
                    <a:pt x="54" y="38"/>
                    <a:pt x="48" y="44"/>
                  </a:cubicBezTo>
                  <a:cubicBezTo>
                    <a:pt x="46" y="45"/>
                    <a:pt x="43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0" y="67"/>
                    <a:pt x="31" y="69"/>
                    <a:pt x="30" y="72"/>
                  </a:cubicBezTo>
                  <a:cubicBezTo>
                    <a:pt x="29" y="80"/>
                    <a:pt x="29" y="88"/>
                    <a:pt x="30" y="95"/>
                  </a:cubicBezTo>
                  <a:cubicBezTo>
                    <a:pt x="31" y="98"/>
                    <a:pt x="30" y="101"/>
                    <a:pt x="28" y="102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3" y="121"/>
                    <a:pt x="45" y="122"/>
                    <a:pt x="47" y="123"/>
                  </a:cubicBezTo>
                  <a:cubicBezTo>
                    <a:pt x="54" y="129"/>
                    <a:pt x="57" y="133"/>
                    <a:pt x="68" y="135"/>
                  </a:cubicBezTo>
                  <a:cubicBezTo>
                    <a:pt x="71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42">
              <a:extLst>
                <a:ext uri="{FF2B5EF4-FFF2-40B4-BE49-F238E27FC236}">
                  <a16:creationId xmlns:a16="http://schemas.microsoft.com/office/drawing/2014/main" id="{BA0DF528-6950-252D-F696-81761E7453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1" y="696"/>
              <a:ext cx="88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1" name="Freeform 151">
            <a:extLst>
              <a:ext uri="{FF2B5EF4-FFF2-40B4-BE49-F238E27FC236}">
                <a16:creationId xmlns:a16="http://schemas.microsoft.com/office/drawing/2014/main" id="{41B95321-4756-540B-1B53-D14D21538E62}"/>
              </a:ext>
            </a:extLst>
          </p:cNvPr>
          <p:cNvSpPr>
            <a:spLocks noEditPoints="1"/>
          </p:cNvSpPr>
          <p:nvPr/>
        </p:nvSpPr>
        <p:spPr bwMode="auto">
          <a:xfrm>
            <a:off x="7414155" y="4427722"/>
            <a:ext cx="436457" cy="417883"/>
          </a:xfrm>
          <a:custGeom>
            <a:avLst/>
            <a:gdLst>
              <a:gd name="T0" fmla="*/ 151 w 191"/>
              <a:gd name="T1" fmla="*/ 181 h 182"/>
              <a:gd name="T2" fmla="*/ 148 w 191"/>
              <a:gd name="T3" fmla="*/ 181 h 182"/>
              <a:gd name="T4" fmla="*/ 95 w 191"/>
              <a:gd name="T5" fmla="*/ 153 h 182"/>
              <a:gd name="T6" fmla="*/ 43 w 191"/>
              <a:gd name="T7" fmla="*/ 181 h 182"/>
              <a:gd name="T8" fmla="*/ 37 w 191"/>
              <a:gd name="T9" fmla="*/ 180 h 182"/>
              <a:gd name="T10" fmla="*/ 34 w 191"/>
              <a:gd name="T11" fmla="*/ 174 h 182"/>
              <a:gd name="T12" fmla="*/ 44 w 191"/>
              <a:gd name="T13" fmla="*/ 116 h 182"/>
              <a:gd name="T14" fmla="*/ 2 w 191"/>
              <a:gd name="T15" fmla="*/ 75 h 182"/>
              <a:gd name="T16" fmla="*/ 0 w 191"/>
              <a:gd name="T17" fmla="*/ 69 h 182"/>
              <a:gd name="T18" fmla="*/ 5 w 191"/>
              <a:gd name="T19" fmla="*/ 65 h 182"/>
              <a:gd name="T20" fmla="*/ 64 w 191"/>
              <a:gd name="T21" fmla="*/ 56 h 182"/>
              <a:gd name="T22" fmla="*/ 90 w 191"/>
              <a:gd name="T23" fmla="*/ 3 h 182"/>
              <a:gd name="T24" fmla="*/ 95 w 191"/>
              <a:gd name="T25" fmla="*/ 0 h 182"/>
              <a:gd name="T26" fmla="*/ 95 w 191"/>
              <a:gd name="T27" fmla="*/ 0 h 182"/>
              <a:gd name="T28" fmla="*/ 101 w 191"/>
              <a:gd name="T29" fmla="*/ 3 h 182"/>
              <a:gd name="T30" fmla="*/ 127 w 191"/>
              <a:gd name="T31" fmla="*/ 56 h 182"/>
              <a:gd name="T32" fmla="*/ 186 w 191"/>
              <a:gd name="T33" fmla="*/ 65 h 182"/>
              <a:gd name="T34" fmla="*/ 191 w 191"/>
              <a:gd name="T35" fmla="*/ 69 h 182"/>
              <a:gd name="T36" fmla="*/ 189 w 191"/>
              <a:gd name="T37" fmla="*/ 75 h 182"/>
              <a:gd name="T38" fmla="*/ 147 w 191"/>
              <a:gd name="T39" fmla="*/ 116 h 182"/>
              <a:gd name="T40" fmla="*/ 157 w 191"/>
              <a:gd name="T41" fmla="*/ 174 h 182"/>
              <a:gd name="T42" fmla="*/ 154 w 191"/>
              <a:gd name="T43" fmla="*/ 180 h 182"/>
              <a:gd name="T44" fmla="*/ 151 w 191"/>
              <a:gd name="T45" fmla="*/ 181 h 182"/>
              <a:gd name="T46" fmla="*/ 95 w 191"/>
              <a:gd name="T47" fmla="*/ 140 h 182"/>
              <a:gd name="T48" fmla="*/ 98 w 191"/>
              <a:gd name="T49" fmla="*/ 141 h 182"/>
              <a:gd name="T50" fmla="*/ 143 w 191"/>
              <a:gd name="T51" fmla="*/ 164 h 182"/>
              <a:gd name="T52" fmla="*/ 134 w 191"/>
              <a:gd name="T53" fmla="*/ 115 h 182"/>
              <a:gd name="T54" fmla="*/ 136 w 191"/>
              <a:gd name="T55" fmla="*/ 110 h 182"/>
              <a:gd name="T56" fmla="*/ 172 w 191"/>
              <a:gd name="T57" fmla="*/ 75 h 182"/>
              <a:gd name="T58" fmla="*/ 122 w 191"/>
              <a:gd name="T59" fmla="*/ 68 h 182"/>
              <a:gd name="T60" fmla="*/ 118 w 191"/>
              <a:gd name="T61" fmla="*/ 64 h 182"/>
              <a:gd name="T62" fmla="*/ 95 w 191"/>
              <a:gd name="T63" fmla="*/ 20 h 182"/>
              <a:gd name="T64" fmla="*/ 73 w 191"/>
              <a:gd name="T65" fmla="*/ 64 h 182"/>
              <a:gd name="T66" fmla="*/ 69 w 191"/>
              <a:gd name="T67" fmla="*/ 68 h 182"/>
              <a:gd name="T68" fmla="*/ 19 w 191"/>
              <a:gd name="T69" fmla="*/ 75 h 182"/>
              <a:gd name="T70" fmla="*/ 55 w 191"/>
              <a:gd name="T71" fmla="*/ 110 h 182"/>
              <a:gd name="T72" fmla="*/ 57 w 191"/>
              <a:gd name="T73" fmla="*/ 115 h 182"/>
              <a:gd name="T74" fmla="*/ 48 w 191"/>
              <a:gd name="T75" fmla="*/ 164 h 182"/>
              <a:gd name="T76" fmla="*/ 93 w 191"/>
              <a:gd name="T77" fmla="*/ 141 h 182"/>
              <a:gd name="T78" fmla="*/ 95 w 191"/>
              <a:gd name="T79" fmla="*/ 14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1" h="182">
                <a:moveTo>
                  <a:pt x="151" y="181"/>
                </a:moveTo>
                <a:cubicBezTo>
                  <a:pt x="150" y="181"/>
                  <a:pt x="149" y="181"/>
                  <a:pt x="148" y="181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1" y="182"/>
                  <a:pt x="38" y="181"/>
                  <a:pt x="37" y="180"/>
                </a:cubicBezTo>
                <a:cubicBezTo>
                  <a:pt x="35" y="179"/>
                  <a:pt x="34" y="176"/>
                  <a:pt x="34" y="174"/>
                </a:cubicBezTo>
                <a:cubicBezTo>
                  <a:pt x="44" y="116"/>
                  <a:pt x="44" y="116"/>
                  <a:pt x="44" y="116"/>
                </a:cubicBezTo>
                <a:cubicBezTo>
                  <a:pt x="2" y="75"/>
                  <a:pt x="2" y="75"/>
                  <a:pt x="2" y="75"/>
                </a:cubicBezTo>
                <a:cubicBezTo>
                  <a:pt x="0" y="73"/>
                  <a:pt x="0" y="71"/>
                  <a:pt x="0" y="69"/>
                </a:cubicBezTo>
                <a:cubicBezTo>
                  <a:pt x="1" y="67"/>
                  <a:pt x="3" y="65"/>
                  <a:pt x="5" y="65"/>
                </a:cubicBezTo>
                <a:cubicBezTo>
                  <a:pt x="64" y="56"/>
                  <a:pt x="64" y="56"/>
                  <a:pt x="64" y="56"/>
                </a:cubicBezTo>
                <a:cubicBezTo>
                  <a:pt x="90" y="3"/>
                  <a:pt x="90" y="3"/>
                  <a:pt x="90" y="3"/>
                </a:cubicBezTo>
                <a:cubicBezTo>
                  <a:pt x="91" y="1"/>
                  <a:pt x="93" y="0"/>
                  <a:pt x="95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8" y="0"/>
                  <a:pt x="100" y="1"/>
                  <a:pt x="101" y="3"/>
                </a:cubicBezTo>
                <a:cubicBezTo>
                  <a:pt x="127" y="56"/>
                  <a:pt x="127" y="56"/>
                  <a:pt x="127" y="56"/>
                </a:cubicBezTo>
                <a:cubicBezTo>
                  <a:pt x="186" y="65"/>
                  <a:pt x="186" y="65"/>
                  <a:pt x="186" y="65"/>
                </a:cubicBezTo>
                <a:cubicBezTo>
                  <a:pt x="188" y="65"/>
                  <a:pt x="190" y="67"/>
                  <a:pt x="191" y="69"/>
                </a:cubicBezTo>
                <a:cubicBezTo>
                  <a:pt x="191" y="71"/>
                  <a:pt x="191" y="73"/>
                  <a:pt x="189" y="75"/>
                </a:cubicBezTo>
                <a:cubicBezTo>
                  <a:pt x="147" y="116"/>
                  <a:pt x="147" y="116"/>
                  <a:pt x="147" y="116"/>
                </a:cubicBezTo>
                <a:cubicBezTo>
                  <a:pt x="157" y="174"/>
                  <a:pt x="157" y="174"/>
                  <a:pt x="157" y="174"/>
                </a:cubicBezTo>
                <a:cubicBezTo>
                  <a:pt x="157" y="176"/>
                  <a:pt x="156" y="179"/>
                  <a:pt x="154" y="180"/>
                </a:cubicBezTo>
                <a:cubicBezTo>
                  <a:pt x="153" y="181"/>
                  <a:pt x="152" y="181"/>
                  <a:pt x="151" y="181"/>
                </a:cubicBezTo>
                <a:close/>
                <a:moveTo>
                  <a:pt x="95" y="140"/>
                </a:moveTo>
                <a:cubicBezTo>
                  <a:pt x="96" y="140"/>
                  <a:pt x="97" y="141"/>
                  <a:pt x="98" y="141"/>
                </a:cubicBezTo>
                <a:cubicBezTo>
                  <a:pt x="143" y="164"/>
                  <a:pt x="143" y="164"/>
                  <a:pt x="143" y="164"/>
                </a:cubicBezTo>
                <a:cubicBezTo>
                  <a:pt x="134" y="115"/>
                  <a:pt x="134" y="115"/>
                  <a:pt x="134" y="115"/>
                </a:cubicBezTo>
                <a:cubicBezTo>
                  <a:pt x="134" y="113"/>
                  <a:pt x="135" y="111"/>
                  <a:pt x="136" y="110"/>
                </a:cubicBezTo>
                <a:cubicBezTo>
                  <a:pt x="172" y="75"/>
                  <a:pt x="172" y="75"/>
                  <a:pt x="172" y="75"/>
                </a:cubicBezTo>
                <a:cubicBezTo>
                  <a:pt x="122" y="68"/>
                  <a:pt x="122" y="68"/>
                  <a:pt x="122" y="68"/>
                </a:cubicBezTo>
                <a:cubicBezTo>
                  <a:pt x="120" y="67"/>
                  <a:pt x="119" y="66"/>
                  <a:pt x="118" y="64"/>
                </a:cubicBezTo>
                <a:cubicBezTo>
                  <a:pt x="95" y="20"/>
                  <a:pt x="95" y="20"/>
                  <a:pt x="95" y="20"/>
                </a:cubicBezTo>
                <a:cubicBezTo>
                  <a:pt x="73" y="64"/>
                  <a:pt x="73" y="64"/>
                  <a:pt x="73" y="64"/>
                </a:cubicBezTo>
                <a:cubicBezTo>
                  <a:pt x="72" y="66"/>
                  <a:pt x="71" y="67"/>
                  <a:pt x="69" y="68"/>
                </a:cubicBezTo>
                <a:cubicBezTo>
                  <a:pt x="19" y="75"/>
                  <a:pt x="19" y="75"/>
                  <a:pt x="19" y="75"/>
                </a:cubicBezTo>
                <a:cubicBezTo>
                  <a:pt x="55" y="110"/>
                  <a:pt x="55" y="110"/>
                  <a:pt x="55" y="110"/>
                </a:cubicBezTo>
                <a:cubicBezTo>
                  <a:pt x="56" y="111"/>
                  <a:pt x="57" y="113"/>
                  <a:pt x="57" y="115"/>
                </a:cubicBezTo>
                <a:cubicBezTo>
                  <a:pt x="48" y="164"/>
                  <a:pt x="48" y="164"/>
                  <a:pt x="48" y="164"/>
                </a:cubicBezTo>
                <a:cubicBezTo>
                  <a:pt x="93" y="141"/>
                  <a:pt x="93" y="141"/>
                  <a:pt x="93" y="141"/>
                </a:cubicBezTo>
                <a:cubicBezTo>
                  <a:pt x="94" y="141"/>
                  <a:pt x="94" y="140"/>
                  <a:pt x="95" y="14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E9D4BDE-0184-0950-0F29-99033F5AC7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6051" y="5233908"/>
            <a:ext cx="576720" cy="563612"/>
            <a:chOff x="3619" y="663"/>
            <a:chExt cx="440" cy="430"/>
          </a:xfrm>
          <a:solidFill>
            <a:schemeClr val="tx2"/>
          </a:solidFill>
        </p:grpSpPr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4BEA982A-D879-331A-53F9-D629C7A5D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6" y="806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E76C8B3-4521-CFB7-F1B6-F4D0A440E5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9" y="914"/>
              <a:ext cx="147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856CED5-D0E0-62BB-A5D4-FD8C356CAC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0" y="806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278643F1-3CD0-CA3D-3313-B6DC4315E3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2" y="914"/>
              <a:ext cx="147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C2AFA6E0-01C5-5B91-655D-B93A1CB49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3" y="663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49588E46-8189-5512-BA74-7BA776DAC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6" y="771"/>
              <a:ext cx="146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" name="Group 128">
            <a:extLst>
              <a:ext uri="{FF2B5EF4-FFF2-40B4-BE49-F238E27FC236}">
                <a16:creationId xmlns:a16="http://schemas.microsoft.com/office/drawing/2014/main" id="{B92D52AA-F744-3F67-8B1D-83DE6CA5D5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24345" y="4370969"/>
            <a:ext cx="464188" cy="531388"/>
            <a:chOff x="1398" y="2998"/>
            <a:chExt cx="373" cy="427"/>
          </a:xfrm>
          <a:solidFill>
            <a:schemeClr val="tx2"/>
          </a:solidFill>
        </p:grpSpPr>
        <p:sp>
          <p:nvSpPr>
            <p:cNvPr id="40" name="Freeform 129">
              <a:extLst>
                <a:ext uri="{FF2B5EF4-FFF2-40B4-BE49-F238E27FC236}">
                  <a16:creationId xmlns:a16="http://schemas.microsoft.com/office/drawing/2014/main" id="{DFB04C6D-4AC2-659E-F5B4-5EE88A25D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Freeform 130">
              <a:extLst>
                <a:ext uri="{FF2B5EF4-FFF2-40B4-BE49-F238E27FC236}">
                  <a16:creationId xmlns:a16="http://schemas.microsoft.com/office/drawing/2014/main" id="{004E88A6-DA2B-9F0A-AB4E-25532A498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Freeform 131">
              <a:extLst>
                <a:ext uri="{FF2B5EF4-FFF2-40B4-BE49-F238E27FC236}">
                  <a16:creationId xmlns:a16="http://schemas.microsoft.com/office/drawing/2014/main" id="{0F2AAEB6-C8E1-DE18-189F-F4702D5B7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Freeform 132">
              <a:extLst>
                <a:ext uri="{FF2B5EF4-FFF2-40B4-BE49-F238E27FC236}">
                  <a16:creationId xmlns:a16="http://schemas.microsoft.com/office/drawing/2014/main" id="{AC64FC27-F574-F34D-4EC7-E96377D6A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Freeform 133">
              <a:extLst>
                <a:ext uri="{FF2B5EF4-FFF2-40B4-BE49-F238E27FC236}">
                  <a16:creationId xmlns:a16="http://schemas.microsoft.com/office/drawing/2014/main" id="{04AA39F4-67F2-CB73-5ADD-C398BB9D5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Freeform 134">
              <a:extLst>
                <a:ext uri="{FF2B5EF4-FFF2-40B4-BE49-F238E27FC236}">
                  <a16:creationId xmlns:a16="http://schemas.microsoft.com/office/drawing/2014/main" id="{28365875-83DD-A617-0229-3C4B1B18E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Freeform 135">
              <a:extLst>
                <a:ext uri="{FF2B5EF4-FFF2-40B4-BE49-F238E27FC236}">
                  <a16:creationId xmlns:a16="http://schemas.microsoft.com/office/drawing/2014/main" id="{3B17520F-604E-0A4D-0C68-9013F082D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Freeform 136">
              <a:extLst>
                <a:ext uri="{FF2B5EF4-FFF2-40B4-BE49-F238E27FC236}">
                  <a16:creationId xmlns:a16="http://schemas.microsoft.com/office/drawing/2014/main" id="{62A4A39E-C95F-3366-718E-8D4E892A9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Freeform 137">
              <a:extLst>
                <a:ext uri="{FF2B5EF4-FFF2-40B4-BE49-F238E27FC236}">
                  <a16:creationId xmlns:a16="http://schemas.microsoft.com/office/drawing/2014/main" id="{C4B7F9C5-071B-E528-A3FE-5C5F1A6BB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Freeform 138">
              <a:extLst>
                <a:ext uri="{FF2B5EF4-FFF2-40B4-BE49-F238E27FC236}">
                  <a16:creationId xmlns:a16="http://schemas.microsoft.com/office/drawing/2014/main" id="{B5781414-3180-932C-6B1F-7D632EF1A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Freeform 139">
              <a:extLst>
                <a:ext uri="{FF2B5EF4-FFF2-40B4-BE49-F238E27FC236}">
                  <a16:creationId xmlns:a16="http://schemas.microsoft.com/office/drawing/2014/main" id="{A9437AE6-A3FB-A4FF-6D53-0CF859208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Freeform 140">
              <a:extLst>
                <a:ext uri="{FF2B5EF4-FFF2-40B4-BE49-F238E27FC236}">
                  <a16:creationId xmlns:a16="http://schemas.microsoft.com/office/drawing/2014/main" id="{ED6397EA-C14C-B63B-7BDB-D9BFD78F0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2" name="Freeform 29">
            <a:extLst>
              <a:ext uri="{FF2B5EF4-FFF2-40B4-BE49-F238E27FC236}">
                <a16:creationId xmlns:a16="http://schemas.microsoft.com/office/drawing/2014/main" id="{C1B87D69-481E-D84D-0838-B457970815EC}"/>
              </a:ext>
            </a:extLst>
          </p:cNvPr>
          <p:cNvSpPr>
            <a:spLocks noEditPoints="1"/>
          </p:cNvSpPr>
          <p:nvPr/>
        </p:nvSpPr>
        <p:spPr bwMode="auto">
          <a:xfrm>
            <a:off x="4362694" y="2500593"/>
            <a:ext cx="387491" cy="520987"/>
          </a:xfrm>
          <a:custGeom>
            <a:avLst/>
            <a:gdLst>
              <a:gd name="T0" fmla="*/ 211 w 214"/>
              <a:gd name="T1" fmla="*/ 90 h 295"/>
              <a:gd name="T2" fmla="*/ 185 w 214"/>
              <a:gd name="T3" fmla="*/ 73 h 295"/>
              <a:gd name="T4" fmla="*/ 170 w 214"/>
              <a:gd name="T5" fmla="*/ 46 h 295"/>
              <a:gd name="T6" fmla="*/ 129 w 214"/>
              <a:gd name="T7" fmla="*/ 6 h 295"/>
              <a:gd name="T8" fmla="*/ 123 w 214"/>
              <a:gd name="T9" fmla="*/ 0 h 295"/>
              <a:gd name="T10" fmla="*/ 99 w 214"/>
              <a:gd name="T11" fmla="*/ 14 h 295"/>
              <a:gd name="T12" fmla="*/ 81 w 214"/>
              <a:gd name="T13" fmla="*/ 27 h 295"/>
              <a:gd name="T14" fmla="*/ 38 w 214"/>
              <a:gd name="T15" fmla="*/ 67 h 295"/>
              <a:gd name="T16" fmla="*/ 18 w 214"/>
              <a:gd name="T17" fmla="*/ 116 h 295"/>
              <a:gd name="T18" fmla="*/ 16 w 214"/>
              <a:gd name="T19" fmla="*/ 154 h 295"/>
              <a:gd name="T20" fmla="*/ 23 w 214"/>
              <a:gd name="T21" fmla="*/ 206 h 295"/>
              <a:gd name="T22" fmla="*/ 17 w 214"/>
              <a:gd name="T23" fmla="*/ 212 h 295"/>
              <a:gd name="T24" fmla="*/ 0 w 214"/>
              <a:gd name="T25" fmla="*/ 251 h 295"/>
              <a:gd name="T26" fmla="*/ 6 w 214"/>
              <a:gd name="T27" fmla="*/ 295 h 295"/>
              <a:gd name="T28" fmla="*/ 197 w 214"/>
              <a:gd name="T29" fmla="*/ 289 h 295"/>
              <a:gd name="T30" fmla="*/ 182 w 214"/>
              <a:gd name="T31" fmla="*/ 213 h 295"/>
              <a:gd name="T32" fmla="*/ 175 w 214"/>
              <a:gd name="T33" fmla="*/ 206 h 295"/>
              <a:gd name="T34" fmla="*/ 174 w 214"/>
              <a:gd name="T35" fmla="*/ 205 h 295"/>
              <a:gd name="T36" fmla="*/ 167 w 214"/>
              <a:gd name="T37" fmla="*/ 183 h 295"/>
              <a:gd name="T38" fmla="*/ 132 w 214"/>
              <a:gd name="T39" fmla="*/ 116 h 295"/>
              <a:gd name="T40" fmla="*/ 170 w 214"/>
              <a:gd name="T41" fmla="*/ 126 h 295"/>
              <a:gd name="T42" fmla="*/ 193 w 214"/>
              <a:gd name="T43" fmla="*/ 131 h 295"/>
              <a:gd name="T44" fmla="*/ 213 w 214"/>
              <a:gd name="T45" fmla="*/ 97 h 295"/>
              <a:gd name="T46" fmla="*/ 185 w 214"/>
              <a:gd name="T47" fmla="*/ 243 h 295"/>
              <a:gd name="T48" fmla="*/ 186 w 214"/>
              <a:gd name="T49" fmla="*/ 284 h 295"/>
              <a:gd name="T50" fmla="*/ 12 w 214"/>
              <a:gd name="T51" fmla="*/ 251 h 295"/>
              <a:gd name="T52" fmla="*/ 13 w 214"/>
              <a:gd name="T53" fmla="*/ 242 h 295"/>
              <a:gd name="T54" fmla="*/ 104 w 214"/>
              <a:gd name="T55" fmla="*/ 242 h 295"/>
              <a:gd name="T56" fmla="*/ 104 w 214"/>
              <a:gd name="T57" fmla="*/ 242 h 295"/>
              <a:gd name="T58" fmla="*/ 171 w 214"/>
              <a:gd name="T59" fmla="*/ 219 h 295"/>
              <a:gd name="T60" fmla="*/ 173 w 214"/>
              <a:gd name="T61" fmla="*/ 220 h 295"/>
              <a:gd name="T62" fmla="*/ 180 w 214"/>
              <a:gd name="T63" fmla="*/ 231 h 295"/>
              <a:gd name="T64" fmla="*/ 104 w 214"/>
              <a:gd name="T65" fmla="*/ 231 h 295"/>
              <a:gd name="T66" fmla="*/ 104 w 214"/>
              <a:gd name="T67" fmla="*/ 231 h 295"/>
              <a:gd name="T68" fmla="*/ 18 w 214"/>
              <a:gd name="T69" fmla="*/ 231 h 295"/>
              <a:gd name="T70" fmla="*/ 25 w 214"/>
              <a:gd name="T71" fmla="*/ 220 h 295"/>
              <a:gd name="T72" fmla="*/ 26 w 214"/>
              <a:gd name="T73" fmla="*/ 219 h 295"/>
              <a:gd name="T74" fmla="*/ 166 w 214"/>
              <a:gd name="T75" fmla="*/ 214 h 295"/>
              <a:gd name="T76" fmla="*/ 191 w 214"/>
              <a:gd name="T77" fmla="*/ 118 h 295"/>
              <a:gd name="T78" fmla="*/ 180 w 214"/>
              <a:gd name="T79" fmla="*/ 116 h 295"/>
              <a:gd name="T80" fmla="*/ 122 w 214"/>
              <a:gd name="T81" fmla="*/ 100 h 295"/>
              <a:gd name="T82" fmla="*/ 112 w 214"/>
              <a:gd name="T83" fmla="*/ 106 h 295"/>
              <a:gd name="T84" fmla="*/ 162 w 214"/>
              <a:gd name="T85" fmla="*/ 202 h 295"/>
              <a:gd name="T86" fmla="*/ 33 w 214"/>
              <a:gd name="T87" fmla="*/ 202 h 295"/>
              <a:gd name="T88" fmla="*/ 27 w 214"/>
              <a:gd name="T89" fmla="*/ 153 h 295"/>
              <a:gd name="T90" fmla="*/ 31 w 214"/>
              <a:gd name="T91" fmla="*/ 113 h 295"/>
              <a:gd name="T92" fmla="*/ 49 w 214"/>
              <a:gd name="T93" fmla="*/ 72 h 295"/>
              <a:gd name="T94" fmla="*/ 109 w 214"/>
              <a:gd name="T95" fmla="*/ 21 h 295"/>
              <a:gd name="T96" fmla="*/ 117 w 214"/>
              <a:gd name="T97" fmla="*/ 16 h 295"/>
              <a:gd name="T98" fmla="*/ 120 w 214"/>
              <a:gd name="T99" fmla="*/ 40 h 295"/>
              <a:gd name="T100" fmla="*/ 176 w 214"/>
              <a:gd name="T101" fmla="*/ 79 h 295"/>
              <a:gd name="T102" fmla="*/ 200 w 214"/>
              <a:gd name="T103" fmla="*/ 97 h 295"/>
              <a:gd name="T104" fmla="*/ 191 w 214"/>
              <a:gd name="T105" fmla="*/ 11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4" h="295">
                <a:moveTo>
                  <a:pt x="213" y="97"/>
                </a:moveTo>
                <a:cubicBezTo>
                  <a:pt x="214" y="94"/>
                  <a:pt x="213" y="91"/>
                  <a:pt x="211" y="90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74" y="49"/>
                  <a:pt x="174" y="49"/>
                  <a:pt x="174" y="49"/>
                </a:cubicBezTo>
                <a:cubicBezTo>
                  <a:pt x="173" y="47"/>
                  <a:pt x="172" y="46"/>
                  <a:pt x="170" y="46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6"/>
                  <a:pt x="129" y="6"/>
                  <a:pt x="129" y="6"/>
                </a:cubicBezTo>
                <a:cubicBezTo>
                  <a:pt x="129" y="4"/>
                  <a:pt x="128" y="2"/>
                  <a:pt x="126" y="1"/>
                </a:cubicBezTo>
                <a:cubicBezTo>
                  <a:pt x="125" y="0"/>
                  <a:pt x="124" y="0"/>
                  <a:pt x="123" y="0"/>
                </a:cubicBezTo>
                <a:cubicBezTo>
                  <a:pt x="122" y="0"/>
                  <a:pt x="121" y="0"/>
                  <a:pt x="120" y="1"/>
                </a:cubicBezTo>
                <a:cubicBezTo>
                  <a:pt x="119" y="2"/>
                  <a:pt x="110" y="7"/>
                  <a:pt x="99" y="14"/>
                </a:cubicBezTo>
                <a:cubicBezTo>
                  <a:pt x="95" y="17"/>
                  <a:pt x="92" y="19"/>
                  <a:pt x="88" y="22"/>
                </a:cubicBezTo>
                <a:cubicBezTo>
                  <a:pt x="86" y="23"/>
                  <a:pt x="84" y="25"/>
                  <a:pt x="81" y="27"/>
                </a:cubicBezTo>
                <a:cubicBezTo>
                  <a:pt x="70" y="35"/>
                  <a:pt x="61" y="42"/>
                  <a:pt x="54" y="49"/>
                </a:cubicBezTo>
                <a:cubicBezTo>
                  <a:pt x="46" y="56"/>
                  <a:pt x="41" y="62"/>
                  <a:pt x="38" y="67"/>
                </a:cubicBezTo>
                <a:cubicBezTo>
                  <a:pt x="37" y="69"/>
                  <a:pt x="36" y="71"/>
                  <a:pt x="35" y="73"/>
                </a:cubicBezTo>
                <a:cubicBezTo>
                  <a:pt x="29" y="86"/>
                  <a:pt x="22" y="99"/>
                  <a:pt x="18" y="116"/>
                </a:cubicBezTo>
                <a:cubicBezTo>
                  <a:pt x="17" y="120"/>
                  <a:pt x="17" y="124"/>
                  <a:pt x="16" y="128"/>
                </a:cubicBezTo>
                <a:cubicBezTo>
                  <a:pt x="15" y="137"/>
                  <a:pt x="15" y="145"/>
                  <a:pt x="16" y="154"/>
                </a:cubicBezTo>
                <a:cubicBezTo>
                  <a:pt x="18" y="182"/>
                  <a:pt x="21" y="199"/>
                  <a:pt x="22" y="206"/>
                </a:cubicBezTo>
                <a:cubicBezTo>
                  <a:pt x="23" y="206"/>
                  <a:pt x="23" y="206"/>
                  <a:pt x="23" y="206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20" y="208"/>
                  <a:pt x="19" y="210"/>
                  <a:pt x="17" y="212"/>
                </a:cubicBezTo>
                <a:cubicBezTo>
                  <a:pt x="16" y="213"/>
                  <a:pt x="16" y="213"/>
                  <a:pt x="16" y="213"/>
                </a:cubicBezTo>
                <a:cubicBezTo>
                  <a:pt x="9" y="222"/>
                  <a:pt x="0" y="236"/>
                  <a:pt x="0" y="251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3"/>
                  <a:pt x="3" y="295"/>
                  <a:pt x="6" y="295"/>
                </a:cubicBezTo>
                <a:cubicBezTo>
                  <a:pt x="192" y="295"/>
                  <a:pt x="192" y="295"/>
                  <a:pt x="192" y="295"/>
                </a:cubicBezTo>
                <a:cubicBezTo>
                  <a:pt x="195" y="295"/>
                  <a:pt x="197" y="293"/>
                  <a:pt x="197" y="289"/>
                </a:cubicBezTo>
                <a:cubicBezTo>
                  <a:pt x="197" y="251"/>
                  <a:pt x="197" y="251"/>
                  <a:pt x="197" y="251"/>
                </a:cubicBezTo>
                <a:cubicBezTo>
                  <a:pt x="197" y="236"/>
                  <a:pt x="189" y="222"/>
                  <a:pt x="182" y="213"/>
                </a:cubicBezTo>
                <a:cubicBezTo>
                  <a:pt x="181" y="213"/>
                  <a:pt x="181" y="213"/>
                  <a:pt x="181" y="212"/>
                </a:cubicBezTo>
                <a:cubicBezTo>
                  <a:pt x="179" y="210"/>
                  <a:pt x="177" y="208"/>
                  <a:pt x="175" y="206"/>
                </a:cubicBezTo>
                <a:cubicBezTo>
                  <a:pt x="175" y="206"/>
                  <a:pt x="175" y="206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3" y="199"/>
                  <a:pt x="171" y="191"/>
                  <a:pt x="167" y="183"/>
                </a:cubicBezTo>
                <a:cubicBezTo>
                  <a:pt x="158" y="160"/>
                  <a:pt x="144" y="135"/>
                  <a:pt x="133" y="117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3" y="119"/>
                  <a:pt x="155" y="122"/>
                  <a:pt x="170" y="126"/>
                </a:cubicBezTo>
                <a:cubicBezTo>
                  <a:pt x="174" y="126"/>
                  <a:pt x="178" y="127"/>
                  <a:pt x="182" y="128"/>
                </a:cubicBezTo>
                <a:cubicBezTo>
                  <a:pt x="186" y="129"/>
                  <a:pt x="190" y="130"/>
                  <a:pt x="193" y="131"/>
                </a:cubicBezTo>
                <a:cubicBezTo>
                  <a:pt x="196" y="131"/>
                  <a:pt x="199" y="130"/>
                  <a:pt x="200" y="127"/>
                </a:cubicBezTo>
                <a:lnTo>
                  <a:pt x="213" y="97"/>
                </a:lnTo>
                <a:close/>
                <a:moveTo>
                  <a:pt x="185" y="242"/>
                </a:moveTo>
                <a:cubicBezTo>
                  <a:pt x="185" y="243"/>
                  <a:pt x="185" y="243"/>
                  <a:pt x="185" y="243"/>
                </a:cubicBezTo>
                <a:cubicBezTo>
                  <a:pt x="186" y="246"/>
                  <a:pt x="186" y="248"/>
                  <a:pt x="186" y="251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51"/>
                  <a:pt x="12" y="251"/>
                  <a:pt x="12" y="251"/>
                </a:cubicBezTo>
                <a:cubicBezTo>
                  <a:pt x="12" y="248"/>
                  <a:pt x="12" y="246"/>
                  <a:pt x="13" y="243"/>
                </a:cubicBezTo>
                <a:cubicBezTo>
                  <a:pt x="13" y="242"/>
                  <a:pt x="13" y="242"/>
                  <a:pt x="13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lnTo>
                  <a:pt x="185" y="242"/>
                </a:lnTo>
                <a:close/>
                <a:moveTo>
                  <a:pt x="171" y="219"/>
                </a:moveTo>
                <a:cubicBezTo>
                  <a:pt x="172" y="220"/>
                  <a:pt x="172" y="220"/>
                  <a:pt x="172" y="220"/>
                </a:cubicBezTo>
                <a:cubicBezTo>
                  <a:pt x="173" y="220"/>
                  <a:pt x="173" y="220"/>
                  <a:pt x="173" y="220"/>
                </a:cubicBezTo>
                <a:cubicBezTo>
                  <a:pt x="175" y="223"/>
                  <a:pt x="177" y="226"/>
                  <a:pt x="179" y="230"/>
                </a:cubicBezTo>
                <a:cubicBezTo>
                  <a:pt x="180" y="231"/>
                  <a:pt x="180" y="231"/>
                  <a:pt x="180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8" y="231"/>
                  <a:pt x="18" y="231"/>
                  <a:pt x="18" y="231"/>
                </a:cubicBezTo>
                <a:cubicBezTo>
                  <a:pt x="19" y="230"/>
                  <a:pt x="19" y="230"/>
                  <a:pt x="19" y="230"/>
                </a:cubicBezTo>
                <a:cubicBezTo>
                  <a:pt x="20" y="226"/>
                  <a:pt x="23" y="223"/>
                  <a:pt x="25" y="220"/>
                </a:cubicBezTo>
                <a:cubicBezTo>
                  <a:pt x="25" y="220"/>
                  <a:pt x="25" y="220"/>
                  <a:pt x="25" y="220"/>
                </a:cubicBezTo>
                <a:cubicBezTo>
                  <a:pt x="26" y="220"/>
                  <a:pt x="26" y="220"/>
                  <a:pt x="26" y="219"/>
                </a:cubicBezTo>
                <a:cubicBezTo>
                  <a:pt x="31" y="214"/>
                  <a:pt x="31" y="214"/>
                  <a:pt x="31" y="214"/>
                </a:cubicBezTo>
                <a:cubicBezTo>
                  <a:pt x="166" y="214"/>
                  <a:pt x="166" y="214"/>
                  <a:pt x="166" y="214"/>
                </a:cubicBezTo>
                <a:lnTo>
                  <a:pt x="171" y="219"/>
                </a:lnTo>
                <a:close/>
                <a:moveTo>
                  <a:pt x="191" y="118"/>
                </a:moveTo>
                <a:cubicBezTo>
                  <a:pt x="191" y="118"/>
                  <a:pt x="191" y="118"/>
                  <a:pt x="191" y="118"/>
                </a:cubicBezTo>
                <a:cubicBezTo>
                  <a:pt x="187" y="118"/>
                  <a:pt x="183" y="117"/>
                  <a:pt x="180" y="116"/>
                </a:cubicBezTo>
                <a:cubicBezTo>
                  <a:pt x="175" y="115"/>
                  <a:pt x="171" y="114"/>
                  <a:pt x="167" y="113"/>
                </a:cubicBezTo>
                <a:cubicBezTo>
                  <a:pt x="142" y="108"/>
                  <a:pt x="125" y="103"/>
                  <a:pt x="122" y="100"/>
                </a:cubicBezTo>
                <a:cubicBezTo>
                  <a:pt x="120" y="98"/>
                  <a:pt x="116" y="97"/>
                  <a:pt x="114" y="99"/>
                </a:cubicBezTo>
                <a:cubicBezTo>
                  <a:pt x="111" y="100"/>
                  <a:pt x="111" y="104"/>
                  <a:pt x="112" y="106"/>
                </a:cubicBezTo>
                <a:cubicBezTo>
                  <a:pt x="114" y="109"/>
                  <a:pt x="152" y="167"/>
                  <a:pt x="162" y="202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2" y="198"/>
                  <a:pt x="31" y="192"/>
                  <a:pt x="30" y="183"/>
                </a:cubicBezTo>
                <a:cubicBezTo>
                  <a:pt x="29" y="174"/>
                  <a:pt x="28" y="164"/>
                  <a:pt x="27" y="153"/>
                </a:cubicBezTo>
                <a:cubicBezTo>
                  <a:pt x="26" y="144"/>
                  <a:pt x="27" y="135"/>
                  <a:pt x="28" y="126"/>
                </a:cubicBezTo>
                <a:cubicBezTo>
                  <a:pt x="29" y="122"/>
                  <a:pt x="30" y="117"/>
                  <a:pt x="31" y="113"/>
                </a:cubicBezTo>
                <a:cubicBezTo>
                  <a:pt x="35" y="100"/>
                  <a:pt x="40" y="89"/>
                  <a:pt x="45" y="79"/>
                </a:cubicBezTo>
                <a:cubicBezTo>
                  <a:pt x="46" y="77"/>
                  <a:pt x="48" y="74"/>
                  <a:pt x="49" y="72"/>
                </a:cubicBezTo>
                <a:cubicBezTo>
                  <a:pt x="54" y="61"/>
                  <a:pt x="79" y="42"/>
                  <a:pt x="99" y="28"/>
                </a:cubicBezTo>
                <a:cubicBezTo>
                  <a:pt x="102" y="26"/>
                  <a:pt x="106" y="24"/>
                  <a:pt x="109" y="21"/>
                </a:cubicBezTo>
                <a:cubicBezTo>
                  <a:pt x="112" y="20"/>
                  <a:pt x="114" y="18"/>
                  <a:pt x="116" y="17"/>
                </a:cubicBezTo>
                <a:cubicBezTo>
                  <a:pt x="117" y="16"/>
                  <a:pt x="117" y="16"/>
                  <a:pt x="117" y="16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37"/>
                  <a:pt x="118" y="39"/>
                  <a:pt x="120" y="40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76" y="79"/>
                  <a:pt x="176" y="79"/>
                  <a:pt x="176" y="79"/>
                </a:cubicBezTo>
                <a:cubicBezTo>
                  <a:pt x="176" y="80"/>
                  <a:pt x="177" y="81"/>
                  <a:pt x="178" y="82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0" y="97"/>
                  <a:pt x="200" y="97"/>
                </a:cubicBezTo>
                <a:lnTo>
                  <a:pt x="191" y="1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3" name="Group 14">
            <a:extLst>
              <a:ext uri="{FF2B5EF4-FFF2-40B4-BE49-F238E27FC236}">
                <a16:creationId xmlns:a16="http://schemas.microsoft.com/office/drawing/2014/main" id="{9228EBFA-FA76-5CA0-E54D-FB6F3C19EA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8891" y="3374996"/>
            <a:ext cx="531040" cy="482658"/>
            <a:chOff x="2398" y="433"/>
            <a:chExt cx="461" cy="419"/>
          </a:xfrm>
          <a:solidFill>
            <a:schemeClr val="bg1"/>
          </a:solidFill>
        </p:grpSpPr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14FD970E-DF34-17F2-1838-8DA1C76E59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8" y="433"/>
              <a:ext cx="461" cy="419"/>
            </a:xfrm>
            <a:custGeom>
              <a:avLst/>
              <a:gdLst>
                <a:gd name="T0" fmla="*/ 240 w 312"/>
                <a:gd name="T1" fmla="*/ 92 h 284"/>
                <a:gd name="T2" fmla="*/ 195 w 312"/>
                <a:gd name="T3" fmla="*/ 7 h 284"/>
                <a:gd name="T4" fmla="*/ 116 w 312"/>
                <a:gd name="T5" fmla="*/ 7 h 284"/>
                <a:gd name="T6" fmla="*/ 71 w 312"/>
                <a:gd name="T7" fmla="*/ 92 h 284"/>
                <a:gd name="T8" fmla="*/ 71 w 312"/>
                <a:gd name="T9" fmla="*/ 195 h 284"/>
                <a:gd name="T10" fmla="*/ 83 w 312"/>
                <a:gd name="T11" fmla="*/ 281 h 284"/>
                <a:gd name="T12" fmla="*/ 156 w 312"/>
                <a:gd name="T13" fmla="*/ 249 h 284"/>
                <a:gd name="T14" fmla="*/ 241 w 312"/>
                <a:gd name="T15" fmla="*/ 195 h 284"/>
                <a:gd name="T16" fmla="*/ 164 w 312"/>
                <a:gd name="T17" fmla="*/ 45 h 284"/>
                <a:gd name="T18" fmla="*/ 229 w 312"/>
                <a:gd name="T19" fmla="*/ 89 h 284"/>
                <a:gd name="T20" fmla="*/ 192 w 312"/>
                <a:gd name="T21" fmla="*/ 84 h 284"/>
                <a:gd name="T22" fmla="*/ 95 w 312"/>
                <a:gd name="T23" fmla="*/ 157 h 284"/>
                <a:gd name="T24" fmla="*/ 113 w 312"/>
                <a:gd name="T25" fmla="*/ 190 h 284"/>
                <a:gd name="T26" fmla="*/ 85 w 312"/>
                <a:gd name="T27" fmla="*/ 186 h 284"/>
                <a:gd name="T28" fmla="*/ 86 w 312"/>
                <a:gd name="T29" fmla="*/ 100 h 284"/>
                <a:gd name="T30" fmla="*/ 101 w 312"/>
                <a:gd name="T31" fmla="*/ 115 h 284"/>
                <a:gd name="T32" fmla="*/ 86 w 312"/>
                <a:gd name="T33" fmla="*/ 101 h 284"/>
                <a:gd name="T34" fmla="*/ 101 w 312"/>
                <a:gd name="T35" fmla="*/ 142 h 284"/>
                <a:gd name="T36" fmla="*/ 126 w 312"/>
                <a:gd name="T37" fmla="*/ 95 h 284"/>
                <a:gd name="T38" fmla="*/ 200 w 312"/>
                <a:gd name="T39" fmla="*/ 120 h 284"/>
                <a:gd name="T40" fmla="*/ 199 w 312"/>
                <a:gd name="T41" fmla="*/ 166 h 284"/>
                <a:gd name="T42" fmla="*/ 156 w 312"/>
                <a:gd name="T43" fmla="*/ 193 h 284"/>
                <a:gd name="T44" fmla="*/ 112 w 312"/>
                <a:gd name="T45" fmla="*/ 166 h 284"/>
                <a:gd name="T46" fmla="*/ 217 w 312"/>
                <a:gd name="T47" fmla="*/ 157 h 284"/>
                <a:gd name="T48" fmla="*/ 227 w 312"/>
                <a:gd name="T49" fmla="*/ 186 h 284"/>
                <a:gd name="T50" fmla="*/ 217 w 312"/>
                <a:gd name="T51" fmla="*/ 128 h 284"/>
                <a:gd name="T52" fmla="*/ 200 w 312"/>
                <a:gd name="T53" fmla="*/ 96 h 284"/>
                <a:gd name="T54" fmla="*/ 226 w 312"/>
                <a:gd name="T55" fmla="*/ 101 h 284"/>
                <a:gd name="T56" fmla="*/ 156 w 312"/>
                <a:gd name="T57" fmla="*/ 54 h 284"/>
                <a:gd name="T58" fmla="*/ 156 w 312"/>
                <a:gd name="T59" fmla="*/ 82 h 284"/>
                <a:gd name="T60" fmla="*/ 156 w 312"/>
                <a:gd name="T61" fmla="*/ 54 h 284"/>
                <a:gd name="T62" fmla="*/ 148 w 312"/>
                <a:gd name="T63" fmla="*/ 45 h 284"/>
                <a:gd name="T64" fmla="*/ 119 w 312"/>
                <a:gd name="T65" fmla="*/ 84 h 284"/>
                <a:gd name="T66" fmla="*/ 83 w 312"/>
                <a:gd name="T67" fmla="*/ 89 h 284"/>
                <a:gd name="T68" fmla="*/ 28 w 312"/>
                <a:gd name="T69" fmla="*/ 165 h 284"/>
                <a:gd name="T70" fmla="*/ 74 w 312"/>
                <a:gd name="T71" fmla="*/ 103 h 284"/>
                <a:gd name="T72" fmla="*/ 88 w 312"/>
                <a:gd name="T73" fmla="*/ 142 h 284"/>
                <a:gd name="T74" fmla="*/ 89 w 312"/>
                <a:gd name="T75" fmla="*/ 271 h 284"/>
                <a:gd name="T76" fmla="*/ 82 w 312"/>
                <a:gd name="T77" fmla="*/ 197 h 284"/>
                <a:gd name="T78" fmla="*/ 148 w 312"/>
                <a:gd name="T79" fmla="*/ 240 h 284"/>
                <a:gd name="T80" fmla="*/ 156 w 312"/>
                <a:gd name="T81" fmla="*/ 231 h 284"/>
                <a:gd name="T82" fmla="*/ 156 w 312"/>
                <a:gd name="T83" fmla="*/ 204 h 284"/>
                <a:gd name="T84" fmla="*/ 156 w 312"/>
                <a:gd name="T85" fmla="*/ 231 h 284"/>
                <a:gd name="T86" fmla="*/ 164 w 312"/>
                <a:gd name="T87" fmla="*/ 240 h 284"/>
                <a:gd name="T88" fmla="*/ 191 w 312"/>
                <a:gd name="T89" fmla="*/ 203 h 284"/>
                <a:gd name="T90" fmla="*/ 230 w 312"/>
                <a:gd name="T91" fmla="*/ 197 h 284"/>
                <a:gd name="T92" fmla="*/ 238 w 312"/>
                <a:gd name="T93" fmla="*/ 183 h 284"/>
                <a:gd name="T94" fmla="*/ 237 w 312"/>
                <a:gd name="T95" fmla="*/ 103 h 284"/>
                <a:gd name="T96" fmla="*/ 300 w 312"/>
                <a:gd name="T97" fmla="*/ 143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12" h="284">
                  <a:moveTo>
                    <a:pt x="293" y="173"/>
                  </a:moveTo>
                  <a:cubicBezTo>
                    <a:pt x="305" y="164"/>
                    <a:pt x="312" y="154"/>
                    <a:pt x="312" y="143"/>
                  </a:cubicBezTo>
                  <a:cubicBezTo>
                    <a:pt x="312" y="122"/>
                    <a:pt x="285" y="103"/>
                    <a:pt x="240" y="92"/>
                  </a:cubicBezTo>
                  <a:cubicBezTo>
                    <a:pt x="240" y="92"/>
                    <a:pt x="240" y="92"/>
                    <a:pt x="240" y="92"/>
                  </a:cubicBezTo>
                  <a:cubicBezTo>
                    <a:pt x="240" y="92"/>
                    <a:pt x="240" y="92"/>
                    <a:pt x="240" y="92"/>
                  </a:cubicBezTo>
                  <a:cubicBezTo>
                    <a:pt x="245" y="70"/>
                    <a:pt x="247" y="51"/>
                    <a:pt x="245" y="36"/>
                  </a:cubicBezTo>
                  <a:cubicBezTo>
                    <a:pt x="243" y="20"/>
                    <a:pt x="237" y="10"/>
                    <a:pt x="228" y="5"/>
                  </a:cubicBezTo>
                  <a:cubicBezTo>
                    <a:pt x="219" y="0"/>
                    <a:pt x="208" y="1"/>
                    <a:pt x="195" y="7"/>
                  </a:cubicBezTo>
                  <a:cubicBezTo>
                    <a:pt x="183" y="12"/>
                    <a:pt x="169" y="23"/>
                    <a:pt x="156" y="37"/>
                  </a:cubicBezTo>
                  <a:cubicBezTo>
                    <a:pt x="156" y="37"/>
                    <a:pt x="156" y="37"/>
                    <a:pt x="156" y="37"/>
                  </a:cubicBezTo>
                  <a:cubicBezTo>
                    <a:pt x="156" y="37"/>
                    <a:pt x="156" y="37"/>
                    <a:pt x="156" y="37"/>
                  </a:cubicBezTo>
                  <a:cubicBezTo>
                    <a:pt x="142" y="23"/>
                    <a:pt x="129" y="12"/>
                    <a:pt x="116" y="7"/>
                  </a:cubicBezTo>
                  <a:cubicBezTo>
                    <a:pt x="104" y="1"/>
                    <a:pt x="93" y="0"/>
                    <a:pt x="84" y="5"/>
                  </a:cubicBezTo>
                  <a:cubicBezTo>
                    <a:pt x="75" y="10"/>
                    <a:pt x="69" y="20"/>
                    <a:pt x="67" y="36"/>
                  </a:cubicBezTo>
                  <a:cubicBezTo>
                    <a:pt x="65" y="51"/>
                    <a:pt x="66" y="70"/>
                    <a:pt x="71" y="92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27" y="103"/>
                    <a:pt x="0" y="122"/>
                    <a:pt x="0" y="143"/>
                  </a:cubicBezTo>
                  <a:cubicBezTo>
                    <a:pt x="0" y="154"/>
                    <a:pt x="7" y="164"/>
                    <a:pt x="19" y="173"/>
                  </a:cubicBezTo>
                  <a:cubicBezTo>
                    <a:pt x="31" y="182"/>
                    <a:pt x="49" y="189"/>
                    <a:pt x="71" y="195"/>
                  </a:cubicBezTo>
                  <a:cubicBezTo>
                    <a:pt x="71" y="195"/>
                    <a:pt x="71" y="195"/>
                    <a:pt x="71" y="195"/>
                  </a:cubicBezTo>
                  <a:cubicBezTo>
                    <a:pt x="71" y="195"/>
                    <a:pt x="71" y="195"/>
                    <a:pt x="71" y="195"/>
                  </a:cubicBezTo>
                  <a:cubicBezTo>
                    <a:pt x="65" y="216"/>
                    <a:pt x="64" y="235"/>
                    <a:pt x="66" y="250"/>
                  </a:cubicBezTo>
                  <a:cubicBezTo>
                    <a:pt x="68" y="266"/>
                    <a:pt x="74" y="276"/>
                    <a:pt x="83" y="281"/>
                  </a:cubicBezTo>
                  <a:cubicBezTo>
                    <a:pt x="87" y="283"/>
                    <a:pt x="91" y="284"/>
                    <a:pt x="96" y="284"/>
                  </a:cubicBezTo>
                  <a:cubicBezTo>
                    <a:pt x="113" y="284"/>
                    <a:pt x="134" y="272"/>
                    <a:pt x="156" y="249"/>
                  </a:cubicBezTo>
                  <a:cubicBezTo>
                    <a:pt x="156" y="249"/>
                    <a:pt x="156" y="249"/>
                    <a:pt x="156" y="249"/>
                  </a:cubicBezTo>
                  <a:cubicBezTo>
                    <a:pt x="156" y="249"/>
                    <a:pt x="156" y="249"/>
                    <a:pt x="156" y="249"/>
                  </a:cubicBezTo>
                  <a:cubicBezTo>
                    <a:pt x="178" y="272"/>
                    <a:pt x="199" y="284"/>
                    <a:pt x="216" y="284"/>
                  </a:cubicBezTo>
                  <a:cubicBezTo>
                    <a:pt x="220" y="284"/>
                    <a:pt x="225" y="283"/>
                    <a:pt x="228" y="281"/>
                  </a:cubicBezTo>
                  <a:cubicBezTo>
                    <a:pt x="238" y="276"/>
                    <a:pt x="244" y="266"/>
                    <a:pt x="246" y="250"/>
                  </a:cubicBezTo>
                  <a:cubicBezTo>
                    <a:pt x="248" y="235"/>
                    <a:pt x="246" y="216"/>
                    <a:pt x="241" y="195"/>
                  </a:cubicBezTo>
                  <a:cubicBezTo>
                    <a:pt x="241" y="195"/>
                    <a:pt x="241" y="195"/>
                    <a:pt x="241" y="195"/>
                  </a:cubicBezTo>
                  <a:cubicBezTo>
                    <a:pt x="241" y="195"/>
                    <a:pt x="241" y="195"/>
                    <a:pt x="241" y="195"/>
                  </a:cubicBezTo>
                  <a:cubicBezTo>
                    <a:pt x="263" y="189"/>
                    <a:pt x="280" y="182"/>
                    <a:pt x="293" y="173"/>
                  </a:cubicBezTo>
                  <a:close/>
                  <a:moveTo>
                    <a:pt x="164" y="45"/>
                  </a:moveTo>
                  <a:cubicBezTo>
                    <a:pt x="183" y="25"/>
                    <a:pt x="202" y="13"/>
                    <a:pt x="215" y="13"/>
                  </a:cubicBezTo>
                  <a:cubicBezTo>
                    <a:pt x="217" y="13"/>
                    <a:pt x="220" y="14"/>
                    <a:pt x="222" y="15"/>
                  </a:cubicBezTo>
                  <a:cubicBezTo>
                    <a:pt x="229" y="18"/>
                    <a:pt x="233" y="27"/>
                    <a:pt x="234" y="40"/>
                  </a:cubicBezTo>
                  <a:cubicBezTo>
                    <a:pt x="235" y="53"/>
                    <a:pt x="233" y="70"/>
                    <a:pt x="229" y="89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17" y="87"/>
                    <a:pt x="205" y="85"/>
                    <a:pt x="192" y="84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83" y="70"/>
                    <a:pt x="174" y="57"/>
                    <a:pt x="164" y="45"/>
                  </a:cubicBezTo>
                  <a:cubicBezTo>
                    <a:pt x="164" y="45"/>
                    <a:pt x="164" y="45"/>
                    <a:pt x="164" y="45"/>
                  </a:cubicBezTo>
                  <a:close/>
                  <a:moveTo>
                    <a:pt x="95" y="157"/>
                  </a:moveTo>
                  <a:cubicBezTo>
                    <a:pt x="95" y="157"/>
                    <a:pt x="95" y="157"/>
                    <a:pt x="95" y="157"/>
                  </a:cubicBezTo>
                  <a:cubicBezTo>
                    <a:pt x="97" y="162"/>
                    <a:pt x="100" y="166"/>
                    <a:pt x="102" y="171"/>
                  </a:cubicBezTo>
                  <a:cubicBezTo>
                    <a:pt x="106" y="178"/>
                    <a:pt x="109" y="184"/>
                    <a:pt x="113" y="190"/>
                  </a:cubicBezTo>
                  <a:cubicBezTo>
                    <a:pt x="113" y="190"/>
                    <a:pt x="113" y="190"/>
                    <a:pt x="113" y="190"/>
                  </a:cubicBezTo>
                  <a:cubicBezTo>
                    <a:pt x="113" y="190"/>
                    <a:pt x="113" y="190"/>
                    <a:pt x="113" y="190"/>
                  </a:cubicBezTo>
                  <a:cubicBezTo>
                    <a:pt x="103" y="189"/>
                    <a:pt x="94" y="188"/>
                    <a:pt x="85" y="186"/>
                  </a:cubicBezTo>
                  <a:cubicBezTo>
                    <a:pt x="85" y="186"/>
                    <a:pt x="85" y="186"/>
                    <a:pt x="85" y="186"/>
                  </a:cubicBezTo>
                  <a:cubicBezTo>
                    <a:pt x="85" y="186"/>
                    <a:pt x="85" y="186"/>
                    <a:pt x="85" y="186"/>
                  </a:cubicBezTo>
                  <a:cubicBezTo>
                    <a:pt x="88" y="177"/>
                    <a:pt x="91" y="167"/>
                    <a:pt x="95" y="157"/>
                  </a:cubicBezTo>
                  <a:close/>
                  <a:moveTo>
                    <a:pt x="86" y="101"/>
                  </a:move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94" y="99"/>
                    <a:pt x="103" y="97"/>
                    <a:pt x="112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08" y="103"/>
                    <a:pt x="105" y="109"/>
                    <a:pt x="101" y="115"/>
                  </a:cubicBezTo>
                  <a:cubicBezTo>
                    <a:pt x="99" y="119"/>
                    <a:pt x="97" y="123"/>
                    <a:pt x="95" y="127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95" y="127"/>
                    <a:pt x="95" y="127"/>
                    <a:pt x="95" y="127"/>
                  </a:cubicBezTo>
                  <a:cubicBezTo>
                    <a:pt x="91" y="118"/>
                    <a:pt x="88" y="109"/>
                    <a:pt x="86" y="101"/>
                  </a:cubicBezTo>
                  <a:close/>
                  <a:moveTo>
                    <a:pt x="112" y="166"/>
                  </a:moveTo>
                  <a:cubicBezTo>
                    <a:pt x="108" y="158"/>
                    <a:pt x="105" y="150"/>
                    <a:pt x="101" y="142"/>
                  </a:cubicBezTo>
                  <a:cubicBezTo>
                    <a:pt x="101" y="142"/>
                    <a:pt x="101" y="142"/>
                    <a:pt x="101" y="142"/>
                  </a:cubicBezTo>
                  <a:cubicBezTo>
                    <a:pt x="101" y="142"/>
                    <a:pt x="101" y="142"/>
                    <a:pt x="101" y="142"/>
                  </a:cubicBezTo>
                  <a:cubicBezTo>
                    <a:pt x="104" y="135"/>
                    <a:pt x="108" y="127"/>
                    <a:pt x="112" y="120"/>
                  </a:cubicBezTo>
                  <a:cubicBezTo>
                    <a:pt x="116" y="112"/>
                    <a:pt x="121" y="103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46" y="94"/>
                    <a:pt x="166" y="94"/>
                    <a:pt x="186" y="95"/>
                  </a:cubicBezTo>
                  <a:cubicBezTo>
                    <a:pt x="186" y="95"/>
                    <a:pt x="186" y="95"/>
                    <a:pt x="186" y="95"/>
                  </a:cubicBezTo>
                  <a:cubicBezTo>
                    <a:pt x="186" y="95"/>
                    <a:pt x="186" y="95"/>
                    <a:pt x="186" y="95"/>
                  </a:cubicBezTo>
                  <a:cubicBezTo>
                    <a:pt x="191" y="103"/>
                    <a:pt x="196" y="112"/>
                    <a:pt x="200" y="120"/>
                  </a:cubicBezTo>
                  <a:cubicBezTo>
                    <a:pt x="204" y="127"/>
                    <a:pt x="207" y="135"/>
                    <a:pt x="211" y="142"/>
                  </a:cubicBezTo>
                  <a:cubicBezTo>
                    <a:pt x="211" y="142"/>
                    <a:pt x="211" y="142"/>
                    <a:pt x="211" y="142"/>
                  </a:cubicBezTo>
                  <a:cubicBezTo>
                    <a:pt x="211" y="142"/>
                    <a:pt x="211" y="142"/>
                    <a:pt x="211" y="142"/>
                  </a:cubicBezTo>
                  <a:cubicBezTo>
                    <a:pt x="207" y="150"/>
                    <a:pt x="203" y="158"/>
                    <a:pt x="199" y="166"/>
                  </a:cubicBezTo>
                  <a:cubicBezTo>
                    <a:pt x="195" y="175"/>
                    <a:pt x="190" y="183"/>
                    <a:pt x="185" y="192"/>
                  </a:cubicBezTo>
                  <a:cubicBezTo>
                    <a:pt x="185" y="192"/>
                    <a:pt x="185" y="192"/>
                    <a:pt x="185" y="192"/>
                  </a:cubicBezTo>
                  <a:cubicBezTo>
                    <a:pt x="185" y="192"/>
                    <a:pt x="185" y="192"/>
                    <a:pt x="185" y="192"/>
                  </a:cubicBezTo>
                  <a:cubicBezTo>
                    <a:pt x="175" y="192"/>
                    <a:pt x="165" y="193"/>
                    <a:pt x="156" y="193"/>
                  </a:cubicBezTo>
                  <a:cubicBezTo>
                    <a:pt x="146" y="193"/>
                    <a:pt x="137" y="192"/>
                    <a:pt x="127" y="192"/>
                  </a:cubicBezTo>
                  <a:cubicBezTo>
                    <a:pt x="127" y="192"/>
                    <a:pt x="127" y="192"/>
                    <a:pt x="127" y="192"/>
                  </a:cubicBezTo>
                  <a:cubicBezTo>
                    <a:pt x="127" y="192"/>
                    <a:pt x="127" y="192"/>
                    <a:pt x="127" y="192"/>
                  </a:cubicBezTo>
                  <a:cubicBezTo>
                    <a:pt x="122" y="183"/>
                    <a:pt x="117" y="175"/>
                    <a:pt x="112" y="166"/>
                  </a:cubicBezTo>
                  <a:close/>
                  <a:moveTo>
                    <a:pt x="199" y="190"/>
                  </a:moveTo>
                  <a:cubicBezTo>
                    <a:pt x="203" y="184"/>
                    <a:pt x="206" y="178"/>
                    <a:pt x="209" y="171"/>
                  </a:cubicBezTo>
                  <a:cubicBezTo>
                    <a:pt x="212" y="166"/>
                    <a:pt x="214" y="162"/>
                    <a:pt x="217" y="157"/>
                  </a:cubicBezTo>
                  <a:cubicBezTo>
                    <a:pt x="217" y="157"/>
                    <a:pt x="217" y="157"/>
                    <a:pt x="217" y="157"/>
                  </a:cubicBezTo>
                  <a:cubicBezTo>
                    <a:pt x="217" y="157"/>
                    <a:pt x="217" y="157"/>
                    <a:pt x="217" y="157"/>
                  </a:cubicBezTo>
                  <a:cubicBezTo>
                    <a:pt x="221" y="167"/>
                    <a:pt x="224" y="177"/>
                    <a:pt x="227" y="186"/>
                  </a:cubicBezTo>
                  <a:cubicBezTo>
                    <a:pt x="227" y="186"/>
                    <a:pt x="227" y="186"/>
                    <a:pt x="227" y="186"/>
                  </a:cubicBezTo>
                  <a:cubicBezTo>
                    <a:pt x="227" y="186"/>
                    <a:pt x="227" y="186"/>
                    <a:pt x="227" y="186"/>
                  </a:cubicBezTo>
                  <a:cubicBezTo>
                    <a:pt x="218" y="188"/>
                    <a:pt x="209" y="189"/>
                    <a:pt x="199" y="190"/>
                  </a:cubicBezTo>
                  <a:cubicBezTo>
                    <a:pt x="199" y="190"/>
                    <a:pt x="199" y="190"/>
                    <a:pt x="199" y="190"/>
                  </a:cubicBezTo>
                  <a:close/>
                  <a:moveTo>
                    <a:pt x="217" y="127"/>
                  </a:moveTo>
                  <a:cubicBezTo>
                    <a:pt x="217" y="128"/>
                    <a:pt x="217" y="128"/>
                    <a:pt x="217" y="128"/>
                  </a:cubicBezTo>
                  <a:cubicBezTo>
                    <a:pt x="217" y="127"/>
                    <a:pt x="217" y="127"/>
                    <a:pt x="217" y="127"/>
                  </a:cubicBezTo>
                  <a:cubicBezTo>
                    <a:pt x="214" y="123"/>
                    <a:pt x="212" y="119"/>
                    <a:pt x="210" y="115"/>
                  </a:cubicBezTo>
                  <a:cubicBezTo>
                    <a:pt x="207" y="109"/>
                    <a:pt x="204" y="103"/>
                    <a:pt x="200" y="97"/>
                  </a:cubicBezTo>
                  <a:cubicBezTo>
                    <a:pt x="200" y="96"/>
                    <a:pt x="200" y="96"/>
                    <a:pt x="200" y="96"/>
                  </a:cubicBezTo>
                  <a:cubicBezTo>
                    <a:pt x="200" y="96"/>
                    <a:pt x="200" y="96"/>
                    <a:pt x="200" y="96"/>
                  </a:cubicBezTo>
                  <a:cubicBezTo>
                    <a:pt x="209" y="97"/>
                    <a:pt x="218" y="99"/>
                    <a:pt x="226" y="100"/>
                  </a:cubicBezTo>
                  <a:cubicBezTo>
                    <a:pt x="226" y="100"/>
                    <a:pt x="226" y="100"/>
                    <a:pt x="226" y="10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3" y="109"/>
                    <a:pt x="220" y="118"/>
                    <a:pt x="217" y="127"/>
                  </a:cubicBezTo>
                  <a:close/>
                  <a:moveTo>
                    <a:pt x="156" y="54"/>
                  </a:moveTo>
                  <a:cubicBezTo>
                    <a:pt x="156" y="54"/>
                    <a:pt x="156" y="54"/>
                    <a:pt x="156" y="54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63" y="63"/>
                    <a:pt x="171" y="72"/>
                    <a:pt x="178" y="83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0" y="83"/>
                    <a:pt x="163" y="82"/>
                    <a:pt x="156" y="82"/>
                  </a:cubicBezTo>
                  <a:cubicBezTo>
                    <a:pt x="149" y="82"/>
                    <a:pt x="141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41" y="72"/>
                    <a:pt x="148" y="63"/>
                    <a:pt x="156" y="54"/>
                  </a:cubicBezTo>
                  <a:close/>
                  <a:moveTo>
                    <a:pt x="78" y="40"/>
                  </a:moveTo>
                  <a:cubicBezTo>
                    <a:pt x="79" y="27"/>
                    <a:pt x="83" y="18"/>
                    <a:pt x="89" y="15"/>
                  </a:cubicBezTo>
                  <a:cubicBezTo>
                    <a:pt x="92" y="14"/>
                    <a:pt x="94" y="13"/>
                    <a:pt x="97" y="13"/>
                  </a:cubicBezTo>
                  <a:cubicBezTo>
                    <a:pt x="110" y="13"/>
                    <a:pt x="129" y="25"/>
                    <a:pt x="148" y="45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38" y="57"/>
                    <a:pt x="128" y="70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07" y="85"/>
                    <a:pt x="94" y="87"/>
                    <a:pt x="83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78" y="70"/>
                    <a:pt x="76" y="53"/>
                    <a:pt x="78" y="40"/>
                  </a:cubicBezTo>
                  <a:close/>
                  <a:moveTo>
                    <a:pt x="74" y="183"/>
                  </a:moveTo>
                  <a:cubicBezTo>
                    <a:pt x="74" y="183"/>
                    <a:pt x="74" y="183"/>
                    <a:pt x="74" y="183"/>
                  </a:cubicBezTo>
                  <a:cubicBezTo>
                    <a:pt x="55" y="179"/>
                    <a:pt x="39" y="172"/>
                    <a:pt x="28" y="165"/>
                  </a:cubicBezTo>
                  <a:cubicBezTo>
                    <a:pt x="17" y="158"/>
                    <a:pt x="11" y="151"/>
                    <a:pt x="11" y="143"/>
                  </a:cubicBezTo>
                  <a:cubicBezTo>
                    <a:pt x="11" y="136"/>
                    <a:pt x="17" y="128"/>
                    <a:pt x="28" y="121"/>
                  </a:cubicBezTo>
                  <a:cubicBezTo>
                    <a:pt x="39" y="114"/>
                    <a:pt x="55" y="108"/>
                    <a:pt x="74" y="103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8" y="116"/>
                    <a:pt x="83" y="129"/>
                    <a:pt x="88" y="14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2" y="156"/>
                    <a:pt x="77" y="170"/>
                    <a:pt x="74" y="183"/>
                  </a:cubicBezTo>
                  <a:close/>
                  <a:moveTo>
                    <a:pt x="148" y="240"/>
                  </a:moveTo>
                  <a:cubicBezTo>
                    <a:pt x="128" y="261"/>
                    <a:pt x="109" y="273"/>
                    <a:pt x="96" y="273"/>
                  </a:cubicBezTo>
                  <a:cubicBezTo>
                    <a:pt x="93" y="273"/>
                    <a:pt x="91" y="272"/>
                    <a:pt x="89" y="271"/>
                  </a:cubicBezTo>
                  <a:cubicBezTo>
                    <a:pt x="82" y="268"/>
                    <a:pt x="78" y="259"/>
                    <a:pt x="77" y="246"/>
                  </a:cubicBezTo>
                  <a:cubicBezTo>
                    <a:pt x="76" y="233"/>
                    <a:pt x="77" y="216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94" y="200"/>
                    <a:pt x="107" y="201"/>
                    <a:pt x="120" y="203"/>
                  </a:cubicBezTo>
                  <a:cubicBezTo>
                    <a:pt x="120" y="203"/>
                    <a:pt x="120" y="203"/>
                    <a:pt x="120" y="203"/>
                  </a:cubicBezTo>
                  <a:cubicBezTo>
                    <a:pt x="120" y="203"/>
                    <a:pt x="120" y="203"/>
                    <a:pt x="120" y="203"/>
                  </a:cubicBezTo>
                  <a:cubicBezTo>
                    <a:pt x="129" y="216"/>
                    <a:pt x="138" y="229"/>
                    <a:pt x="148" y="240"/>
                  </a:cubicBezTo>
                  <a:cubicBezTo>
                    <a:pt x="148" y="240"/>
                    <a:pt x="148" y="240"/>
                    <a:pt x="148" y="240"/>
                  </a:cubicBezTo>
                  <a:close/>
                  <a:moveTo>
                    <a:pt x="156" y="231"/>
                  </a:moveTo>
                  <a:cubicBezTo>
                    <a:pt x="156" y="231"/>
                    <a:pt x="156" y="231"/>
                    <a:pt x="156" y="231"/>
                  </a:cubicBezTo>
                  <a:cubicBezTo>
                    <a:pt x="156" y="231"/>
                    <a:pt x="156" y="231"/>
                    <a:pt x="156" y="231"/>
                  </a:cubicBezTo>
                  <a:cubicBezTo>
                    <a:pt x="149" y="223"/>
                    <a:pt x="142" y="214"/>
                    <a:pt x="135" y="204"/>
                  </a:cubicBezTo>
                  <a:cubicBezTo>
                    <a:pt x="135" y="204"/>
                    <a:pt x="135" y="204"/>
                    <a:pt x="135" y="204"/>
                  </a:cubicBezTo>
                  <a:cubicBezTo>
                    <a:pt x="135" y="204"/>
                    <a:pt x="135" y="204"/>
                    <a:pt x="135" y="204"/>
                  </a:cubicBezTo>
                  <a:cubicBezTo>
                    <a:pt x="142" y="204"/>
                    <a:pt x="149" y="204"/>
                    <a:pt x="156" y="204"/>
                  </a:cubicBezTo>
                  <a:cubicBezTo>
                    <a:pt x="163" y="204"/>
                    <a:pt x="170" y="204"/>
                    <a:pt x="177" y="204"/>
                  </a:cubicBezTo>
                  <a:cubicBezTo>
                    <a:pt x="177" y="204"/>
                    <a:pt x="177" y="204"/>
                    <a:pt x="177" y="204"/>
                  </a:cubicBezTo>
                  <a:cubicBezTo>
                    <a:pt x="177" y="204"/>
                    <a:pt x="177" y="204"/>
                    <a:pt x="177" y="204"/>
                  </a:cubicBezTo>
                  <a:cubicBezTo>
                    <a:pt x="170" y="214"/>
                    <a:pt x="163" y="223"/>
                    <a:pt x="156" y="231"/>
                  </a:cubicBezTo>
                  <a:close/>
                  <a:moveTo>
                    <a:pt x="235" y="246"/>
                  </a:moveTo>
                  <a:cubicBezTo>
                    <a:pt x="234" y="259"/>
                    <a:pt x="229" y="268"/>
                    <a:pt x="223" y="271"/>
                  </a:cubicBezTo>
                  <a:cubicBezTo>
                    <a:pt x="221" y="272"/>
                    <a:pt x="218" y="273"/>
                    <a:pt x="215" y="273"/>
                  </a:cubicBezTo>
                  <a:cubicBezTo>
                    <a:pt x="202" y="273"/>
                    <a:pt x="184" y="261"/>
                    <a:pt x="164" y="240"/>
                  </a:cubicBezTo>
                  <a:cubicBezTo>
                    <a:pt x="164" y="240"/>
                    <a:pt x="164" y="240"/>
                    <a:pt x="164" y="240"/>
                  </a:cubicBezTo>
                  <a:cubicBezTo>
                    <a:pt x="164" y="240"/>
                    <a:pt x="164" y="240"/>
                    <a:pt x="164" y="240"/>
                  </a:cubicBezTo>
                  <a:cubicBezTo>
                    <a:pt x="173" y="229"/>
                    <a:pt x="182" y="216"/>
                    <a:pt x="191" y="203"/>
                  </a:cubicBezTo>
                  <a:cubicBezTo>
                    <a:pt x="191" y="203"/>
                    <a:pt x="191" y="203"/>
                    <a:pt x="191" y="203"/>
                  </a:cubicBezTo>
                  <a:cubicBezTo>
                    <a:pt x="191" y="203"/>
                    <a:pt x="191" y="203"/>
                    <a:pt x="191" y="203"/>
                  </a:cubicBezTo>
                  <a:cubicBezTo>
                    <a:pt x="205" y="201"/>
                    <a:pt x="218" y="200"/>
                    <a:pt x="230" y="197"/>
                  </a:cubicBezTo>
                  <a:cubicBezTo>
                    <a:pt x="230" y="197"/>
                    <a:pt x="230" y="197"/>
                    <a:pt x="230" y="197"/>
                  </a:cubicBezTo>
                  <a:cubicBezTo>
                    <a:pt x="230" y="197"/>
                    <a:pt x="230" y="197"/>
                    <a:pt x="230" y="197"/>
                  </a:cubicBezTo>
                  <a:cubicBezTo>
                    <a:pt x="234" y="216"/>
                    <a:pt x="236" y="233"/>
                    <a:pt x="235" y="246"/>
                  </a:cubicBezTo>
                  <a:close/>
                  <a:moveTo>
                    <a:pt x="238" y="183"/>
                  </a:moveTo>
                  <a:cubicBezTo>
                    <a:pt x="238" y="183"/>
                    <a:pt x="238" y="183"/>
                    <a:pt x="238" y="183"/>
                  </a:cubicBezTo>
                  <a:cubicBezTo>
                    <a:pt x="238" y="183"/>
                    <a:pt x="238" y="183"/>
                    <a:pt x="238" y="183"/>
                  </a:cubicBezTo>
                  <a:cubicBezTo>
                    <a:pt x="234" y="170"/>
                    <a:pt x="229" y="156"/>
                    <a:pt x="223" y="142"/>
                  </a:cubicBezTo>
                  <a:cubicBezTo>
                    <a:pt x="223" y="142"/>
                    <a:pt x="223" y="142"/>
                    <a:pt x="223" y="142"/>
                  </a:cubicBezTo>
                  <a:cubicBezTo>
                    <a:pt x="223" y="142"/>
                    <a:pt x="223" y="142"/>
                    <a:pt x="223" y="142"/>
                  </a:cubicBezTo>
                  <a:cubicBezTo>
                    <a:pt x="229" y="129"/>
                    <a:pt x="234" y="116"/>
                    <a:pt x="237" y="103"/>
                  </a:cubicBezTo>
                  <a:cubicBezTo>
                    <a:pt x="237" y="103"/>
                    <a:pt x="237" y="103"/>
                    <a:pt x="237" y="103"/>
                  </a:cubicBezTo>
                  <a:cubicBezTo>
                    <a:pt x="237" y="103"/>
                    <a:pt x="237" y="103"/>
                    <a:pt x="237" y="103"/>
                  </a:cubicBezTo>
                  <a:cubicBezTo>
                    <a:pt x="256" y="108"/>
                    <a:pt x="272" y="114"/>
                    <a:pt x="283" y="121"/>
                  </a:cubicBezTo>
                  <a:cubicBezTo>
                    <a:pt x="294" y="128"/>
                    <a:pt x="300" y="136"/>
                    <a:pt x="300" y="143"/>
                  </a:cubicBezTo>
                  <a:cubicBezTo>
                    <a:pt x="300" y="151"/>
                    <a:pt x="294" y="158"/>
                    <a:pt x="284" y="165"/>
                  </a:cubicBezTo>
                  <a:cubicBezTo>
                    <a:pt x="273" y="172"/>
                    <a:pt x="257" y="179"/>
                    <a:pt x="238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958F2C4F-F97B-1B81-5643-2F0B9E2C74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8" y="604"/>
              <a:ext cx="80" cy="80"/>
            </a:xfrm>
            <a:custGeom>
              <a:avLst/>
              <a:gdLst>
                <a:gd name="T0" fmla="*/ 27 w 54"/>
                <a:gd name="T1" fmla="*/ 0 h 54"/>
                <a:gd name="T2" fmla="*/ 0 w 54"/>
                <a:gd name="T3" fmla="*/ 27 h 54"/>
                <a:gd name="T4" fmla="*/ 27 w 54"/>
                <a:gd name="T5" fmla="*/ 54 h 54"/>
                <a:gd name="T6" fmla="*/ 54 w 54"/>
                <a:gd name="T7" fmla="*/ 27 h 54"/>
                <a:gd name="T8" fmla="*/ 27 w 54"/>
                <a:gd name="T9" fmla="*/ 0 h 54"/>
                <a:gd name="T10" fmla="*/ 27 w 54"/>
                <a:gd name="T11" fmla="*/ 43 h 54"/>
                <a:gd name="T12" fmla="*/ 12 w 54"/>
                <a:gd name="T13" fmla="*/ 27 h 54"/>
                <a:gd name="T14" fmla="*/ 27 w 54"/>
                <a:gd name="T15" fmla="*/ 12 h 54"/>
                <a:gd name="T16" fmla="*/ 43 w 54"/>
                <a:gd name="T17" fmla="*/ 27 h 54"/>
                <a:gd name="T18" fmla="*/ 27 w 54"/>
                <a:gd name="T1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0" y="42"/>
                    <a:pt x="12" y="54"/>
                    <a:pt x="27" y="54"/>
                  </a:cubicBezTo>
                  <a:cubicBezTo>
                    <a:pt x="42" y="54"/>
                    <a:pt x="54" y="42"/>
                    <a:pt x="54" y="27"/>
                  </a:cubicBezTo>
                  <a:cubicBezTo>
                    <a:pt x="54" y="12"/>
                    <a:pt x="42" y="0"/>
                    <a:pt x="27" y="0"/>
                  </a:cubicBezTo>
                  <a:close/>
                  <a:moveTo>
                    <a:pt x="27" y="43"/>
                  </a:moveTo>
                  <a:cubicBezTo>
                    <a:pt x="19" y="43"/>
                    <a:pt x="12" y="36"/>
                    <a:pt x="12" y="27"/>
                  </a:cubicBezTo>
                  <a:cubicBezTo>
                    <a:pt x="12" y="19"/>
                    <a:pt x="19" y="12"/>
                    <a:pt x="27" y="12"/>
                  </a:cubicBezTo>
                  <a:cubicBezTo>
                    <a:pt x="36" y="12"/>
                    <a:pt x="43" y="19"/>
                    <a:pt x="43" y="27"/>
                  </a:cubicBezTo>
                  <a:cubicBezTo>
                    <a:pt x="43" y="36"/>
                    <a:pt x="36" y="43"/>
                    <a:pt x="2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" name="TextBox 25">
            <a:extLst>
              <a:ext uri="{FF2B5EF4-FFF2-40B4-BE49-F238E27FC236}">
                <a16:creationId xmlns:a16="http://schemas.microsoft.com/office/drawing/2014/main" id="{D403ABFF-7C0D-6D66-EA0C-B3FFE9AF0466}"/>
              </a:ext>
            </a:extLst>
          </p:cNvPr>
          <p:cNvSpPr txBox="1"/>
          <p:nvPr/>
        </p:nvSpPr>
        <p:spPr>
          <a:xfrm>
            <a:off x="490094" y="2489489"/>
            <a:ext cx="3450500" cy="553998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D36A528A-E886-C1D5-8980-195BBF70061E}"/>
              </a:ext>
            </a:extLst>
          </p:cNvPr>
          <p:cNvSpPr txBox="1"/>
          <p:nvPr/>
        </p:nvSpPr>
        <p:spPr>
          <a:xfrm>
            <a:off x="6886574" y="1665215"/>
            <a:ext cx="4933950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20B7EFA-5B43-5276-AAC6-156ABF6716C3}"/>
              </a:ext>
            </a:extLst>
          </p:cNvPr>
          <p:cNvSpPr txBox="1"/>
          <p:nvPr/>
        </p:nvSpPr>
        <p:spPr>
          <a:xfrm>
            <a:off x="8378935" y="2591497"/>
            <a:ext cx="3441589" cy="553998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4071884A-BE31-B5CE-FCDB-60091ED71EE0}"/>
              </a:ext>
            </a:extLst>
          </p:cNvPr>
          <p:cNvSpPr txBox="1"/>
          <p:nvPr/>
        </p:nvSpPr>
        <p:spPr>
          <a:xfrm>
            <a:off x="7845217" y="3637777"/>
            <a:ext cx="4121496" cy="553998"/>
          </a:xfrm>
          <a:prstGeom prst="rect">
            <a:avLst/>
          </a:prstGeom>
          <a:noFill/>
          <a:ln w="19050">
            <a:noFill/>
          </a:ln>
        </p:spPr>
        <p:txBody>
          <a:bodyPr wrap="square" lIns="7200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56" name="TextBox 25">
            <a:extLst>
              <a:ext uri="{FF2B5EF4-FFF2-40B4-BE49-F238E27FC236}">
                <a16:creationId xmlns:a16="http://schemas.microsoft.com/office/drawing/2014/main" id="{6833B4BE-87CA-3ED3-562C-058BFF403D09}"/>
              </a:ext>
            </a:extLst>
          </p:cNvPr>
          <p:cNvSpPr txBox="1"/>
          <p:nvPr/>
        </p:nvSpPr>
        <p:spPr>
          <a:xfrm>
            <a:off x="8378935" y="4733196"/>
            <a:ext cx="3441589" cy="553998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57" name="TextBox 25">
            <a:extLst>
              <a:ext uri="{FF2B5EF4-FFF2-40B4-BE49-F238E27FC236}">
                <a16:creationId xmlns:a16="http://schemas.microsoft.com/office/drawing/2014/main" id="{E491C010-0647-B3D7-E772-405B71F808E0}"/>
              </a:ext>
            </a:extLst>
          </p:cNvPr>
          <p:cNvSpPr txBox="1"/>
          <p:nvPr/>
        </p:nvSpPr>
        <p:spPr>
          <a:xfrm>
            <a:off x="1827930" y="5763644"/>
            <a:ext cx="3812117" cy="553998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58" name="TextBox 25">
            <a:extLst>
              <a:ext uri="{FF2B5EF4-FFF2-40B4-BE49-F238E27FC236}">
                <a16:creationId xmlns:a16="http://schemas.microsoft.com/office/drawing/2014/main" id="{6153E5BB-63F1-9749-E5C0-150C127220AD}"/>
              </a:ext>
            </a:extLst>
          </p:cNvPr>
          <p:cNvSpPr txBox="1"/>
          <p:nvPr/>
        </p:nvSpPr>
        <p:spPr>
          <a:xfrm>
            <a:off x="488579" y="4473412"/>
            <a:ext cx="3452015" cy="553998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U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l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uct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llamcorp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t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pulvina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pib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4" name="Conector recto 9">
            <a:extLst>
              <a:ext uri="{FF2B5EF4-FFF2-40B4-BE49-F238E27FC236}">
                <a16:creationId xmlns:a16="http://schemas.microsoft.com/office/drawing/2014/main" id="{7039F3F7-7F15-F27E-5EF5-315A9AA58F78}"/>
              </a:ext>
            </a:extLst>
          </p:cNvPr>
          <p:cNvCxnSpPr>
            <a:cxnSpLocks/>
          </p:cNvCxnSpPr>
          <p:nvPr/>
        </p:nvCxnSpPr>
        <p:spPr>
          <a:xfrm>
            <a:off x="6190094" y="3857654"/>
            <a:ext cx="1683826" cy="0"/>
          </a:xfrm>
          <a:prstGeom prst="line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1CCFA03B-DAF2-68FF-6FE7-E1D38D27FE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80824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E846CE6D-996B-25B9-B2AF-45E8CA47B1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E846CE6D-996B-25B9-B2AF-45E8CA47B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The 3 C’s </a:t>
            </a:r>
          </a:p>
        </p:txBody>
      </p:sp>
      <p:graphicFrame>
        <p:nvGraphicFramePr>
          <p:cNvPr id="10" name="Tabla 10">
            <a:extLst>
              <a:ext uri="{FF2B5EF4-FFF2-40B4-BE49-F238E27FC236}">
                <a16:creationId xmlns:a16="http://schemas.microsoft.com/office/drawing/2014/main" id="{E40933CC-EAAD-3267-193A-F4E6782E8EF0}"/>
              </a:ext>
            </a:extLst>
          </p:cNvPr>
          <p:cNvGraphicFramePr>
            <a:graphicFrameLocks noGrp="1"/>
          </p:cNvGraphicFramePr>
          <p:nvPr/>
        </p:nvGraphicFramePr>
        <p:xfrm>
          <a:off x="371476" y="1520825"/>
          <a:ext cx="11433174" cy="4787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9895">
                  <a:extLst>
                    <a:ext uri="{9D8B030D-6E8A-4147-A177-3AD203B41FA5}">
                      <a16:colId xmlns:a16="http://schemas.microsoft.com/office/drawing/2014/main" val="25118887"/>
                    </a:ext>
                  </a:extLst>
                </a:gridCol>
                <a:gridCol w="9903279">
                  <a:extLst>
                    <a:ext uri="{9D8B030D-6E8A-4147-A177-3AD203B41FA5}">
                      <a16:colId xmlns:a16="http://schemas.microsoft.com/office/drawing/2014/main" val="2398883508"/>
                    </a:ext>
                  </a:extLst>
                </a:gridCol>
              </a:tblGrid>
              <a:tr h="28545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3C’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Strateg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2374223"/>
                  </a:ext>
                </a:extLst>
              </a:tr>
              <a:tr h="1500816"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Compan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944546"/>
                  </a:ext>
                </a:extLst>
              </a:tr>
              <a:tr h="1500816"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Customer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523552"/>
                  </a:ext>
                </a:extLst>
              </a:tr>
              <a:tr h="1500816"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Competitor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882217"/>
                  </a:ext>
                </a:extLst>
              </a:tr>
            </a:tbl>
          </a:graphicData>
        </a:graphic>
      </p:graphicFrame>
      <p:grpSp>
        <p:nvGrpSpPr>
          <p:cNvPr id="12" name="Group 172">
            <a:extLst>
              <a:ext uri="{FF2B5EF4-FFF2-40B4-BE49-F238E27FC236}">
                <a16:creationId xmlns:a16="http://schemas.microsoft.com/office/drawing/2014/main" id="{D0659892-C127-B045-A494-0823595199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8781" y="2096671"/>
            <a:ext cx="549614" cy="549614"/>
            <a:chOff x="4477" y="3000"/>
            <a:chExt cx="426" cy="426"/>
          </a:xfrm>
          <a:solidFill>
            <a:schemeClr val="bg1"/>
          </a:solidFill>
        </p:grpSpPr>
        <p:sp>
          <p:nvSpPr>
            <p:cNvPr id="13" name="Freeform 173">
              <a:extLst>
                <a:ext uri="{FF2B5EF4-FFF2-40B4-BE49-F238E27FC236}">
                  <a16:creationId xmlns:a16="http://schemas.microsoft.com/office/drawing/2014/main" id="{E516E175-651D-EA07-F7F0-7C755EA1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7" y="3408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74">
              <a:extLst>
                <a:ext uri="{FF2B5EF4-FFF2-40B4-BE49-F238E27FC236}">
                  <a16:creationId xmlns:a16="http://schemas.microsoft.com/office/drawing/2014/main" id="{21BACF51-FD72-E885-68EF-F5E2954896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1" y="3071"/>
              <a:ext cx="178" cy="355"/>
            </a:xfrm>
            <a:custGeom>
              <a:avLst/>
              <a:gdLst>
                <a:gd name="T0" fmla="*/ 114 w 120"/>
                <a:gd name="T1" fmla="*/ 240 h 240"/>
                <a:gd name="T2" fmla="*/ 6 w 120"/>
                <a:gd name="T3" fmla="*/ 240 h 240"/>
                <a:gd name="T4" fmla="*/ 0 w 120"/>
                <a:gd name="T5" fmla="*/ 234 h 240"/>
                <a:gd name="T6" fmla="*/ 0 w 120"/>
                <a:gd name="T7" fmla="*/ 6 h 240"/>
                <a:gd name="T8" fmla="*/ 6 w 120"/>
                <a:gd name="T9" fmla="*/ 0 h 240"/>
                <a:gd name="T10" fmla="*/ 114 w 120"/>
                <a:gd name="T11" fmla="*/ 0 h 240"/>
                <a:gd name="T12" fmla="*/ 120 w 120"/>
                <a:gd name="T13" fmla="*/ 6 h 240"/>
                <a:gd name="T14" fmla="*/ 120 w 120"/>
                <a:gd name="T15" fmla="*/ 234 h 240"/>
                <a:gd name="T16" fmla="*/ 114 w 120"/>
                <a:gd name="T17" fmla="*/ 240 h 240"/>
                <a:gd name="T18" fmla="*/ 12 w 120"/>
                <a:gd name="T19" fmla="*/ 228 h 240"/>
                <a:gd name="T20" fmla="*/ 108 w 120"/>
                <a:gd name="T21" fmla="*/ 228 h 240"/>
                <a:gd name="T22" fmla="*/ 108 w 120"/>
                <a:gd name="T23" fmla="*/ 12 h 240"/>
                <a:gd name="T24" fmla="*/ 12 w 120"/>
                <a:gd name="T25" fmla="*/ 12 h 240"/>
                <a:gd name="T26" fmla="*/ 12 w 120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240">
                  <a:moveTo>
                    <a:pt x="114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8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3"/>
                    <a:pt x="120" y="6"/>
                  </a:cubicBezTo>
                  <a:cubicBezTo>
                    <a:pt x="120" y="234"/>
                    <a:pt x="120" y="234"/>
                    <a:pt x="120" y="234"/>
                  </a:cubicBezTo>
                  <a:cubicBezTo>
                    <a:pt x="120" y="238"/>
                    <a:pt x="118" y="240"/>
                    <a:pt x="114" y="240"/>
                  </a:cubicBezTo>
                  <a:close/>
                  <a:moveTo>
                    <a:pt x="12" y="228"/>
                  </a:moveTo>
                  <a:cubicBezTo>
                    <a:pt x="108" y="228"/>
                    <a:pt x="108" y="228"/>
                    <a:pt x="108" y="228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75">
              <a:extLst>
                <a:ext uri="{FF2B5EF4-FFF2-40B4-BE49-F238E27FC236}">
                  <a16:creationId xmlns:a16="http://schemas.microsoft.com/office/drawing/2014/main" id="{FB77B911-FE4D-42F7-5BDA-496536835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7" y="3231"/>
              <a:ext cx="88" cy="195"/>
            </a:xfrm>
            <a:custGeom>
              <a:avLst/>
              <a:gdLst>
                <a:gd name="T0" fmla="*/ 54 w 60"/>
                <a:gd name="T1" fmla="*/ 132 h 132"/>
                <a:gd name="T2" fmla="*/ 6 w 60"/>
                <a:gd name="T3" fmla="*/ 132 h 132"/>
                <a:gd name="T4" fmla="*/ 0 w 60"/>
                <a:gd name="T5" fmla="*/ 126 h 132"/>
                <a:gd name="T6" fmla="*/ 0 w 60"/>
                <a:gd name="T7" fmla="*/ 6 h 132"/>
                <a:gd name="T8" fmla="*/ 6 w 60"/>
                <a:gd name="T9" fmla="*/ 0 h 132"/>
                <a:gd name="T10" fmla="*/ 54 w 60"/>
                <a:gd name="T11" fmla="*/ 0 h 132"/>
                <a:gd name="T12" fmla="*/ 60 w 60"/>
                <a:gd name="T13" fmla="*/ 6 h 132"/>
                <a:gd name="T14" fmla="*/ 60 w 60"/>
                <a:gd name="T15" fmla="*/ 126 h 132"/>
                <a:gd name="T16" fmla="*/ 54 w 60"/>
                <a:gd name="T17" fmla="*/ 132 h 132"/>
                <a:gd name="T18" fmla="*/ 12 w 60"/>
                <a:gd name="T19" fmla="*/ 120 h 132"/>
                <a:gd name="T20" fmla="*/ 48 w 60"/>
                <a:gd name="T21" fmla="*/ 120 h 132"/>
                <a:gd name="T22" fmla="*/ 48 w 60"/>
                <a:gd name="T23" fmla="*/ 12 h 132"/>
                <a:gd name="T24" fmla="*/ 12 w 60"/>
                <a:gd name="T25" fmla="*/ 12 h 132"/>
                <a:gd name="T26" fmla="*/ 12 w 60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32">
                  <a:moveTo>
                    <a:pt x="54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60" y="130"/>
                    <a:pt x="58" y="132"/>
                    <a:pt x="54" y="132"/>
                  </a:cubicBezTo>
                  <a:close/>
                  <a:moveTo>
                    <a:pt x="1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76">
              <a:extLst>
                <a:ext uri="{FF2B5EF4-FFF2-40B4-BE49-F238E27FC236}">
                  <a16:creationId xmlns:a16="http://schemas.microsoft.com/office/drawing/2014/main" id="{AC0F55C6-0E72-7E25-CCCD-312CE9420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5" y="3231"/>
              <a:ext cx="88" cy="195"/>
            </a:xfrm>
            <a:custGeom>
              <a:avLst/>
              <a:gdLst>
                <a:gd name="T0" fmla="*/ 54 w 60"/>
                <a:gd name="T1" fmla="*/ 132 h 132"/>
                <a:gd name="T2" fmla="*/ 6 w 60"/>
                <a:gd name="T3" fmla="*/ 132 h 132"/>
                <a:gd name="T4" fmla="*/ 0 w 60"/>
                <a:gd name="T5" fmla="*/ 126 h 132"/>
                <a:gd name="T6" fmla="*/ 0 w 60"/>
                <a:gd name="T7" fmla="*/ 6 h 132"/>
                <a:gd name="T8" fmla="*/ 6 w 60"/>
                <a:gd name="T9" fmla="*/ 0 h 132"/>
                <a:gd name="T10" fmla="*/ 54 w 60"/>
                <a:gd name="T11" fmla="*/ 0 h 132"/>
                <a:gd name="T12" fmla="*/ 60 w 60"/>
                <a:gd name="T13" fmla="*/ 6 h 132"/>
                <a:gd name="T14" fmla="*/ 60 w 60"/>
                <a:gd name="T15" fmla="*/ 126 h 132"/>
                <a:gd name="T16" fmla="*/ 54 w 60"/>
                <a:gd name="T17" fmla="*/ 132 h 132"/>
                <a:gd name="T18" fmla="*/ 12 w 60"/>
                <a:gd name="T19" fmla="*/ 120 h 132"/>
                <a:gd name="T20" fmla="*/ 48 w 60"/>
                <a:gd name="T21" fmla="*/ 120 h 132"/>
                <a:gd name="T22" fmla="*/ 48 w 60"/>
                <a:gd name="T23" fmla="*/ 12 h 132"/>
                <a:gd name="T24" fmla="*/ 12 w 60"/>
                <a:gd name="T25" fmla="*/ 12 h 132"/>
                <a:gd name="T26" fmla="*/ 12 w 60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32">
                  <a:moveTo>
                    <a:pt x="54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60" y="130"/>
                    <a:pt x="58" y="132"/>
                    <a:pt x="54" y="132"/>
                  </a:cubicBezTo>
                  <a:close/>
                  <a:moveTo>
                    <a:pt x="1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77">
              <a:extLst>
                <a:ext uri="{FF2B5EF4-FFF2-40B4-BE49-F238E27FC236}">
                  <a16:creationId xmlns:a16="http://schemas.microsoft.com/office/drawing/2014/main" id="{69931F57-CC00-E72C-35E1-AA0715E34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" y="3213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3" y="24"/>
                    <a:pt x="0" y="22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0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78">
              <a:extLst>
                <a:ext uri="{FF2B5EF4-FFF2-40B4-BE49-F238E27FC236}">
                  <a16:creationId xmlns:a16="http://schemas.microsoft.com/office/drawing/2014/main" id="{F3CCA703-D777-C1A9-2542-F9E1FC1F9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" y="3213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3" y="24"/>
                    <a:pt x="0" y="22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0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79">
              <a:extLst>
                <a:ext uri="{FF2B5EF4-FFF2-40B4-BE49-F238E27FC236}">
                  <a16:creationId xmlns:a16="http://schemas.microsoft.com/office/drawing/2014/main" id="{938069CD-64E2-78DF-3DC4-2744796C7A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4" y="3036"/>
              <a:ext cx="72" cy="53"/>
            </a:xfrm>
            <a:custGeom>
              <a:avLst/>
              <a:gdLst>
                <a:gd name="T0" fmla="*/ 42 w 48"/>
                <a:gd name="T1" fmla="*/ 36 h 36"/>
                <a:gd name="T2" fmla="*/ 6 w 48"/>
                <a:gd name="T3" fmla="*/ 36 h 36"/>
                <a:gd name="T4" fmla="*/ 0 w 48"/>
                <a:gd name="T5" fmla="*/ 30 h 36"/>
                <a:gd name="T6" fmla="*/ 0 w 48"/>
                <a:gd name="T7" fmla="*/ 6 h 36"/>
                <a:gd name="T8" fmla="*/ 6 w 48"/>
                <a:gd name="T9" fmla="*/ 0 h 36"/>
                <a:gd name="T10" fmla="*/ 42 w 48"/>
                <a:gd name="T11" fmla="*/ 0 h 36"/>
                <a:gd name="T12" fmla="*/ 48 w 48"/>
                <a:gd name="T13" fmla="*/ 6 h 36"/>
                <a:gd name="T14" fmla="*/ 48 w 48"/>
                <a:gd name="T15" fmla="*/ 30 h 36"/>
                <a:gd name="T16" fmla="*/ 42 w 48"/>
                <a:gd name="T17" fmla="*/ 36 h 36"/>
                <a:gd name="T18" fmla="*/ 12 w 48"/>
                <a:gd name="T19" fmla="*/ 24 h 36"/>
                <a:gd name="T20" fmla="*/ 36 w 48"/>
                <a:gd name="T21" fmla="*/ 24 h 36"/>
                <a:gd name="T22" fmla="*/ 36 w 48"/>
                <a:gd name="T23" fmla="*/ 12 h 36"/>
                <a:gd name="T24" fmla="*/ 12 w 48"/>
                <a:gd name="T25" fmla="*/ 12 h 36"/>
                <a:gd name="T26" fmla="*/ 12 w 48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36">
                  <a:moveTo>
                    <a:pt x="42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4"/>
                    <a:pt x="46" y="36"/>
                    <a:pt x="42" y="36"/>
                  </a:cubicBezTo>
                  <a:close/>
                  <a:moveTo>
                    <a:pt x="12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80">
              <a:extLst>
                <a:ext uri="{FF2B5EF4-FFF2-40B4-BE49-F238E27FC236}">
                  <a16:creationId xmlns:a16="http://schemas.microsoft.com/office/drawing/2014/main" id="{804C01AF-BC7D-92E7-5B86-D46222666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" y="300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181">
              <a:extLst>
                <a:ext uri="{FF2B5EF4-FFF2-40B4-BE49-F238E27FC236}">
                  <a16:creationId xmlns:a16="http://schemas.microsoft.com/office/drawing/2014/main" id="{82647D2C-E089-8CEC-75E1-DE9E17F10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" y="3125"/>
              <a:ext cx="106" cy="17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10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182">
              <a:extLst>
                <a:ext uri="{FF2B5EF4-FFF2-40B4-BE49-F238E27FC236}">
                  <a16:creationId xmlns:a16="http://schemas.microsoft.com/office/drawing/2014/main" id="{3ED03708-4DB0-E6BA-6EB0-962A6958F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" y="3178"/>
              <a:ext cx="106" cy="17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10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83">
              <a:extLst>
                <a:ext uri="{FF2B5EF4-FFF2-40B4-BE49-F238E27FC236}">
                  <a16:creationId xmlns:a16="http://schemas.microsoft.com/office/drawing/2014/main" id="{248B06F8-F07C-E8E0-C109-BCCDE4039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" y="3231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10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84">
              <a:extLst>
                <a:ext uri="{FF2B5EF4-FFF2-40B4-BE49-F238E27FC236}">
                  <a16:creationId xmlns:a16="http://schemas.microsoft.com/office/drawing/2014/main" id="{F209F9A4-E120-7311-98D1-3A42EEDE9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" y="3284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10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85">
              <a:extLst>
                <a:ext uri="{FF2B5EF4-FFF2-40B4-BE49-F238E27FC236}">
                  <a16:creationId xmlns:a16="http://schemas.microsoft.com/office/drawing/2014/main" id="{632E77D0-0D24-EA3B-96BE-7CA438D03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" y="3337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10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6" name="Group 31">
            <a:extLst>
              <a:ext uri="{FF2B5EF4-FFF2-40B4-BE49-F238E27FC236}">
                <a16:creationId xmlns:a16="http://schemas.microsoft.com/office/drawing/2014/main" id="{4F76E6EA-4274-67B7-D345-D9C1111051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5228" y="3588474"/>
            <a:ext cx="576720" cy="563612"/>
            <a:chOff x="3619" y="663"/>
            <a:chExt cx="440" cy="430"/>
          </a:xfrm>
          <a:solidFill>
            <a:schemeClr val="bg1"/>
          </a:solidFill>
        </p:grpSpPr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2BC7C3C3-8599-22D7-6086-10332F23A8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6" y="806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325DDF2D-0A5D-FB86-9068-1DCAF10488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9" y="914"/>
              <a:ext cx="147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672E0A69-2AC7-106A-6FF0-FDFA4985E1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0" y="806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8030DE8D-3B7D-4FDC-13E1-3BDE0C26B6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2" y="914"/>
              <a:ext cx="147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36">
              <a:extLst>
                <a:ext uri="{FF2B5EF4-FFF2-40B4-BE49-F238E27FC236}">
                  <a16:creationId xmlns:a16="http://schemas.microsoft.com/office/drawing/2014/main" id="{78CF6E5A-B423-ED23-C3DF-0166A7F3D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3" y="663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2" name="Freeform 37">
              <a:extLst>
                <a:ext uri="{FF2B5EF4-FFF2-40B4-BE49-F238E27FC236}">
                  <a16:creationId xmlns:a16="http://schemas.microsoft.com/office/drawing/2014/main" id="{52E8A8CC-092C-A34B-75B3-72758A44A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6" y="771"/>
              <a:ext cx="146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073" name="Group 86">
            <a:extLst>
              <a:ext uri="{FF2B5EF4-FFF2-40B4-BE49-F238E27FC236}">
                <a16:creationId xmlns:a16="http://schemas.microsoft.com/office/drawing/2014/main" id="{10C9D8B7-9BD4-F63E-A334-78D419B45D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0811" y="5215289"/>
            <a:ext cx="505555" cy="376805"/>
            <a:chOff x="4476" y="1776"/>
            <a:chExt cx="428" cy="319"/>
          </a:xfrm>
          <a:solidFill>
            <a:schemeClr val="bg1"/>
          </a:solidFill>
        </p:grpSpPr>
        <p:sp>
          <p:nvSpPr>
            <p:cNvPr id="3075" name="Freeform 87">
              <a:extLst>
                <a:ext uri="{FF2B5EF4-FFF2-40B4-BE49-F238E27FC236}">
                  <a16:creationId xmlns:a16="http://schemas.microsoft.com/office/drawing/2014/main" id="{CCDE6008-5B14-A346-2F20-E226D040C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1917"/>
              <a:ext cx="142" cy="178"/>
            </a:xfrm>
            <a:custGeom>
              <a:avLst/>
              <a:gdLst>
                <a:gd name="T0" fmla="*/ 90 w 96"/>
                <a:gd name="T1" fmla="*/ 120 h 120"/>
                <a:gd name="T2" fmla="*/ 6 w 96"/>
                <a:gd name="T3" fmla="*/ 120 h 120"/>
                <a:gd name="T4" fmla="*/ 0 w 96"/>
                <a:gd name="T5" fmla="*/ 114 h 120"/>
                <a:gd name="T6" fmla="*/ 0 w 96"/>
                <a:gd name="T7" fmla="*/ 6 h 120"/>
                <a:gd name="T8" fmla="*/ 6 w 96"/>
                <a:gd name="T9" fmla="*/ 0 h 120"/>
                <a:gd name="T10" fmla="*/ 90 w 96"/>
                <a:gd name="T11" fmla="*/ 0 h 120"/>
                <a:gd name="T12" fmla="*/ 96 w 96"/>
                <a:gd name="T13" fmla="*/ 6 h 120"/>
                <a:gd name="T14" fmla="*/ 96 w 96"/>
                <a:gd name="T15" fmla="*/ 114 h 120"/>
                <a:gd name="T16" fmla="*/ 90 w 96"/>
                <a:gd name="T17" fmla="*/ 120 h 120"/>
                <a:gd name="T18" fmla="*/ 12 w 96"/>
                <a:gd name="T19" fmla="*/ 108 h 120"/>
                <a:gd name="T20" fmla="*/ 84 w 96"/>
                <a:gd name="T21" fmla="*/ 108 h 120"/>
                <a:gd name="T22" fmla="*/ 84 w 96"/>
                <a:gd name="T23" fmla="*/ 12 h 120"/>
                <a:gd name="T24" fmla="*/ 12 w 96"/>
                <a:gd name="T25" fmla="*/ 12 h 120"/>
                <a:gd name="T26" fmla="*/ 12 w 96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20">
                  <a:moveTo>
                    <a:pt x="90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8"/>
                    <a:pt x="0" y="1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114"/>
                    <a:pt x="96" y="114"/>
                    <a:pt x="96" y="114"/>
                  </a:cubicBezTo>
                  <a:cubicBezTo>
                    <a:pt x="96" y="118"/>
                    <a:pt x="93" y="120"/>
                    <a:pt x="90" y="120"/>
                  </a:cubicBezTo>
                  <a:close/>
                  <a:moveTo>
                    <a:pt x="12" y="108"/>
                  </a:moveTo>
                  <a:cubicBezTo>
                    <a:pt x="84" y="108"/>
                    <a:pt x="84" y="108"/>
                    <a:pt x="84" y="10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6" name="Freeform 88">
              <a:extLst>
                <a:ext uri="{FF2B5EF4-FFF2-40B4-BE49-F238E27FC236}">
                  <a16:creationId xmlns:a16="http://schemas.microsoft.com/office/drawing/2014/main" id="{379B0C4D-648B-2574-ECE2-88D62A4B44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1917"/>
              <a:ext cx="142" cy="178"/>
            </a:xfrm>
            <a:custGeom>
              <a:avLst/>
              <a:gdLst>
                <a:gd name="T0" fmla="*/ 90 w 96"/>
                <a:gd name="T1" fmla="*/ 120 h 120"/>
                <a:gd name="T2" fmla="*/ 6 w 96"/>
                <a:gd name="T3" fmla="*/ 120 h 120"/>
                <a:gd name="T4" fmla="*/ 0 w 96"/>
                <a:gd name="T5" fmla="*/ 114 h 120"/>
                <a:gd name="T6" fmla="*/ 0 w 96"/>
                <a:gd name="T7" fmla="*/ 6 h 120"/>
                <a:gd name="T8" fmla="*/ 6 w 96"/>
                <a:gd name="T9" fmla="*/ 0 h 120"/>
                <a:gd name="T10" fmla="*/ 90 w 96"/>
                <a:gd name="T11" fmla="*/ 0 h 120"/>
                <a:gd name="T12" fmla="*/ 96 w 96"/>
                <a:gd name="T13" fmla="*/ 6 h 120"/>
                <a:gd name="T14" fmla="*/ 96 w 96"/>
                <a:gd name="T15" fmla="*/ 114 h 120"/>
                <a:gd name="T16" fmla="*/ 90 w 96"/>
                <a:gd name="T17" fmla="*/ 120 h 120"/>
                <a:gd name="T18" fmla="*/ 12 w 96"/>
                <a:gd name="T19" fmla="*/ 108 h 120"/>
                <a:gd name="T20" fmla="*/ 84 w 96"/>
                <a:gd name="T21" fmla="*/ 108 h 120"/>
                <a:gd name="T22" fmla="*/ 84 w 96"/>
                <a:gd name="T23" fmla="*/ 12 h 120"/>
                <a:gd name="T24" fmla="*/ 12 w 96"/>
                <a:gd name="T25" fmla="*/ 12 h 120"/>
                <a:gd name="T26" fmla="*/ 12 w 96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20">
                  <a:moveTo>
                    <a:pt x="90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8"/>
                    <a:pt x="0" y="1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114"/>
                    <a:pt x="96" y="114"/>
                    <a:pt x="96" y="114"/>
                  </a:cubicBezTo>
                  <a:cubicBezTo>
                    <a:pt x="96" y="118"/>
                    <a:pt x="93" y="120"/>
                    <a:pt x="90" y="120"/>
                  </a:cubicBezTo>
                  <a:close/>
                  <a:moveTo>
                    <a:pt x="12" y="108"/>
                  </a:moveTo>
                  <a:cubicBezTo>
                    <a:pt x="84" y="108"/>
                    <a:pt x="84" y="108"/>
                    <a:pt x="84" y="10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7" name="Freeform 89">
              <a:extLst>
                <a:ext uri="{FF2B5EF4-FFF2-40B4-BE49-F238E27FC236}">
                  <a16:creationId xmlns:a16="http://schemas.microsoft.com/office/drawing/2014/main" id="{D4BC4737-0D4E-ED94-ED3D-9E6D77B253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2" y="1829"/>
              <a:ext cx="178" cy="266"/>
            </a:xfrm>
            <a:custGeom>
              <a:avLst/>
              <a:gdLst>
                <a:gd name="T0" fmla="*/ 114 w 120"/>
                <a:gd name="T1" fmla="*/ 180 h 180"/>
                <a:gd name="T2" fmla="*/ 6 w 120"/>
                <a:gd name="T3" fmla="*/ 180 h 180"/>
                <a:gd name="T4" fmla="*/ 0 w 120"/>
                <a:gd name="T5" fmla="*/ 174 h 180"/>
                <a:gd name="T6" fmla="*/ 0 w 120"/>
                <a:gd name="T7" fmla="*/ 6 h 180"/>
                <a:gd name="T8" fmla="*/ 6 w 120"/>
                <a:gd name="T9" fmla="*/ 0 h 180"/>
                <a:gd name="T10" fmla="*/ 114 w 120"/>
                <a:gd name="T11" fmla="*/ 0 h 180"/>
                <a:gd name="T12" fmla="*/ 120 w 120"/>
                <a:gd name="T13" fmla="*/ 6 h 180"/>
                <a:gd name="T14" fmla="*/ 120 w 120"/>
                <a:gd name="T15" fmla="*/ 174 h 180"/>
                <a:gd name="T16" fmla="*/ 114 w 120"/>
                <a:gd name="T17" fmla="*/ 180 h 180"/>
                <a:gd name="T18" fmla="*/ 12 w 120"/>
                <a:gd name="T19" fmla="*/ 168 h 180"/>
                <a:gd name="T20" fmla="*/ 108 w 120"/>
                <a:gd name="T21" fmla="*/ 168 h 180"/>
                <a:gd name="T22" fmla="*/ 108 w 120"/>
                <a:gd name="T23" fmla="*/ 12 h 180"/>
                <a:gd name="T24" fmla="*/ 12 w 120"/>
                <a:gd name="T25" fmla="*/ 12 h 180"/>
                <a:gd name="T26" fmla="*/ 12 w 120"/>
                <a:gd name="T27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180">
                  <a:moveTo>
                    <a:pt x="114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2" y="180"/>
                    <a:pt x="0" y="178"/>
                    <a:pt x="0" y="17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174"/>
                    <a:pt x="120" y="174"/>
                    <a:pt x="120" y="174"/>
                  </a:cubicBezTo>
                  <a:cubicBezTo>
                    <a:pt x="120" y="178"/>
                    <a:pt x="117" y="180"/>
                    <a:pt x="114" y="180"/>
                  </a:cubicBezTo>
                  <a:close/>
                  <a:moveTo>
                    <a:pt x="12" y="168"/>
                  </a:moveTo>
                  <a:cubicBezTo>
                    <a:pt x="108" y="168"/>
                    <a:pt x="108" y="168"/>
                    <a:pt x="108" y="168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8" name="Freeform 90">
              <a:extLst>
                <a:ext uri="{FF2B5EF4-FFF2-40B4-BE49-F238E27FC236}">
                  <a16:creationId xmlns:a16="http://schemas.microsoft.com/office/drawing/2014/main" id="{AA367E3B-C45B-F0C3-4341-F77E0A719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1864"/>
              <a:ext cx="142" cy="71"/>
            </a:xfrm>
            <a:custGeom>
              <a:avLst/>
              <a:gdLst>
                <a:gd name="T0" fmla="*/ 90 w 96"/>
                <a:gd name="T1" fmla="*/ 48 h 48"/>
                <a:gd name="T2" fmla="*/ 6 w 96"/>
                <a:gd name="T3" fmla="*/ 48 h 48"/>
                <a:gd name="T4" fmla="*/ 0 w 96"/>
                <a:gd name="T5" fmla="*/ 42 h 48"/>
                <a:gd name="T6" fmla="*/ 0 w 96"/>
                <a:gd name="T7" fmla="*/ 6 h 48"/>
                <a:gd name="T8" fmla="*/ 6 w 96"/>
                <a:gd name="T9" fmla="*/ 0 h 48"/>
                <a:gd name="T10" fmla="*/ 72 w 96"/>
                <a:gd name="T11" fmla="*/ 0 h 48"/>
                <a:gd name="T12" fmla="*/ 77 w 96"/>
                <a:gd name="T13" fmla="*/ 4 h 48"/>
                <a:gd name="T14" fmla="*/ 95 w 96"/>
                <a:gd name="T15" fmla="*/ 40 h 48"/>
                <a:gd name="T16" fmla="*/ 95 w 96"/>
                <a:gd name="T17" fmla="*/ 46 h 48"/>
                <a:gd name="T18" fmla="*/ 90 w 96"/>
                <a:gd name="T19" fmla="*/ 48 h 48"/>
                <a:gd name="T20" fmla="*/ 12 w 96"/>
                <a:gd name="T21" fmla="*/ 36 h 48"/>
                <a:gd name="T22" fmla="*/ 80 w 96"/>
                <a:gd name="T23" fmla="*/ 36 h 48"/>
                <a:gd name="T24" fmla="*/ 68 w 96"/>
                <a:gd name="T25" fmla="*/ 12 h 48"/>
                <a:gd name="T26" fmla="*/ 12 w 96"/>
                <a:gd name="T27" fmla="*/ 12 h 48"/>
                <a:gd name="T28" fmla="*/ 12 w 96"/>
                <a:gd name="T2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48">
                  <a:moveTo>
                    <a:pt x="9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4" y="0"/>
                    <a:pt x="76" y="2"/>
                    <a:pt x="77" y="4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6" y="42"/>
                    <a:pt x="96" y="44"/>
                    <a:pt x="95" y="46"/>
                  </a:cubicBezTo>
                  <a:cubicBezTo>
                    <a:pt x="94" y="47"/>
                    <a:pt x="92" y="48"/>
                    <a:pt x="90" y="48"/>
                  </a:cubicBezTo>
                  <a:close/>
                  <a:moveTo>
                    <a:pt x="12" y="36"/>
                  </a:moveTo>
                  <a:cubicBezTo>
                    <a:pt x="80" y="36"/>
                    <a:pt x="80" y="36"/>
                    <a:pt x="80" y="3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9" name="Freeform 91">
              <a:extLst>
                <a:ext uri="{FF2B5EF4-FFF2-40B4-BE49-F238E27FC236}">
                  <a16:creationId xmlns:a16="http://schemas.microsoft.com/office/drawing/2014/main" id="{92EF5F7D-2703-B13B-10BA-AF297BAC64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" y="1864"/>
              <a:ext cx="144" cy="71"/>
            </a:xfrm>
            <a:custGeom>
              <a:avLst/>
              <a:gdLst>
                <a:gd name="T0" fmla="*/ 91 w 97"/>
                <a:gd name="T1" fmla="*/ 48 h 48"/>
                <a:gd name="T2" fmla="*/ 7 w 97"/>
                <a:gd name="T3" fmla="*/ 48 h 48"/>
                <a:gd name="T4" fmla="*/ 2 w 97"/>
                <a:gd name="T5" fmla="*/ 46 h 48"/>
                <a:gd name="T6" fmla="*/ 1 w 97"/>
                <a:gd name="T7" fmla="*/ 40 h 48"/>
                <a:gd name="T8" fmla="*/ 19 w 97"/>
                <a:gd name="T9" fmla="*/ 4 h 48"/>
                <a:gd name="T10" fmla="*/ 25 w 97"/>
                <a:gd name="T11" fmla="*/ 0 h 48"/>
                <a:gd name="T12" fmla="*/ 91 w 97"/>
                <a:gd name="T13" fmla="*/ 0 h 48"/>
                <a:gd name="T14" fmla="*/ 97 w 97"/>
                <a:gd name="T15" fmla="*/ 6 h 48"/>
                <a:gd name="T16" fmla="*/ 97 w 97"/>
                <a:gd name="T17" fmla="*/ 42 h 48"/>
                <a:gd name="T18" fmla="*/ 91 w 97"/>
                <a:gd name="T19" fmla="*/ 48 h 48"/>
                <a:gd name="T20" fmla="*/ 16 w 97"/>
                <a:gd name="T21" fmla="*/ 36 h 48"/>
                <a:gd name="T22" fmla="*/ 85 w 97"/>
                <a:gd name="T23" fmla="*/ 36 h 48"/>
                <a:gd name="T24" fmla="*/ 85 w 97"/>
                <a:gd name="T25" fmla="*/ 12 h 48"/>
                <a:gd name="T26" fmla="*/ 28 w 97"/>
                <a:gd name="T27" fmla="*/ 12 h 48"/>
                <a:gd name="T28" fmla="*/ 16 w 97"/>
                <a:gd name="T2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8">
                  <a:moveTo>
                    <a:pt x="91" y="48"/>
                  </a:moveTo>
                  <a:cubicBezTo>
                    <a:pt x="7" y="48"/>
                    <a:pt x="7" y="48"/>
                    <a:pt x="7" y="48"/>
                  </a:cubicBezTo>
                  <a:cubicBezTo>
                    <a:pt x="5" y="48"/>
                    <a:pt x="3" y="47"/>
                    <a:pt x="2" y="46"/>
                  </a:cubicBezTo>
                  <a:cubicBezTo>
                    <a:pt x="0" y="44"/>
                    <a:pt x="0" y="42"/>
                    <a:pt x="1" y="4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2"/>
                    <a:pt x="22" y="0"/>
                    <a:pt x="25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4" y="0"/>
                    <a:pt x="97" y="3"/>
                    <a:pt x="97" y="6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7" y="46"/>
                    <a:pt x="94" y="48"/>
                    <a:pt x="91" y="48"/>
                  </a:cubicBezTo>
                  <a:close/>
                  <a:moveTo>
                    <a:pt x="16" y="36"/>
                  </a:moveTo>
                  <a:cubicBezTo>
                    <a:pt x="85" y="36"/>
                    <a:pt x="85" y="36"/>
                    <a:pt x="85" y="36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28" y="12"/>
                    <a:pt x="28" y="12"/>
                    <a:pt x="28" y="12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80" name="Freeform 92">
              <a:extLst>
                <a:ext uri="{FF2B5EF4-FFF2-40B4-BE49-F238E27FC236}">
                  <a16:creationId xmlns:a16="http://schemas.microsoft.com/office/drawing/2014/main" id="{ADED5CA8-285E-696E-1603-C6AE458549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1" y="1776"/>
              <a:ext cx="179" cy="71"/>
            </a:xfrm>
            <a:custGeom>
              <a:avLst/>
              <a:gdLst>
                <a:gd name="T0" fmla="*/ 115 w 121"/>
                <a:gd name="T1" fmla="*/ 48 h 48"/>
                <a:gd name="T2" fmla="*/ 7 w 121"/>
                <a:gd name="T3" fmla="*/ 48 h 48"/>
                <a:gd name="T4" fmla="*/ 2 w 121"/>
                <a:gd name="T5" fmla="*/ 46 h 48"/>
                <a:gd name="T6" fmla="*/ 1 w 121"/>
                <a:gd name="T7" fmla="*/ 40 h 48"/>
                <a:gd name="T8" fmla="*/ 19 w 121"/>
                <a:gd name="T9" fmla="*/ 4 h 48"/>
                <a:gd name="T10" fmla="*/ 25 w 121"/>
                <a:gd name="T11" fmla="*/ 0 h 48"/>
                <a:gd name="T12" fmla="*/ 97 w 121"/>
                <a:gd name="T13" fmla="*/ 0 h 48"/>
                <a:gd name="T14" fmla="*/ 102 w 121"/>
                <a:gd name="T15" fmla="*/ 4 h 48"/>
                <a:gd name="T16" fmla="*/ 120 w 121"/>
                <a:gd name="T17" fmla="*/ 40 h 48"/>
                <a:gd name="T18" fmla="*/ 120 w 121"/>
                <a:gd name="T19" fmla="*/ 46 h 48"/>
                <a:gd name="T20" fmla="*/ 115 w 121"/>
                <a:gd name="T21" fmla="*/ 48 h 48"/>
                <a:gd name="T22" fmla="*/ 16 w 121"/>
                <a:gd name="T23" fmla="*/ 36 h 48"/>
                <a:gd name="T24" fmla="*/ 105 w 121"/>
                <a:gd name="T25" fmla="*/ 36 h 48"/>
                <a:gd name="T26" fmla="*/ 93 w 121"/>
                <a:gd name="T27" fmla="*/ 12 h 48"/>
                <a:gd name="T28" fmla="*/ 28 w 121"/>
                <a:gd name="T29" fmla="*/ 12 h 48"/>
                <a:gd name="T30" fmla="*/ 16 w 121"/>
                <a:gd name="T31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48">
                  <a:moveTo>
                    <a:pt x="115" y="48"/>
                  </a:moveTo>
                  <a:cubicBezTo>
                    <a:pt x="7" y="48"/>
                    <a:pt x="7" y="48"/>
                    <a:pt x="7" y="48"/>
                  </a:cubicBezTo>
                  <a:cubicBezTo>
                    <a:pt x="5" y="48"/>
                    <a:pt x="3" y="47"/>
                    <a:pt x="2" y="46"/>
                  </a:cubicBezTo>
                  <a:cubicBezTo>
                    <a:pt x="0" y="44"/>
                    <a:pt x="0" y="42"/>
                    <a:pt x="1" y="4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2"/>
                    <a:pt x="22" y="0"/>
                    <a:pt x="25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9" y="0"/>
                    <a:pt x="101" y="2"/>
                    <a:pt x="102" y="4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1" y="42"/>
                    <a:pt x="121" y="44"/>
                    <a:pt x="120" y="46"/>
                  </a:cubicBezTo>
                  <a:cubicBezTo>
                    <a:pt x="119" y="47"/>
                    <a:pt x="117" y="48"/>
                    <a:pt x="115" y="48"/>
                  </a:cubicBezTo>
                  <a:close/>
                  <a:moveTo>
                    <a:pt x="16" y="36"/>
                  </a:moveTo>
                  <a:cubicBezTo>
                    <a:pt x="105" y="36"/>
                    <a:pt x="105" y="36"/>
                    <a:pt x="105" y="36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28" y="12"/>
                    <a:pt x="28" y="12"/>
                    <a:pt x="28" y="12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81" name="Freeform 93">
              <a:extLst>
                <a:ext uri="{FF2B5EF4-FFF2-40B4-BE49-F238E27FC236}">
                  <a16:creationId xmlns:a16="http://schemas.microsoft.com/office/drawing/2014/main" id="{88AD3BF1-E54D-3F9E-B27F-D9A8617AB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3" y="1909"/>
              <a:ext cx="46" cy="105"/>
            </a:xfrm>
            <a:custGeom>
              <a:avLst/>
              <a:gdLst>
                <a:gd name="T0" fmla="*/ 25 w 31"/>
                <a:gd name="T1" fmla="*/ 71 h 71"/>
                <a:gd name="T2" fmla="*/ 19 w 31"/>
                <a:gd name="T3" fmla="*/ 65 h 71"/>
                <a:gd name="T4" fmla="*/ 19 w 31"/>
                <a:gd name="T5" fmla="*/ 15 h 71"/>
                <a:gd name="T6" fmla="*/ 9 w 31"/>
                <a:gd name="T7" fmla="*/ 19 h 71"/>
                <a:gd name="T8" fmla="*/ 1 w 31"/>
                <a:gd name="T9" fmla="*/ 15 h 71"/>
                <a:gd name="T10" fmla="*/ 5 w 31"/>
                <a:gd name="T11" fmla="*/ 8 h 71"/>
                <a:gd name="T12" fmla="*/ 23 w 31"/>
                <a:gd name="T13" fmla="*/ 1 h 71"/>
                <a:gd name="T14" fmla="*/ 28 w 31"/>
                <a:gd name="T15" fmla="*/ 2 h 71"/>
                <a:gd name="T16" fmla="*/ 31 w 31"/>
                <a:gd name="T17" fmla="*/ 6 h 71"/>
                <a:gd name="T18" fmla="*/ 31 w 31"/>
                <a:gd name="T19" fmla="*/ 65 h 71"/>
                <a:gd name="T20" fmla="*/ 25 w 31"/>
                <a:gd name="T2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71">
                  <a:moveTo>
                    <a:pt x="25" y="71"/>
                  </a:moveTo>
                  <a:cubicBezTo>
                    <a:pt x="21" y="71"/>
                    <a:pt x="19" y="68"/>
                    <a:pt x="19" y="6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6" y="20"/>
                    <a:pt x="2" y="18"/>
                    <a:pt x="1" y="15"/>
                  </a:cubicBezTo>
                  <a:cubicBezTo>
                    <a:pt x="0" y="12"/>
                    <a:pt x="1" y="9"/>
                    <a:pt x="5" y="8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4" y="0"/>
                    <a:pt x="26" y="0"/>
                    <a:pt x="28" y="2"/>
                  </a:cubicBezTo>
                  <a:cubicBezTo>
                    <a:pt x="30" y="3"/>
                    <a:pt x="31" y="4"/>
                    <a:pt x="31" y="6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8"/>
                    <a:pt x="28" y="71"/>
                    <a:pt x="25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82" name="Freeform 94">
              <a:extLst>
                <a:ext uri="{FF2B5EF4-FFF2-40B4-BE49-F238E27FC236}">
                  <a16:creationId xmlns:a16="http://schemas.microsoft.com/office/drawing/2014/main" id="{246B1FC8-8863-DE85-4EF6-758B97D49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" y="1963"/>
              <a:ext cx="52" cy="88"/>
            </a:xfrm>
            <a:custGeom>
              <a:avLst/>
              <a:gdLst>
                <a:gd name="T0" fmla="*/ 29 w 35"/>
                <a:gd name="T1" fmla="*/ 59 h 59"/>
                <a:gd name="T2" fmla="*/ 6 w 35"/>
                <a:gd name="T3" fmla="*/ 59 h 59"/>
                <a:gd name="T4" fmla="*/ 1 w 35"/>
                <a:gd name="T5" fmla="*/ 56 h 59"/>
                <a:gd name="T6" fmla="*/ 1 w 35"/>
                <a:gd name="T7" fmla="*/ 50 h 59"/>
                <a:gd name="T8" fmla="*/ 22 w 35"/>
                <a:gd name="T9" fmla="*/ 21 h 59"/>
                <a:gd name="T10" fmla="*/ 23 w 35"/>
                <a:gd name="T11" fmla="*/ 18 h 59"/>
                <a:gd name="T12" fmla="*/ 17 w 35"/>
                <a:gd name="T13" fmla="*/ 12 h 59"/>
                <a:gd name="T14" fmla="*/ 12 w 35"/>
                <a:gd name="T15" fmla="*/ 17 h 59"/>
                <a:gd name="T16" fmla="*/ 6 w 35"/>
                <a:gd name="T17" fmla="*/ 23 h 59"/>
                <a:gd name="T18" fmla="*/ 0 w 35"/>
                <a:gd name="T19" fmla="*/ 17 h 59"/>
                <a:gd name="T20" fmla="*/ 17 w 35"/>
                <a:gd name="T21" fmla="*/ 0 h 59"/>
                <a:gd name="T22" fmla="*/ 35 w 35"/>
                <a:gd name="T23" fmla="*/ 18 h 59"/>
                <a:gd name="T24" fmla="*/ 31 w 35"/>
                <a:gd name="T25" fmla="*/ 28 h 59"/>
                <a:gd name="T26" fmla="*/ 18 w 35"/>
                <a:gd name="T27" fmla="*/ 47 h 59"/>
                <a:gd name="T28" fmla="*/ 29 w 35"/>
                <a:gd name="T29" fmla="*/ 47 h 59"/>
                <a:gd name="T30" fmla="*/ 35 w 35"/>
                <a:gd name="T31" fmla="*/ 53 h 59"/>
                <a:gd name="T32" fmla="*/ 29 w 35"/>
                <a:gd name="T3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59">
                  <a:moveTo>
                    <a:pt x="29" y="59"/>
                  </a:moveTo>
                  <a:cubicBezTo>
                    <a:pt x="6" y="59"/>
                    <a:pt x="6" y="59"/>
                    <a:pt x="6" y="59"/>
                  </a:cubicBezTo>
                  <a:cubicBezTo>
                    <a:pt x="4" y="59"/>
                    <a:pt x="2" y="58"/>
                    <a:pt x="1" y="56"/>
                  </a:cubicBezTo>
                  <a:cubicBezTo>
                    <a:pt x="0" y="54"/>
                    <a:pt x="0" y="52"/>
                    <a:pt x="1" y="5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0"/>
                    <a:pt x="23" y="19"/>
                    <a:pt x="23" y="18"/>
                  </a:cubicBezTo>
                  <a:cubicBezTo>
                    <a:pt x="23" y="15"/>
                    <a:pt x="20" y="12"/>
                    <a:pt x="17" y="12"/>
                  </a:cubicBezTo>
                  <a:cubicBezTo>
                    <a:pt x="15" y="12"/>
                    <a:pt x="12" y="15"/>
                    <a:pt x="12" y="17"/>
                  </a:cubicBezTo>
                  <a:cubicBezTo>
                    <a:pt x="12" y="21"/>
                    <a:pt x="9" y="23"/>
                    <a:pt x="6" y="23"/>
                  </a:cubicBezTo>
                  <a:cubicBezTo>
                    <a:pt x="3" y="23"/>
                    <a:pt x="0" y="20"/>
                    <a:pt x="0" y="17"/>
                  </a:cubicBezTo>
                  <a:cubicBezTo>
                    <a:pt x="1" y="8"/>
                    <a:pt x="8" y="0"/>
                    <a:pt x="17" y="0"/>
                  </a:cubicBezTo>
                  <a:cubicBezTo>
                    <a:pt x="27" y="0"/>
                    <a:pt x="35" y="8"/>
                    <a:pt x="35" y="18"/>
                  </a:cubicBezTo>
                  <a:cubicBezTo>
                    <a:pt x="35" y="22"/>
                    <a:pt x="33" y="26"/>
                    <a:pt x="31" y="28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32" y="47"/>
                    <a:pt x="35" y="50"/>
                    <a:pt x="35" y="53"/>
                  </a:cubicBezTo>
                  <a:cubicBezTo>
                    <a:pt x="35" y="57"/>
                    <a:pt x="32" y="59"/>
                    <a:pt x="2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83" name="Freeform 95">
              <a:extLst>
                <a:ext uri="{FF2B5EF4-FFF2-40B4-BE49-F238E27FC236}">
                  <a16:creationId xmlns:a16="http://schemas.microsoft.com/office/drawing/2014/main" id="{48673955-64D7-809F-3BC7-B825F056F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" y="1962"/>
              <a:ext cx="52" cy="53"/>
            </a:xfrm>
            <a:custGeom>
              <a:avLst/>
              <a:gdLst>
                <a:gd name="T0" fmla="*/ 18 w 35"/>
                <a:gd name="T1" fmla="*/ 36 h 36"/>
                <a:gd name="T2" fmla="*/ 12 w 35"/>
                <a:gd name="T3" fmla="*/ 30 h 36"/>
                <a:gd name="T4" fmla="*/ 18 w 35"/>
                <a:gd name="T5" fmla="*/ 24 h 36"/>
                <a:gd name="T6" fmla="*/ 23 w 35"/>
                <a:gd name="T7" fmla="*/ 18 h 36"/>
                <a:gd name="T8" fmla="*/ 18 w 35"/>
                <a:gd name="T9" fmla="*/ 12 h 36"/>
                <a:gd name="T10" fmla="*/ 13 w 35"/>
                <a:gd name="T11" fmla="*/ 18 h 36"/>
                <a:gd name="T12" fmla="*/ 6 w 35"/>
                <a:gd name="T13" fmla="*/ 24 h 36"/>
                <a:gd name="T14" fmla="*/ 1 w 35"/>
                <a:gd name="T15" fmla="*/ 17 h 36"/>
                <a:gd name="T16" fmla="*/ 18 w 35"/>
                <a:gd name="T17" fmla="*/ 0 h 36"/>
                <a:gd name="T18" fmla="*/ 35 w 35"/>
                <a:gd name="T19" fmla="*/ 18 h 36"/>
                <a:gd name="T20" fmla="*/ 18 w 35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8" y="36"/>
                  </a:moveTo>
                  <a:cubicBezTo>
                    <a:pt x="15" y="36"/>
                    <a:pt x="12" y="34"/>
                    <a:pt x="12" y="30"/>
                  </a:cubicBezTo>
                  <a:cubicBezTo>
                    <a:pt x="12" y="27"/>
                    <a:pt x="15" y="24"/>
                    <a:pt x="18" y="24"/>
                  </a:cubicBezTo>
                  <a:cubicBezTo>
                    <a:pt x="20" y="24"/>
                    <a:pt x="23" y="24"/>
                    <a:pt x="23" y="18"/>
                  </a:cubicBezTo>
                  <a:cubicBezTo>
                    <a:pt x="23" y="12"/>
                    <a:pt x="20" y="12"/>
                    <a:pt x="18" y="12"/>
                  </a:cubicBezTo>
                  <a:cubicBezTo>
                    <a:pt x="16" y="12"/>
                    <a:pt x="13" y="12"/>
                    <a:pt x="13" y="18"/>
                  </a:cubicBezTo>
                  <a:cubicBezTo>
                    <a:pt x="12" y="21"/>
                    <a:pt x="10" y="24"/>
                    <a:pt x="6" y="24"/>
                  </a:cubicBezTo>
                  <a:cubicBezTo>
                    <a:pt x="3" y="24"/>
                    <a:pt x="0" y="21"/>
                    <a:pt x="1" y="17"/>
                  </a:cubicBezTo>
                  <a:cubicBezTo>
                    <a:pt x="1" y="7"/>
                    <a:pt x="8" y="0"/>
                    <a:pt x="18" y="0"/>
                  </a:cubicBezTo>
                  <a:cubicBezTo>
                    <a:pt x="30" y="0"/>
                    <a:pt x="35" y="9"/>
                    <a:pt x="35" y="18"/>
                  </a:cubicBezTo>
                  <a:cubicBezTo>
                    <a:pt x="35" y="27"/>
                    <a:pt x="30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84" name="Freeform 96">
              <a:extLst>
                <a:ext uri="{FF2B5EF4-FFF2-40B4-BE49-F238E27FC236}">
                  <a16:creationId xmlns:a16="http://schemas.microsoft.com/office/drawing/2014/main" id="{24F073ED-6CB5-4636-2260-95225C557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" y="1997"/>
              <a:ext cx="52" cy="54"/>
            </a:xfrm>
            <a:custGeom>
              <a:avLst/>
              <a:gdLst>
                <a:gd name="T0" fmla="*/ 18 w 35"/>
                <a:gd name="T1" fmla="*/ 36 h 36"/>
                <a:gd name="T2" fmla="*/ 1 w 35"/>
                <a:gd name="T3" fmla="*/ 20 h 36"/>
                <a:gd name="T4" fmla="*/ 6 w 35"/>
                <a:gd name="T5" fmla="*/ 13 h 36"/>
                <a:gd name="T6" fmla="*/ 13 w 35"/>
                <a:gd name="T7" fmla="*/ 19 h 36"/>
                <a:gd name="T8" fmla="*/ 18 w 35"/>
                <a:gd name="T9" fmla="*/ 24 h 36"/>
                <a:gd name="T10" fmla="*/ 23 w 35"/>
                <a:gd name="T11" fmla="*/ 18 h 36"/>
                <a:gd name="T12" fmla="*/ 18 w 35"/>
                <a:gd name="T13" fmla="*/ 12 h 36"/>
                <a:gd name="T14" fmla="*/ 12 w 35"/>
                <a:gd name="T15" fmla="*/ 6 h 36"/>
                <a:gd name="T16" fmla="*/ 18 w 35"/>
                <a:gd name="T17" fmla="*/ 0 h 36"/>
                <a:gd name="T18" fmla="*/ 35 w 35"/>
                <a:gd name="T19" fmla="*/ 18 h 36"/>
                <a:gd name="T20" fmla="*/ 18 w 35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8" y="36"/>
                  </a:moveTo>
                  <a:cubicBezTo>
                    <a:pt x="8" y="36"/>
                    <a:pt x="1" y="30"/>
                    <a:pt x="1" y="20"/>
                  </a:cubicBezTo>
                  <a:cubicBezTo>
                    <a:pt x="0" y="16"/>
                    <a:pt x="3" y="13"/>
                    <a:pt x="6" y="13"/>
                  </a:cubicBezTo>
                  <a:cubicBezTo>
                    <a:pt x="10" y="13"/>
                    <a:pt x="12" y="16"/>
                    <a:pt x="13" y="19"/>
                  </a:cubicBezTo>
                  <a:cubicBezTo>
                    <a:pt x="13" y="24"/>
                    <a:pt x="16" y="24"/>
                    <a:pt x="18" y="24"/>
                  </a:cubicBezTo>
                  <a:cubicBezTo>
                    <a:pt x="20" y="24"/>
                    <a:pt x="23" y="24"/>
                    <a:pt x="23" y="18"/>
                  </a:cubicBezTo>
                  <a:cubicBezTo>
                    <a:pt x="23" y="12"/>
                    <a:pt x="20" y="12"/>
                    <a:pt x="18" y="12"/>
                  </a:cubicBezTo>
                  <a:cubicBezTo>
                    <a:pt x="15" y="12"/>
                    <a:pt x="12" y="10"/>
                    <a:pt x="12" y="6"/>
                  </a:cubicBezTo>
                  <a:cubicBezTo>
                    <a:pt x="12" y="3"/>
                    <a:pt x="15" y="0"/>
                    <a:pt x="18" y="0"/>
                  </a:cubicBezTo>
                  <a:cubicBezTo>
                    <a:pt x="30" y="0"/>
                    <a:pt x="35" y="9"/>
                    <a:pt x="35" y="18"/>
                  </a:cubicBezTo>
                  <a:cubicBezTo>
                    <a:pt x="35" y="27"/>
                    <a:pt x="30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3DD8755-FA76-CB2F-D77C-A16BEEE46E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74686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— The 4 Ps 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7717944A-00BB-196B-A01A-9C693EECF86A}"/>
              </a:ext>
            </a:extLst>
          </p:cNvPr>
          <p:cNvSpPr/>
          <p:nvPr/>
        </p:nvSpPr>
        <p:spPr>
          <a:xfrm>
            <a:off x="384173" y="1152525"/>
            <a:ext cx="11436352" cy="5156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endParaRPr lang="de-DE" sz="1600" b="1" dirty="0">
              <a:solidFill>
                <a:schemeClr val="tx2"/>
              </a:solidFill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9F887555-9E1C-9981-15B0-A5C54D99E769}"/>
              </a:ext>
            </a:extLst>
          </p:cNvPr>
          <p:cNvSpPr txBox="1"/>
          <p:nvPr/>
        </p:nvSpPr>
        <p:spPr>
          <a:xfrm>
            <a:off x="7915275" y="1152525"/>
            <a:ext cx="3905250" cy="257369"/>
          </a:xfrm>
          <a:prstGeom prst="rect">
            <a:avLst/>
          </a:prstGeom>
          <a:noFill/>
        </p:spPr>
        <p:txBody>
          <a:bodyPr wrap="square" lIns="72000" tIns="72000" rIns="36000" bIns="0" rtlCol="0" anchor="t">
            <a:spAutoFit/>
          </a:bodyPr>
          <a:lstStyle/>
          <a:p>
            <a:pPr marL="177800" marR="0" lvl="0" indent="-177800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latin typeface="Verdana"/>
              </a:rPr>
              <a:t>XXX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TextBox 18">
            <a:extLst>
              <a:ext uri="{FF2B5EF4-FFF2-40B4-BE49-F238E27FC236}">
                <a16:creationId xmlns:a16="http://schemas.microsoft.com/office/drawing/2014/main" id="{A898FD66-B740-BB81-2DB2-2908640979A2}"/>
              </a:ext>
            </a:extLst>
          </p:cNvPr>
          <p:cNvSpPr txBox="1"/>
          <p:nvPr/>
        </p:nvSpPr>
        <p:spPr>
          <a:xfrm>
            <a:off x="384173" y="1152525"/>
            <a:ext cx="4069841" cy="257369"/>
          </a:xfrm>
          <a:prstGeom prst="rect">
            <a:avLst/>
          </a:prstGeom>
          <a:noFill/>
        </p:spPr>
        <p:txBody>
          <a:bodyPr wrap="square" lIns="72000" tIns="72000" rIns="36000" bIns="0" rtlCol="0" anchor="t">
            <a:spAutoFit/>
          </a:bodyPr>
          <a:lstStyle/>
          <a:p>
            <a:pPr marL="177800" marR="0" lvl="0" indent="-177800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latin typeface="Verdana"/>
              </a:rPr>
              <a:t>XXX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18">
            <a:extLst>
              <a:ext uri="{FF2B5EF4-FFF2-40B4-BE49-F238E27FC236}">
                <a16:creationId xmlns:a16="http://schemas.microsoft.com/office/drawing/2014/main" id="{7507D332-67E9-DAF3-A806-2EC47F77B861}"/>
              </a:ext>
            </a:extLst>
          </p:cNvPr>
          <p:cNvSpPr txBox="1"/>
          <p:nvPr/>
        </p:nvSpPr>
        <p:spPr>
          <a:xfrm>
            <a:off x="7915275" y="3774784"/>
            <a:ext cx="3905250" cy="257369"/>
          </a:xfrm>
          <a:prstGeom prst="rect">
            <a:avLst/>
          </a:prstGeom>
          <a:noFill/>
        </p:spPr>
        <p:txBody>
          <a:bodyPr wrap="square" lIns="72000" tIns="72000" rIns="36000" bIns="0" rtlCol="0" anchor="t">
            <a:spAutoFit/>
          </a:bodyPr>
          <a:lstStyle/>
          <a:p>
            <a:pPr marL="177800" marR="0" lvl="0" indent="-177800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latin typeface="Verdana"/>
              </a:rPr>
              <a:t>XXX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046EA2EE-B60E-383D-E418-9F553F2326F2}"/>
              </a:ext>
            </a:extLst>
          </p:cNvPr>
          <p:cNvSpPr txBox="1"/>
          <p:nvPr/>
        </p:nvSpPr>
        <p:spPr>
          <a:xfrm>
            <a:off x="384173" y="3774784"/>
            <a:ext cx="4069841" cy="257369"/>
          </a:xfrm>
          <a:prstGeom prst="rect">
            <a:avLst/>
          </a:prstGeom>
          <a:noFill/>
        </p:spPr>
        <p:txBody>
          <a:bodyPr wrap="square" lIns="72000" tIns="72000" rIns="36000" bIns="0" rtlCol="0" anchor="t">
            <a:spAutoFit/>
          </a:bodyPr>
          <a:lstStyle/>
          <a:p>
            <a:pPr marL="177800" marR="0" lvl="0" indent="-177800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latin typeface="Verdana"/>
              </a:rPr>
              <a:t>XXX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FFE329E3-2EB1-BF4E-CEAC-C64AB4713293}"/>
              </a:ext>
            </a:extLst>
          </p:cNvPr>
          <p:cNvSpPr/>
          <p:nvPr/>
        </p:nvSpPr>
        <p:spPr>
          <a:xfrm>
            <a:off x="4384673" y="2012949"/>
            <a:ext cx="3435352" cy="3435352"/>
          </a:xfrm>
          <a:prstGeom prst="ellipse">
            <a:avLst/>
          </a:prstGeom>
          <a:solidFill>
            <a:schemeClr val="accent1"/>
          </a:solidFill>
          <a:ln w="57150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 algn="ctr"/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12" name="TextBox 18">
            <a:extLst>
              <a:ext uri="{FF2B5EF4-FFF2-40B4-BE49-F238E27FC236}">
                <a16:creationId xmlns:a16="http://schemas.microsoft.com/office/drawing/2014/main" id="{D158D04D-93B5-CBDF-AD66-9A2E2A743CDD}"/>
              </a:ext>
            </a:extLst>
          </p:cNvPr>
          <p:cNvSpPr txBox="1"/>
          <p:nvPr/>
        </p:nvSpPr>
        <p:spPr>
          <a:xfrm>
            <a:off x="4563938" y="3217037"/>
            <a:ext cx="141210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R="0" lvl="0" algn="ctr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duct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BF3A37D9-EC72-D4AB-34B4-D2041F5695B2}"/>
              </a:ext>
            </a:extLst>
          </p:cNvPr>
          <p:cNvCxnSpPr>
            <a:cxnSpLocks/>
          </p:cNvCxnSpPr>
          <p:nvPr/>
        </p:nvCxnSpPr>
        <p:spPr>
          <a:xfrm flipV="1">
            <a:off x="6102349" y="1152525"/>
            <a:ext cx="0" cy="51562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752701E1-7EE4-2998-E297-44EFA10B6F77}"/>
              </a:ext>
            </a:extLst>
          </p:cNvPr>
          <p:cNvCxnSpPr>
            <a:cxnSpLocks/>
          </p:cNvCxnSpPr>
          <p:nvPr/>
        </p:nvCxnSpPr>
        <p:spPr>
          <a:xfrm>
            <a:off x="384173" y="3730625"/>
            <a:ext cx="11436352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8">
            <a:extLst>
              <a:ext uri="{FF2B5EF4-FFF2-40B4-BE49-F238E27FC236}">
                <a16:creationId xmlns:a16="http://schemas.microsoft.com/office/drawing/2014/main" id="{2C0776F8-38AD-C64D-D636-D99FFEDCB173}"/>
              </a:ext>
            </a:extLst>
          </p:cNvPr>
          <p:cNvSpPr txBox="1"/>
          <p:nvPr/>
        </p:nvSpPr>
        <p:spPr>
          <a:xfrm>
            <a:off x="6207890" y="3217037"/>
            <a:ext cx="141210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R="0" lvl="0" algn="ctr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ce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Box 18">
            <a:extLst>
              <a:ext uri="{FF2B5EF4-FFF2-40B4-BE49-F238E27FC236}">
                <a16:creationId xmlns:a16="http://schemas.microsoft.com/office/drawing/2014/main" id="{313C464F-3139-F926-1045-4E2040648BE9}"/>
              </a:ext>
            </a:extLst>
          </p:cNvPr>
          <p:cNvSpPr txBox="1"/>
          <p:nvPr/>
        </p:nvSpPr>
        <p:spPr>
          <a:xfrm>
            <a:off x="4563938" y="3984179"/>
            <a:ext cx="141210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R="0" lvl="0" algn="ctr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lace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Box 18">
            <a:extLst>
              <a:ext uri="{FF2B5EF4-FFF2-40B4-BE49-F238E27FC236}">
                <a16:creationId xmlns:a16="http://schemas.microsoft.com/office/drawing/2014/main" id="{A9083A93-7705-3208-AE91-A371C9CB0278}"/>
              </a:ext>
            </a:extLst>
          </p:cNvPr>
          <p:cNvSpPr txBox="1"/>
          <p:nvPr/>
        </p:nvSpPr>
        <p:spPr>
          <a:xfrm>
            <a:off x="6207890" y="3984179"/>
            <a:ext cx="141210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R="0" lvl="0" algn="ctr" defTabSz="228600" rtl="0" eaLnBrk="1" fontAlgn="auto" latinLnBrk="0" hangingPunct="1">
              <a:lnSpc>
                <a:spcPct val="100000"/>
              </a:lnSpc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motion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130" name="Group 140">
            <a:extLst>
              <a:ext uri="{FF2B5EF4-FFF2-40B4-BE49-F238E27FC236}">
                <a16:creationId xmlns:a16="http://schemas.microsoft.com/office/drawing/2014/main" id="{A9A301B6-184C-9567-8767-4963DFF777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13170" y="4322280"/>
            <a:ext cx="513643" cy="513641"/>
            <a:chOff x="1560" y="3157"/>
            <a:chExt cx="426" cy="426"/>
          </a:xfrm>
          <a:solidFill>
            <a:schemeClr val="bg1"/>
          </a:solidFill>
        </p:grpSpPr>
        <p:sp>
          <p:nvSpPr>
            <p:cNvPr id="5131" name="Freeform 141">
              <a:extLst>
                <a:ext uri="{FF2B5EF4-FFF2-40B4-BE49-F238E27FC236}">
                  <a16:creationId xmlns:a16="http://schemas.microsoft.com/office/drawing/2014/main" id="{0D666F31-8280-B3EB-9B58-55C7495029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3211"/>
              <a:ext cx="142" cy="141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132" name="Freeform 142">
              <a:extLst>
                <a:ext uri="{FF2B5EF4-FFF2-40B4-BE49-F238E27FC236}">
                  <a16:creationId xmlns:a16="http://schemas.microsoft.com/office/drawing/2014/main" id="{C977FBDD-EC30-A953-CF01-0FF603BB0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3" y="3157"/>
              <a:ext cx="262" cy="392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133" name="Freeform 143">
              <a:extLst>
                <a:ext uri="{FF2B5EF4-FFF2-40B4-BE49-F238E27FC236}">
                  <a16:creationId xmlns:a16="http://schemas.microsoft.com/office/drawing/2014/main" id="{7A9B44C3-3D2A-704A-014B-6117B71E48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499"/>
              <a:ext cx="426" cy="84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5134" name="Group 60">
            <a:extLst>
              <a:ext uri="{FF2B5EF4-FFF2-40B4-BE49-F238E27FC236}">
                <a16:creationId xmlns:a16="http://schemas.microsoft.com/office/drawing/2014/main" id="{CC250104-8265-7D71-75AF-FD9899AB577E}"/>
              </a:ext>
            </a:extLst>
          </p:cNvPr>
          <p:cNvGrpSpPr>
            <a:grpSpLocks noChangeAspect="1"/>
          </p:cNvGrpSpPr>
          <p:nvPr/>
        </p:nvGrpSpPr>
        <p:grpSpPr bwMode="auto">
          <a:xfrm rot="20135090">
            <a:off x="6679866" y="4384037"/>
            <a:ext cx="468155" cy="390127"/>
            <a:chOff x="6539" y="476"/>
            <a:chExt cx="426" cy="355"/>
          </a:xfrm>
          <a:solidFill>
            <a:schemeClr val="bg1"/>
          </a:solidFill>
        </p:grpSpPr>
        <p:sp>
          <p:nvSpPr>
            <p:cNvPr id="5135" name="Freeform 61">
              <a:extLst>
                <a:ext uri="{FF2B5EF4-FFF2-40B4-BE49-F238E27FC236}">
                  <a16:creationId xmlns:a16="http://schemas.microsoft.com/office/drawing/2014/main" id="{C4ACB0C7-62EE-9F82-0EA5-4C470A84F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600"/>
              <a:ext cx="18" cy="106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0"/>
                    <a:pt x="10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136" name="Freeform 62">
              <a:extLst>
                <a:ext uri="{FF2B5EF4-FFF2-40B4-BE49-F238E27FC236}">
                  <a16:creationId xmlns:a16="http://schemas.microsoft.com/office/drawing/2014/main" id="{48B38EE5-3E74-5E0F-691A-F065D2382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7" y="476"/>
              <a:ext cx="18" cy="355"/>
            </a:xfrm>
            <a:custGeom>
              <a:avLst/>
              <a:gdLst>
                <a:gd name="T0" fmla="*/ 6 w 12"/>
                <a:gd name="T1" fmla="*/ 240 h 240"/>
                <a:gd name="T2" fmla="*/ 0 w 12"/>
                <a:gd name="T3" fmla="*/ 234 h 240"/>
                <a:gd name="T4" fmla="*/ 0 w 12"/>
                <a:gd name="T5" fmla="*/ 6 h 240"/>
                <a:gd name="T6" fmla="*/ 6 w 12"/>
                <a:gd name="T7" fmla="*/ 0 h 240"/>
                <a:gd name="T8" fmla="*/ 12 w 12"/>
                <a:gd name="T9" fmla="*/ 6 h 240"/>
                <a:gd name="T10" fmla="*/ 12 w 12"/>
                <a:gd name="T11" fmla="*/ 234 h 240"/>
                <a:gd name="T12" fmla="*/ 6 w 12"/>
                <a:gd name="T13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0">
                  <a:moveTo>
                    <a:pt x="6" y="240"/>
                  </a:moveTo>
                  <a:cubicBezTo>
                    <a:pt x="3" y="240"/>
                    <a:pt x="0" y="238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34"/>
                    <a:pt x="12" y="234"/>
                    <a:pt x="12" y="234"/>
                  </a:cubicBezTo>
                  <a:cubicBezTo>
                    <a:pt x="12" y="238"/>
                    <a:pt x="10" y="240"/>
                    <a:pt x="6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137" name="Freeform 63">
              <a:extLst>
                <a:ext uri="{FF2B5EF4-FFF2-40B4-BE49-F238E27FC236}">
                  <a16:creationId xmlns:a16="http://schemas.microsoft.com/office/drawing/2014/main" id="{C771A4A3-EE71-83A7-970A-0BF05AD96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9" y="494"/>
              <a:ext cx="426" cy="319"/>
            </a:xfrm>
            <a:custGeom>
              <a:avLst/>
              <a:gdLst>
                <a:gd name="T0" fmla="*/ 282 w 288"/>
                <a:gd name="T1" fmla="*/ 216 h 216"/>
                <a:gd name="T2" fmla="*/ 281 w 288"/>
                <a:gd name="T3" fmla="*/ 216 h 216"/>
                <a:gd name="T4" fmla="*/ 5 w 288"/>
                <a:gd name="T5" fmla="*/ 132 h 216"/>
                <a:gd name="T6" fmla="*/ 0 w 288"/>
                <a:gd name="T7" fmla="*/ 126 h 216"/>
                <a:gd name="T8" fmla="*/ 0 w 288"/>
                <a:gd name="T9" fmla="*/ 90 h 216"/>
                <a:gd name="T10" fmla="*/ 5 w 288"/>
                <a:gd name="T11" fmla="*/ 85 h 216"/>
                <a:gd name="T12" fmla="*/ 281 w 288"/>
                <a:gd name="T13" fmla="*/ 1 h 216"/>
                <a:gd name="T14" fmla="*/ 286 w 288"/>
                <a:gd name="T15" fmla="*/ 2 h 216"/>
                <a:gd name="T16" fmla="*/ 288 w 288"/>
                <a:gd name="T17" fmla="*/ 6 h 216"/>
                <a:gd name="T18" fmla="*/ 288 w 288"/>
                <a:gd name="T19" fmla="*/ 210 h 216"/>
                <a:gd name="T20" fmla="*/ 286 w 288"/>
                <a:gd name="T21" fmla="*/ 215 h 216"/>
                <a:gd name="T22" fmla="*/ 282 w 288"/>
                <a:gd name="T23" fmla="*/ 216 h 216"/>
                <a:gd name="T24" fmla="*/ 12 w 288"/>
                <a:gd name="T25" fmla="*/ 122 h 216"/>
                <a:gd name="T26" fmla="*/ 276 w 288"/>
                <a:gd name="T27" fmla="*/ 202 h 216"/>
                <a:gd name="T28" fmla="*/ 276 w 288"/>
                <a:gd name="T29" fmla="*/ 15 h 216"/>
                <a:gd name="T30" fmla="*/ 12 w 288"/>
                <a:gd name="T31" fmla="*/ 95 h 216"/>
                <a:gd name="T32" fmla="*/ 12 w 288"/>
                <a:gd name="T33" fmla="*/ 12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16">
                  <a:moveTo>
                    <a:pt x="282" y="216"/>
                  </a:moveTo>
                  <a:cubicBezTo>
                    <a:pt x="282" y="216"/>
                    <a:pt x="281" y="216"/>
                    <a:pt x="281" y="216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2" y="131"/>
                    <a:pt x="0" y="129"/>
                    <a:pt x="0" y="12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88"/>
                    <a:pt x="2" y="85"/>
                    <a:pt x="5" y="85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2" y="0"/>
                    <a:pt x="284" y="0"/>
                    <a:pt x="286" y="2"/>
                  </a:cubicBezTo>
                  <a:cubicBezTo>
                    <a:pt x="288" y="3"/>
                    <a:pt x="288" y="5"/>
                    <a:pt x="288" y="6"/>
                  </a:cubicBezTo>
                  <a:cubicBezTo>
                    <a:pt x="288" y="210"/>
                    <a:pt x="288" y="210"/>
                    <a:pt x="288" y="210"/>
                  </a:cubicBezTo>
                  <a:cubicBezTo>
                    <a:pt x="288" y="212"/>
                    <a:pt x="288" y="214"/>
                    <a:pt x="286" y="215"/>
                  </a:cubicBezTo>
                  <a:cubicBezTo>
                    <a:pt x="285" y="216"/>
                    <a:pt x="284" y="216"/>
                    <a:pt x="282" y="216"/>
                  </a:cubicBezTo>
                  <a:close/>
                  <a:moveTo>
                    <a:pt x="12" y="122"/>
                  </a:moveTo>
                  <a:cubicBezTo>
                    <a:pt x="276" y="202"/>
                    <a:pt x="276" y="202"/>
                    <a:pt x="276" y="202"/>
                  </a:cubicBezTo>
                  <a:cubicBezTo>
                    <a:pt x="276" y="15"/>
                    <a:pt x="276" y="15"/>
                    <a:pt x="276" y="15"/>
                  </a:cubicBezTo>
                  <a:cubicBezTo>
                    <a:pt x="12" y="95"/>
                    <a:pt x="12" y="95"/>
                    <a:pt x="12" y="95"/>
                  </a:cubicBezTo>
                  <a:lnTo>
                    <a:pt x="12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138" name="Freeform 64">
              <a:extLst>
                <a:ext uri="{FF2B5EF4-FFF2-40B4-BE49-F238E27FC236}">
                  <a16:creationId xmlns:a16="http://schemas.microsoft.com/office/drawing/2014/main" id="{717E367B-27A5-C28E-F230-A467A0E9C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" y="698"/>
              <a:ext cx="142" cy="127"/>
            </a:xfrm>
            <a:custGeom>
              <a:avLst/>
              <a:gdLst>
                <a:gd name="T0" fmla="*/ 48 w 96"/>
                <a:gd name="T1" fmla="*/ 86 h 86"/>
                <a:gd name="T2" fmla="*/ 0 w 96"/>
                <a:gd name="T3" fmla="*/ 38 h 86"/>
                <a:gd name="T4" fmla="*/ 0 w 96"/>
                <a:gd name="T5" fmla="*/ 6 h 86"/>
                <a:gd name="T6" fmla="*/ 6 w 96"/>
                <a:gd name="T7" fmla="*/ 0 h 86"/>
                <a:gd name="T8" fmla="*/ 12 w 96"/>
                <a:gd name="T9" fmla="*/ 6 h 86"/>
                <a:gd name="T10" fmla="*/ 12 w 96"/>
                <a:gd name="T11" fmla="*/ 38 h 86"/>
                <a:gd name="T12" fmla="*/ 48 w 96"/>
                <a:gd name="T13" fmla="*/ 74 h 86"/>
                <a:gd name="T14" fmla="*/ 84 w 96"/>
                <a:gd name="T15" fmla="*/ 38 h 86"/>
                <a:gd name="T16" fmla="*/ 90 w 96"/>
                <a:gd name="T17" fmla="*/ 32 h 86"/>
                <a:gd name="T18" fmla="*/ 96 w 96"/>
                <a:gd name="T19" fmla="*/ 38 h 86"/>
                <a:gd name="T20" fmla="*/ 48 w 96"/>
                <a:gd name="T2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86">
                  <a:moveTo>
                    <a:pt x="48" y="86"/>
                  </a:moveTo>
                  <a:cubicBezTo>
                    <a:pt x="22" y="86"/>
                    <a:pt x="0" y="64"/>
                    <a:pt x="0" y="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58"/>
                    <a:pt x="29" y="74"/>
                    <a:pt x="48" y="74"/>
                  </a:cubicBezTo>
                  <a:cubicBezTo>
                    <a:pt x="68" y="74"/>
                    <a:pt x="84" y="58"/>
                    <a:pt x="84" y="38"/>
                  </a:cubicBezTo>
                  <a:cubicBezTo>
                    <a:pt x="84" y="34"/>
                    <a:pt x="87" y="32"/>
                    <a:pt x="90" y="32"/>
                  </a:cubicBezTo>
                  <a:cubicBezTo>
                    <a:pt x="94" y="32"/>
                    <a:pt x="96" y="34"/>
                    <a:pt x="96" y="38"/>
                  </a:cubicBezTo>
                  <a:cubicBezTo>
                    <a:pt x="96" y="64"/>
                    <a:pt x="75" y="86"/>
                    <a:pt x="48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5155" name="Grupo 5154">
            <a:extLst>
              <a:ext uri="{FF2B5EF4-FFF2-40B4-BE49-F238E27FC236}">
                <a16:creationId xmlns:a16="http://schemas.microsoft.com/office/drawing/2014/main" id="{C6C01FC8-4DE1-EB1E-332D-69BD10F2AB97}"/>
              </a:ext>
            </a:extLst>
          </p:cNvPr>
          <p:cNvGrpSpPr/>
          <p:nvPr/>
        </p:nvGrpSpPr>
        <p:grpSpPr>
          <a:xfrm>
            <a:off x="6673282" y="2659747"/>
            <a:ext cx="481323" cy="494592"/>
            <a:chOff x="6484939" y="804408"/>
            <a:chExt cx="481323" cy="494592"/>
          </a:xfrm>
          <a:solidFill>
            <a:schemeClr val="bg1"/>
          </a:solidFill>
        </p:grpSpPr>
        <p:sp>
          <p:nvSpPr>
            <p:cNvPr id="5153" name="Freeform 5">
              <a:extLst>
                <a:ext uri="{FF2B5EF4-FFF2-40B4-BE49-F238E27FC236}">
                  <a16:creationId xmlns:a16="http://schemas.microsoft.com/office/drawing/2014/main" id="{3349C367-E70B-2888-0140-C41F625FD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363" y="1005864"/>
              <a:ext cx="176123" cy="179742"/>
            </a:xfrm>
            <a:custGeom>
              <a:avLst/>
              <a:gdLst>
                <a:gd name="T0" fmla="*/ 3 w 35"/>
                <a:gd name="T1" fmla="*/ 0 h 35"/>
                <a:gd name="T2" fmla="*/ 0 w 35"/>
                <a:gd name="T3" fmla="*/ 0 h 35"/>
                <a:gd name="T4" fmla="*/ 0 w 35"/>
                <a:gd name="T5" fmla="*/ 3 h 35"/>
                <a:gd name="T6" fmla="*/ 3 w 35"/>
                <a:gd name="T7" fmla="*/ 6 h 35"/>
                <a:gd name="T8" fmla="*/ 4 w 35"/>
                <a:gd name="T9" fmla="*/ 19 h 35"/>
                <a:gd name="T10" fmla="*/ 19 w 35"/>
                <a:gd name="T11" fmla="*/ 19 h 35"/>
                <a:gd name="T12" fmla="*/ 28 w 35"/>
                <a:gd name="T13" fmla="*/ 19 h 35"/>
                <a:gd name="T14" fmla="*/ 28 w 35"/>
                <a:gd name="T15" fmla="*/ 28 h 35"/>
                <a:gd name="T16" fmla="*/ 19 w 35"/>
                <a:gd name="T17" fmla="*/ 28 h 35"/>
                <a:gd name="T18" fmla="*/ 16 w 35"/>
                <a:gd name="T19" fmla="*/ 28 h 35"/>
                <a:gd name="T20" fmla="*/ 16 w 35"/>
                <a:gd name="T21" fmla="*/ 31 h 35"/>
                <a:gd name="T22" fmla="*/ 23 w 35"/>
                <a:gd name="T23" fmla="*/ 34 h 35"/>
                <a:gd name="T24" fmla="*/ 29 w 35"/>
                <a:gd name="T25" fmla="*/ 32 h 35"/>
                <a:gd name="T26" fmla="*/ 32 w 35"/>
                <a:gd name="T27" fmla="*/ 34 h 35"/>
                <a:gd name="T28" fmla="*/ 33 w 35"/>
                <a:gd name="T29" fmla="*/ 35 h 35"/>
                <a:gd name="T30" fmla="*/ 34 w 35"/>
                <a:gd name="T31" fmla="*/ 34 h 35"/>
                <a:gd name="T32" fmla="*/ 34 w 35"/>
                <a:gd name="T33" fmla="*/ 32 h 35"/>
                <a:gd name="T34" fmla="*/ 32 w 35"/>
                <a:gd name="T35" fmla="*/ 29 h 35"/>
                <a:gd name="T36" fmla="*/ 31 w 35"/>
                <a:gd name="T37" fmla="*/ 16 h 35"/>
                <a:gd name="T38" fmla="*/ 16 w 35"/>
                <a:gd name="T39" fmla="*/ 16 h 35"/>
                <a:gd name="T40" fmla="*/ 7 w 35"/>
                <a:gd name="T41" fmla="*/ 16 h 35"/>
                <a:gd name="T42" fmla="*/ 7 w 35"/>
                <a:gd name="T43" fmla="*/ 7 h 35"/>
                <a:gd name="T44" fmla="*/ 12 w 35"/>
                <a:gd name="T45" fmla="*/ 5 h 35"/>
                <a:gd name="T46" fmla="*/ 12 w 35"/>
                <a:gd name="T47" fmla="*/ 5 h 35"/>
                <a:gd name="T48" fmla="*/ 16 w 35"/>
                <a:gd name="T49" fmla="*/ 7 h 35"/>
                <a:gd name="T50" fmla="*/ 19 w 35"/>
                <a:gd name="T51" fmla="*/ 7 h 35"/>
                <a:gd name="T52" fmla="*/ 19 w 35"/>
                <a:gd name="T53" fmla="*/ 4 h 35"/>
                <a:gd name="T54" fmla="*/ 12 w 35"/>
                <a:gd name="T55" fmla="*/ 1 h 35"/>
                <a:gd name="T56" fmla="*/ 12 w 35"/>
                <a:gd name="T57" fmla="*/ 1 h 35"/>
                <a:gd name="T58" fmla="*/ 6 w 35"/>
                <a:gd name="T59" fmla="*/ 3 h 35"/>
                <a:gd name="T60" fmla="*/ 3 w 35"/>
                <a:gd name="T6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5" h="35">
                  <a:moveTo>
                    <a:pt x="3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1" y="15"/>
                    <a:pt x="4" y="19"/>
                  </a:cubicBezTo>
                  <a:cubicBezTo>
                    <a:pt x="8" y="23"/>
                    <a:pt x="15" y="23"/>
                    <a:pt x="19" y="19"/>
                  </a:cubicBezTo>
                  <a:cubicBezTo>
                    <a:pt x="21" y="16"/>
                    <a:pt x="25" y="16"/>
                    <a:pt x="28" y="19"/>
                  </a:cubicBezTo>
                  <a:cubicBezTo>
                    <a:pt x="30" y="21"/>
                    <a:pt x="30" y="25"/>
                    <a:pt x="28" y="28"/>
                  </a:cubicBezTo>
                  <a:cubicBezTo>
                    <a:pt x="25" y="30"/>
                    <a:pt x="21" y="30"/>
                    <a:pt x="19" y="28"/>
                  </a:cubicBezTo>
                  <a:cubicBezTo>
                    <a:pt x="18" y="27"/>
                    <a:pt x="17" y="27"/>
                    <a:pt x="16" y="28"/>
                  </a:cubicBezTo>
                  <a:cubicBezTo>
                    <a:pt x="15" y="28"/>
                    <a:pt x="15" y="30"/>
                    <a:pt x="16" y="31"/>
                  </a:cubicBezTo>
                  <a:cubicBezTo>
                    <a:pt x="18" y="33"/>
                    <a:pt x="21" y="34"/>
                    <a:pt x="23" y="34"/>
                  </a:cubicBezTo>
                  <a:cubicBezTo>
                    <a:pt x="25" y="34"/>
                    <a:pt x="27" y="33"/>
                    <a:pt x="29" y="32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5"/>
                    <a:pt x="32" y="35"/>
                    <a:pt x="33" y="35"/>
                  </a:cubicBezTo>
                  <a:cubicBezTo>
                    <a:pt x="34" y="35"/>
                    <a:pt x="34" y="35"/>
                    <a:pt x="34" y="34"/>
                  </a:cubicBezTo>
                  <a:cubicBezTo>
                    <a:pt x="35" y="34"/>
                    <a:pt x="35" y="32"/>
                    <a:pt x="34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4" y="25"/>
                    <a:pt x="34" y="20"/>
                    <a:pt x="31" y="16"/>
                  </a:cubicBezTo>
                  <a:cubicBezTo>
                    <a:pt x="27" y="12"/>
                    <a:pt x="20" y="12"/>
                    <a:pt x="16" y="16"/>
                  </a:cubicBezTo>
                  <a:cubicBezTo>
                    <a:pt x="14" y="18"/>
                    <a:pt x="10" y="18"/>
                    <a:pt x="7" y="16"/>
                  </a:cubicBezTo>
                  <a:cubicBezTo>
                    <a:pt x="5" y="14"/>
                    <a:pt x="5" y="10"/>
                    <a:pt x="7" y="7"/>
                  </a:cubicBezTo>
                  <a:cubicBezTo>
                    <a:pt x="8" y="6"/>
                    <a:pt x="10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5"/>
                    <a:pt x="15" y="6"/>
                    <a:pt x="16" y="7"/>
                  </a:cubicBezTo>
                  <a:cubicBezTo>
                    <a:pt x="17" y="8"/>
                    <a:pt x="18" y="8"/>
                    <a:pt x="19" y="7"/>
                  </a:cubicBezTo>
                  <a:cubicBezTo>
                    <a:pt x="20" y="6"/>
                    <a:pt x="20" y="5"/>
                    <a:pt x="19" y="4"/>
                  </a:cubicBezTo>
                  <a:cubicBezTo>
                    <a:pt x="17" y="2"/>
                    <a:pt x="14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0" y="1"/>
                    <a:pt x="8" y="2"/>
                    <a:pt x="6" y="3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54" name="Freeform 6">
              <a:extLst>
                <a:ext uri="{FF2B5EF4-FFF2-40B4-BE49-F238E27FC236}">
                  <a16:creationId xmlns:a16="http://schemas.microsoft.com/office/drawing/2014/main" id="{C34E3450-2454-0304-E534-85A8842C44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4939" y="804408"/>
              <a:ext cx="481323" cy="494592"/>
            </a:xfrm>
            <a:custGeom>
              <a:avLst/>
              <a:gdLst>
                <a:gd name="T0" fmla="*/ 95 w 96"/>
                <a:gd name="T1" fmla="*/ 59 h 96"/>
                <a:gd name="T2" fmla="*/ 45 w 96"/>
                <a:gd name="T3" fmla="*/ 9 h 96"/>
                <a:gd name="T4" fmla="*/ 44 w 96"/>
                <a:gd name="T5" fmla="*/ 8 h 96"/>
                <a:gd name="T6" fmla="*/ 11 w 96"/>
                <a:gd name="T7" fmla="*/ 8 h 96"/>
                <a:gd name="T8" fmla="*/ 3 w 96"/>
                <a:gd name="T9" fmla="*/ 1 h 96"/>
                <a:gd name="T10" fmla="*/ 1 w 96"/>
                <a:gd name="T11" fmla="*/ 1 h 96"/>
                <a:gd name="T12" fmla="*/ 1 w 96"/>
                <a:gd name="T13" fmla="*/ 3 h 96"/>
                <a:gd name="T14" fmla="*/ 8 w 96"/>
                <a:gd name="T15" fmla="*/ 11 h 96"/>
                <a:gd name="T16" fmla="*/ 8 w 96"/>
                <a:gd name="T17" fmla="*/ 44 h 96"/>
                <a:gd name="T18" fmla="*/ 9 w 96"/>
                <a:gd name="T19" fmla="*/ 45 h 96"/>
                <a:gd name="T20" fmla="*/ 59 w 96"/>
                <a:gd name="T21" fmla="*/ 95 h 96"/>
                <a:gd name="T22" fmla="*/ 60 w 96"/>
                <a:gd name="T23" fmla="*/ 96 h 96"/>
                <a:gd name="T24" fmla="*/ 61 w 96"/>
                <a:gd name="T25" fmla="*/ 95 h 96"/>
                <a:gd name="T26" fmla="*/ 95 w 96"/>
                <a:gd name="T27" fmla="*/ 61 h 96"/>
                <a:gd name="T28" fmla="*/ 95 w 96"/>
                <a:gd name="T29" fmla="*/ 59 h 96"/>
                <a:gd name="T30" fmla="*/ 60 w 96"/>
                <a:gd name="T31" fmla="*/ 91 h 96"/>
                <a:gd name="T32" fmla="*/ 12 w 96"/>
                <a:gd name="T33" fmla="*/ 43 h 96"/>
                <a:gd name="T34" fmla="*/ 12 w 96"/>
                <a:gd name="T35" fmla="*/ 15 h 96"/>
                <a:gd name="T36" fmla="*/ 22 w 96"/>
                <a:gd name="T37" fmla="*/ 25 h 96"/>
                <a:gd name="T38" fmla="*/ 20 w 96"/>
                <a:gd name="T39" fmla="*/ 30 h 96"/>
                <a:gd name="T40" fmla="*/ 30 w 96"/>
                <a:gd name="T41" fmla="*/ 40 h 96"/>
                <a:gd name="T42" fmla="*/ 40 w 96"/>
                <a:gd name="T43" fmla="*/ 30 h 96"/>
                <a:gd name="T44" fmla="*/ 30 w 96"/>
                <a:gd name="T45" fmla="*/ 20 h 96"/>
                <a:gd name="T46" fmla="*/ 25 w 96"/>
                <a:gd name="T47" fmla="*/ 22 h 96"/>
                <a:gd name="T48" fmla="*/ 15 w 96"/>
                <a:gd name="T49" fmla="*/ 12 h 96"/>
                <a:gd name="T50" fmla="*/ 43 w 96"/>
                <a:gd name="T51" fmla="*/ 12 h 96"/>
                <a:gd name="T52" fmla="*/ 91 w 96"/>
                <a:gd name="T53" fmla="*/ 60 h 96"/>
                <a:gd name="T54" fmla="*/ 60 w 96"/>
                <a:gd name="T55" fmla="*/ 91 h 96"/>
                <a:gd name="T56" fmla="*/ 27 w 96"/>
                <a:gd name="T57" fmla="*/ 29 h 96"/>
                <a:gd name="T58" fmla="*/ 28 w 96"/>
                <a:gd name="T59" fmla="*/ 30 h 96"/>
                <a:gd name="T60" fmla="*/ 29 w 96"/>
                <a:gd name="T61" fmla="*/ 29 h 96"/>
                <a:gd name="T62" fmla="*/ 29 w 96"/>
                <a:gd name="T63" fmla="*/ 27 h 96"/>
                <a:gd name="T64" fmla="*/ 27 w 96"/>
                <a:gd name="T65" fmla="*/ 25 h 96"/>
                <a:gd name="T66" fmla="*/ 30 w 96"/>
                <a:gd name="T67" fmla="*/ 24 h 96"/>
                <a:gd name="T68" fmla="*/ 36 w 96"/>
                <a:gd name="T69" fmla="*/ 30 h 96"/>
                <a:gd name="T70" fmla="*/ 30 w 96"/>
                <a:gd name="T71" fmla="*/ 36 h 96"/>
                <a:gd name="T72" fmla="*/ 24 w 96"/>
                <a:gd name="T73" fmla="*/ 30 h 96"/>
                <a:gd name="T74" fmla="*/ 25 w 96"/>
                <a:gd name="T75" fmla="*/ 27 h 96"/>
                <a:gd name="T76" fmla="*/ 27 w 96"/>
                <a:gd name="T77" fmla="*/ 2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96">
                  <a:moveTo>
                    <a:pt x="95" y="59"/>
                  </a:moveTo>
                  <a:cubicBezTo>
                    <a:pt x="45" y="9"/>
                    <a:pt x="45" y="9"/>
                    <a:pt x="45" y="9"/>
                  </a:cubicBezTo>
                  <a:cubicBezTo>
                    <a:pt x="45" y="8"/>
                    <a:pt x="45" y="8"/>
                    <a:pt x="4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5"/>
                    <a:pt x="8" y="45"/>
                    <a:pt x="9" y="45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6"/>
                    <a:pt x="60" y="96"/>
                    <a:pt x="60" y="96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6" y="61"/>
                    <a:pt x="96" y="59"/>
                    <a:pt x="95" y="59"/>
                  </a:cubicBezTo>
                  <a:close/>
                  <a:moveTo>
                    <a:pt x="60" y="91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1" y="26"/>
                    <a:pt x="20" y="28"/>
                    <a:pt x="20" y="30"/>
                  </a:cubicBezTo>
                  <a:cubicBezTo>
                    <a:pt x="20" y="36"/>
                    <a:pt x="25" y="40"/>
                    <a:pt x="30" y="40"/>
                  </a:cubicBezTo>
                  <a:cubicBezTo>
                    <a:pt x="36" y="40"/>
                    <a:pt x="40" y="36"/>
                    <a:pt x="40" y="30"/>
                  </a:cubicBezTo>
                  <a:cubicBezTo>
                    <a:pt x="40" y="25"/>
                    <a:pt x="36" y="20"/>
                    <a:pt x="30" y="20"/>
                  </a:cubicBezTo>
                  <a:cubicBezTo>
                    <a:pt x="28" y="20"/>
                    <a:pt x="26" y="21"/>
                    <a:pt x="25" y="2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91" y="60"/>
                    <a:pt x="91" y="60"/>
                    <a:pt x="91" y="60"/>
                  </a:cubicBezTo>
                  <a:lnTo>
                    <a:pt x="60" y="91"/>
                  </a:lnTo>
                  <a:close/>
                  <a:moveTo>
                    <a:pt x="27" y="29"/>
                  </a:moveTo>
                  <a:cubicBezTo>
                    <a:pt x="27" y="30"/>
                    <a:pt x="27" y="30"/>
                    <a:pt x="28" y="30"/>
                  </a:cubicBezTo>
                  <a:cubicBezTo>
                    <a:pt x="29" y="30"/>
                    <a:pt x="29" y="30"/>
                    <a:pt x="29" y="29"/>
                  </a:cubicBezTo>
                  <a:cubicBezTo>
                    <a:pt x="30" y="29"/>
                    <a:pt x="30" y="27"/>
                    <a:pt x="29" y="27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4"/>
                    <a:pt x="29" y="24"/>
                    <a:pt x="30" y="24"/>
                  </a:cubicBezTo>
                  <a:cubicBezTo>
                    <a:pt x="33" y="24"/>
                    <a:pt x="36" y="27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ubicBezTo>
                    <a:pt x="27" y="36"/>
                    <a:pt x="24" y="33"/>
                    <a:pt x="24" y="30"/>
                  </a:cubicBezTo>
                  <a:cubicBezTo>
                    <a:pt x="24" y="29"/>
                    <a:pt x="24" y="28"/>
                    <a:pt x="25" y="27"/>
                  </a:cubicBezTo>
                  <a:lnTo>
                    <a:pt x="2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64" name="Grupo 5163">
            <a:extLst>
              <a:ext uri="{FF2B5EF4-FFF2-40B4-BE49-F238E27FC236}">
                <a16:creationId xmlns:a16="http://schemas.microsoft.com/office/drawing/2014/main" id="{528A9A9E-BC6D-A135-9189-037010E74A3C}"/>
              </a:ext>
            </a:extLst>
          </p:cNvPr>
          <p:cNvGrpSpPr/>
          <p:nvPr/>
        </p:nvGrpSpPr>
        <p:grpSpPr>
          <a:xfrm>
            <a:off x="5037897" y="2663750"/>
            <a:ext cx="464188" cy="486587"/>
            <a:chOff x="5269991" y="830189"/>
            <a:chExt cx="464188" cy="486587"/>
          </a:xfrm>
          <a:solidFill>
            <a:schemeClr val="bg1"/>
          </a:solidFill>
        </p:grpSpPr>
        <p:sp>
          <p:nvSpPr>
            <p:cNvPr id="5140" name="Freeform 129">
              <a:extLst>
                <a:ext uri="{FF2B5EF4-FFF2-40B4-BE49-F238E27FC236}">
                  <a16:creationId xmlns:a16="http://schemas.microsoft.com/office/drawing/2014/main" id="{36CA854B-57FD-CC9E-B097-F112DAC58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5948" y="897390"/>
              <a:ext cx="331030" cy="331029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1" name="Freeform 130">
              <a:extLst>
                <a:ext uri="{FF2B5EF4-FFF2-40B4-BE49-F238E27FC236}">
                  <a16:creationId xmlns:a16="http://schemas.microsoft.com/office/drawing/2014/main" id="{6A0DEA12-EA5B-E50A-4899-E5F153373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306" y="1206018"/>
              <a:ext cx="154315" cy="67201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2" name="Freeform 131">
              <a:extLst>
                <a:ext uri="{FF2B5EF4-FFF2-40B4-BE49-F238E27FC236}">
                  <a16:creationId xmlns:a16="http://schemas.microsoft.com/office/drawing/2014/main" id="{7811979D-D9D6-F88A-FFAD-37C1B5FFA7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6706" y="1250819"/>
              <a:ext cx="109514" cy="65957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4" name="Freeform 133">
              <a:extLst>
                <a:ext uri="{FF2B5EF4-FFF2-40B4-BE49-F238E27FC236}">
                  <a16:creationId xmlns:a16="http://schemas.microsoft.com/office/drawing/2014/main" id="{106DAAC3-650E-D429-64F0-9C4F2A8BD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263" y="830189"/>
              <a:ext cx="22400" cy="44801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5" name="Freeform 134">
              <a:extLst>
                <a:ext uri="{FF2B5EF4-FFF2-40B4-BE49-F238E27FC236}">
                  <a16:creationId xmlns:a16="http://schemas.microsoft.com/office/drawing/2014/main" id="{AE789E47-C0BF-7D37-39F5-710FA8B3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399" y="893657"/>
              <a:ext cx="41068" cy="38579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6" name="Freeform 135">
              <a:extLst>
                <a:ext uri="{FF2B5EF4-FFF2-40B4-BE49-F238E27FC236}">
                  <a16:creationId xmlns:a16="http://schemas.microsoft.com/office/drawing/2014/main" id="{828BC1BC-4C99-ECE1-992F-27F26026E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378" y="1051704"/>
              <a:ext cx="44801" cy="22400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7" name="Freeform 136">
              <a:extLst>
                <a:ext uri="{FF2B5EF4-FFF2-40B4-BE49-F238E27FC236}">
                  <a16:creationId xmlns:a16="http://schemas.microsoft.com/office/drawing/2014/main" id="{A2E4B48B-26CF-9695-F96E-523264DA9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399" y="1191085"/>
              <a:ext cx="41068" cy="38579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8" name="Freeform 137">
              <a:extLst>
                <a:ext uri="{FF2B5EF4-FFF2-40B4-BE49-F238E27FC236}">
                  <a16:creationId xmlns:a16="http://schemas.microsoft.com/office/drawing/2014/main" id="{6ED6B429-CD1A-654D-C93D-081002CAB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2215" y="893657"/>
              <a:ext cx="39823" cy="38579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49" name="Freeform 138">
              <a:extLst>
                <a:ext uri="{FF2B5EF4-FFF2-40B4-BE49-F238E27FC236}">
                  <a16:creationId xmlns:a16="http://schemas.microsoft.com/office/drawing/2014/main" id="{2B86F58B-CEE9-DE24-34AF-DAF497F7A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9991" y="1051704"/>
              <a:ext cx="43557" cy="22400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sp>
          <p:nvSpPr>
            <p:cNvPr id="5150" name="Freeform 139">
              <a:extLst>
                <a:ext uri="{FF2B5EF4-FFF2-40B4-BE49-F238E27FC236}">
                  <a16:creationId xmlns:a16="http://schemas.microsoft.com/office/drawing/2014/main" id="{7806D50C-6886-64A1-3EC9-E842B3828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2215" y="1191085"/>
              <a:ext cx="39823" cy="38579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b="1" dirty="0"/>
            </a:p>
          </p:txBody>
        </p:sp>
        <p:grpSp>
          <p:nvGrpSpPr>
            <p:cNvPr id="5156" name="Group 19">
              <a:extLst>
                <a:ext uri="{FF2B5EF4-FFF2-40B4-BE49-F238E27FC236}">
                  <a16:creationId xmlns:a16="http://schemas.microsoft.com/office/drawing/2014/main" id="{E38749C2-67F9-844D-B553-AA0DC4D4C04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931" y="981348"/>
              <a:ext cx="73061" cy="154507"/>
              <a:chOff x="2894" y="927"/>
              <a:chExt cx="61" cy="129"/>
            </a:xfrm>
            <a:grpFill/>
          </p:grpSpPr>
          <p:sp>
            <p:nvSpPr>
              <p:cNvPr id="5158" name="Freeform 21">
                <a:extLst>
                  <a:ext uri="{FF2B5EF4-FFF2-40B4-BE49-F238E27FC236}">
                    <a16:creationId xmlns:a16="http://schemas.microsoft.com/office/drawing/2014/main" id="{3344C4D8-2E58-5AFF-D88E-25CD96DAC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4" y="942"/>
                <a:ext cx="61" cy="100"/>
              </a:xfrm>
              <a:custGeom>
                <a:avLst/>
                <a:gdLst>
                  <a:gd name="T0" fmla="*/ 20 w 40"/>
                  <a:gd name="T1" fmla="*/ 67 h 67"/>
                  <a:gd name="T2" fmla="*/ 0 w 40"/>
                  <a:gd name="T3" fmla="*/ 47 h 67"/>
                  <a:gd name="T4" fmla="*/ 6 w 40"/>
                  <a:gd name="T5" fmla="*/ 41 h 67"/>
                  <a:gd name="T6" fmla="*/ 12 w 40"/>
                  <a:gd name="T7" fmla="*/ 47 h 67"/>
                  <a:gd name="T8" fmla="*/ 20 w 40"/>
                  <a:gd name="T9" fmla="*/ 55 h 67"/>
                  <a:gd name="T10" fmla="*/ 28 w 40"/>
                  <a:gd name="T11" fmla="*/ 47 h 67"/>
                  <a:gd name="T12" fmla="*/ 20 w 40"/>
                  <a:gd name="T13" fmla="*/ 39 h 67"/>
                  <a:gd name="T14" fmla="*/ 0 w 40"/>
                  <a:gd name="T15" fmla="*/ 19 h 67"/>
                  <a:gd name="T16" fmla="*/ 20 w 40"/>
                  <a:gd name="T17" fmla="*/ 0 h 67"/>
                  <a:gd name="T18" fmla="*/ 40 w 40"/>
                  <a:gd name="T19" fmla="*/ 19 h 67"/>
                  <a:gd name="T20" fmla="*/ 34 w 40"/>
                  <a:gd name="T21" fmla="*/ 25 h 67"/>
                  <a:gd name="T22" fmla="*/ 28 w 40"/>
                  <a:gd name="T23" fmla="*/ 19 h 67"/>
                  <a:gd name="T24" fmla="*/ 20 w 40"/>
                  <a:gd name="T25" fmla="*/ 12 h 67"/>
                  <a:gd name="T26" fmla="*/ 12 w 40"/>
                  <a:gd name="T27" fmla="*/ 19 h 67"/>
                  <a:gd name="T28" fmla="*/ 20 w 40"/>
                  <a:gd name="T29" fmla="*/ 27 h 67"/>
                  <a:gd name="T30" fmla="*/ 40 w 40"/>
                  <a:gd name="T31" fmla="*/ 47 h 67"/>
                  <a:gd name="T32" fmla="*/ 20 w 40"/>
                  <a:gd name="T33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67">
                    <a:moveTo>
                      <a:pt x="20" y="67"/>
                    </a:moveTo>
                    <a:cubicBezTo>
                      <a:pt x="9" y="67"/>
                      <a:pt x="0" y="58"/>
                      <a:pt x="0" y="47"/>
                    </a:cubicBezTo>
                    <a:cubicBezTo>
                      <a:pt x="0" y="44"/>
                      <a:pt x="3" y="41"/>
                      <a:pt x="6" y="41"/>
                    </a:cubicBezTo>
                    <a:cubicBezTo>
                      <a:pt x="9" y="41"/>
                      <a:pt x="12" y="44"/>
                      <a:pt x="12" y="47"/>
                    </a:cubicBezTo>
                    <a:cubicBezTo>
                      <a:pt x="12" y="52"/>
                      <a:pt x="15" y="55"/>
                      <a:pt x="20" y="55"/>
                    </a:cubicBezTo>
                    <a:cubicBezTo>
                      <a:pt x="24" y="55"/>
                      <a:pt x="28" y="52"/>
                      <a:pt x="28" y="47"/>
                    </a:cubicBezTo>
                    <a:cubicBezTo>
                      <a:pt x="28" y="43"/>
                      <a:pt x="24" y="39"/>
                      <a:pt x="20" y="39"/>
                    </a:cubicBezTo>
                    <a:cubicBezTo>
                      <a:pt x="9" y="39"/>
                      <a:pt x="0" y="30"/>
                      <a:pt x="0" y="19"/>
                    </a:cubicBezTo>
                    <a:cubicBezTo>
                      <a:pt x="0" y="8"/>
                      <a:pt x="9" y="0"/>
                      <a:pt x="20" y="0"/>
                    </a:cubicBezTo>
                    <a:cubicBezTo>
                      <a:pt x="31" y="0"/>
                      <a:pt x="40" y="8"/>
                      <a:pt x="40" y="19"/>
                    </a:cubicBezTo>
                    <a:cubicBezTo>
                      <a:pt x="40" y="23"/>
                      <a:pt x="37" y="25"/>
                      <a:pt x="34" y="25"/>
                    </a:cubicBezTo>
                    <a:cubicBezTo>
                      <a:pt x="30" y="25"/>
                      <a:pt x="28" y="23"/>
                      <a:pt x="28" y="19"/>
                    </a:cubicBezTo>
                    <a:cubicBezTo>
                      <a:pt x="28" y="15"/>
                      <a:pt x="24" y="12"/>
                      <a:pt x="20" y="12"/>
                    </a:cubicBezTo>
                    <a:cubicBezTo>
                      <a:pt x="15" y="12"/>
                      <a:pt x="12" y="15"/>
                      <a:pt x="12" y="19"/>
                    </a:cubicBezTo>
                    <a:cubicBezTo>
                      <a:pt x="12" y="24"/>
                      <a:pt x="15" y="27"/>
                      <a:pt x="20" y="27"/>
                    </a:cubicBezTo>
                    <a:cubicBezTo>
                      <a:pt x="31" y="27"/>
                      <a:pt x="40" y="36"/>
                      <a:pt x="40" y="47"/>
                    </a:cubicBezTo>
                    <a:cubicBezTo>
                      <a:pt x="40" y="58"/>
                      <a:pt x="31" y="67"/>
                      <a:pt x="20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9" name="Freeform 22">
                <a:extLst>
                  <a:ext uri="{FF2B5EF4-FFF2-40B4-BE49-F238E27FC236}">
                    <a16:creationId xmlns:a16="http://schemas.microsoft.com/office/drawing/2014/main" id="{6669B3F8-A45B-FF70-B701-1F49FD29C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" y="1024"/>
                <a:ext cx="18" cy="32"/>
              </a:xfrm>
              <a:custGeom>
                <a:avLst/>
                <a:gdLst>
                  <a:gd name="T0" fmla="*/ 6 w 12"/>
                  <a:gd name="T1" fmla="*/ 21 h 21"/>
                  <a:gd name="T2" fmla="*/ 0 w 12"/>
                  <a:gd name="T3" fmla="*/ 15 h 21"/>
                  <a:gd name="T4" fmla="*/ 0 w 12"/>
                  <a:gd name="T5" fmla="*/ 6 h 21"/>
                  <a:gd name="T6" fmla="*/ 6 w 12"/>
                  <a:gd name="T7" fmla="*/ 0 h 21"/>
                  <a:gd name="T8" fmla="*/ 12 w 12"/>
                  <a:gd name="T9" fmla="*/ 6 h 21"/>
                  <a:gd name="T10" fmla="*/ 12 w 12"/>
                  <a:gd name="T11" fmla="*/ 15 h 21"/>
                  <a:gd name="T12" fmla="*/ 6 w 12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1">
                    <a:moveTo>
                      <a:pt x="6" y="21"/>
                    </a:moveTo>
                    <a:cubicBezTo>
                      <a:pt x="3" y="21"/>
                      <a:pt x="0" y="19"/>
                      <a:pt x="0" y="1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9"/>
                      <a:pt x="9" y="21"/>
                      <a:pt x="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0" name="Freeform 23">
                <a:extLst>
                  <a:ext uri="{FF2B5EF4-FFF2-40B4-BE49-F238E27FC236}">
                    <a16:creationId xmlns:a16="http://schemas.microsoft.com/office/drawing/2014/main" id="{AF320382-3ADB-5E85-DE0B-C0FDEDFF4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" y="927"/>
                <a:ext cx="18" cy="33"/>
              </a:xfrm>
              <a:custGeom>
                <a:avLst/>
                <a:gdLst>
                  <a:gd name="T0" fmla="*/ 6 w 12"/>
                  <a:gd name="T1" fmla="*/ 22 h 22"/>
                  <a:gd name="T2" fmla="*/ 0 w 12"/>
                  <a:gd name="T3" fmla="*/ 16 h 22"/>
                  <a:gd name="T4" fmla="*/ 0 w 12"/>
                  <a:gd name="T5" fmla="*/ 6 h 22"/>
                  <a:gd name="T6" fmla="*/ 6 w 12"/>
                  <a:gd name="T7" fmla="*/ 0 h 22"/>
                  <a:gd name="T8" fmla="*/ 12 w 12"/>
                  <a:gd name="T9" fmla="*/ 6 h 22"/>
                  <a:gd name="T10" fmla="*/ 12 w 12"/>
                  <a:gd name="T11" fmla="*/ 16 h 22"/>
                  <a:gd name="T12" fmla="*/ 6 w 1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2">
                    <a:moveTo>
                      <a:pt x="6" y="22"/>
                    </a:moveTo>
                    <a:cubicBezTo>
                      <a:pt x="3" y="22"/>
                      <a:pt x="0" y="19"/>
                      <a:pt x="0" y="1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9"/>
                      <a:pt x="9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26" name="Marcador de pie de página 25">
            <a:extLst>
              <a:ext uri="{FF2B5EF4-FFF2-40B4-BE49-F238E27FC236}">
                <a16:creationId xmlns:a16="http://schemas.microsoft.com/office/drawing/2014/main" id="{FB1BF91F-4E40-B99A-2574-2D5F463455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74363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— Force Field Analysis</a:t>
            </a:r>
          </a:p>
        </p:txBody>
      </p:sp>
      <p:sp>
        <p:nvSpPr>
          <p:cNvPr id="7" name="Diagrama de flujo: disco magnético 6">
            <a:extLst>
              <a:ext uri="{FF2B5EF4-FFF2-40B4-BE49-F238E27FC236}">
                <a16:creationId xmlns:a16="http://schemas.microsoft.com/office/drawing/2014/main" id="{21BDC1AA-0619-B47A-1972-181CA395DB47}"/>
              </a:ext>
            </a:extLst>
          </p:cNvPr>
          <p:cNvSpPr/>
          <p:nvPr/>
        </p:nvSpPr>
        <p:spPr>
          <a:xfrm>
            <a:off x="4933950" y="5001741"/>
            <a:ext cx="2298700" cy="1306984"/>
          </a:xfrm>
          <a:prstGeom prst="flowChartMagneticDisk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1600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  <p:sp>
        <p:nvSpPr>
          <p:cNvPr id="8" name="Diagrama de flujo: disco magnético 7">
            <a:extLst>
              <a:ext uri="{FF2B5EF4-FFF2-40B4-BE49-F238E27FC236}">
                <a16:creationId xmlns:a16="http://schemas.microsoft.com/office/drawing/2014/main" id="{3CB5F467-5B16-AAD5-6434-8F9820801389}"/>
              </a:ext>
            </a:extLst>
          </p:cNvPr>
          <p:cNvSpPr/>
          <p:nvPr/>
        </p:nvSpPr>
        <p:spPr>
          <a:xfrm>
            <a:off x="4933950" y="4134015"/>
            <a:ext cx="2298700" cy="1306984"/>
          </a:xfrm>
          <a:prstGeom prst="flowChartMagneticDisk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1600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9" name="Diagrama de flujo: disco magnético 8">
            <a:extLst>
              <a:ext uri="{FF2B5EF4-FFF2-40B4-BE49-F238E27FC236}">
                <a16:creationId xmlns:a16="http://schemas.microsoft.com/office/drawing/2014/main" id="{D7638434-4A69-999F-C848-E4710B961CEC}"/>
              </a:ext>
            </a:extLst>
          </p:cNvPr>
          <p:cNvSpPr/>
          <p:nvPr/>
        </p:nvSpPr>
        <p:spPr>
          <a:xfrm>
            <a:off x="4933950" y="3262951"/>
            <a:ext cx="2298700" cy="1306984"/>
          </a:xfrm>
          <a:prstGeom prst="flowChartMagneticDisk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1600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0" name="Diagrama de flujo: disco magnético 9">
            <a:extLst>
              <a:ext uri="{FF2B5EF4-FFF2-40B4-BE49-F238E27FC236}">
                <a16:creationId xmlns:a16="http://schemas.microsoft.com/office/drawing/2014/main" id="{108F2A53-F8E6-8B16-E6B9-67D813356E45}"/>
              </a:ext>
            </a:extLst>
          </p:cNvPr>
          <p:cNvSpPr/>
          <p:nvPr/>
        </p:nvSpPr>
        <p:spPr>
          <a:xfrm>
            <a:off x="4933950" y="2388551"/>
            <a:ext cx="2298700" cy="1306984"/>
          </a:xfrm>
          <a:prstGeom prst="flowChartMagneticDisk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1600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1" name="Diagrama de flujo: disco magnético 10">
            <a:extLst>
              <a:ext uri="{FF2B5EF4-FFF2-40B4-BE49-F238E27FC236}">
                <a16:creationId xmlns:a16="http://schemas.microsoft.com/office/drawing/2014/main" id="{A016E1B1-1734-FE99-3086-5798C8B85DDB}"/>
              </a:ext>
            </a:extLst>
          </p:cNvPr>
          <p:cNvSpPr/>
          <p:nvPr/>
        </p:nvSpPr>
        <p:spPr>
          <a:xfrm>
            <a:off x="4933950" y="1520825"/>
            <a:ext cx="2298700" cy="1306984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1600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2" name="Flecha: pentágono 11">
            <a:extLst>
              <a:ext uri="{FF2B5EF4-FFF2-40B4-BE49-F238E27FC236}">
                <a16:creationId xmlns:a16="http://schemas.microsoft.com/office/drawing/2014/main" id="{4F3AD6B1-DF7C-D9AD-F2FF-670E5585E057}"/>
              </a:ext>
            </a:extLst>
          </p:cNvPr>
          <p:cNvSpPr/>
          <p:nvPr/>
        </p:nvSpPr>
        <p:spPr>
          <a:xfrm>
            <a:off x="371475" y="1797845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CB338199-736D-D218-BCE8-549B9DCE8DF8}"/>
              </a:ext>
            </a:extLst>
          </p:cNvPr>
          <p:cNvSpPr/>
          <p:nvPr/>
        </p:nvSpPr>
        <p:spPr>
          <a:xfrm>
            <a:off x="384175" y="1520826"/>
            <a:ext cx="444618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riving forc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positive forces for change)</a:t>
            </a:r>
          </a:p>
        </p:txBody>
      </p:sp>
      <p:sp>
        <p:nvSpPr>
          <p:cNvPr id="14" name="Flecha: pentágono 13">
            <a:extLst>
              <a:ext uri="{FF2B5EF4-FFF2-40B4-BE49-F238E27FC236}">
                <a16:creationId xmlns:a16="http://schemas.microsoft.com/office/drawing/2014/main" id="{D0329306-C05B-B7D3-B7B0-83BD2C1C5D67}"/>
              </a:ext>
            </a:extLst>
          </p:cNvPr>
          <p:cNvSpPr/>
          <p:nvPr/>
        </p:nvSpPr>
        <p:spPr>
          <a:xfrm>
            <a:off x="371475" y="2662631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lecha: pentágono 14">
            <a:extLst>
              <a:ext uri="{FF2B5EF4-FFF2-40B4-BE49-F238E27FC236}">
                <a16:creationId xmlns:a16="http://schemas.microsoft.com/office/drawing/2014/main" id="{B4D79D13-B265-03BA-5C93-26362E62705A}"/>
              </a:ext>
            </a:extLst>
          </p:cNvPr>
          <p:cNvSpPr/>
          <p:nvPr/>
        </p:nvSpPr>
        <p:spPr>
          <a:xfrm>
            <a:off x="371475" y="3540485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lecha: pentágono 15">
            <a:extLst>
              <a:ext uri="{FF2B5EF4-FFF2-40B4-BE49-F238E27FC236}">
                <a16:creationId xmlns:a16="http://schemas.microsoft.com/office/drawing/2014/main" id="{BF4A6EA1-0FAE-D8FD-ED6E-93DB65BC9CF7}"/>
              </a:ext>
            </a:extLst>
          </p:cNvPr>
          <p:cNvSpPr/>
          <p:nvPr/>
        </p:nvSpPr>
        <p:spPr>
          <a:xfrm>
            <a:off x="371475" y="4411432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lecha: pentágono 16">
            <a:extLst>
              <a:ext uri="{FF2B5EF4-FFF2-40B4-BE49-F238E27FC236}">
                <a16:creationId xmlns:a16="http://schemas.microsoft.com/office/drawing/2014/main" id="{238F00B1-A825-ACCA-FD5B-DE08A37E5836}"/>
              </a:ext>
            </a:extLst>
          </p:cNvPr>
          <p:cNvSpPr/>
          <p:nvPr/>
        </p:nvSpPr>
        <p:spPr>
          <a:xfrm>
            <a:off x="371475" y="5277606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lecha: pentágono 17">
            <a:extLst>
              <a:ext uri="{FF2B5EF4-FFF2-40B4-BE49-F238E27FC236}">
                <a16:creationId xmlns:a16="http://schemas.microsoft.com/office/drawing/2014/main" id="{51453C37-260E-400D-2D5D-7C3382621D32}"/>
              </a:ext>
            </a:extLst>
          </p:cNvPr>
          <p:cNvSpPr/>
          <p:nvPr/>
        </p:nvSpPr>
        <p:spPr>
          <a:xfrm flipH="1">
            <a:off x="7361645" y="1797845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9" name="Flecha: pentágono 18">
            <a:extLst>
              <a:ext uri="{FF2B5EF4-FFF2-40B4-BE49-F238E27FC236}">
                <a16:creationId xmlns:a16="http://schemas.microsoft.com/office/drawing/2014/main" id="{7E444423-1D33-35BE-7325-F0A52542838D}"/>
              </a:ext>
            </a:extLst>
          </p:cNvPr>
          <p:cNvSpPr/>
          <p:nvPr/>
        </p:nvSpPr>
        <p:spPr>
          <a:xfrm flipH="1">
            <a:off x="7361645" y="2662631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lecha: pentágono 19">
            <a:extLst>
              <a:ext uri="{FF2B5EF4-FFF2-40B4-BE49-F238E27FC236}">
                <a16:creationId xmlns:a16="http://schemas.microsoft.com/office/drawing/2014/main" id="{0D975337-6E0F-91CE-192D-D7EA4EE150BF}"/>
              </a:ext>
            </a:extLst>
          </p:cNvPr>
          <p:cNvSpPr/>
          <p:nvPr/>
        </p:nvSpPr>
        <p:spPr>
          <a:xfrm flipH="1">
            <a:off x="7361645" y="3540485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lecha: pentágono 20">
            <a:extLst>
              <a:ext uri="{FF2B5EF4-FFF2-40B4-BE49-F238E27FC236}">
                <a16:creationId xmlns:a16="http://schemas.microsoft.com/office/drawing/2014/main" id="{BB3B50CA-03E7-083A-7EE0-322C70AA7661}"/>
              </a:ext>
            </a:extLst>
          </p:cNvPr>
          <p:cNvSpPr/>
          <p:nvPr/>
        </p:nvSpPr>
        <p:spPr>
          <a:xfrm flipH="1">
            <a:off x="7361645" y="4411432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lecha: pentágono 21">
            <a:extLst>
              <a:ext uri="{FF2B5EF4-FFF2-40B4-BE49-F238E27FC236}">
                <a16:creationId xmlns:a16="http://schemas.microsoft.com/office/drawing/2014/main" id="{0C5059F4-D1FB-FD91-E74A-CD698D746593}"/>
              </a:ext>
            </a:extLst>
          </p:cNvPr>
          <p:cNvSpPr/>
          <p:nvPr/>
        </p:nvSpPr>
        <p:spPr>
          <a:xfrm flipH="1">
            <a:off x="7361645" y="5277606"/>
            <a:ext cx="4458880" cy="758824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6139D555-0628-9E1F-7A61-081F0871258F}"/>
              </a:ext>
            </a:extLst>
          </p:cNvPr>
          <p:cNvSpPr/>
          <p:nvPr/>
        </p:nvSpPr>
        <p:spPr>
          <a:xfrm>
            <a:off x="7374345" y="1520826"/>
            <a:ext cx="444618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training forc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Obstacles to change)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048ED0DB-149B-6B5A-3167-EDEE9C7F5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8008250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9" name="Objeto 1038" hidden="1">
            <a:extLst>
              <a:ext uri="{FF2B5EF4-FFF2-40B4-BE49-F238E27FC236}">
                <a16:creationId xmlns:a16="http://schemas.microsoft.com/office/drawing/2014/main" id="{BF936B1D-EBF8-21A1-6C39-1BAB27156B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039" name="Objeto 1038" hidden="1">
                        <a:extLst>
                          <a:ext uri="{FF2B5EF4-FFF2-40B4-BE49-F238E27FC236}">
                            <a16:creationId xmlns:a16="http://schemas.microsoft.com/office/drawing/2014/main" id="{BF936B1D-EBF8-21A1-6C39-1BAB27156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3" name="Rectángulo 1042">
            <a:extLst>
              <a:ext uri="{FF2B5EF4-FFF2-40B4-BE49-F238E27FC236}">
                <a16:creationId xmlns:a16="http://schemas.microsoft.com/office/drawing/2014/main" id="{8D1EAC8F-663B-13FE-3B27-5E368A5612C6}"/>
              </a:ext>
            </a:extLst>
          </p:cNvPr>
          <p:cNvSpPr/>
          <p:nvPr/>
        </p:nvSpPr>
        <p:spPr>
          <a:xfrm>
            <a:off x="9048750" y="1520825"/>
            <a:ext cx="2771775" cy="4787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Profitability Framework </a:t>
            </a:r>
          </a:p>
        </p:txBody>
      </p:sp>
      <p:sp>
        <p:nvSpPr>
          <p:cNvPr id="2" name="TextBox 25">
            <a:extLst>
              <a:ext uri="{FF2B5EF4-FFF2-40B4-BE49-F238E27FC236}">
                <a16:creationId xmlns:a16="http://schemas.microsoft.com/office/drawing/2014/main" id="{2412910B-CD78-1ED7-186F-E2F87755FDFD}"/>
              </a:ext>
            </a:extLst>
          </p:cNvPr>
          <p:cNvSpPr txBox="1"/>
          <p:nvPr/>
        </p:nvSpPr>
        <p:spPr>
          <a:xfrm>
            <a:off x="371475" y="3467413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100 MM</a:t>
            </a: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0648D513-CD39-8C9C-B5AE-5AD0401FEB23}"/>
              </a:ext>
            </a:extLst>
          </p:cNvPr>
          <p:cNvSpPr txBox="1"/>
          <p:nvPr/>
        </p:nvSpPr>
        <p:spPr>
          <a:xfrm>
            <a:off x="371475" y="3755560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fits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C7042CA0-12AB-32CA-4892-D3194F3C4679}"/>
              </a:ext>
            </a:extLst>
          </p:cNvPr>
          <p:cNvSpPr txBox="1"/>
          <p:nvPr/>
        </p:nvSpPr>
        <p:spPr>
          <a:xfrm>
            <a:off x="4710113" y="1520825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10 M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071DE6-DC82-3004-4CC5-8F5DD48EAA5C}"/>
              </a:ext>
            </a:extLst>
          </p:cNvPr>
          <p:cNvSpPr txBox="1"/>
          <p:nvPr/>
        </p:nvSpPr>
        <p:spPr>
          <a:xfrm>
            <a:off x="4710113" y="1808972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me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2492BBCF-BE28-3076-F14D-8F0808F247DD}"/>
              </a:ext>
            </a:extLst>
          </p:cNvPr>
          <p:cNvSpPr txBox="1"/>
          <p:nvPr/>
        </p:nvSpPr>
        <p:spPr>
          <a:xfrm>
            <a:off x="4710113" y="2818550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30</a:t>
            </a:r>
          </a:p>
        </p:txBody>
      </p:sp>
      <p:sp>
        <p:nvSpPr>
          <p:cNvPr id="28" name="TextBox 25">
            <a:extLst>
              <a:ext uri="{FF2B5EF4-FFF2-40B4-BE49-F238E27FC236}">
                <a16:creationId xmlns:a16="http://schemas.microsoft.com/office/drawing/2014/main" id="{818C240E-9C87-ACC4-5A51-B91879648D7D}"/>
              </a:ext>
            </a:extLst>
          </p:cNvPr>
          <p:cNvSpPr txBox="1"/>
          <p:nvPr/>
        </p:nvSpPr>
        <p:spPr>
          <a:xfrm>
            <a:off x="4710113" y="3106697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ice per unit</a:t>
            </a:r>
          </a:p>
        </p:txBody>
      </p:sp>
      <p:sp>
        <p:nvSpPr>
          <p:cNvPr id="29" name="TextBox 25">
            <a:extLst>
              <a:ext uri="{FF2B5EF4-FFF2-40B4-BE49-F238E27FC236}">
                <a16:creationId xmlns:a16="http://schemas.microsoft.com/office/drawing/2014/main" id="{A4D02351-B177-393F-504B-773B37BF1B40}"/>
              </a:ext>
            </a:extLst>
          </p:cNvPr>
          <p:cNvSpPr txBox="1"/>
          <p:nvPr/>
        </p:nvSpPr>
        <p:spPr>
          <a:xfrm>
            <a:off x="4710113" y="4116275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80 MM</a:t>
            </a:r>
          </a:p>
        </p:txBody>
      </p:sp>
      <p:sp>
        <p:nvSpPr>
          <p:cNvPr id="30" name="TextBox 25">
            <a:extLst>
              <a:ext uri="{FF2B5EF4-FFF2-40B4-BE49-F238E27FC236}">
                <a16:creationId xmlns:a16="http://schemas.microsoft.com/office/drawing/2014/main" id="{26AFC69D-8FB5-CD65-7BFA-A6BEA91BAA44}"/>
              </a:ext>
            </a:extLst>
          </p:cNvPr>
          <p:cNvSpPr txBox="1"/>
          <p:nvPr/>
        </p:nvSpPr>
        <p:spPr>
          <a:xfrm>
            <a:off x="4710113" y="4404422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ixed costs</a:t>
            </a: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831BF664-0DE4-D218-94FC-6ECA659E244C}"/>
              </a:ext>
            </a:extLst>
          </p:cNvPr>
          <p:cNvSpPr txBox="1"/>
          <p:nvPr/>
        </p:nvSpPr>
        <p:spPr>
          <a:xfrm>
            <a:off x="4710113" y="5414000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120 MM</a:t>
            </a:r>
          </a:p>
        </p:txBody>
      </p:sp>
      <p:sp>
        <p:nvSpPr>
          <p:cNvPr id="1024" name="TextBox 25">
            <a:extLst>
              <a:ext uri="{FF2B5EF4-FFF2-40B4-BE49-F238E27FC236}">
                <a16:creationId xmlns:a16="http://schemas.microsoft.com/office/drawing/2014/main" id="{9EC00676-834F-F899-DDA8-C310F806DF37}"/>
              </a:ext>
            </a:extLst>
          </p:cNvPr>
          <p:cNvSpPr txBox="1"/>
          <p:nvPr/>
        </p:nvSpPr>
        <p:spPr>
          <a:xfrm>
            <a:off x="4710113" y="5702147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ariable costs</a:t>
            </a:r>
          </a:p>
        </p:txBody>
      </p:sp>
      <p:sp>
        <p:nvSpPr>
          <p:cNvPr id="1028" name="TextBox 25">
            <a:extLst>
              <a:ext uri="{FF2B5EF4-FFF2-40B4-BE49-F238E27FC236}">
                <a16:creationId xmlns:a16="http://schemas.microsoft.com/office/drawing/2014/main" id="{EF2C0FAB-1AA1-D0BE-06E4-BE518A7363ED}"/>
              </a:ext>
            </a:extLst>
          </p:cNvPr>
          <p:cNvSpPr txBox="1"/>
          <p:nvPr/>
        </p:nvSpPr>
        <p:spPr>
          <a:xfrm>
            <a:off x="9158605" y="1697179"/>
            <a:ext cx="255206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venue segment</a:t>
            </a:r>
          </a:p>
        </p:txBody>
      </p:sp>
      <p:sp>
        <p:nvSpPr>
          <p:cNvPr id="1029" name="TextBox 25">
            <a:extLst>
              <a:ext uri="{FF2B5EF4-FFF2-40B4-BE49-F238E27FC236}">
                <a16:creationId xmlns:a16="http://schemas.microsoft.com/office/drawing/2014/main" id="{A2048163-C56F-3A0B-1096-6744B4DCF0E9}"/>
              </a:ext>
            </a:extLst>
          </p:cNvPr>
          <p:cNvSpPr txBox="1"/>
          <p:nvPr/>
        </p:nvSpPr>
        <p:spPr>
          <a:xfrm>
            <a:off x="9158605" y="1985326"/>
            <a:ext cx="2552065" cy="91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y segmen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y produc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y geography</a:t>
            </a:r>
          </a:p>
        </p:txBody>
      </p:sp>
      <p:sp>
        <p:nvSpPr>
          <p:cNvPr id="1030" name="TextBox 25">
            <a:extLst>
              <a:ext uri="{FF2B5EF4-FFF2-40B4-BE49-F238E27FC236}">
                <a16:creationId xmlns:a16="http://schemas.microsoft.com/office/drawing/2014/main" id="{B90C157F-1D2A-7F64-5F6B-32369DBF8F63}"/>
              </a:ext>
            </a:extLst>
          </p:cNvPr>
          <p:cNvSpPr txBox="1"/>
          <p:nvPr/>
        </p:nvSpPr>
        <p:spPr>
          <a:xfrm>
            <a:off x="9158605" y="3315402"/>
            <a:ext cx="255206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ixed expense</a:t>
            </a:r>
          </a:p>
        </p:txBody>
      </p:sp>
      <p:sp>
        <p:nvSpPr>
          <p:cNvPr id="1031" name="TextBox 25">
            <a:extLst>
              <a:ext uri="{FF2B5EF4-FFF2-40B4-BE49-F238E27FC236}">
                <a16:creationId xmlns:a16="http://schemas.microsoft.com/office/drawing/2014/main" id="{4C88AB53-68CD-8935-AF85-22DD0FC10053}"/>
              </a:ext>
            </a:extLst>
          </p:cNvPr>
          <p:cNvSpPr txBox="1"/>
          <p:nvPr/>
        </p:nvSpPr>
        <p:spPr>
          <a:xfrm>
            <a:off x="9158605" y="3603549"/>
            <a:ext cx="2552065" cy="91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n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aff overhead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32" name="TextBox 25">
            <a:extLst>
              <a:ext uri="{FF2B5EF4-FFF2-40B4-BE49-F238E27FC236}">
                <a16:creationId xmlns:a16="http://schemas.microsoft.com/office/drawing/2014/main" id="{4A5E5019-F3D2-AAAF-C522-8CF382F59B1E}"/>
              </a:ext>
            </a:extLst>
          </p:cNvPr>
          <p:cNvSpPr txBox="1"/>
          <p:nvPr/>
        </p:nvSpPr>
        <p:spPr>
          <a:xfrm>
            <a:off x="9158605" y="4933625"/>
            <a:ext cx="255206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ariable expenses</a:t>
            </a:r>
          </a:p>
        </p:txBody>
      </p:sp>
      <p:sp>
        <p:nvSpPr>
          <p:cNvPr id="1033" name="TextBox 25">
            <a:extLst>
              <a:ext uri="{FF2B5EF4-FFF2-40B4-BE49-F238E27FC236}">
                <a16:creationId xmlns:a16="http://schemas.microsoft.com/office/drawing/2014/main" id="{4785D666-64E8-89A8-8350-BC8A8ABFA1A7}"/>
              </a:ext>
            </a:extLst>
          </p:cNvPr>
          <p:cNvSpPr txBox="1"/>
          <p:nvPr/>
        </p:nvSpPr>
        <p:spPr>
          <a:xfrm>
            <a:off x="9158605" y="5221772"/>
            <a:ext cx="2552065" cy="91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aw materials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livery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25" name="TextBox 25">
            <a:extLst>
              <a:ext uri="{FF2B5EF4-FFF2-40B4-BE49-F238E27FC236}">
                <a16:creationId xmlns:a16="http://schemas.microsoft.com/office/drawing/2014/main" id="{D6E7032C-C4B1-99D5-2EDF-81B0B854560C}"/>
              </a:ext>
            </a:extLst>
          </p:cNvPr>
          <p:cNvSpPr txBox="1"/>
          <p:nvPr/>
        </p:nvSpPr>
        <p:spPr>
          <a:xfrm>
            <a:off x="6879432" y="5414000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12</a:t>
            </a:r>
          </a:p>
        </p:txBody>
      </p:sp>
      <p:sp>
        <p:nvSpPr>
          <p:cNvPr id="1027" name="TextBox 25">
            <a:extLst>
              <a:ext uri="{FF2B5EF4-FFF2-40B4-BE49-F238E27FC236}">
                <a16:creationId xmlns:a16="http://schemas.microsoft.com/office/drawing/2014/main" id="{97B188EB-FC63-DC75-6C01-931689941D19}"/>
              </a:ext>
            </a:extLst>
          </p:cNvPr>
          <p:cNvSpPr txBox="1"/>
          <p:nvPr/>
        </p:nvSpPr>
        <p:spPr>
          <a:xfrm>
            <a:off x="6879432" y="5702147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st/ unit</a:t>
            </a:r>
          </a:p>
        </p:txBody>
      </p:sp>
      <p:sp>
        <p:nvSpPr>
          <p:cNvPr id="1034" name="TextBox 25">
            <a:extLst>
              <a:ext uri="{FF2B5EF4-FFF2-40B4-BE49-F238E27FC236}">
                <a16:creationId xmlns:a16="http://schemas.microsoft.com/office/drawing/2014/main" id="{D4E3679A-88D9-4F16-63DC-057DE3F3C26C}"/>
              </a:ext>
            </a:extLst>
          </p:cNvPr>
          <p:cNvSpPr txBox="1"/>
          <p:nvPr/>
        </p:nvSpPr>
        <p:spPr>
          <a:xfrm>
            <a:off x="6879432" y="4290100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10 MM</a:t>
            </a:r>
          </a:p>
        </p:txBody>
      </p:sp>
      <p:sp>
        <p:nvSpPr>
          <p:cNvPr id="1035" name="TextBox 25">
            <a:extLst>
              <a:ext uri="{FF2B5EF4-FFF2-40B4-BE49-F238E27FC236}">
                <a16:creationId xmlns:a16="http://schemas.microsoft.com/office/drawing/2014/main" id="{6D407CAB-7E53-CE89-3BEE-9DB5DF2C1811}"/>
              </a:ext>
            </a:extLst>
          </p:cNvPr>
          <p:cNvSpPr txBox="1"/>
          <p:nvPr/>
        </p:nvSpPr>
        <p:spPr>
          <a:xfrm>
            <a:off x="6879432" y="4578247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me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B43510BB-418F-998E-DC2C-92079403D9FE}"/>
              </a:ext>
            </a:extLst>
          </p:cNvPr>
          <p:cNvSpPr txBox="1"/>
          <p:nvPr/>
        </p:nvSpPr>
        <p:spPr>
          <a:xfrm>
            <a:off x="2540794" y="2157882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300 MM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CF087242-0770-FA4F-2EF2-871A242EE279}"/>
              </a:ext>
            </a:extLst>
          </p:cNvPr>
          <p:cNvSpPr txBox="1"/>
          <p:nvPr/>
        </p:nvSpPr>
        <p:spPr>
          <a:xfrm>
            <a:off x="2540794" y="2446029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venues</a:t>
            </a:r>
          </a:p>
        </p:txBody>
      </p:sp>
      <p:sp>
        <p:nvSpPr>
          <p:cNvPr id="1036" name="TextBox 25">
            <a:extLst>
              <a:ext uri="{FF2B5EF4-FFF2-40B4-BE49-F238E27FC236}">
                <a16:creationId xmlns:a16="http://schemas.microsoft.com/office/drawing/2014/main" id="{41CE73BC-E8E5-6A8F-1C3F-DEAF2463DEA2}"/>
              </a:ext>
            </a:extLst>
          </p:cNvPr>
          <p:cNvSpPr txBox="1"/>
          <p:nvPr/>
        </p:nvSpPr>
        <p:spPr>
          <a:xfrm>
            <a:off x="2540794" y="4764244"/>
            <a:ext cx="1769745" cy="288147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200 MM</a:t>
            </a:r>
          </a:p>
        </p:txBody>
      </p:sp>
      <p:sp>
        <p:nvSpPr>
          <p:cNvPr id="1037" name="TextBox 25">
            <a:extLst>
              <a:ext uri="{FF2B5EF4-FFF2-40B4-BE49-F238E27FC236}">
                <a16:creationId xmlns:a16="http://schemas.microsoft.com/office/drawing/2014/main" id="{9BB8FC24-6246-97F5-811D-5A4EBEA47B35}"/>
              </a:ext>
            </a:extLst>
          </p:cNvPr>
          <p:cNvSpPr txBox="1"/>
          <p:nvPr/>
        </p:nvSpPr>
        <p:spPr>
          <a:xfrm>
            <a:off x="2540794" y="5052391"/>
            <a:ext cx="1769745" cy="606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sts</a:t>
            </a:r>
          </a:p>
        </p:txBody>
      </p:sp>
      <p:cxnSp>
        <p:nvCxnSpPr>
          <p:cNvPr id="1057" name="Conector: angular 1056">
            <a:extLst>
              <a:ext uri="{FF2B5EF4-FFF2-40B4-BE49-F238E27FC236}">
                <a16:creationId xmlns:a16="http://schemas.microsoft.com/office/drawing/2014/main" id="{C89D9B81-083F-7F53-C93A-4A6CAAB1AD7F}"/>
              </a:ext>
            </a:extLst>
          </p:cNvPr>
          <p:cNvCxnSpPr>
            <a:cxnSpLocks/>
          </p:cNvCxnSpPr>
          <p:nvPr/>
        </p:nvCxnSpPr>
        <p:spPr>
          <a:xfrm flipV="1">
            <a:off x="4310539" y="1968188"/>
            <a:ext cx="399574" cy="63705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5" name="Conector: angular 1064">
            <a:extLst>
              <a:ext uri="{FF2B5EF4-FFF2-40B4-BE49-F238E27FC236}">
                <a16:creationId xmlns:a16="http://schemas.microsoft.com/office/drawing/2014/main" id="{190F66AB-1627-32B8-0FE4-017D1D75211F}"/>
              </a:ext>
            </a:extLst>
          </p:cNvPr>
          <p:cNvCxnSpPr>
            <a:cxnSpLocks/>
          </p:cNvCxnSpPr>
          <p:nvPr/>
        </p:nvCxnSpPr>
        <p:spPr>
          <a:xfrm>
            <a:off x="2141220" y="3914776"/>
            <a:ext cx="399574" cy="129683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9" name="Conector: angular 1068">
            <a:extLst>
              <a:ext uri="{FF2B5EF4-FFF2-40B4-BE49-F238E27FC236}">
                <a16:creationId xmlns:a16="http://schemas.microsoft.com/office/drawing/2014/main" id="{8DBD05B8-FFD9-29D7-61DA-63B9B2257D53}"/>
              </a:ext>
            </a:extLst>
          </p:cNvPr>
          <p:cNvCxnSpPr>
            <a:cxnSpLocks/>
          </p:cNvCxnSpPr>
          <p:nvPr/>
        </p:nvCxnSpPr>
        <p:spPr>
          <a:xfrm flipV="1">
            <a:off x="2141220" y="2605245"/>
            <a:ext cx="399574" cy="130953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4" name="Conector: angular 1073">
            <a:extLst>
              <a:ext uri="{FF2B5EF4-FFF2-40B4-BE49-F238E27FC236}">
                <a16:creationId xmlns:a16="http://schemas.microsoft.com/office/drawing/2014/main" id="{B249F46A-EAED-174C-80F8-3D95DD71C444}"/>
              </a:ext>
            </a:extLst>
          </p:cNvPr>
          <p:cNvCxnSpPr>
            <a:cxnSpLocks/>
          </p:cNvCxnSpPr>
          <p:nvPr/>
        </p:nvCxnSpPr>
        <p:spPr>
          <a:xfrm>
            <a:off x="4310539" y="2605245"/>
            <a:ext cx="399574" cy="660668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3" name="Conector: angular 1092">
            <a:extLst>
              <a:ext uri="{FF2B5EF4-FFF2-40B4-BE49-F238E27FC236}">
                <a16:creationId xmlns:a16="http://schemas.microsoft.com/office/drawing/2014/main" id="{424FB531-9D9F-5D60-0305-D4902866510F}"/>
              </a:ext>
            </a:extLst>
          </p:cNvPr>
          <p:cNvCxnSpPr>
            <a:cxnSpLocks/>
          </p:cNvCxnSpPr>
          <p:nvPr/>
        </p:nvCxnSpPr>
        <p:spPr>
          <a:xfrm flipV="1">
            <a:off x="4310539" y="4563638"/>
            <a:ext cx="399574" cy="64796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4" name="Conector: angular 1093">
            <a:extLst>
              <a:ext uri="{FF2B5EF4-FFF2-40B4-BE49-F238E27FC236}">
                <a16:creationId xmlns:a16="http://schemas.microsoft.com/office/drawing/2014/main" id="{41EB247C-4575-222C-344A-5220332E6CDD}"/>
              </a:ext>
            </a:extLst>
          </p:cNvPr>
          <p:cNvCxnSpPr>
            <a:cxnSpLocks/>
          </p:cNvCxnSpPr>
          <p:nvPr/>
        </p:nvCxnSpPr>
        <p:spPr>
          <a:xfrm>
            <a:off x="4310539" y="5211607"/>
            <a:ext cx="399574" cy="64975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3" name="Conector: angular 1112">
            <a:extLst>
              <a:ext uri="{FF2B5EF4-FFF2-40B4-BE49-F238E27FC236}">
                <a16:creationId xmlns:a16="http://schemas.microsoft.com/office/drawing/2014/main" id="{F6C6991F-7AA2-F83A-BF42-061D2BEBA034}"/>
              </a:ext>
            </a:extLst>
          </p:cNvPr>
          <p:cNvCxnSpPr>
            <a:cxnSpLocks/>
          </p:cNvCxnSpPr>
          <p:nvPr/>
        </p:nvCxnSpPr>
        <p:spPr>
          <a:xfrm flipV="1">
            <a:off x="6479858" y="4737463"/>
            <a:ext cx="399574" cy="112390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Conector recto de flecha 1120">
            <a:extLst>
              <a:ext uri="{FF2B5EF4-FFF2-40B4-BE49-F238E27FC236}">
                <a16:creationId xmlns:a16="http://schemas.microsoft.com/office/drawing/2014/main" id="{89C655C5-CC43-F79A-297F-2EE80C2D0040}"/>
              </a:ext>
            </a:extLst>
          </p:cNvPr>
          <p:cNvCxnSpPr>
            <a:cxnSpLocks/>
          </p:cNvCxnSpPr>
          <p:nvPr/>
        </p:nvCxnSpPr>
        <p:spPr>
          <a:xfrm>
            <a:off x="6479858" y="5861363"/>
            <a:ext cx="399574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6399E15-1363-2EC3-83D2-899D1C5681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4454337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>
            <a:extLst>
              <a:ext uri="{FF2B5EF4-FFF2-40B4-BE49-F238E27FC236}">
                <a16:creationId xmlns:a16="http://schemas.microsoft.com/office/drawing/2014/main" id="{B86ECC87-D4B4-E483-0708-11286B6D07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6" name="Objeto 25" hidden="1">
                        <a:extLst>
                          <a:ext uri="{FF2B5EF4-FFF2-40B4-BE49-F238E27FC236}">
                            <a16:creationId xmlns:a16="http://schemas.microsoft.com/office/drawing/2014/main" id="{B86ECC87-D4B4-E483-0708-11286B6D07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ángulo 19">
            <a:extLst>
              <a:ext uri="{FF2B5EF4-FFF2-40B4-BE49-F238E27FC236}">
                <a16:creationId xmlns:a16="http://schemas.microsoft.com/office/drawing/2014/main" id="{6FDC5AF6-D45B-A10F-E0D3-8B01D1A80D23}"/>
              </a:ext>
            </a:extLst>
          </p:cNvPr>
          <p:cNvSpPr/>
          <p:nvPr/>
        </p:nvSpPr>
        <p:spPr>
          <a:xfrm>
            <a:off x="4648200" y="1870415"/>
            <a:ext cx="2895600" cy="998661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F4FA4A9F-D168-E093-0D63-A9F5BBA47E56}"/>
              </a:ext>
            </a:extLst>
          </p:cNvPr>
          <p:cNvSpPr/>
          <p:nvPr/>
        </p:nvSpPr>
        <p:spPr>
          <a:xfrm>
            <a:off x="4648200" y="3008529"/>
            <a:ext cx="2895600" cy="998661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121EBBA-624D-95D6-390A-BB0CA254CDBC}"/>
              </a:ext>
            </a:extLst>
          </p:cNvPr>
          <p:cNvSpPr/>
          <p:nvPr/>
        </p:nvSpPr>
        <p:spPr>
          <a:xfrm>
            <a:off x="4648200" y="4163841"/>
            <a:ext cx="2895600" cy="998661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AF832D75-CCA6-6348-D28D-131A954BCE63}"/>
              </a:ext>
            </a:extLst>
          </p:cNvPr>
          <p:cNvSpPr/>
          <p:nvPr/>
        </p:nvSpPr>
        <p:spPr>
          <a:xfrm>
            <a:off x="4648200" y="5310064"/>
            <a:ext cx="2895600" cy="998661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Blue Ocean Strategy 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A8B4EEB-36F3-491B-05E2-CAB92EC1CA10}"/>
              </a:ext>
            </a:extLst>
          </p:cNvPr>
          <p:cNvSpPr/>
          <p:nvPr/>
        </p:nvSpPr>
        <p:spPr>
          <a:xfrm>
            <a:off x="384175" y="1520826"/>
            <a:ext cx="44461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lecha: pentágono 7">
            <a:extLst>
              <a:ext uri="{FF2B5EF4-FFF2-40B4-BE49-F238E27FC236}">
                <a16:creationId xmlns:a16="http://schemas.microsoft.com/office/drawing/2014/main" id="{288022C3-0F30-E09F-9C0E-BE78B9D49B5D}"/>
              </a:ext>
            </a:extLst>
          </p:cNvPr>
          <p:cNvSpPr/>
          <p:nvPr/>
        </p:nvSpPr>
        <p:spPr>
          <a:xfrm>
            <a:off x="371475" y="1870415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0" name="Flecha: pentágono 9">
            <a:extLst>
              <a:ext uri="{FF2B5EF4-FFF2-40B4-BE49-F238E27FC236}">
                <a16:creationId xmlns:a16="http://schemas.microsoft.com/office/drawing/2014/main" id="{0D2672BD-DB43-EC74-DA0F-C777B467D81F}"/>
              </a:ext>
            </a:extLst>
          </p:cNvPr>
          <p:cNvSpPr/>
          <p:nvPr/>
        </p:nvSpPr>
        <p:spPr>
          <a:xfrm>
            <a:off x="371475" y="3008529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1" name="Flecha: pentágono 10">
            <a:extLst>
              <a:ext uri="{FF2B5EF4-FFF2-40B4-BE49-F238E27FC236}">
                <a16:creationId xmlns:a16="http://schemas.microsoft.com/office/drawing/2014/main" id="{D6C7A59F-754D-4C64-B962-2F1D1E0EEA5C}"/>
              </a:ext>
            </a:extLst>
          </p:cNvPr>
          <p:cNvSpPr/>
          <p:nvPr/>
        </p:nvSpPr>
        <p:spPr>
          <a:xfrm>
            <a:off x="371475" y="4163841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2" name="Flecha: pentágono 11">
            <a:extLst>
              <a:ext uri="{FF2B5EF4-FFF2-40B4-BE49-F238E27FC236}">
                <a16:creationId xmlns:a16="http://schemas.microsoft.com/office/drawing/2014/main" id="{0D75C465-F3E9-151F-3F05-77041B80D23B}"/>
              </a:ext>
            </a:extLst>
          </p:cNvPr>
          <p:cNvSpPr/>
          <p:nvPr/>
        </p:nvSpPr>
        <p:spPr>
          <a:xfrm>
            <a:off x="371475" y="5310064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A459652-DF05-C0CA-C748-A5892ACEF8DB}"/>
              </a:ext>
            </a:extLst>
          </p:cNvPr>
          <p:cNvSpPr/>
          <p:nvPr/>
        </p:nvSpPr>
        <p:spPr>
          <a:xfrm>
            <a:off x="7543799" y="1520826"/>
            <a:ext cx="427672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Flecha: pentágono 3">
            <a:extLst>
              <a:ext uri="{FF2B5EF4-FFF2-40B4-BE49-F238E27FC236}">
                <a16:creationId xmlns:a16="http://schemas.microsoft.com/office/drawing/2014/main" id="{C4079BCE-5DD4-A040-95D7-E45CF7EBE05C}"/>
              </a:ext>
            </a:extLst>
          </p:cNvPr>
          <p:cNvSpPr/>
          <p:nvPr/>
        </p:nvSpPr>
        <p:spPr>
          <a:xfrm flipH="1">
            <a:off x="7361645" y="1870415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5" name="Flecha: pentágono 4">
            <a:extLst>
              <a:ext uri="{FF2B5EF4-FFF2-40B4-BE49-F238E27FC236}">
                <a16:creationId xmlns:a16="http://schemas.microsoft.com/office/drawing/2014/main" id="{DA63CC17-2AF0-7A93-BF10-60C1679E1800}"/>
              </a:ext>
            </a:extLst>
          </p:cNvPr>
          <p:cNvSpPr/>
          <p:nvPr/>
        </p:nvSpPr>
        <p:spPr>
          <a:xfrm flipH="1">
            <a:off x="7361645" y="3008529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6" name="Flecha: pentágono 5">
            <a:extLst>
              <a:ext uri="{FF2B5EF4-FFF2-40B4-BE49-F238E27FC236}">
                <a16:creationId xmlns:a16="http://schemas.microsoft.com/office/drawing/2014/main" id="{C80A80CF-956E-ADDF-D871-2CA5A4ECDEF6}"/>
              </a:ext>
            </a:extLst>
          </p:cNvPr>
          <p:cNvSpPr/>
          <p:nvPr/>
        </p:nvSpPr>
        <p:spPr>
          <a:xfrm flipH="1">
            <a:off x="7361645" y="4163841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7" name="Flecha: pentágono 6">
            <a:extLst>
              <a:ext uri="{FF2B5EF4-FFF2-40B4-BE49-F238E27FC236}">
                <a16:creationId xmlns:a16="http://schemas.microsoft.com/office/drawing/2014/main" id="{8B936A75-3C12-B625-92B3-8AE3F187F9C7}"/>
              </a:ext>
            </a:extLst>
          </p:cNvPr>
          <p:cNvSpPr/>
          <p:nvPr/>
        </p:nvSpPr>
        <p:spPr>
          <a:xfrm flipH="1">
            <a:off x="7361645" y="5310064"/>
            <a:ext cx="4458880" cy="998661"/>
          </a:xfrm>
          <a:prstGeom prst="homePlate">
            <a:avLst>
              <a:gd name="adj" fmla="val 19186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/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8" name="Marcador de pie de página 17">
            <a:extLst>
              <a:ext uri="{FF2B5EF4-FFF2-40B4-BE49-F238E27FC236}">
                <a16:creationId xmlns:a16="http://schemas.microsoft.com/office/drawing/2014/main" id="{EDFF11FE-4F65-2C6D-380D-282DFB2941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220247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/>
          <a:lstStyle/>
          <a:p>
            <a:r>
              <a:rPr lang="en-US" dirty="0"/>
              <a:t>Template — Value Disciplines Model </a:t>
            </a: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4607AFEB-2480-4580-1C69-5D9E59378F0D}"/>
              </a:ext>
            </a:extLst>
          </p:cNvPr>
          <p:cNvGrpSpPr/>
          <p:nvPr/>
        </p:nvGrpSpPr>
        <p:grpSpPr>
          <a:xfrm>
            <a:off x="3793472" y="1531937"/>
            <a:ext cx="4605056" cy="4787900"/>
            <a:chOff x="3867150" y="1531937"/>
            <a:chExt cx="4518025" cy="4697413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EB420A42-CE70-27DF-B840-8C7B74170ACF}"/>
                </a:ext>
              </a:extLst>
            </p:cNvPr>
            <p:cNvCxnSpPr>
              <a:cxnSpLocks/>
              <a:stCxn id="28" idx="2"/>
              <a:endCxn id="29" idx="1"/>
            </p:cNvCxnSpPr>
            <p:nvPr/>
          </p:nvCxnSpPr>
          <p:spPr>
            <a:xfrm flipH="1">
              <a:off x="4362450" y="4457700"/>
              <a:ext cx="1765300" cy="97155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orma libre: forma 27">
              <a:extLst>
                <a:ext uri="{FF2B5EF4-FFF2-40B4-BE49-F238E27FC236}">
                  <a16:creationId xmlns:a16="http://schemas.microsoft.com/office/drawing/2014/main" id="{10D0137B-E7F2-A92D-8B3C-6E7F6DB46DBD}"/>
                </a:ext>
              </a:extLst>
            </p:cNvPr>
            <p:cNvSpPr/>
            <p:nvPr/>
          </p:nvSpPr>
          <p:spPr>
            <a:xfrm>
              <a:off x="3867150" y="4184650"/>
              <a:ext cx="2260600" cy="2044700"/>
            </a:xfrm>
            <a:custGeom>
              <a:avLst/>
              <a:gdLst>
                <a:gd name="connsiteX0" fmla="*/ 0 w 2260600"/>
                <a:gd name="connsiteY0" fmla="*/ 984250 h 2044700"/>
                <a:gd name="connsiteX1" fmla="*/ 1758950 w 2260600"/>
                <a:gd name="connsiteY1" fmla="*/ 0 h 2044700"/>
                <a:gd name="connsiteX2" fmla="*/ 2260600 w 2260600"/>
                <a:gd name="connsiteY2" fmla="*/ 273050 h 2044700"/>
                <a:gd name="connsiteX3" fmla="*/ 2260600 w 2260600"/>
                <a:gd name="connsiteY3" fmla="*/ 1066800 h 2044700"/>
                <a:gd name="connsiteX4" fmla="*/ 495300 w 2260600"/>
                <a:gd name="connsiteY4" fmla="*/ 2044700 h 2044700"/>
                <a:gd name="connsiteX5" fmla="*/ 0 w 2260600"/>
                <a:gd name="connsiteY5" fmla="*/ 1784350 h 2044700"/>
                <a:gd name="connsiteX6" fmla="*/ 0 w 2260600"/>
                <a:gd name="connsiteY6" fmla="*/ 984250 h 204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0600" h="2044700">
                  <a:moveTo>
                    <a:pt x="0" y="984250"/>
                  </a:moveTo>
                  <a:lnTo>
                    <a:pt x="1758950" y="0"/>
                  </a:lnTo>
                  <a:lnTo>
                    <a:pt x="2260600" y="273050"/>
                  </a:lnTo>
                  <a:lnTo>
                    <a:pt x="2260600" y="1066800"/>
                  </a:lnTo>
                  <a:lnTo>
                    <a:pt x="495300" y="2044700"/>
                  </a:lnTo>
                  <a:lnTo>
                    <a:pt x="0" y="1784350"/>
                  </a:lnTo>
                  <a:lnTo>
                    <a:pt x="0" y="9842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orma libre: forma 28">
              <a:extLst>
                <a:ext uri="{FF2B5EF4-FFF2-40B4-BE49-F238E27FC236}">
                  <a16:creationId xmlns:a16="http://schemas.microsoft.com/office/drawing/2014/main" id="{21EA5FD8-186F-4216-8966-AF48B3DF59E6}"/>
                </a:ext>
              </a:extLst>
            </p:cNvPr>
            <p:cNvSpPr/>
            <p:nvPr/>
          </p:nvSpPr>
          <p:spPr>
            <a:xfrm>
              <a:off x="3867150" y="5169694"/>
              <a:ext cx="497681" cy="1059656"/>
            </a:xfrm>
            <a:custGeom>
              <a:avLst/>
              <a:gdLst>
                <a:gd name="connsiteX0" fmla="*/ 0 w 497681"/>
                <a:gd name="connsiteY0" fmla="*/ 0 h 1059656"/>
                <a:gd name="connsiteX1" fmla="*/ 495300 w 497681"/>
                <a:gd name="connsiteY1" fmla="*/ 259556 h 1059656"/>
                <a:gd name="connsiteX2" fmla="*/ 497681 w 497681"/>
                <a:gd name="connsiteY2" fmla="*/ 1059656 h 1059656"/>
                <a:gd name="connsiteX3" fmla="*/ 481013 w 497681"/>
                <a:gd name="connsiteY3" fmla="*/ 1047750 h 1059656"/>
                <a:gd name="connsiteX4" fmla="*/ 2381 w 497681"/>
                <a:gd name="connsiteY4" fmla="*/ 802481 h 1059656"/>
                <a:gd name="connsiteX5" fmla="*/ 0 w 497681"/>
                <a:gd name="connsiteY5" fmla="*/ 0 h 105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7681" h="1059656">
                  <a:moveTo>
                    <a:pt x="0" y="0"/>
                  </a:moveTo>
                  <a:lnTo>
                    <a:pt x="495300" y="259556"/>
                  </a:lnTo>
                  <a:cubicBezTo>
                    <a:pt x="496094" y="526256"/>
                    <a:pt x="496887" y="792956"/>
                    <a:pt x="497681" y="1059656"/>
                  </a:cubicBezTo>
                  <a:lnTo>
                    <a:pt x="481013" y="1047750"/>
                  </a:lnTo>
                  <a:lnTo>
                    <a:pt x="2381" y="802481"/>
                  </a:lnTo>
                  <a:cubicBezTo>
                    <a:pt x="1587" y="534987"/>
                    <a:pt x="794" y="267494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orma libre: forma 29">
              <a:extLst>
                <a:ext uri="{FF2B5EF4-FFF2-40B4-BE49-F238E27FC236}">
                  <a16:creationId xmlns:a16="http://schemas.microsoft.com/office/drawing/2014/main" id="{C7A7455B-7705-9DD5-D128-80956CE50BB1}"/>
                </a:ext>
              </a:extLst>
            </p:cNvPr>
            <p:cNvSpPr/>
            <p:nvPr/>
          </p:nvSpPr>
          <p:spPr>
            <a:xfrm>
              <a:off x="4357688" y="4457700"/>
              <a:ext cx="1766887" cy="1771650"/>
            </a:xfrm>
            <a:custGeom>
              <a:avLst/>
              <a:gdLst>
                <a:gd name="connsiteX0" fmla="*/ 1766887 w 1766887"/>
                <a:gd name="connsiteY0" fmla="*/ 0 h 1771650"/>
                <a:gd name="connsiteX1" fmla="*/ 1766887 w 1766887"/>
                <a:gd name="connsiteY1" fmla="*/ 800100 h 1771650"/>
                <a:gd name="connsiteX2" fmla="*/ 0 w 1766887"/>
                <a:gd name="connsiteY2" fmla="*/ 1771650 h 1771650"/>
                <a:gd name="connsiteX3" fmla="*/ 0 w 1766887"/>
                <a:gd name="connsiteY3" fmla="*/ 971550 h 1771650"/>
                <a:gd name="connsiteX4" fmla="*/ 1766887 w 1766887"/>
                <a:gd name="connsiteY4" fmla="*/ 0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6887" h="1771650">
                  <a:moveTo>
                    <a:pt x="1766887" y="0"/>
                  </a:moveTo>
                  <a:lnTo>
                    <a:pt x="1766887" y="800100"/>
                  </a:lnTo>
                  <a:lnTo>
                    <a:pt x="0" y="1771650"/>
                  </a:lnTo>
                  <a:lnTo>
                    <a:pt x="0" y="971550"/>
                  </a:lnTo>
                  <a:lnTo>
                    <a:pt x="1766887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orma libre: forma 30">
              <a:extLst>
                <a:ext uri="{FF2B5EF4-FFF2-40B4-BE49-F238E27FC236}">
                  <a16:creationId xmlns:a16="http://schemas.microsoft.com/office/drawing/2014/main" id="{68625BE2-A429-5CD0-A3C5-91441DC8B88A}"/>
                </a:ext>
              </a:extLst>
            </p:cNvPr>
            <p:cNvSpPr/>
            <p:nvPr/>
          </p:nvSpPr>
          <p:spPr>
            <a:xfrm flipH="1">
              <a:off x="6124575" y="4184650"/>
              <a:ext cx="2260600" cy="2044700"/>
            </a:xfrm>
            <a:custGeom>
              <a:avLst/>
              <a:gdLst>
                <a:gd name="connsiteX0" fmla="*/ 0 w 2260600"/>
                <a:gd name="connsiteY0" fmla="*/ 984250 h 2044700"/>
                <a:gd name="connsiteX1" fmla="*/ 1758950 w 2260600"/>
                <a:gd name="connsiteY1" fmla="*/ 0 h 2044700"/>
                <a:gd name="connsiteX2" fmla="*/ 2260600 w 2260600"/>
                <a:gd name="connsiteY2" fmla="*/ 273050 h 2044700"/>
                <a:gd name="connsiteX3" fmla="*/ 2260600 w 2260600"/>
                <a:gd name="connsiteY3" fmla="*/ 1066800 h 2044700"/>
                <a:gd name="connsiteX4" fmla="*/ 495300 w 2260600"/>
                <a:gd name="connsiteY4" fmla="*/ 2044700 h 2044700"/>
                <a:gd name="connsiteX5" fmla="*/ 0 w 2260600"/>
                <a:gd name="connsiteY5" fmla="*/ 1784350 h 2044700"/>
                <a:gd name="connsiteX6" fmla="*/ 0 w 2260600"/>
                <a:gd name="connsiteY6" fmla="*/ 984250 h 204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0600" h="2044700">
                  <a:moveTo>
                    <a:pt x="0" y="984250"/>
                  </a:moveTo>
                  <a:lnTo>
                    <a:pt x="1758950" y="0"/>
                  </a:lnTo>
                  <a:lnTo>
                    <a:pt x="2260600" y="273050"/>
                  </a:lnTo>
                  <a:lnTo>
                    <a:pt x="2260600" y="1066800"/>
                  </a:lnTo>
                  <a:lnTo>
                    <a:pt x="495300" y="2044700"/>
                  </a:lnTo>
                  <a:lnTo>
                    <a:pt x="0" y="1784350"/>
                  </a:lnTo>
                  <a:lnTo>
                    <a:pt x="0" y="98425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68" name="Forma libre: forma 7167">
              <a:extLst>
                <a:ext uri="{FF2B5EF4-FFF2-40B4-BE49-F238E27FC236}">
                  <a16:creationId xmlns:a16="http://schemas.microsoft.com/office/drawing/2014/main" id="{AEE26DC2-E9F5-1677-79EF-E9664E8BB0B3}"/>
                </a:ext>
              </a:extLst>
            </p:cNvPr>
            <p:cNvSpPr/>
            <p:nvPr/>
          </p:nvSpPr>
          <p:spPr>
            <a:xfrm flipH="1">
              <a:off x="7887494" y="5169694"/>
              <a:ext cx="497681" cy="1059656"/>
            </a:xfrm>
            <a:custGeom>
              <a:avLst/>
              <a:gdLst>
                <a:gd name="connsiteX0" fmla="*/ 0 w 497681"/>
                <a:gd name="connsiteY0" fmla="*/ 0 h 1059656"/>
                <a:gd name="connsiteX1" fmla="*/ 495300 w 497681"/>
                <a:gd name="connsiteY1" fmla="*/ 259556 h 1059656"/>
                <a:gd name="connsiteX2" fmla="*/ 497681 w 497681"/>
                <a:gd name="connsiteY2" fmla="*/ 1059656 h 1059656"/>
                <a:gd name="connsiteX3" fmla="*/ 481013 w 497681"/>
                <a:gd name="connsiteY3" fmla="*/ 1047750 h 1059656"/>
                <a:gd name="connsiteX4" fmla="*/ 2381 w 497681"/>
                <a:gd name="connsiteY4" fmla="*/ 802481 h 1059656"/>
                <a:gd name="connsiteX5" fmla="*/ 0 w 497681"/>
                <a:gd name="connsiteY5" fmla="*/ 0 h 105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7681" h="1059656">
                  <a:moveTo>
                    <a:pt x="0" y="0"/>
                  </a:moveTo>
                  <a:lnTo>
                    <a:pt x="495300" y="259556"/>
                  </a:lnTo>
                  <a:cubicBezTo>
                    <a:pt x="496094" y="526256"/>
                    <a:pt x="496887" y="792956"/>
                    <a:pt x="497681" y="1059656"/>
                  </a:cubicBezTo>
                  <a:lnTo>
                    <a:pt x="481013" y="1047750"/>
                  </a:lnTo>
                  <a:lnTo>
                    <a:pt x="2381" y="802481"/>
                  </a:lnTo>
                  <a:cubicBezTo>
                    <a:pt x="1587" y="534987"/>
                    <a:pt x="794" y="267494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69" name="Forma libre: forma 7168">
              <a:extLst>
                <a:ext uri="{FF2B5EF4-FFF2-40B4-BE49-F238E27FC236}">
                  <a16:creationId xmlns:a16="http://schemas.microsoft.com/office/drawing/2014/main" id="{F644B66A-966D-B04A-F792-888CCCD65395}"/>
                </a:ext>
              </a:extLst>
            </p:cNvPr>
            <p:cNvSpPr/>
            <p:nvPr/>
          </p:nvSpPr>
          <p:spPr>
            <a:xfrm flipH="1">
              <a:off x="6127750" y="4457700"/>
              <a:ext cx="1766887" cy="1771650"/>
            </a:xfrm>
            <a:custGeom>
              <a:avLst/>
              <a:gdLst>
                <a:gd name="connsiteX0" fmla="*/ 1766887 w 1766887"/>
                <a:gd name="connsiteY0" fmla="*/ 0 h 1771650"/>
                <a:gd name="connsiteX1" fmla="*/ 1766887 w 1766887"/>
                <a:gd name="connsiteY1" fmla="*/ 800100 h 1771650"/>
                <a:gd name="connsiteX2" fmla="*/ 0 w 1766887"/>
                <a:gd name="connsiteY2" fmla="*/ 1771650 h 1771650"/>
                <a:gd name="connsiteX3" fmla="*/ 0 w 1766887"/>
                <a:gd name="connsiteY3" fmla="*/ 971550 h 1771650"/>
                <a:gd name="connsiteX4" fmla="*/ 1766887 w 1766887"/>
                <a:gd name="connsiteY4" fmla="*/ 0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6887" h="1771650">
                  <a:moveTo>
                    <a:pt x="1766887" y="0"/>
                  </a:moveTo>
                  <a:lnTo>
                    <a:pt x="1766887" y="800100"/>
                  </a:lnTo>
                  <a:lnTo>
                    <a:pt x="0" y="1771650"/>
                  </a:lnTo>
                  <a:lnTo>
                    <a:pt x="0" y="971550"/>
                  </a:lnTo>
                  <a:lnTo>
                    <a:pt x="1766887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1" name="Forma libre: forma 7170">
              <a:extLst>
                <a:ext uri="{FF2B5EF4-FFF2-40B4-BE49-F238E27FC236}">
                  <a16:creationId xmlns:a16="http://schemas.microsoft.com/office/drawing/2014/main" id="{4964184B-AC61-7008-01F8-73456EF3109E}"/>
                </a:ext>
              </a:extLst>
            </p:cNvPr>
            <p:cNvSpPr/>
            <p:nvPr/>
          </p:nvSpPr>
          <p:spPr>
            <a:xfrm>
              <a:off x="5632450" y="1809750"/>
              <a:ext cx="996950" cy="2381250"/>
            </a:xfrm>
            <a:custGeom>
              <a:avLst/>
              <a:gdLst>
                <a:gd name="connsiteX0" fmla="*/ 996950 w 996950"/>
                <a:gd name="connsiteY0" fmla="*/ 2381250 h 2381250"/>
                <a:gd name="connsiteX1" fmla="*/ 996950 w 996950"/>
                <a:gd name="connsiteY1" fmla="*/ 0 h 2381250"/>
                <a:gd name="connsiteX2" fmla="*/ 0 w 996950"/>
                <a:gd name="connsiteY2" fmla="*/ 0 h 2381250"/>
                <a:gd name="connsiteX3" fmla="*/ 0 w 996950"/>
                <a:gd name="connsiteY3" fmla="*/ 2368550 h 2381250"/>
                <a:gd name="connsiteX4" fmla="*/ 57150 w 996950"/>
                <a:gd name="connsiteY4" fmla="*/ 2368550 h 2381250"/>
                <a:gd name="connsiteX5" fmla="*/ 996950 w 996950"/>
                <a:gd name="connsiteY5" fmla="*/ 2381250 h 238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950" h="2381250">
                  <a:moveTo>
                    <a:pt x="996950" y="2381250"/>
                  </a:moveTo>
                  <a:lnTo>
                    <a:pt x="996950" y="0"/>
                  </a:lnTo>
                  <a:lnTo>
                    <a:pt x="0" y="0"/>
                  </a:lnTo>
                  <a:lnTo>
                    <a:pt x="0" y="2368550"/>
                  </a:lnTo>
                  <a:lnTo>
                    <a:pt x="57150" y="2368550"/>
                  </a:lnTo>
                  <a:lnTo>
                    <a:pt x="996950" y="238125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2" name="Rombo 7171">
              <a:extLst>
                <a:ext uri="{FF2B5EF4-FFF2-40B4-BE49-F238E27FC236}">
                  <a16:creationId xmlns:a16="http://schemas.microsoft.com/office/drawing/2014/main" id="{D6096102-AC21-16E8-4605-746447D8A3ED}"/>
                </a:ext>
              </a:extLst>
            </p:cNvPr>
            <p:cNvSpPr/>
            <p:nvPr/>
          </p:nvSpPr>
          <p:spPr>
            <a:xfrm>
              <a:off x="5625249" y="3910013"/>
              <a:ext cx="1001770" cy="547688"/>
            </a:xfrm>
            <a:prstGeom prst="diamond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3" name="Rombo 7172">
              <a:extLst>
                <a:ext uri="{FF2B5EF4-FFF2-40B4-BE49-F238E27FC236}">
                  <a16:creationId xmlns:a16="http://schemas.microsoft.com/office/drawing/2014/main" id="{E830FD1B-4CF0-A556-917C-271ADDF90D96}"/>
                </a:ext>
              </a:extLst>
            </p:cNvPr>
            <p:cNvSpPr/>
            <p:nvPr/>
          </p:nvSpPr>
          <p:spPr>
            <a:xfrm>
              <a:off x="5625249" y="1531937"/>
              <a:ext cx="1001770" cy="547688"/>
            </a:xfrm>
            <a:prstGeom prst="diamond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4" name="Rombo 7173">
              <a:extLst>
                <a:ext uri="{FF2B5EF4-FFF2-40B4-BE49-F238E27FC236}">
                  <a16:creationId xmlns:a16="http://schemas.microsoft.com/office/drawing/2014/main" id="{135BE3D2-AA9D-0BB0-799A-33C6383FECB7}"/>
                </a:ext>
              </a:extLst>
            </p:cNvPr>
            <p:cNvSpPr/>
            <p:nvPr/>
          </p:nvSpPr>
          <p:spPr>
            <a:xfrm>
              <a:off x="5625249" y="4710114"/>
              <a:ext cx="1001770" cy="547688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5" name="Forma libre: forma 7174">
              <a:extLst>
                <a:ext uri="{FF2B5EF4-FFF2-40B4-BE49-F238E27FC236}">
                  <a16:creationId xmlns:a16="http://schemas.microsoft.com/office/drawing/2014/main" id="{CBC2D936-8A27-D8A2-557A-D40276A03F23}"/>
                </a:ext>
              </a:extLst>
            </p:cNvPr>
            <p:cNvSpPr/>
            <p:nvPr/>
          </p:nvSpPr>
          <p:spPr>
            <a:xfrm>
              <a:off x="5626894" y="4183856"/>
              <a:ext cx="1000125" cy="802482"/>
            </a:xfrm>
            <a:custGeom>
              <a:avLst/>
              <a:gdLst>
                <a:gd name="connsiteX0" fmla="*/ 1000125 w 1000125"/>
                <a:gd name="connsiteY0" fmla="*/ 0 h 802482"/>
                <a:gd name="connsiteX1" fmla="*/ 500062 w 1000125"/>
                <a:gd name="connsiteY1" fmla="*/ 273844 h 802482"/>
                <a:gd name="connsiteX2" fmla="*/ 0 w 1000125"/>
                <a:gd name="connsiteY2" fmla="*/ 2382 h 802482"/>
                <a:gd name="connsiteX3" fmla="*/ 0 w 1000125"/>
                <a:gd name="connsiteY3" fmla="*/ 797719 h 802482"/>
                <a:gd name="connsiteX4" fmla="*/ 1000125 w 1000125"/>
                <a:gd name="connsiteY4" fmla="*/ 802482 h 802482"/>
                <a:gd name="connsiteX5" fmla="*/ 1000125 w 1000125"/>
                <a:gd name="connsiteY5" fmla="*/ 0 h 802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125" h="802482">
                  <a:moveTo>
                    <a:pt x="1000125" y="0"/>
                  </a:moveTo>
                  <a:lnTo>
                    <a:pt x="500062" y="273844"/>
                  </a:lnTo>
                  <a:lnTo>
                    <a:pt x="0" y="2382"/>
                  </a:lnTo>
                  <a:lnTo>
                    <a:pt x="0" y="797719"/>
                  </a:lnTo>
                  <a:lnTo>
                    <a:pt x="1000125" y="802482"/>
                  </a:lnTo>
                  <a:lnTo>
                    <a:pt x="100012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cxnSp>
        <p:nvCxnSpPr>
          <p:cNvPr id="7176" name="Conector recto de flecha 7175">
            <a:extLst>
              <a:ext uri="{FF2B5EF4-FFF2-40B4-BE49-F238E27FC236}">
                <a16:creationId xmlns:a16="http://schemas.microsoft.com/office/drawing/2014/main" id="{4D0D00B3-F88E-684D-2EBC-E3F246D1C042}"/>
              </a:ext>
            </a:extLst>
          </p:cNvPr>
          <p:cNvCxnSpPr>
            <a:cxnSpLocks/>
          </p:cNvCxnSpPr>
          <p:nvPr/>
        </p:nvCxnSpPr>
        <p:spPr>
          <a:xfrm flipV="1">
            <a:off x="6096000" y="2209800"/>
            <a:ext cx="0" cy="2561536"/>
          </a:xfrm>
          <a:prstGeom prst="straightConnector1">
            <a:avLst/>
          </a:prstGeom>
          <a:ln w="28575">
            <a:solidFill>
              <a:schemeClr val="accent1"/>
            </a:solidFill>
            <a:prstDash val="sysDot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7" name="Conector recto de flecha 7176">
            <a:extLst>
              <a:ext uri="{FF2B5EF4-FFF2-40B4-BE49-F238E27FC236}">
                <a16:creationId xmlns:a16="http://schemas.microsoft.com/office/drawing/2014/main" id="{5AD411B9-EC0A-8713-161C-239F35444AE9}"/>
              </a:ext>
            </a:extLst>
          </p:cNvPr>
          <p:cNvCxnSpPr>
            <a:cxnSpLocks/>
          </p:cNvCxnSpPr>
          <p:nvPr/>
        </p:nvCxnSpPr>
        <p:spPr>
          <a:xfrm>
            <a:off x="6096000" y="4771336"/>
            <a:ext cx="1699260" cy="958904"/>
          </a:xfrm>
          <a:prstGeom prst="straightConnector1">
            <a:avLst/>
          </a:prstGeom>
          <a:ln w="28575">
            <a:solidFill>
              <a:schemeClr val="accent1"/>
            </a:solidFill>
            <a:prstDash val="sysDot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8" name="Conector recto de flecha 7177">
            <a:extLst>
              <a:ext uri="{FF2B5EF4-FFF2-40B4-BE49-F238E27FC236}">
                <a16:creationId xmlns:a16="http://schemas.microsoft.com/office/drawing/2014/main" id="{C7235D59-7139-94CE-0ACB-0EE739AB7DD6}"/>
              </a:ext>
            </a:extLst>
          </p:cNvPr>
          <p:cNvCxnSpPr>
            <a:cxnSpLocks/>
          </p:cNvCxnSpPr>
          <p:nvPr/>
        </p:nvCxnSpPr>
        <p:spPr>
          <a:xfrm flipH="1">
            <a:off x="4401594" y="4771336"/>
            <a:ext cx="1699260" cy="958904"/>
          </a:xfrm>
          <a:prstGeom prst="straightConnector1">
            <a:avLst/>
          </a:prstGeom>
          <a:ln w="28575">
            <a:solidFill>
              <a:schemeClr val="accent1"/>
            </a:solidFill>
            <a:prstDash val="sysDot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9" name="TextBox 25">
            <a:extLst>
              <a:ext uri="{FF2B5EF4-FFF2-40B4-BE49-F238E27FC236}">
                <a16:creationId xmlns:a16="http://schemas.microsoft.com/office/drawing/2014/main" id="{6BF932A8-6644-BCCE-D4D8-D288EEC55B51}"/>
              </a:ext>
            </a:extLst>
          </p:cNvPr>
          <p:cNvSpPr txBox="1"/>
          <p:nvPr/>
        </p:nvSpPr>
        <p:spPr>
          <a:xfrm>
            <a:off x="6927850" y="1520824"/>
            <a:ext cx="3580255" cy="9848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180" name="TextBox 25">
            <a:extLst>
              <a:ext uri="{FF2B5EF4-FFF2-40B4-BE49-F238E27FC236}">
                <a16:creationId xmlns:a16="http://schemas.microsoft.com/office/drawing/2014/main" id="{E9153CD2-668D-9599-3CF7-285A8DC787B1}"/>
              </a:ext>
            </a:extLst>
          </p:cNvPr>
          <p:cNvSpPr txBox="1"/>
          <p:nvPr/>
        </p:nvSpPr>
        <p:spPr>
          <a:xfrm>
            <a:off x="8605394" y="4104519"/>
            <a:ext cx="3215131" cy="9848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181" name="TextBox 25">
            <a:extLst>
              <a:ext uri="{FF2B5EF4-FFF2-40B4-BE49-F238E27FC236}">
                <a16:creationId xmlns:a16="http://schemas.microsoft.com/office/drawing/2014/main" id="{73F71DE7-B7A4-80C9-7B1D-B877552CFABD}"/>
              </a:ext>
            </a:extLst>
          </p:cNvPr>
          <p:cNvSpPr txBox="1"/>
          <p:nvPr/>
        </p:nvSpPr>
        <p:spPr>
          <a:xfrm>
            <a:off x="384174" y="4104519"/>
            <a:ext cx="3580255" cy="9848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2904BC9E-D2C4-C79D-3535-680CB23FD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3704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1954105118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/>
          <a:lstStyle/>
          <a:p>
            <a:r>
              <a:rPr lang="en-US" dirty="0"/>
              <a:t>Template — Roger’s Five Factors 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59747310-805C-1343-8CB5-9B9D9AA3EE6C}"/>
              </a:ext>
            </a:extLst>
          </p:cNvPr>
          <p:cNvSpPr/>
          <p:nvPr/>
        </p:nvSpPr>
        <p:spPr>
          <a:xfrm>
            <a:off x="4364636" y="2183411"/>
            <a:ext cx="3462728" cy="346272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092C4BE3-D2DB-1B85-0732-FFF449D8C9B7}"/>
              </a:ext>
            </a:extLst>
          </p:cNvPr>
          <p:cNvCxnSpPr>
            <a:cxnSpLocks/>
          </p:cNvCxnSpPr>
          <p:nvPr/>
        </p:nvCxnSpPr>
        <p:spPr>
          <a:xfrm flipV="1">
            <a:off x="6096000" y="2183411"/>
            <a:ext cx="0" cy="172660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13E2B-AF02-B355-ADCF-BA4C4FBF5A8F}"/>
              </a:ext>
            </a:extLst>
          </p:cNvPr>
          <p:cNvCxnSpPr>
            <a:cxnSpLocks/>
          </p:cNvCxnSpPr>
          <p:nvPr/>
        </p:nvCxnSpPr>
        <p:spPr>
          <a:xfrm flipH="1" flipV="1">
            <a:off x="4454525" y="3381375"/>
            <a:ext cx="1641475" cy="52863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FC89D183-4CB5-2FEF-C0F3-CC16FF340CB8}"/>
              </a:ext>
            </a:extLst>
          </p:cNvPr>
          <p:cNvCxnSpPr>
            <a:cxnSpLocks/>
          </p:cNvCxnSpPr>
          <p:nvPr/>
        </p:nvCxnSpPr>
        <p:spPr>
          <a:xfrm flipH="1">
            <a:off x="6096000" y="3381375"/>
            <a:ext cx="1641475" cy="52863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E81B493-E3E5-2BBB-F29E-57B9EDEE79CE}"/>
              </a:ext>
            </a:extLst>
          </p:cNvPr>
          <p:cNvCxnSpPr>
            <a:cxnSpLocks/>
          </p:cNvCxnSpPr>
          <p:nvPr/>
        </p:nvCxnSpPr>
        <p:spPr>
          <a:xfrm flipH="1" flipV="1">
            <a:off x="6096000" y="3910013"/>
            <a:ext cx="1012031" cy="140017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9F13E3C7-29EF-03BB-8390-033E1A425924}"/>
              </a:ext>
            </a:extLst>
          </p:cNvPr>
          <p:cNvCxnSpPr>
            <a:cxnSpLocks/>
          </p:cNvCxnSpPr>
          <p:nvPr/>
        </p:nvCxnSpPr>
        <p:spPr>
          <a:xfrm flipH="1">
            <a:off x="5083969" y="3910013"/>
            <a:ext cx="1012031" cy="140017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ipse 8">
            <a:extLst>
              <a:ext uri="{FF2B5EF4-FFF2-40B4-BE49-F238E27FC236}">
                <a16:creationId xmlns:a16="http://schemas.microsoft.com/office/drawing/2014/main" id="{214050A1-C98A-C9CF-120F-327F0A6AC3A8}"/>
              </a:ext>
            </a:extLst>
          </p:cNvPr>
          <p:cNvSpPr/>
          <p:nvPr/>
        </p:nvSpPr>
        <p:spPr>
          <a:xfrm>
            <a:off x="4905375" y="2324100"/>
            <a:ext cx="409575" cy="4095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1E811B90-C583-13F4-B969-1371A60C2A3B}"/>
              </a:ext>
            </a:extLst>
          </p:cNvPr>
          <p:cNvSpPr/>
          <p:nvPr/>
        </p:nvSpPr>
        <p:spPr>
          <a:xfrm>
            <a:off x="6877051" y="2309169"/>
            <a:ext cx="409575" cy="4095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3CE9B542-002B-4E69-8CBE-447C7A633CA1}"/>
              </a:ext>
            </a:extLst>
          </p:cNvPr>
          <p:cNvSpPr/>
          <p:nvPr/>
        </p:nvSpPr>
        <p:spPr>
          <a:xfrm>
            <a:off x="4232376" y="4148782"/>
            <a:ext cx="409575" cy="4095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589F3870-36C7-9C83-34FE-5F37F265FA6B}"/>
              </a:ext>
            </a:extLst>
          </p:cNvPr>
          <p:cNvSpPr/>
          <p:nvPr/>
        </p:nvSpPr>
        <p:spPr>
          <a:xfrm>
            <a:off x="7558481" y="4148782"/>
            <a:ext cx="409575" cy="4095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3E1C50E7-661D-16E6-6DC9-E496A7FA675A}"/>
              </a:ext>
            </a:extLst>
          </p:cNvPr>
          <p:cNvSpPr/>
          <p:nvPr/>
        </p:nvSpPr>
        <p:spPr>
          <a:xfrm>
            <a:off x="5891213" y="5441351"/>
            <a:ext cx="409575" cy="4095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3FCB55E9-D11E-5D06-368E-8B05E68F5E6C}"/>
              </a:ext>
            </a:extLst>
          </p:cNvPr>
          <p:cNvSpPr txBox="1"/>
          <p:nvPr/>
        </p:nvSpPr>
        <p:spPr>
          <a:xfrm>
            <a:off x="371475" y="2055820"/>
            <a:ext cx="4260848" cy="8496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lative advanta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A0F615CA-C0EE-4839-E78E-97F61217ED49}"/>
              </a:ext>
            </a:extLst>
          </p:cNvPr>
          <p:cNvSpPr txBox="1"/>
          <p:nvPr/>
        </p:nvSpPr>
        <p:spPr>
          <a:xfrm>
            <a:off x="7559676" y="2055820"/>
            <a:ext cx="4260848" cy="8496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mpati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3423D9DA-B78A-9B68-B147-FD72509C058E}"/>
              </a:ext>
            </a:extLst>
          </p:cNvPr>
          <p:cNvSpPr txBox="1"/>
          <p:nvPr/>
        </p:nvSpPr>
        <p:spPr>
          <a:xfrm>
            <a:off x="8024220" y="3944379"/>
            <a:ext cx="3796305" cy="8496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mplex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65F887AC-8B81-D9C7-7696-F14B6F785601}"/>
              </a:ext>
            </a:extLst>
          </p:cNvPr>
          <p:cNvSpPr txBox="1"/>
          <p:nvPr/>
        </p:nvSpPr>
        <p:spPr>
          <a:xfrm>
            <a:off x="6780208" y="5451222"/>
            <a:ext cx="5040316" cy="8496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rial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4084EEE2-E6B7-93DC-A877-4A01214E6740}"/>
              </a:ext>
            </a:extLst>
          </p:cNvPr>
          <p:cNvSpPr txBox="1"/>
          <p:nvPr/>
        </p:nvSpPr>
        <p:spPr>
          <a:xfrm>
            <a:off x="371475" y="3922713"/>
            <a:ext cx="3819325" cy="84960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bserv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grpSp>
        <p:nvGrpSpPr>
          <p:cNvPr id="19" name="Group 60">
            <a:extLst>
              <a:ext uri="{FF2B5EF4-FFF2-40B4-BE49-F238E27FC236}">
                <a16:creationId xmlns:a16="http://schemas.microsoft.com/office/drawing/2014/main" id="{26739A94-E780-64B6-E7EB-EA8379F8964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87956" y="2811333"/>
            <a:ext cx="568366" cy="505804"/>
            <a:chOff x="4479" y="1744"/>
            <a:chExt cx="427" cy="380"/>
          </a:xfrm>
          <a:solidFill>
            <a:schemeClr val="tx2"/>
          </a:solidFill>
        </p:grpSpPr>
        <p:sp>
          <p:nvSpPr>
            <p:cNvPr id="20" name="Freeform 61">
              <a:extLst>
                <a:ext uri="{FF2B5EF4-FFF2-40B4-BE49-F238E27FC236}">
                  <a16:creationId xmlns:a16="http://schemas.microsoft.com/office/drawing/2014/main" id="{0C014CF2-62B1-9CF8-EE0C-620D9AFD02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8" y="1744"/>
              <a:ext cx="338" cy="362"/>
            </a:xfrm>
            <a:custGeom>
              <a:avLst/>
              <a:gdLst>
                <a:gd name="T0" fmla="*/ 168 w 228"/>
                <a:gd name="T1" fmla="*/ 245 h 245"/>
                <a:gd name="T2" fmla="*/ 90 w 228"/>
                <a:gd name="T3" fmla="*/ 245 h 245"/>
                <a:gd name="T4" fmla="*/ 41 w 228"/>
                <a:gd name="T5" fmla="*/ 239 h 245"/>
                <a:gd name="T6" fmla="*/ 5 w 228"/>
                <a:gd name="T7" fmla="*/ 233 h 245"/>
                <a:gd name="T8" fmla="*/ 0 w 228"/>
                <a:gd name="T9" fmla="*/ 227 h 245"/>
                <a:gd name="T10" fmla="*/ 0 w 228"/>
                <a:gd name="T11" fmla="*/ 125 h 245"/>
                <a:gd name="T12" fmla="*/ 6 w 228"/>
                <a:gd name="T13" fmla="*/ 119 h 245"/>
                <a:gd name="T14" fmla="*/ 78 w 228"/>
                <a:gd name="T15" fmla="*/ 23 h 245"/>
                <a:gd name="T16" fmla="*/ 95 w 228"/>
                <a:gd name="T17" fmla="*/ 1 h 245"/>
                <a:gd name="T18" fmla="*/ 126 w 228"/>
                <a:gd name="T19" fmla="*/ 30 h 245"/>
                <a:gd name="T20" fmla="*/ 117 w 228"/>
                <a:gd name="T21" fmla="*/ 89 h 245"/>
                <a:gd name="T22" fmla="*/ 204 w 228"/>
                <a:gd name="T23" fmla="*/ 89 h 245"/>
                <a:gd name="T24" fmla="*/ 228 w 228"/>
                <a:gd name="T25" fmla="*/ 113 h 245"/>
                <a:gd name="T26" fmla="*/ 211 w 228"/>
                <a:gd name="T27" fmla="*/ 141 h 245"/>
                <a:gd name="T28" fmla="*/ 216 w 228"/>
                <a:gd name="T29" fmla="*/ 155 h 245"/>
                <a:gd name="T30" fmla="*/ 200 w 228"/>
                <a:gd name="T31" fmla="*/ 177 h 245"/>
                <a:gd name="T32" fmla="*/ 204 w 228"/>
                <a:gd name="T33" fmla="*/ 191 h 245"/>
                <a:gd name="T34" fmla="*/ 188 w 228"/>
                <a:gd name="T35" fmla="*/ 213 h 245"/>
                <a:gd name="T36" fmla="*/ 192 w 228"/>
                <a:gd name="T37" fmla="*/ 227 h 245"/>
                <a:gd name="T38" fmla="*/ 168 w 228"/>
                <a:gd name="T39" fmla="*/ 245 h 245"/>
                <a:gd name="T40" fmla="*/ 12 w 228"/>
                <a:gd name="T41" fmla="*/ 222 h 245"/>
                <a:gd name="T42" fmla="*/ 44 w 228"/>
                <a:gd name="T43" fmla="*/ 227 h 245"/>
                <a:gd name="T44" fmla="*/ 90 w 228"/>
                <a:gd name="T45" fmla="*/ 233 h 245"/>
                <a:gd name="T46" fmla="*/ 168 w 228"/>
                <a:gd name="T47" fmla="*/ 233 h 245"/>
                <a:gd name="T48" fmla="*/ 180 w 228"/>
                <a:gd name="T49" fmla="*/ 227 h 245"/>
                <a:gd name="T50" fmla="*/ 168 w 228"/>
                <a:gd name="T51" fmla="*/ 215 h 245"/>
                <a:gd name="T52" fmla="*/ 162 w 228"/>
                <a:gd name="T53" fmla="*/ 209 h 245"/>
                <a:gd name="T54" fmla="*/ 168 w 228"/>
                <a:gd name="T55" fmla="*/ 203 h 245"/>
                <a:gd name="T56" fmla="*/ 180 w 228"/>
                <a:gd name="T57" fmla="*/ 203 h 245"/>
                <a:gd name="T58" fmla="*/ 192 w 228"/>
                <a:gd name="T59" fmla="*/ 191 h 245"/>
                <a:gd name="T60" fmla="*/ 180 w 228"/>
                <a:gd name="T61" fmla="*/ 179 h 245"/>
                <a:gd name="T62" fmla="*/ 174 w 228"/>
                <a:gd name="T63" fmla="*/ 173 h 245"/>
                <a:gd name="T64" fmla="*/ 180 w 228"/>
                <a:gd name="T65" fmla="*/ 167 h 245"/>
                <a:gd name="T66" fmla="*/ 192 w 228"/>
                <a:gd name="T67" fmla="*/ 167 h 245"/>
                <a:gd name="T68" fmla="*/ 204 w 228"/>
                <a:gd name="T69" fmla="*/ 155 h 245"/>
                <a:gd name="T70" fmla="*/ 192 w 228"/>
                <a:gd name="T71" fmla="*/ 143 h 245"/>
                <a:gd name="T72" fmla="*/ 186 w 228"/>
                <a:gd name="T73" fmla="*/ 137 h 245"/>
                <a:gd name="T74" fmla="*/ 192 w 228"/>
                <a:gd name="T75" fmla="*/ 131 h 245"/>
                <a:gd name="T76" fmla="*/ 204 w 228"/>
                <a:gd name="T77" fmla="*/ 131 h 245"/>
                <a:gd name="T78" fmla="*/ 216 w 228"/>
                <a:gd name="T79" fmla="*/ 113 h 245"/>
                <a:gd name="T80" fmla="*/ 204 w 228"/>
                <a:gd name="T81" fmla="*/ 101 h 245"/>
                <a:gd name="T82" fmla="*/ 108 w 228"/>
                <a:gd name="T83" fmla="*/ 101 h 245"/>
                <a:gd name="T84" fmla="*/ 103 w 228"/>
                <a:gd name="T85" fmla="*/ 98 h 245"/>
                <a:gd name="T86" fmla="*/ 102 w 228"/>
                <a:gd name="T87" fmla="*/ 92 h 245"/>
                <a:gd name="T88" fmla="*/ 114 w 228"/>
                <a:gd name="T89" fmla="*/ 33 h 245"/>
                <a:gd name="T90" fmla="*/ 97 w 228"/>
                <a:gd name="T91" fmla="*/ 13 h 245"/>
                <a:gd name="T92" fmla="*/ 90 w 228"/>
                <a:gd name="T93" fmla="*/ 23 h 245"/>
                <a:gd name="T94" fmla="*/ 12 w 228"/>
                <a:gd name="T95" fmla="*/ 130 h 245"/>
                <a:gd name="T96" fmla="*/ 12 w 228"/>
                <a:gd name="T97" fmla="*/ 22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245">
                  <a:moveTo>
                    <a:pt x="168" y="245"/>
                  </a:moveTo>
                  <a:cubicBezTo>
                    <a:pt x="90" y="245"/>
                    <a:pt x="90" y="245"/>
                    <a:pt x="90" y="245"/>
                  </a:cubicBezTo>
                  <a:cubicBezTo>
                    <a:pt x="68" y="245"/>
                    <a:pt x="57" y="242"/>
                    <a:pt x="41" y="239"/>
                  </a:cubicBezTo>
                  <a:cubicBezTo>
                    <a:pt x="32" y="237"/>
                    <a:pt x="21" y="235"/>
                    <a:pt x="5" y="233"/>
                  </a:cubicBezTo>
                  <a:cubicBezTo>
                    <a:pt x="2" y="232"/>
                    <a:pt x="0" y="230"/>
                    <a:pt x="0" y="227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1"/>
                    <a:pt x="3" y="119"/>
                    <a:pt x="6" y="119"/>
                  </a:cubicBezTo>
                  <a:cubicBezTo>
                    <a:pt x="31" y="119"/>
                    <a:pt x="78" y="68"/>
                    <a:pt x="78" y="23"/>
                  </a:cubicBezTo>
                  <a:cubicBezTo>
                    <a:pt x="78" y="12"/>
                    <a:pt x="85" y="3"/>
                    <a:pt x="95" y="1"/>
                  </a:cubicBezTo>
                  <a:cubicBezTo>
                    <a:pt x="106" y="0"/>
                    <a:pt x="119" y="6"/>
                    <a:pt x="126" y="30"/>
                  </a:cubicBezTo>
                  <a:cubicBezTo>
                    <a:pt x="130" y="47"/>
                    <a:pt x="122" y="75"/>
                    <a:pt x="117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17" y="89"/>
                    <a:pt x="228" y="100"/>
                    <a:pt x="228" y="113"/>
                  </a:cubicBezTo>
                  <a:cubicBezTo>
                    <a:pt x="228" y="122"/>
                    <a:pt x="222" y="136"/>
                    <a:pt x="211" y="141"/>
                  </a:cubicBezTo>
                  <a:cubicBezTo>
                    <a:pt x="214" y="145"/>
                    <a:pt x="216" y="150"/>
                    <a:pt x="216" y="155"/>
                  </a:cubicBezTo>
                  <a:cubicBezTo>
                    <a:pt x="216" y="165"/>
                    <a:pt x="209" y="174"/>
                    <a:pt x="200" y="177"/>
                  </a:cubicBezTo>
                  <a:cubicBezTo>
                    <a:pt x="202" y="181"/>
                    <a:pt x="204" y="186"/>
                    <a:pt x="204" y="191"/>
                  </a:cubicBezTo>
                  <a:cubicBezTo>
                    <a:pt x="204" y="201"/>
                    <a:pt x="197" y="210"/>
                    <a:pt x="188" y="213"/>
                  </a:cubicBezTo>
                  <a:cubicBezTo>
                    <a:pt x="190" y="217"/>
                    <a:pt x="192" y="222"/>
                    <a:pt x="192" y="227"/>
                  </a:cubicBezTo>
                  <a:cubicBezTo>
                    <a:pt x="192" y="239"/>
                    <a:pt x="184" y="245"/>
                    <a:pt x="168" y="245"/>
                  </a:cubicBezTo>
                  <a:close/>
                  <a:moveTo>
                    <a:pt x="12" y="222"/>
                  </a:moveTo>
                  <a:cubicBezTo>
                    <a:pt x="25" y="224"/>
                    <a:pt x="35" y="226"/>
                    <a:pt x="44" y="227"/>
                  </a:cubicBezTo>
                  <a:cubicBezTo>
                    <a:pt x="59" y="231"/>
                    <a:pt x="69" y="233"/>
                    <a:pt x="90" y="233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80" y="233"/>
                    <a:pt x="180" y="230"/>
                    <a:pt x="180" y="227"/>
                  </a:cubicBezTo>
                  <a:cubicBezTo>
                    <a:pt x="180" y="220"/>
                    <a:pt x="174" y="215"/>
                    <a:pt x="168" y="215"/>
                  </a:cubicBezTo>
                  <a:cubicBezTo>
                    <a:pt x="165" y="215"/>
                    <a:pt x="162" y="212"/>
                    <a:pt x="162" y="209"/>
                  </a:cubicBezTo>
                  <a:cubicBezTo>
                    <a:pt x="162" y="205"/>
                    <a:pt x="165" y="203"/>
                    <a:pt x="168" y="203"/>
                  </a:cubicBezTo>
                  <a:cubicBezTo>
                    <a:pt x="180" y="203"/>
                    <a:pt x="180" y="203"/>
                    <a:pt x="180" y="203"/>
                  </a:cubicBezTo>
                  <a:cubicBezTo>
                    <a:pt x="186" y="203"/>
                    <a:pt x="192" y="197"/>
                    <a:pt x="192" y="191"/>
                  </a:cubicBezTo>
                  <a:cubicBezTo>
                    <a:pt x="192" y="184"/>
                    <a:pt x="186" y="179"/>
                    <a:pt x="180" y="179"/>
                  </a:cubicBezTo>
                  <a:cubicBezTo>
                    <a:pt x="177" y="179"/>
                    <a:pt x="174" y="176"/>
                    <a:pt x="174" y="173"/>
                  </a:cubicBezTo>
                  <a:cubicBezTo>
                    <a:pt x="174" y="169"/>
                    <a:pt x="177" y="167"/>
                    <a:pt x="180" y="167"/>
                  </a:cubicBezTo>
                  <a:cubicBezTo>
                    <a:pt x="192" y="167"/>
                    <a:pt x="192" y="167"/>
                    <a:pt x="192" y="167"/>
                  </a:cubicBezTo>
                  <a:cubicBezTo>
                    <a:pt x="198" y="167"/>
                    <a:pt x="204" y="161"/>
                    <a:pt x="204" y="155"/>
                  </a:cubicBezTo>
                  <a:cubicBezTo>
                    <a:pt x="204" y="148"/>
                    <a:pt x="198" y="143"/>
                    <a:pt x="192" y="143"/>
                  </a:cubicBezTo>
                  <a:cubicBezTo>
                    <a:pt x="189" y="143"/>
                    <a:pt x="186" y="140"/>
                    <a:pt x="186" y="137"/>
                  </a:cubicBezTo>
                  <a:cubicBezTo>
                    <a:pt x="186" y="133"/>
                    <a:pt x="189" y="131"/>
                    <a:pt x="192" y="131"/>
                  </a:cubicBezTo>
                  <a:cubicBezTo>
                    <a:pt x="204" y="131"/>
                    <a:pt x="204" y="131"/>
                    <a:pt x="204" y="131"/>
                  </a:cubicBezTo>
                  <a:cubicBezTo>
                    <a:pt x="210" y="131"/>
                    <a:pt x="216" y="120"/>
                    <a:pt x="216" y="113"/>
                  </a:cubicBezTo>
                  <a:cubicBezTo>
                    <a:pt x="216" y="106"/>
                    <a:pt x="210" y="101"/>
                    <a:pt x="204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6" y="101"/>
                    <a:pt x="104" y="100"/>
                    <a:pt x="103" y="98"/>
                  </a:cubicBezTo>
                  <a:cubicBezTo>
                    <a:pt x="102" y="96"/>
                    <a:pt x="102" y="94"/>
                    <a:pt x="102" y="92"/>
                  </a:cubicBezTo>
                  <a:cubicBezTo>
                    <a:pt x="107" y="81"/>
                    <a:pt x="119" y="49"/>
                    <a:pt x="114" y="33"/>
                  </a:cubicBezTo>
                  <a:cubicBezTo>
                    <a:pt x="110" y="18"/>
                    <a:pt x="102" y="12"/>
                    <a:pt x="97" y="13"/>
                  </a:cubicBezTo>
                  <a:cubicBezTo>
                    <a:pt x="93" y="14"/>
                    <a:pt x="90" y="18"/>
                    <a:pt x="90" y="23"/>
                  </a:cubicBezTo>
                  <a:cubicBezTo>
                    <a:pt x="90" y="70"/>
                    <a:pt x="45" y="124"/>
                    <a:pt x="12" y="130"/>
                  </a:cubicBezTo>
                  <a:lnTo>
                    <a:pt x="12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62">
              <a:extLst>
                <a:ext uri="{FF2B5EF4-FFF2-40B4-BE49-F238E27FC236}">
                  <a16:creationId xmlns:a16="http://schemas.microsoft.com/office/drawing/2014/main" id="{9EEB041E-18B1-9B01-8E89-58608D9217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9" y="1894"/>
              <a:ext cx="107" cy="230"/>
            </a:xfrm>
            <a:custGeom>
              <a:avLst/>
              <a:gdLst>
                <a:gd name="T0" fmla="*/ 66 w 72"/>
                <a:gd name="T1" fmla="*/ 156 h 156"/>
                <a:gd name="T2" fmla="*/ 6 w 72"/>
                <a:gd name="T3" fmla="*/ 156 h 156"/>
                <a:gd name="T4" fmla="*/ 0 w 72"/>
                <a:gd name="T5" fmla="*/ 150 h 156"/>
                <a:gd name="T6" fmla="*/ 0 w 72"/>
                <a:gd name="T7" fmla="*/ 6 h 156"/>
                <a:gd name="T8" fmla="*/ 6 w 72"/>
                <a:gd name="T9" fmla="*/ 0 h 156"/>
                <a:gd name="T10" fmla="*/ 66 w 72"/>
                <a:gd name="T11" fmla="*/ 0 h 156"/>
                <a:gd name="T12" fmla="*/ 72 w 72"/>
                <a:gd name="T13" fmla="*/ 6 h 156"/>
                <a:gd name="T14" fmla="*/ 72 w 72"/>
                <a:gd name="T15" fmla="*/ 150 h 156"/>
                <a:gd name="T16" fmla="*/ 66 w 72"/>
                <a:gd name="T17" fmla="*/ 156 h 156"/>
                <a:gd name="T18" fmla="*/ 12 w 72"/>
                <a:gd name="T19" fmla="*/ 144 h 156"/>
                <a:gd name="T20" fmla="*/ 60 w 72"/>
                <a:gd name="T21" fmla="*/ 144 h 156"/>
                <a:gd name="T22" fmla="*/ 60 w 72"/>
                <a:gd name="T23" fmla="*/ 12 h 156"/>
                <a:gd name="T24" fmla="*/ 12 w 72"/>
                <a:gd name="T25" fmla="*/ 12 h 156"/>
                <a:gd name="T26" fmla="*/ 12 w 72"/>
                <a:gd name="T27" fmla="*/ 1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56">
                  <a:moveTo>
                    <a:pt x="66" y="156"/>
                  </a:moveTo>
                  <a:cubicBezTo>
                    <a:pt x="6" y="156"/>
                    <a:pt x="6" y="156"/>
                    <a:pt x="6" y="156"/>
                  </a:cubicBez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150"/>
                    <a:pt x="72" y="150"/>
                    <a:pt x="72" y="150"/>
                  </a:cubicBezTo>
                  <a:cubicBezTo>
                    <a:pt x="72" y="153"/>
                    <a:pt x="69" y="156"/>
                    <a:pt x="66" y="156"/>
                  </a:cubicBezTo>
                  <a:close/>
                  <a:moveTo>
                    <a:pt x="12" y="144"/>
                  </a:moveTo>
                  <a:cubicBezTo>
                    <a:pt x="60" y="144"/>
                    <a:pt x="60" y="144"/>
                    <a:pt x="60" y="14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Oval 63">
              <a:extLst>
                <a:ext uri="{FF2B5EF4-FFF2-40B4-BE49-F238E27FC236}">
                  <a16:creationId xmlns:a16="http://schemas.microsoft.com/office/drawing/2014/main" id="{92BEB893-8E2F-399E-95FF-A7876614E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3" y="2071"/>
              <a:ext cx="17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3" name="Freeform 10">
            <a:extLst>
              <a:ext uri="{FF2B5EF4-FFF2-40B4-BE49-F238E27FC236}">
                <a16:creationId xmlns:a16="http://schemas.microsoft.com/office/drawing/2014/main" id="{1496ACDF-B6B0-2388-CB9B-DA8098E12A0E}"/>
              </a:ext>
            </a:extLst>
          </p:cNvPr>
          <p:cNvSpPr>
            <a:spLocks noEditPoints="1"/>
          </p:cNvSpPr>
          <p:nvPr/>
        </p:nvSpPr>
        <p:spPr bwMode="auto">
          <a:xfrm>
            <a:off x="6387443" y="2830724"/>
            <a:ext cx="468138" cy="467022"/>
          </a:xfrm>
          <a:custGeom>
            <a:avLst/>
            <a:gdLst>
              <a:gd name="T0" fmla="*/ 147 w 284"/>
              <a:gd name="T1" fmla="*/ 282 h 284"/>
              <a:gd name="T2" fmla="*/ 109 w 284"/>
              <a:gd name="T3" fmla="*/ 236 h 284"/>
              <a:gd name="T4" fmla="*/ 109 w 284"/>
              <a:gd name="T5" fmla="*/ 176 h 284"/>
              <a:gd name="T6" fmla="*/ 41 w 284"/>
              <a:gd name="T7" fmla="*/ 176 h 284"/>
              <a:gd name="T8" fmla="*/ 2 w 284"/>
              <a:gd name="T9" fmla="*/ 130 h 284"/>
              <a:gd name="T10" fmla="*/ 24 w 284"/>
              <a:gd name="T11" fmla="*/ 100 h 284"/>
              <a:gd name="T12" fmla="*/ 62 w 284"/>
              <a:gd name="T13" fmla="*/ 8 h 284"/>
              <a:gd name="T14" fmla="*/ 104 w 284"/>
              <a:gd name="T15" fmla="*/ 28 h 284"/>
              <a:gd name="T16" fmla="*/ 138 w 284"/>
              <a:gd name="T17" fmla="*/ 2 h 284"/>
              <a:gd name="T18" fmla="*/ 176 w 284"/>
              <a:gd name="T19" fmla="*/ 49 h 284"/>
              <a:gd name="T20" fmla="*/ 236 w 284"/>
              <a:gd name="T21" fmla="*/ 108 h 284"/>
              <a:gd name="T22" fmla="*/ 282 w 284"/>
              <a:gd name="T23" fmla="*/ 146 h 284"/>
              <a:gd name="T24" fmla="*/ 282 w 284"/>
              <a:gd name="T25" fmla="*/ 155 h 284"/>
              <a:gd name="T26" fmla="*/ 261 w 284"/>
              <a:gd name="T27" fmla="*/ 185 h 284"/>
              <a:gd name="T28" fmla="*/ 261 w 284"/>
              <a:gd name="T29" fmla="*/ 261 h 284"/>
              <a:gd name="T30" fmla="*/ 185 w 284"/>
              <a:gd name="T31" fmla="*/ 261 h 284"/>
              <a:gd name="T32" fmla="*/ 155 w 284"/>
              <a:gd name="T33" fmla="*/ 282 h 284"/>
              <a:gd name="T34" fmla="*/ 121 w 284"/>
              <a:gd name="T35" fmla="*/ 240 h 284"/>
              <a:gd name="T36" fmla="*/ 177 w 284"/>
              <a:gd name="T37" fmla="*/ 243 h 284"/>
              <a:gd name="T38" fmla="*/ 187 w 284"/>
              <a:gd name="T39" fmla="*/ 244 h 284"/>
              <a:gd name="T40" fmla="*/ 223 w 284"/>
              <a:gd name="T41" fmla="*/ 265 h 284"/>
              <a:gd name="T42" fmla="*/ 265 w 284"/>
              <a:gd name="T43" fmla="*/ 223 h 284"/>
              <a:gd name="T44" fmla="*/ 244 w 284"/>
              <a:gd name="T45" fmla="*/ 187 h 284"/>
              <a:gd name="T46" fmla="*/ 243 w 284"/>
              <a:gd name="T47" fmla="*/ 177 h 284"/>
              <a:gd name="T48" fmla="*/ 240 w 284"/>
              <a:gd name="T49" fmla="*/ 121 h 284"/>
              <a:gd name="T50" fmla="*/ 168 w 284"/>
              <a:gd name="T51" fmla="*/ 117 h 284"/>
              <a:gd name="T52" fmla="*/ 134 w 284"/>
              <a:gd name="T53" fmla="*/ 15 h 284"/>
              <a:gd name="T54" fmla="*/ 102 w 284"/>
              <a:gd name="T55" fmla="*/ 43 h 284"/>
              <a:gd name="T56" fmla="*/ 92 w 284"/>
              <a:gd name="T57" fmla="*/ 32 h 284"/>
              <a:gd name="T58" fmla="*/ 32 w 284"/>
              <a:gd name="T59" fmla="*/ 32 h 284"/>
              <a:gd name="T60" fmla="*/ 41 w 284"/>
              <a:gd name="T61" fmla="*/ 98 h 284"/>
              <a:gd name="T62" fmla="*/ 42 w 284"/>
              <a:gd name="T63" fmla="*/ 107 h 284"/>
              <a:gd name="T64" fmla="*/ 45 w 284"/>
              <a:gd name="T65" fmla="*/ 164 h 284"/>
              <a:gd name="T66" fmla="*/ 133 w 284"/>
              <a:gd name="T67" fmla="*/ 206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84" h="284">
                <a:moveTo>
                  <a:pt x="151" y="284"/>
                </a:moveTo>
                <a:cubicBezTo>
                  <a:pt x="149" y="284"/>
                  <a:pt x="148" y="283"/>
                  <a:pt x="147" y="282"/>
                </a:cubicBezTo>
                <a:cubicBezTo>
                  <a:pt x="109" y="244"/>
                  <a:pt x="109" y="244"/>
                  <a:pt x="109" y="244"/>
                </a:cubicBezTo>
                <a:cubicBezTo>
                  <a:pt x="106" y="242"/>
                  <a:pt x="106" y="238"/>
                  <a:pt x="109" y="236"/>
                </a:cubicBezTo>
                <a:cubicBezTo>
                  <a:pt x="116" y="228"/>
                  <a:pt x="121" y="217"/>
                  <a:pt x="121" y="206"/>
                </a:cubicBezTo>
                <a:cubicBezTo>
                  <a:pt x="121" y="195"/>
                  <a:pt x="116" y="184"/>
                  <a:pt x="109" y="176"/>
                </a:cubicBezTo>
                <a:cubicBezTo>
                  <a:pt x="92" y="160"/>
                  <a:pt x="65" y="160"/>
                  <a:pt x="49" y="176"/>
                </a:cubicBezTo>
                <a:cubicBezTo>
                  <a:pt x="47" y="179"/>
                  <a:pt x="43" y="179"/>
                  <a:pt x="41" y="176"/>
                </a:cubicBezTo>
                <a:cubicBezTo>
                  <a:pt x="2" y="138"/>
                  <a:pt x="2" y="138"/>
                  <a:pt x="2" y="138"/>
                </a:cubicBezTo>
                <a:cubicBezTo>
                  <a:pt x="0" y="136"/>
                  <a:pt x="0" y="132"/>
                  <a:pt x="2" y="130"/>
                </a:cubicBezTo>
                <a:cubicBezTo>
                  <a:pt x="28" y="104"/>
                  <a:pt x="28" y="104"/>
                  <a:pt x="28" y="104"/>
                </a:cubicBezTo>
                <a:cubicBezTo>
                  <a:pt x="27" y="103"/>
                  <a:pt x="25" y="101"/>
                  <a:pt x="24" y="100"/>
                </a:cubicBezTo>
                <a:cubicBezTo>
                  <a:pt x="3" y="79"/>
                  <a:pt x="3" y="44"/>
                  <a:pt x="24" y="23"/>
                </a:cubicBezTo>
                <a:cubicBezTo>
                  <a:pt x="34" y="13"/>
                  <a:pt x="47" y="8"/>
                  <a:pt x="62" y="8"/>
                </a:cubicBezTo>
                <a:cubicBezTo>
                  <a:pt x="76" y="8"/>
                  <a:pt x="90" y="13"/>
                  <a:pt x="100" y="23"/>
                </a:cubicBezTo>
                <a:cubicBezTo>
                  <a:pt x="101" y="25"/>
                  <a:pt x="103" y="26"/>
                  <a:pt x="104" y="28"/>
                </a:cubicBezTo>
                <a:cubicBezTo>
                  <a:pt x="130" y="2"/>
                  <a:pt x="130" y="2"/>
                  <a:pt x="130" y="2"/>
                </a:cubicBezTo>
                <a:cubicBezTo>
                  <a:pt x="132" y="0"/>
                  <a:pt x="136" y="0"/>
                  <a:pt x="138" y="2"/>
                </a:cubicBezTo>
                <a:cubicBezTo>
                  <a:pt x="176" y="40"/>
                  <a:pt x="176" y="40"/>
                  <a:pt x="176" y="40"/>
                </a:cubicBezTo>
                <a:cubicBezTo>
                  <a:pt x="179" y="43"/>
                  <a:pt x="179" y="47"/>
                  <a:pt x="176" y="49"/>
                </a:cubicBezTo>
                <a:cubicBezTo>
                  <a:pt x="160" y="65"/>
                  <a:pt x="160" y="92"/>
                  <a:pt x="176" y="108"/>
                </a:cubicBezTo>
                <a:cubicBezTo>
                  <a:pt x="193" y="125"/>
                  <a:pt x="219" y="125"/>
                  <a:pt x="236" y="108"/>
                </a:cubicBezTo>
                <a:cubicBezTo>
                  <a:pt x="238" y="106"/>
                  <a:pt x="242" y="106"/>
                  <a:pt x="244" y="108"/>
                </a:cubicBezTo>
                <a:cubicBezTo>
                  <a:pt x="282" y="146"/>
                  <a:pt x="282" y="146"/>
                  <a:pt x="282" y="146"/>
                </a:cubicBezTo>
                <a:cubicBezTo>
                  <a:pt x="284" y="148"/>
                  <a:pt x="284" y="149"/>
                  <a:pt x="284" y="151"/>
                </a:cubicBezTo>
                <a:cubicBezTo>
                  <a:pt x="284" y="152"/>
                  <a:pt x="284" y="154"/>
                  <a:pt x="282" y="155"/>
                </a:cubicBezTo>
                <a:cubicBezTo>
                  <a:pt x="257" y="181"/>
                  <a:pt x="257" y="181"/>
                  <a:pt x="257" y="181"/>
                </a:cubicBezTo>
                <a:cubicBezTo>
                  <a:pt x="258" y="182"/>
                  <a:pt x="260" y="183"/>
                  <a:pt x="261" y="185"/>
                </a:cubicBezTo>
                <a:cubicBezTo>
                  <a:pt x="271" y="195"/>
                  <a:pt x="277" y="208"/>
                  <a:pt x="277" y="223"/>
                </a:cubicBezTo>
                <a:cubicBezTo>
                  <a:pt x="277" y="237"/>
                  <a:pt x="271" y="251"/>
                  <a:pt x="261" y="261"/>
                </a:cubicBezTo>
                <a:cubicBezTo>
                  <a:pt x="251" y="271"/>
                  <a:pt x="237" y="277"/>
                  <a:pt x="223" y="277"/>
                </a:cubicBezTo>
                <a:cubicBezTo>
                  <a:pt x="209" y="277"/>
                  <a:pt x="195" y="271"/>
                  <a:pt x="185" y="261"/>
                </a:cubicBezTo>
                <a:cubicBezTo>
                  <a:pt x="183" y="260"/>
                  <a:pt x="182" y="258"/>
                  <a:pt x="181" y="257"/>
                </a:cubicBezTo>
                <a:cubicBezTo>
                  <a:pt x="155" y="282"/>
                  <a:pt x="155" y="282"/>
                  <a:pt x="155" y="282"/>
                </a:cubicBezTo>
                <a:cubicBezTo>
                  <a:pt x="154" y="283"/>
                  <a:pt x="152" y="284"/>
                  <a:pt x="151" y="284"/>
                </a:cubicBezTo>
                <a:close/>
                <a:moveTo>
                  <a:pt x="121" y="240"/>
                </a:moveTo>
                <a:cubicBezTo>
                  <a:pt x="151" y="270"/>
                  <a:pt x="151" y="270"/>
                  <a:pt x="151" y="270"/>
                </a:cubicBezTo>
                <a:cubicBezTo>
                  <a:pt x="177" y="243"/>
                  <a:pt x="177" y="243"/>
                  <a:pt x="177" y="243"/>
                </a:cubicBezTo>
                <a:cubicBezTo>
                  <a:pt x="179" y="242"/>
                  <a:pt x="181" y="241"/>
                  <a:pt x="182" y="241"/>
                </a:cubicBezTo>
                <a:cubicBezTo>
                  <a:pt x="184" y="241"/>
                  <a:pt x="186" y="243"/>
                  <a:pt x="187" y="244"/>
                </a:cubicBezTo>
                <a:cubicBezTo>
                  <a:pt x="189" y="247"/>
                  <a:pt x="191" y="250"/>
                  <a:pt x="193" y="253"/>
                </a:cubicBezTo>
                <a:cubicBezTo>
                  <a:pt x="201" y="260"/>
                  <a:pt x="212" y="265"/>
                  <a:pt x="223" y="265"/>
                </a:cubicBezTo>
                <a:cubicBezTo>
                  <a:pt x="234" y="265"/>
                  <a:pt x="245" y="260"/>
                  <a:pt x="253" y="253"/>
                </a:cubicBezTo>
                <a:cubicBezTo>
                  <a:pt x="261" y="245"/>
                  <a:pt x="265" y="234"/>
                  <a:pt x="265" y="223"/>
                </a:cubicBezTo>
                <a:cubicBezTo>
                  <a:pt x="265" y="212"/>
                  <a:pt x="261" y="201"/>
                  <a:pt x="253" y="193"/>
                </a:cubicBezTo>
                <a:cubicBezTo>
                  <a:pt x="250" y="191"/>
                  <a:pt x="248" y="189"/>
                  <a:pt x="244" y="187"/>
                </a:cubicBezTo>
                <a:cubicBezTo>
                  <a:pt x="243" y="186"/>
                  <a:pt x="242" y="184"/>
                  <a:pt x="241" y="182"/>
                </a:cubicBezTo>
                <a:cubicBezTo>
                  <a:pt x="241" y="180"/>
                  <a:pt x="242" y="179"/>
                  <a:pt x="243" y="177"/>
                </a:cubicBezTo>
                <a:cubicBezTo>
                  <a:pt x="270" y="151"/>
                  <a:pt x="270" y="151"/>
                  <a:pt x="270" y="151"/>
                </a:cubicBezTo>
                <a:cubicBezTo>
                  <a:pt x="240" y="121"/>
                  <a:pt x="240" y="121"/>
                  <a:pt x="240" y="121"/>
                </a:cubicBezTo>
                <a:cubicBezTo>
                  <a:pt x="219" y="138"/>
                  <a:pt x="188" y="136"/>
                  <a:pt x="168" y="117"/>
                </a:cubicBezTo>
                <a:cubicBezTo>
                  <a:pt x="168" y="117"/>
                  <a:pt x="168" y="117"/>
                  <a:pt x="168" y="117"/>
                </a:cubicBezTo>
                <a:cubicBezTo>
                  <a:pt x="148" y="97"/>
                  <a:pt x="147" y="66"/>
                  <a:pt x="164" y="45"/>
                </a:cubicBezTo>
                <a:cubicBezTo>
                  <a:pt x="134" y="15"/>
                  <a:pt x="134" y="15"/>
                  <a:pt x="134" y="15"/>
                </a:cubicBezTo>
                <a:cubicBezTo>
                  <a:pt x="107" y="42"/>
                  <a:pt x="107" y="42"/>
                  <a:pt x="107" y="42"/>
                </a:cubicBezTo>
                <a:cubicBezTo>
                  <a:pt x="106" y="43"/>
                  <a:pt x="104" y="43"/>
                  <a:pt x="102" y="43"/>
                </a:cubicBezTo>
                <a:cubicBezTo>
                  <a:pt x="101" y="43"/>
                  <a:pt x="99" y="42"/>
                  <a:pt x="98" y="40"/>
                </a:cubicBezTo>
                <a:cubicBezTo>
                  <a:pt x="96" y="37"/>
                  <a:pt x="94" y="34"/>
                  <a:pt x="92" y="32"/>
                </a:cubicBezTo>
                <a:cubicBezTo>
                  <a:pt x="84" y="24"/>
                  <a:pt x="73" y="20"/>
                  <a:pt x="62" y="20"/>
                </a:cubicBezTo>
                <a:cubicBezTo>
                  <a:pt x="51" y="20"/>
                  <a:pt x="40" y="24"/>
                  <a:pt x="32" y="32"/>
                </a:cubicBezTo>
                <a:cubicBezTo>
                  <a:pt x="16" y="48"/>
                  <a:pt x="16" y="75"/>
                  <a:pt x="32" y="91"/>
                </a:cubicBezTo>
                <a:cubicBezTo>
                  <a:pt x="35" y="94"/>
                  <a:pt x="37" y="96"/>
                  <a:pt x="41" y="98"/>
                </a:cubicBezTo>
                <a:cubicBezTo>
                  <a:pt x="42" y="99"/>
                  <a:pt x="43" y="100"/>
                  <a:pt x="43" y="102"/>
                </a:cubicBezTo>
                <a:cubicBezTo>
                  <a:pt x="44" y="104"/>
                  <a:pt x="43" y="106"/>
                  <a:pt x="42" y="107"/>
                </a:cubicBezTo>
                <a:cubicBezTo>
                  <a:pt x="15" y="134"/>
                  <a:pt x="15" y="134"/>
                  <a:pt x="15" y="134"/>
                </a:cubicBezTo>
                <a:cubicBezTo>
                  <a:pt x="45" y="164"/>
                  <a:pt x="45" y="164"/>
                  <a:pt x="45" y="164"/>
                </a:cubicBezTo>
                <a:cubicBezTo>
                  <a:pt x="66" y="147"/>
                  <a:pt x="97" y="148"/>
                  <a:pt x="117" y="168"/>
                </a:cubicBezTo>
                <a:cubicBezTo>
                  <a:pt x="127" y="178"/>
                  <a:pt x="133" y="191"/>
                  <a:pt x="133" y="206"/>
                </a:cubicBezTo>
                <a:cubicBezTo>
                  <a:pt x="133" y="218"/>
                  <a:pt x="129" y="230"/>
                  <a:pt x="121" y="24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4" name="Group 21">
            <a:extLst>
              <a:ext uri="{FF2B5EF4-FFF2-40B4-BE49-F238E27FC236}">
                <a16:creationId xmlns:a16="http://schemas.microsoft.com/office/drawing/2014/main" id="{83314BE2-09D7-3675-B8D4-69437F3403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32214" y="4732350"/>
            <a:ext cx="527572" cy="476592"/>
            <a:chOff x="2585" y="673"/>
            <a:chExt cx="445" cy="402"/>
          </a:xfrm>
          <a:solidFill>
            <a:schemeClr val="tx2"/>
          </a:solidFill>
        </p:grpSpPr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C65732F3-5C0D-2E01-53C1-273690387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9" y="950"/>
              <a:ext cx="74" cy="71"/>
            </a:xfrm>
            <a:custGeom>
              <a:avLst/>
              <a:gdLst>
                <a:gd name="T0" fmla="*/ 24 w 48"/>
                <a:gd name="T1" fmla="*/ 0 h 48"/>
                <a:gd name="T2" fmla="*/ 0 w 48"/>
                <a:gd name="T3" fmla="*/ 24 h 48"/>
                <a:gd name="T4" fmla="*/ 24 w 48"/>
                <a:gd name="T5" fmla="*/ 48 h 48"/>
                <a:gd name="T6" fmla="*/ 48 w 48"/>
                <a:gd name="T7" fmla="*/ 24 h 48"/>
                <a:gd name="T8" fmla="*/ 24 w 48"/>
                <a:gd name="T9" fmla="*/ 0 h 48"/>
                <a:gd name="T10" fmla="*/ 24 w 48"/>
                <a:gd name="T11" fmla="*/ 36 h 48"/>
                <a:gd name="T12" fmla="*/ 12 w 48"/>
                <a:gd name="T13" fmla="*/ 24 h 48"/>
                <a:gd name="T14" fmla="*/ 24 w 48"/>
                <a:gd name="T15" fmla="*/ 12 h 48"/>
                <a:gd name="T16" fmla="*/ 36 w 48"/>
                <a:gd name="T17" fmla="*/ 24 h 48"/>
                <a:gd name="T18" fmla="*/ 24 w 48"/>
                <a:gd name="T1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37" y="48"/>
                    <a:pt x="48" y="37"/>
                    <a:pt x="48" y="24"/>
                  </a:cubicBezTo>
                  <a:cubicBezTo>
                    <a:pt x="48" y="11"/>
                    <a:pt x="37" y="0"/>
                    <a:pt x="24" y="0"/>
                  </a:cubicBezTo>
                  <a:close/>
                  <a:moveTo>
                    <a:pt x="24" y="36"/>
                  </a:moveTo>
                  <a:cubicBezTo>
                    <a:pt x="17" y="36"/>
                    <a:pt x="12" y="31"/>
                    <a:pt x="12" y="24"/>
                  </a:cubicBezTo>
                  <a:cubicBezTo>
                    <a:pt x="12" y="17"/>
                    <a:pt x="17" y="12"/>
                    <a:pt x="24" y="12"/>
                  </a:cubicBezTo>
                  <a:cubicBezTo>
                    <a:pt x="30" y="12"/>
                    <a:pt x="36" y="17"/>
                    <a:pt x="36" y="24"/>
                  </a:cubicBezTo>
                  <a:cubicBezTo>
                    <a:pt x="36" y="31"/>
                    <a:pt x="30" y="36"/>
                    <a:pt x="2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D98E892F-88E9-E9FC-482D-D8E8189C3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4" y="896"/>
              <a:ext cx="182" cy="179"/>
            </a:xfrm>
            <a:custGeom>
              <a:avLst/>
              <a:gdLst>
                <a:gd name="T0" fmla="*/ 118 w 119"/>
                <a:gd name="T1" fmla="*/ 41 h 120"/>
                <a:gd name="T2" fmla="*/ 98 w 119"/>
                <a:gd name="T3" fmla="*/ 17 h 120"/>
                <a:gd name="T4" fmla="*/ 76 w 119"/>
                <a:gd name="T5" fmla="*/ 16 h 120"/>
                <a:gd name="T6" fmla="*/ 70 w 119"/>
                <a:gd name="T7" fmla="*/ 0 h 120"/>
                <a:gd name="T8" fmla="*/ 40 w 119"/>
                <a:gd name="T9" fmla="*/ 6 h 120"/>
                <a:gd name="T10" fmla="*/ 29 w 119"/>
                <a:gd name="T11" fmla="*/ 22 h 120"/>
                <a:gd name="T12" fmla="*/ 17 w 119"/>
                <a:gd name="T13" fmla="*/ 17 h 120"/>
                <a:gd name="T14" fmla="*/ 2 w 119"/>
                <a:gd name="T15" fmla="*/ 41 h 120"/>
                <a:gd name="T16" fmla="*/ 12 w 119"/>
                <a:gd name="T17" fmla="*/ 53 h 120"/>
                <a:gd name="T18" fmla="*/ 12 w 119"/>
                <a:gd name="T19" fmla="*/ 67 h 120"/>
                <a:gd name="T20" fmla="*/ 2 w 119"/>
                <a:gd name="T21" fmla="*/ 80 h 120"/>
                <a:gd name="T22" fmla="*/ 18 w 119"/>
                <a:gd name="T23" fmla="*/ 103 h 120"/>
                <a:gd name="T24" fmla="*/ 29 w 119"/>
                <a:gd name="T25" fmla="*/ 98 h 120"/>
                <a:gd name="T26" fmla="*/ 40 w 119"/>
                <a:gd name="T27" fmla="*/ 114 h 120"/>
                <a:gd name="T28" fmla="*/ 70 w 119"/>
                <a:gd name="T29" fmla="*/ 120 h 120"/>
                <a:gd name="T30" fmla="*/ 76 w 119"/>
                <a:gd name="T31" fmla="*/ 104 h 120"/>
                <a:gd name="T32" fmla="*/ 97 w 119"/>
                <a:gd name="T33" fmla="*/ 103 h 120"/>
                <a:gd name="T34" fmla="*/ 117 w 119"/>
                <a:gd name="T35" fmla="*/ 80 h 120"/>
                <a:gd name="T36" fmla="*/ 115 w 119"/>
                <a:gd name="T37" fmla="*/ 71 h 120"/>
                <a:gd name="T38" fmla="*/ 108 w 119"/>
                <a:gd name="T39" fmla="*/ 60 h 120"/>
                <a:gd name="T40" fmla="*/ 115 w 119"/>
                <a:gd name="T41" fmla="*/ 49 h 120"/>
                <a:gd name="T42" fmla="*/ 95 w 119"/>
                <a:gd name="T43" fmla="*/ 52 h 120"/>
                <a:gd name="T44" fmla="*/ 95 w 119"/>
                <a:gd name="T45" fmla="*/ 68 h 120"/>
                <a:gd name="T46" fmla="*/ 104 w 119"/>
                <a:gd name="T47" fmla="*/ 79 h 120"/>
                <a:gd name="T48" fmla="*/ 90 w 119"/>
                <a:gd name="T49" fmla="*/ 85 h 120"/>
                <a:gd name="T50" fmla="*/ 68 w 119"/>
                <a:gd name="T51" fmla="*/ 95 h 120"/>
                <a:gd name="T52" fmla="*/ 64 w 119"/>
                <a:gd name="T53" fmla="*/ 108 h 120"/>
                <a:gd name="T54" fmla="*/ 52 w 119"/>
                <a:gd name="T55" fmla="*/ 100 h 120"/>
                <a:gd name="T56" fmla="*/ 34 w 119"/>
                <a:gd name="T57" fmla="*/ 86 h 120"/>
                <a:gd name="T58" fmla="*/ 21 w 119"/>
                <a:gd name="T59" fmla="*/ 89 h 120"/>
                <a:gd name="T60" fmla="*/ 22 w 119"/>
                <a:gd name="T61" fmla="*/ 75 h 120"/>
                <a:gd name="T62" fmla="*/ 24 w 119"/>
                <a:gd name="T63" fmla="*/ 60 h 120"/>
                <a:gd name="T64" fmla="*/ 22 w 119"/>
                <a:gd name="T65" fmla="*/ 45 h 120"/>
                <a:gd name="T66" fmla="*/ 21 w 119"/>
                <a:gd name="T67" fmla="*/ 31 h 120"/>
                <a:gd name="T68" fmla="*/ 34 w 119"/>
                <a:gd name="T69" fmla="*/ 34 h 120"/>
                <a:gd name="T70" fmla="*/ 52 w 119"/>
                <a:gd name="T71" fmla="*/ 20 h 120"/>
                <a:gd name="T72" fmla="*/ 64 w 119"/>
                <a:gd name="T73" fmla="*/ 12 h 120"/>
                <a:gd name="T74" fmla="*/ 68 w 119"/>
                <a:gd name="T75" fmla="*/ 26 h 120"/>
                <a:gd name="T76" fmla="*/ 90 w 119"/>
                <a:gd name="T77" fmla="*/ 35 h 120"/>
                <a:gd name="T78" fmla="*/ 104 w 119"/>
                <a:gd name="T79" fmla="*/ 41 h 120"/>
                <a:gd name="T80" fmla="*/ 95 w 119"/>
                <a:gd name="T81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118" y="45"/>
                  </a:moveTo>
                  <a:cubicBezTo>
                    <a:pt x="119" y="44"/>
                    <a:pt x="118" y="42"/>
                    <a:pt x="118" y="41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4" y="17"/>
                    <a:pt x="100" y="16"/>
                    <a:pt x="98" y="17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4" y="19"/>
                    <a:pt x="79" y="17"/>
                    <a:pt x="76" y="1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6" y="3"/>
                    <a:pt x="73" y="0"/>
                    <a:pt x="7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2" y="0"/>
                    <a:pt x="40" y="3"/>
                    <a:pt x="40" y="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6" y="17"/>
                    <a:pt x="33" y="20"/>
                    <a:pt x="29" y="22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0" y="17"/>
                    <a:pt x="19" y="17"/>
                    <a:pt x="17" y="17"/>
                  </a:cubicBezTo>
                  <a:cubicBezTo>
                    <a:pt x="15" y="17"/>
                    <a:pt x="14" y="18"/>
                    <a:pt x="13" y="2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0" y="43"/>
                    <a:pt x="1" y="47"/>
                    <a:pt x="4" y="49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6"/>
                    <a:pt x="12" y="58"/>
                    <a:pt x="12" y="60"/>
                  </a:cubicBezTo>
                  <a:cubicBezTo>
                    <a:pt x="12" y="62"/>
                    <a:pt x="12" y="64"/>
                    <a:pt x="12" y="67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" y="73"/>
                    <a:pt x="0" y="77"/>
                    <a:pt x="2" y="8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5" y="102"/>
                    <a:pt x="16" y="103"/>
                    <a:pt x="18" y="103"/>
                  </a:cubicBezTo>
                  <a:cubicBezTo>
                    <a:pt x="19" y="104"/>
                    <a:pt x="21" y="103"/>
                    <a:pt x="22" y="102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33" y="101"/>
                    <a:pt x="36" y="103"/>
                    <a:pt x="40" y="104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7"/>
                    <a:pt x="42" y="120"/>
                    <a:pt x="46" y="120"/>
                  </a:cubicBezTo>
                  <a:cubicBezTo>
                    <a:pt x="70" y="120"/>
                    <a:pt x="70" y="120"/>
                    <a:pt x="70" y="120"/>
                  </a:cubicBezTo>
                  <a:cubicBezTo>
                    <a:pt x="73" y="120"/>
                    <a:pt x="76" y="117"/>
                    <a:pt x="76" y="11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79" y="103"/>
                    <a:pt x="84" y="101"/>
                    <a:pt x="88" y="98"/>
                  </a:cubicBezTo>
                  <a:cubicBezTo>
                    <a:pt x="97" y="103"/>
                    <a:pt x="97" y="103"/>
                    <a:pt x="97" y="103"/>
                  </a:cubicBezTo>
                  <a:cubicBezTo>
                    <a:pt x="100" y="104"/>
                    <a:pt x="103" y="103"/>
                    <a:pt x="105" y="100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18" y="78"/>
                    <a:pt x="118" y="77"/>
                    <a:pt x="118" y="75"/>
                  </a:cubicBezTo>
                  <a:cubicBezTo>
                    <a:pt x="118" y="74"/>
                    <a:pt x="117" y="72"/>
                    <a:pt x="115" y="71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7" y="65"/>
                    <a:pt x="108" y="62"/>
                    <a:pt x="108" y="60"/>
                  </a:cubicBezTo>
                  <a:cubicBezTo>
                    <a:pt x="108" y="58"/>
                    <a:pt x="107" y="56"/>
                    <a:pt x="107" y="53"/>
                  </a:cubicBezTo>
                  <a:cubicBezTo>
                    <a:pt x="115" y="49"/>
                    <a:pt x="115" y="49"/>
                    <a:pt x="115" y="49"/>
                  </a:cubicBezTo>
                  <a:cubicBezTo>
                    <a:pt x="117" y="48"/>
                    <a:pt x="118" y="47"/>
                    <a:pt x="118" y="45"/>
                  </a:cubicBezTo>
                  <a:close/>
                  <a:moveTo>
                    <a:pt x="95" y="52"/>
                  </a:moveTo>
                  <a:cubicBezTo>
                    <a:pt x="95" y="55"/>
                    <a:pt x="96" y="57"/>
                    <a:pt x="96" y="60"/>
                  </a:cubicBezTo>
                  <a:cubicBezTo>
                    <a:pt x="96" y="63"/>
                    <a:pt x="95" y="65"/>
                    <a:pt x="95" y="68"/>
                  </a:cubicBezTo>
                  <a:cubicBezTo>
                    <a:pt x="94" y="71"/>
                    <a:pt x="95" y="74"/>
                    <a:pt x="97" y="75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8" y="84"/>
                    <a:pt x="85" y="84"/>
                    <a:pt x="83" y="86"/>
                  </a:cubicBezTo>
                  <a:cubicBezTo>
                    <a:pt x="80" y="89"/>
                    <a:pt x="74" y="93"/>
                    <a:pt x="68" y="95"/>
                  </a:cubicBezTo>
                  <a:cubicBezTo>
                    <a:pt x="65" y="95"/>
                    <a:pt x="64" y="98"/>
                    <a:pt x="64" y="100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98"/>
                    <a:pt x="50" y="95"/>
                    <a:pt x="48" y="95"/>
                  </a:cubicBezTo>
                  <a:cubicBezTo>
                    <a:pt x="43" y="93"/>
                    <a:pt x="38" y="90"/>
                    <a:pt x="34" y="86"/>
                  </a:cubicBezTo>
                  <a:cubicBezTo>
                    <a:pt x="32" y="84"/>
                    <a:pt x="29" y="84"/>
                    <a:pt x="27" y="85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4" y="74"/>
                    <a:pt x="25" y="71"/>
                    <a:pt x="25" y="68"/>
                  </a:cubicBezTo>
                  <a:cubicBezTo>
                    <a:pt x="24" y="65"/>
                    <a:pt x="24" y="63"/>
                    <a:pt x="24" y="60"/>
                  </a:cubicBezTo>
                  <a:cubicBezTo>
                    <a:pt x="24" y="57"/>
                    <a:pt x="24" y="54"/>
                    <a:pt x="25" y="52"/>
                  </a:cubicBezTo>
                  <a:cubicBezTo>
                    <a:pt x="25" y="49"/>
                    <a:pt x="24" y="47"/>
                    <a:pt x="22" y="4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9" y="36"/>
                    <a:pt x="32" y="36"/>
                    <a:pt x="34" y="34"/>
                  </a:cubicBezTo>
                  <a:cubicBezTo>
                    <a:pt x="38" y="30"/>
                    <a:pt x="43" y="27"/>
                    <a:pt x="48" y="26"/>
                  </a:cubicBezTo>
                  <a:cubicBezTo>
                    <a:pt x="50" y="25"/>
                    <a:pt x="52" y="23"/>
                    <a:pt x="52" y="2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3"/>
                    <a:pt x="65" y="25"/>
                    <a:pt x="68" y="26"/>
                  </a:cubicBezTo>
                  <a:cubicBezTo>
                    <a:pt x="74" y="28"/>
                    <a:pt x="80" y="31"/>
                    <a:pt x="83" y="34"/>
                  </a:cubicBezTo>
                  <a:cubicBezTo>
                    <a:pt x="85" y="36"/>
                    <a:pt x="88" y="36"/>
                    <a:pt x="90" y="35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5" y="47"/>
                    <a:pt x="94" y="49"/>
                    <a:pt x="9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2F2F96FF-25F7-C628-452B-6F981B594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4" y="673"/>
              <a:ext cx="296" cy="289"/>
            </a:xfrm>
            <a:custGeom>
              <a:avLst/>
              <a:gdLst>
                <a:gd name="T0" fmla="*/ 184 w 194"/>
                <a:gd name="T1" fmla="*/ 141 h 193"/>
                <a:gd name="T2" fmla="*/ 69 w 194"/>
                <a:gd name="T3" fmla="*/ 26 h 193"/>
                <a:gd name="T4" fmla="*/ 62 w 194"/>
                <a:gd name="T5" fmla="*/ 6 h 193"/>
                <a:gd name="T6" fmla="*/ 58 w 194"/>
                <a:gd name="T7" fmla="*/ 1 h 193"/>
                <a:gd name="T8" fmla="*/ 52 w 194"/>
                <a:gd name="T9" fmla="*/ 2 h 193"/>
                <a:gd name="T10" fmla="*/ 51 w 194"/>
                <a:gd name="T11" fmla="*/ 2 h 193"/>
                <a:gd name="T12" fmla="*/ 3 w 194"/>
                <a:gd name="T13" fmla="*/ 51 h 193"/>
                <a:gd name="T14" fmla="*/ 2 w 194"/>
                <a:gd name="T15" fmla="*/ 52 h 193"/>
                <a:gd name="T16" fmla="*/ 1 w 194"/>
                <a:gd name="T17" fmla="*/ 58 h 193"/>
                <a:gd name="T18" fmla="*/ 6 w 194"/>
                <a:gd name="T19" fmla="*/ 62 h 193"/>
                <a:gd name="T20" fmla="*/ 26 w 194"/>
                <a:gd name="T21" fmla="*/ 69 h 193"/>
                <a:gd name="T22" fmla="*/ 141 w 194"/>
                <a:gd name="T23" fmla="*/ 184 h 193"/>
                <a:gd name="T24" fmla="*/ 160 w 194"/>
                <a:gd name="T25" fmla="*/ 193 h 193"/>
                <a:gd name="T26" fmla="*/ 161 w 194"/>
                <a:gd name="T27" fmla="*/ 193 h 193"/>
                <a:gd name="T28" fmla="*/ 181 w 194"/>
                <a:gd name="T29" fmla="*/ 184 h 193"/>
                <a:gd name="T30" fmla="*/ 184 w 194"/>
                <a:gd name="T31" fmla="*/ 181 h 193"/>
                <a:gd name="T32" fmla="*/ 193 w 194"/>
                <a:gd name="T33" fmla="*/ 160 h 193"/>
                <a:gd name="T34" fmla="*/ 184 w 194"/>
                <a:gd name="T35" fmla="*/ 141 h 193"/>
                <a:gd name="T36" fmla="*/ 35 w 194"/>
                <a:gd name="T37" fmla="*/ 60 h 193"/>
                <a:gd name="T38" fmla="*/ 19 w 194"/>
                <a:gd name="T39" fmla="*/ 52 h 193"/>
                <a:gd name="T40" fmla="*/ 52 w 194"/>
                <a:gd name="T41" fmla="*/ 19 h 193"/>
                <a:gd name="T42" fmla="*/ 60 w 194"/>
                <a:gd name="T43" fmla="*/ 34 h 193"/>
                <a:gd name="T44" fmla="*/ 88 w 194"/>
                <a:gd name="T45" fmla="*/ 62 h 193"/>
                <a:gd name="T46" fmla="*/ 37 w 194"/>
                <a:gd name="T47" fmla="*/ 62 h 193"/>
                <a:gd name="T48" fmla="*/ 35 w 194"/>
                <a:gd name="T49" fmla="*/ 60 h 193"/>
                <a:gd name="T50" fmla="*/ 176 w 194"/>
                <a:gd name="T51" fmla="*/ 172 h 193"/>
                <a:gd name="T52" fmla="*/ 172 w 194"/>
                <a:gd name="T53" fmla="*/ 175 h 193"/>
                <a:gd name="T54" fmla="*/ 161 w 194"/>
                <a:gd name="T55" fmla="*/ 181 h 193"/>
                <a:gd name="T56" fmla="*/ 150 w 194"/>
                <a:gd name="T57" fmla="*/ 176 h 193"/>
                <a:gd name="T58" fmla="*/ 150 w 194"/>
                <a:gd name="T59" fmla="*/ 175 h 193"/>
                <a:gd name="T60" fmla="*/ 143 w 194"/>
                <a:gd name="T61" fmla="*/ 169 h 193"/>
                <a:gd name="T62" fmla="*/ 153 w 194"/>
                <a:gd name="T63" fmla="*/ 159 h 193"/>
                <a:gd name="T64" fmla="*/ 153 w 194"/>
                <a:gd name="T65" fmla="*/ 151 h 193"/>
                <a:gd name="T66" fmla="*/ 144 w 194"/>
                <a:gd name="T67" fmla="*/ 151 h 193"/>
                <a:gd name="T68" fmla="*/ 135 w 194"/>
                <a:gd name="T69" fmla="*/ 160 h 193"/>
                <a:gd name="T70" fmla="*/ 121 w 194"/>
                <a:gd name="T71" fmla="*/ 147 h 193"/>
                <a:gd name="T72" fmla="*/ 131 w 194"/>
                <a:gd name="T73" fmla="*/ 138 h 193"/>
                <a:gd name="T74" fmla="*/ 131 w 194"/>
                <a:gd name="T75" fmla="*/ 129 h 193"/>
                <a:gd name="T76" fmla="*/ 122 w 194"/>
                <a:gd name="T77" fmla="*/ 129 h 193"/>
                <a:gd name="T78" fmla="*/ 113 w 194"/>
                <a:gd name="T79" fmla="*/ 138 h 193"/>
                <a:gd name="T80" fmla="*/ 100 w 194"/>
                <a:gd name="T81" fmla="*/ 126 h 193"/>
                <a:gd name="T82" fmla="*/ 110 w 194"/>
                <a:gd name="T83" fmla="*/ 116 h 193"/>
                <a:gd name="T84" fmla="*/ 110 w 194"/>
                <a:gd name="T85" fmla="*/ 107 h 193"/>
                <a:gd name="T86" fmla="*/ 101 w 194"/>
                <a:gd name="T87" fmla="*/ 107 h 193"/>
                <a:gd name="T88" fmla="*/ 91 w 194"/>
                <a:gd name="T89" fmla="*/ 117 h 193"/>
                <a:gd name="T90" fmla="*/ 79 w 194"/>
                <a:gd name="T91" fmla="*/ 104 h 193"/>
                <a:gd name="T92" fmla="*/ 88 w 194"/>
                <a:gd name="T93" fmla="*/ 95 h 193"/>
                <a:gd name="T94" fmla="*/ 88 w 194"/>
                <a:gd name="T95" fmla="*/ 86 h 193"/>
                <a:gd name="T96" fmla="*/ 80 w 194"/>
                <a:gd name="T97" fmla="*/ 86 h 193"/>
                <a:gd name="T98" fmla="*/ 70 w 194"/>
                <a:gd name="T99" fmla="*/ 96 h 193"/>
                <a:gd name="T100" fmla="*/ 49 w 194"/>
                <a:gd name="T101" fmla="*/ 74 h 193"/>
                <a:gd name="T102" fmla="*/ 100 w 194"/>
                <a:gd name="T103" fmla="*/ 74 h 193"/>
                <a:gd name="T104" fmla="*/ 176 w 194"/>
                <a:gd name="T105" fmla="*/ 150 h 193"/>
                <a:gd name="T106" fmla="*/ 176 w 194"/>
                <a:gd name="T107" fmla="*/ 150 h 193"/>
                <a:gd name="T108" fmla="*/ 181 w 194"/>
                <a:gd name="T109" fmla="*/ 160 h 193"/>
                <a:gd name="T110" fmla="*/ 176 w 194"/>
                <a:gd name="T111" fmla="*/ 17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93">
                  <a:moveTo>
                    <a:pt x="184" y="141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5" y="22"/>
                    <a:pt x="63" y="11"/>
                    <a:pt x="62" y="6"/>
                  </a:cubicBezTo>
                  <a:cubicBezTo>
                    <a:pt x="62" y="4"/>
                    <a:pt x="60" y="1"/>
                    <a:pt x="58" y="1"/>
                  </a:cubicBezTo>
                  <a:cubicBezTo>
                    <a:pt x="56" y="0"/>
                    <a:pt x="53" y="0"/>
                    <a:pt x="52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3"/>
                    <a:pt x="0" y="56"/>
                    <a:pt x="1" y="58"/>
                  </a:cubicBezTo>
                  <a:cubicBezTo>
                    <a:pt x="2" y="60"/>
                    <a:pt x="4" y="62"/>
                    <a:pt x="6" y="62"/>
                  </a:cubicBezTo>
                  <a:cubicBezTo>
                    <a:pt x="11" y="63"/>
                    <a:pt x="22" y="65"/>
                    <a:pt x="26" y="69"/>
                  </a:cubicBezTo>
                  <a:cubicBezTo>
                    <a:pt x="141" y="184"/>
                    <a:pt x="141" y="184"/>
                    <a:pt x="141" y="184"/>
                  </a:cubicBezTo>
                  <a:cubicBezTo>
                    <a:pt x="142" y="186"/>
                    <a:pt x="150" y="193"/>
                    <a:pt x="160" y="193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68" y="193"/>
                    <a:pt x="175" y="190"/>
                    <a:pt x="181" y="184"/>
                  </a:cubicBezTo>
                  <a:cubicBezTo>
                    <a:pt x="184" y="181"/>
                    <a:pt x="184" y="181"/>
                    <a:pt x="184" y="181"/>
                  </a:cubicBezTo>
                  <a:cubicBezTo>
                    <a:pt x="191" y="174"/>
                    <a:pt x="194" y="167"/>
                    <a:pt x="193" y="160"/>
                  </a:cubicBezTo>
                  <a:cubicBezTo>
                    <a:pt x="193" y="149"/>
                    <a:pt x="186" y="142"/>
                    <a:pt x="184" y="141"/>
                  </a:cubicBezTo>
                  <a:close/>
                  <a:moveTo>
                    <a:pt x="35" y="60"/>
                  </a:moveTo>
                  <a:cubicBezTo>
                    <a:pt x="31" y="56"/>
                    <a:pt x="25" y="54"/>
                    <a:pt x="19" y="52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4" y="24"/>
                    <a:pt x="56" y="30"/>
                    <a:pt x="60" y="34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37" y="62"/>
                    <a:pt x="37" y="62"/>
                    <a:pt x="37" y="62"/>
                  </a:cubicBezTo>
                  <a:lnTo>
                    <a:pt x="35" y="60"/>
                  </a:lnTo>
                  <a:close/>
                  <a:moveTo>
                    <a:pt x="176" y="172"/>
                  </a:moveTo>
                  <a:cubicBezTo>
                    <a:pt x="172" y="175"/>
                    <a:pt x="172" y="175"/>
                    <a:pt x="172" y="175"/>
                  </a:cubicBezTo>
                  <a:cubicBezTo>
                    <a:pt x="168" y="179"/>
                    <a:pt x="164" y="181"/>
                    <a:pt x="161" y="181"/>
                  </a:cubicBezTo>
                  <a:cubicBezTo>
                    <a:pt x="155" y="181"/>
                    <a:pt x="150" y="176"/>
                    <a:pt x="150" y="176"/>
                  </a:cubicBezTo>
                  <a:cubicBezTo>
                    <a:pt x="150" y="176"/>
                    <a:pt x="150" y="175"/>
                    <a:pt x="150" y="175"/>
                  </a:cubicBezTo>
                  <a:cubicBezTo>
                    <a:pt x="143" y="169"/>
                    <a:pt x="143" y="169"/>
                    <a:pt x="143" y="169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7"/>
                    <a:pt x="155" y="153"/>
                    <a:pt x="153" y="151"/>
                  </a:cubicBezTo>
                  <a:cubicBezTo>
                    <a:pt x="150" y="148"/>
                    <a:pt x="146" y="148"/>
                    <a:pt x="144" y="151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21" y="147"/>
                    <a:pt x="121" y="147"/>
                    <a:pt x="121" y="147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3" y="135"/>
                    <a:pt x="133" y="131"/>
                    <a:pt x="131" y="129"/>
                  </a:cubicBezTo>
                  <a:cubicBezTo>
                    <a:pt x="128" y="126"/>
                    <a:pt x="125" y="126"/>
                    <a:pt x="122" y="129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10" y="116"/>
                    <a:pt x="110" y="116"/>
                    <a:pt x="110" y="116"/>
                  </a:cubicBezTo>
                  <a:cubicBezTo>
                    <a:pt x="112" y="114"/>
                    <a:pt x="112" y="110"/>
                    <a:pt x="110" y="107"/>
                  </a:cubicBezTo>
                  <a:cubicBezTo>
                    <a:pt x="107" y="105"/>
                    <a:pt x="103" y="105"/>
                    <a:pt x="101" y="107"/>
                  </a:cubicBezTo>
                  <a:cubicBezTo>
                    <a:pt x="91" y="117"/>
                    <a:pt x="91" y="117"/>
                    <a:pt x="91" y="117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91" y="93"/>
                    <a:pt x="91" y="89"/>
                    <a:pt x="88" y="86"/>
                  </a:cubicBezTo>
                  <a:cubicBezTo>
                    <a:pt x="86" y="84"/>
                    <a:pt x="82" y="84"/>
                    <a:pt x="80" y="8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76" y="150"/>
                    <a:pt x="176" y="150"/>
                    <a:pt x="176" y="150"/>
                  </a:cubicBezTo>
                  <a:cubicBezTo>
                    <a:pt x="176" y="150"/>
                    <a:pt x="176" y="150"/>
                    <a:pt x="176" y="150"/>
                  </a:cubicBezTo>
                  <a:cubicBezTo>
                    <a:pt x="176" y="150"/>
                    <a:pt x="181" y="155"/>
                    <a:pt x="181" y="160"/>
                  </a:cubicBezTo>
                  <a:cubicBezTo>
                    <a:pt x="181" y="164"/>
                    <a:pt x="179" y="168"/>
                    <a:pt x="176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35E4DFAA-8B6C-07CE-9F06-8E3B83C77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806"/>
              <a:ext cx="185" cy="263"/>
            </a:xfrm>
            <a:custGeom>
              <a:avLst/>
              <a:gdLst>
                <a:gd name="T0" fmla="*/ 117 w 121"/>
                <a:gd name="T1" fmla="*/ 57 h 176"/>
                <a:gd name="T2" fmla="*/ 104 w 121"/>
                <a:gd name="T3" fmla="*/ 51 h 176"/>
                <a:gd name="T4" fmla="*/ 109 w 121"/>
                <a:gd name="T5" fmla="*/ 11 h 176"/>
                <a:gd name="T6" fmla="*/ 114 w 121"/>
                <a:gd name="T7" fmla="*/ 6 h 176"/>
                <a:gd name="T8" fmla="*/ 108 w 121"/>
                <a:gd name="T9" fmla="*/ 0 h 176"/>
                <a:gd name="T10" fmla="*/ 43 w 121"/>
                <a:gd name="T11" fmla="*/ 0 h 176"/>
                <a:gd name="T12" fmla="*/ 37 w 121"/>
                <a:gd name="T13" fmla="*/ 6 h 176"/>
                <a:gd name="T14" fmla="*/ 38 w 121"/>
                <a:gd name="T15" fmla="*/ 7 h 176"/>
                <a:gd name="T16" fmla="*/ 38 w 121"/>
                <a:gd name="T17" fmla="*/ 7 h 176"/>
                <a:gd name="T18" fmla="*/ 39 w 121"/>
                <a:gd name="T19" fmla="*/ 9 h 176"/>
                <a:gd name="T20" fmla="*/ 39 w 121"/>
                <a:gd name="T21" fmla="*/ 9 h 176"/>
                <a:gd name="T22" fmla="*/ 40 w 121"/>
                <a:gd name="T23" fmla="*/ 10 h 176"/>
                <a:gd name="T24" fmla="*/ 40 w 121"/>
                <a:gd name="T25" fmla="*/ 10 h 176"/>
                <a:gd name="T26" fmla="*/ 41 w 121"/>
                <a:gd name="T27" fmla="*/ 11 h 176"/>
                <a:gd name="T28" fmla="*/ 41 w 121"/>
                <a:gd name="T29" fmla="*/ 11 h 176"/>
                <a:gd name="T30" fmla="*/ 45 w 121"/>
                <a:gd name="T31" fmla="*/ 49 h 176"/>
                <a:gd name="T32" fmla="*/ 0 w 121"/>
                <a:gd name="T33" fmla="*/ 114 h 176"/>
                <a:gd name="T34" fmla="*/ 55 w 121"/>
                <a:gd name="T35" fmla="*/ 176 h 176"/>
                <a:gd name="T36" fmla="*/ 56 w 121"/>
                <a:gd name="T37" fmla="*/ 176 h 176"/>
                <a:gd name="T38" fmla="*/ 92 w 121"/>
                <a:gd name="T39" fmla="*/ 176 h 176"/>
                <a:gd name="T40" fmla="*/ 98 w 121"/>
                <a:gd name="T41" fmla="*/ 170 h 176"/>
                <a:gd name="T42" fmla="*/ 92 w 121"/>
                <a:gd name="T43" fmla="*/ 165 h 176"/>
                <a:gd name="T44" fmla="*/ 56 w 121"/>
                <a:gd name="T45" fmla="*/ 165 h 176"/>
                <a:gd name="T46" fmla="*/ 12 w 121"/>
                <a:gd name="T47" fmla="*/ 120 h 176"/>
                <a:gd name="T48" fmla="*/ 79 w 121"/>
                <a:gd name="T49" fmla="*/ 120 h 176"/>
                <a:gd name="T50" fmla="*/ 85 w 121"/>
                <a:gd name="T51" fmla="*/ 114 h 176"/>
                <a:gd name="T52" fmla="*/ 79 w 121"/>
                <a:gd name="T53" fmla="*/ 108 h 176"/>
                <a:gd name="T54" fmla="*/ 12 w 121"/>
                <a:gd name="T55" fmla="*/ 108 h 176"/>
                <a:gd name="T56" fmla="*/ 52 w 121"/>
                <a:gd name="T57" fmla="*/ 60 h 176"/>
                <a:gd name="T58" fmla="*/ 57 w 121"/>
                <a:gd name="T59" fmla="*/ 54 h 176"/>
                <a:gd name="T60" fmla="*/ 53 w 121"/>
                <a:gd name="T61" fmla="*/ 11 h 176"/>
                <a:gd name="T62" fmla="*/ 96 w 121"/>
                <a:gd name="T63" fmla="*/ 11 h 176"/>
                <a:gd name="T64" fmla="*/ 92 w 121"/>
                <a:gd name="T65" fmla="*/ 54 h 176"/>
                <a:gd name="T66" fmla="*/ 92 w 121"/>
                <a:gd name="T67" fmla="*/ 54 h 176"/>
                <a:gd name="T68" fmla="*/ 92 w 121"/>
                <a:gd name="T69" fmla="*/ 55 h 176"/>
                <a:gd name="T70" fmla="*/ 96 w 121"/>
                <a:gd name="T71" fmla="*/ 60 h 176"/>
                <a:gd name="T72" fmla="*/ 96 w 121"/>
                <a:gd name="T73" fmla="*/ 61 h 176"/>
                <a:gd name="T74" fmla="*/ 111 w 121"/>
                <a:gd name="T75" fmla="*/ 67 h 176"/>
                <a:gd name="T76" fmla="*/ 114 w 121"/>
                <a:gd name="T77" fmla="*/ 68 h 176"/>
                <a:gd name="T78" fmla="*/ 119 w 121"/>
                <a:gd name="T79" fmla="*/ 66 h 176"/>
                <a:gd name="T80" fmla="*/ 117 w 121"/>
                <a:gd name="T81" fmla="*/ 5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1" h="176">
                  <a:moveTo>
                    <a:pt x="117" y="57"/>
                  </a:moveTo>
                  <a:cubicBezTo>
                    <a:pt x="113" y="54"/>
                    <a:pt x="108" y="52"/>
                    <a:pt x="104" y="51"/>
                  </a:cubicBezTo>
                  <a:cubicBezTo>
                    <a:pt x="104" y="34"/>
                    <a:pt x="106" y="16"/>
                    <a:pt x="109" y="11"/>
                  </a:cubicBezTo>
                  <a:cubicBezTo>
                    <a:pt x="112" y="11"/>
                    <a:pt x="114" y="8"/>
                    <a:pt x="114" y="6"/>
                  </a:cubicBezTo>
                  <a:cubicBezTo>
                    <a:pt x="114" y="2"/>
                    <a:pt x="111" y="0"/>
                    <a:pt x="108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0" y="0"/>
                    <a:pt x="37" y="2"/>
                    <a:pt x="37" y="6"/>
                  </a:cubicBezTo>
                  <a:cubicBezTo>
                    <a:pt x="37" y="6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9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3" y="16"/>
                    <a:pt x="45" y="33"/>
                    <a:pt x="45" y="49"/>
                  </a:cubicBezTo>
                  <a:cubicBezTo>
                    <a:pt x="32" y="53"/>
                    <a:pt x="0" y="67"/>
                    <a:pt x="0" y="114"/>
                  </a:cubicBezTo>
                  <a:cubicBezTo>
                    <a:pt x="0" y="172"/>
                    <a:pt x="55" y="176"/>
                    <a:pt x="55" y="176"/>
                  </a:cubicBezTo>
                  <a:cubicBezTo>
                    <a:pt x="55" y="176"/>
                    <a:pt x="55" y="176"/>
                    <a:pt x="56" y="176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5" y="176"/>
                    <a:pt x="98" y="174"/>
                    <a:pt x="98" y="170"/>
                  </a:cubicBezTo>
                  <a:cubicBezTo>
                    <a:pt x="98" y="167"/>
                    <a:pt x="95" y="165"/>
                    <a:pt x="92" y="165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2" y="164"/>
                    <a:pt x="15" y="160"/>
                    <a:pt x="12" y="120"/>
                  </a:cubicBezTo>
                  <a:cubicBezTo>
                    <a:pt x="79" y="120"/>
                    <a:pt x="79" y="120"/>
                    <a:pt x="79" y="120"/>
                  </a:cubicBezTo>
                  <a:cubicBezTo>
                    <a:pt x="82" y="120"/>
                    <a:pt x="85" y="117"/>
                    <a:pt x="85" y="114"/>
                  </a:cubicBezTo>
                  <a:cubicBezTo>
                    <a:pt x="85" y="111"/>
                    <a:pt x="82" y="108"/>
                    <a:pt x="79" y="108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5" y="66"/>
                    <a:pt x="50" y="60"/>
                    <a:pt x="52" y="60"/>
                  </a:cubicBezTo>
                  <a:cubicBezTo>
                    <a:pt x="55" y="59"/>
                    <a:pt x="57" y="57"/>
                    <a:pt x="57" y="54"/>
                  </a:cubicBezTo>
                  <a:cubicBezTo>
                    <a:pt x="57" y="42"/>
                    <a:pt x="57" y="23"/>
                    <a:pt x="53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4" y="19"/>
                    <a:pt x="92" y="32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2" y="57"/>
                    <a:pt x="94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9" y="61"/>
                    <a:pt x="106" y="64"/>
                    <a:pt x="111" y="67"/>
                  </a:cubicBezTo>
                  <a:cubicBezTo>
                    <a:pt x="112" y="68"/>
                    <a:pt x="113" y="68"/>
                    <a:pt x="114" y="68"/>
                  </a:cubicBezTo>
                  <a:cubicBezTo>
                    <a:pt x="116" y="68"/>
                    <a:pt x="118" y="67"/>
                    <a:pt x="119" y="66"/>
                  </a:cubicBezTo>
                  <a:cubicBezTo>
                    <a:pt x="121" y="63"/>
                    <a:pt x="120" y="59"/>
                    <a:pt x="11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9" name="Group 4">
            <a:extLst>
              <a:ext uri="{FF2B5EF4-FFF2-40B4-BE49-F238E27FC236}">
                <a16:creationId xmlns:a16="http://schemas.microsoft.com/office/drawing/2014/main" id="{3A137CCD-22D3-729F-4B7E-4A7D1D8BE9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04181" y="3891514"/>
            <a:ext cx="530506" cy="494170"/>
            <a:chOff x="5704" y="1481"/>
            <a:chExt cx="438" cy="408"/>
          </a:xfrm>
          <a:solidFill>
            <a:schemeClr val="tx2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57EC70D0-9CDF-F05F-93F8-E254860C7A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9" y="1520"/>
              <a:ext cx="109" cy="99"/>
            </a:xfrm>
            <a:custGeom>
              <a:avLst/>
              <a:gdLst>
                <a:gd name="T0" fmla="*/ 74 w 80"/>
                <a:gd name="T1" fmla="*/ 72 h 72"/>
                <a:gd name="T2" fmla="*/ 80 w 80"/>
                <a:gd name="T3" fmla="*/ 66 h 72"/>
                <a:gd name="T4" fmla="*/ 80 w 80"/>
                <a:gd name="T5" fmla="*/ 6 h 72"/>
                <a:gd name="T6" fmla="*/ 74 w 80"/>
                <a:gd name="T7" fmla="*/ 0 h 72"/>
                <a:gd name="T8" fmla="*/ 51 w 80"/>
                <a:gd name="T9" fmla="*/ 0 h 72"/>
                <a:gd name="T10" fmla="*/ 29 w 80"/>
                <a:gd name="T11" fmla="*/ 0 h 72"/>
                <a:gd name="T12" fmla="*/ 6 w 80"/>
                <a:gd name="T13" fmla="*/ 0 h 72"/>
                <a:gd name="T14" fmla="*/ 0 w 80"/>
                <a:gd name="T15" fmla="*/ 6 h 72"/>
                <a:gd name="T16" fmla="*/ 0 w 80"/>
                <a:gd name="T17" fmla="*/ 66 h 72"/>
                <a:gd name="T18" fmla="*/ 6 w 80"/>
                <a:gd name="T19" fmla="*/ 72 h 72"/>
                <a:gd name="T20" fmla="*/ 74 w 80"/>
                <a:gd name="T21" fmla="*/ 72 h 72"/>
                <a:gd name="T22" fmla="*/ 45 w 80"/>
                <a:gd name="T23" fmla="*/ 12 h 72"/>
                <a:gd name="T24" fmla="*/ 45 w 80"/>
                <a:gd name="T25" fmla="*/ 31 h 72"/>
                <a:gd name="T26" fmla="*/ 35 w 80"/>
                <a:gd name="T27" fmla="*/ 31 h 72"/>
                <a:gd name="T28" fmla="*/ 35 w 80"/>
                <a:gd name="T29" fmla="*/ 12 h 72"/>
                <a:gd name="T30" fmla="*/ 45 w 80"/>
                <a:gd name="T31" fmla="*/ 12 h 72"/>
                <a:gd name="T32" fmla="*/ 12 w 80"/>
                <a:gd name="T33" fmla="*/ 12 h 72"/>
                <a:gd name="T34" fmla="*/ 23 w 80"/>
                <a:gd name="T35" fmla="*/ 12 h 72"/>
                <a:gd name="T36" fmla="*/ 23 w 80"/>
                <a:gd name="T37" fmla="*/ 37 h 72"/>
                <a:gd name="T38" fmla="*/ 29 w 80"/>
                <a:gd name="T39" fmla="*/ 43 h 72"/>
                <a:gd name="T40" fmla="*/ 51 w 80"/>
                <a:gd name="T41" fmla="*/ 43 h 72"/>
                <a:gd name="T42" fmla="*/ 57 w 80"/>
                <a:gd name="T43" fmla="*/ 37 h 72"/>
                <a:gd name="T44" fmla="*/ 57 w 80"/>
                <a:gd name="T45" fmla="*/ 12 h 72"/>
                <a:gd name="T46" fmla="*/ 68 w 80"/>
                <a:gd name="T47" fmla="*/ 12 h 72"/>
                <a:gd name="T48" fmla="*/ 68 w 80"/>
                <a:gd name="T49" fmla="*/ 60 h 72"/>
                <a:gd name="T50" fmla="*/ 12 w 80"/>
                <a:gd name="T51" fmla="*/ 60 h 72"/>
                <a:gd name="T52" fmla="*/ 12 w 80"/>
                <a:gd name="T53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0" h="72">
                  <a:moveTo>
                    <a:pt x="74" y="72"/>
                  </a:moveTo>
                  <a:cubicBezTo>
                    <a:pt x="77" y="72"/>
                    <a:pt x="80" y="69"/>
                    <a:pt x="80" y="6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3"/>
                    <a:pt x="77" y="0"/>
                    <a:pt x="7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9"/>
                    <a:pt x="3" y="72"/>
                    <a:pt x="6" y="72"/>
                  </a:cubicBezTo>
                  <a:lnTo>
                    <a:pt x="74" y="72"/>
                  </a:lnTo>
                  <a:close/>
                  <a:moveTo>
                    <a:pt x="45" y="12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45" y="12"/>
                  </a:lnTo>
                  <a:close/>
                  <a:moveTo>
                    <a:pt x="12" y="12"/>
                  </a:moveTo>
                  <a:cubicBezTo>
                    <a:pt x="23" y="12"/>
                    <a:pt x="23" y="12"/>
                    <a:pt x="23" y="12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40"/>
                    <a:pt x="26" y="43"/>
                    <a:pt x="29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4" y="43"/>
                    <a:pt x="57" y="40"/>
                    <a:pt x="57" y="37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12" y="60"/>
                    <a:pt x="12" y="60"/>
                    <a:pt x="12" y="60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346E8A01-6746-C1A7-9BB6-849579602A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6" y="1481"/>
              <a:ext cx="175" cy="176"/>
            </a:xfrm>
            <a:custGeom>
              <a:avLst/>
              <a:gdLst>
                <a:gd name="T0" fmla="*/ 64 w 128"/>
                <a:gd name="T1" fmla="*/ 128 h 128"/>
                <a:gd name="T2" fmla="*/ 128 w 128"/>
                <a:gd name="T3" fmla="*/ 64 h 128"/>
                <a:gd name="T4" fmla="*/ 64 w 128"/>
                <a:gd name="T5" fmla="*/ 0 h 128"/>
                <a:gd name="T6" fmla="*/ 0 w 128"/>
                <a:gd name="T7" fmla="*/ 64 h 128"/>
                <a:gd name="T8" fmla="*/ 64 w 128"/>
                <a:gd name="T9" fmla="*/ 128 h 128"/>
                <a:gd name="T10" fmla="*/ 64 w 128"/>
                <a:gd name="T11" fmla="*/ 12 h 128"/>
                <a:gd name="T12" fmla="*/ 116 w 128"/>
                <a:gd name="T13" fmla="*/ 64 h 128"/>
                <a:gd name="T14" fmla="*/ 64 w 128"/>
                <a:gd name="T15" fmla="*/ 116 h 128"/>
                <a:gd name="T16" fmla="*/ 12 w 128"/>
                <a:gd name="T17" fmla="*/ 64 h 128"/>
                <a:gd name="T18" fmla="*/ 64 w 128"/>
                <a:gd name="T19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lose/>
                  <a:moveTo>
                    <a:pt x="64" y="12"/>
                  </a:moveTo>
                  <a:cubicBezTo>
                    <a:pt x="93" y="12"/>
                    <a:pt x="116" y="35"/>
                    <a:pt x="116" y="64"/>
                  </a:cubicBezTo>
                  <a:cubicBezTo>
                    <a:pt x="116" y="93"/>
                    <a:pt x="93" y="116"/>
                    <a:pt x="64" y="116"/>
                  </a:cubicBezTo>
                  <a:cubicBezTo>
                    <a:pt x="35" y="116"/>
                    <a:pt x="12" y="93"/>
                    <a:pt x="12" y="64"/>
                  </a:cubicBezTo>
                  <a:cubicBezTo>
                    <a:pt x="12" y="35"/>
                    <a:pt x="35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2" name="Freeform 7">
              <a:extLst>
                <a:ext uri="{FF2B5EF4-FFF2-40B4-BE49-F238E27FC236}">
                  <a16:creationId xmlns:a16="http://schemas.microsoft.com/office/drawing/2014/main" id="{1D88A50E-3BBD-E5F0-B375-AA7E5B9D28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4" y="1759"/>
              <a:ext cx="114" cy="95"/>
            </a:xfrm>
            <a:custGeom>
              <a:avLst/>
              <a:gdLst>
                <a:gd name="T0" fmla="*/ 24 w 84"/>
                <a:gd name="T1" fmla="*/ 11 h 69"/>
                <a:gd name="T2" fmla="*/ 23 w 84"/>
                <a:gd name="T3" fmla="*/ 5 h 69"/>
                <a:gd name="T4" fmla="*/ 23 w 84"/>
                <a:gd name="T5" fmla="*/ 4 h 69"/>
                <a:gd name="T6" fmla="*/ 22 w 84"/>
                <a:gd name="T7" fmla="*/ 4 h 69"/>
                <a:gd name="T8" fmla="*/ 22 w 84"/>
                <a:gd name="T9" fmla="*/ 3 h 69"/>
                <a:gd name="T10" fmla="*/ 22 w 84"/>
                <a:gd name="T11" fmla="*/ 3 h 69"/>
                <a:gd name="T12" fmla="*/ 21 w 84"/>
                <a:gd name="T13" fmla="*/ 2 h 69"/>
                <a:gd name="T14" fmla="*/ 21 w 84"/>
                <a:gd name="T15" fmla="*/ 2 h 69"/>
                <a:gd name="T16" fmla="*/ 21 w 84"/>
                <a:gd name="T17" fmla="*/ 2 h 69"/>
                <a:gd name="T18" fmla="*/ 20 w 84"/>
                <a:gd name="T19" fmla="*/ 1 h 69"/>
                <a:gd name="T20" fmla="*/ 20 w 84"/>
                <a:gd name="T21" fmla="*/ 1 h 69"/>
                <a:gd name="T22" fmla="*/ 19 w 84"/>
                <a:gd name="T23" fmla="*/ 1 h 69"/>
                <a:gd name="T24" fmla="*/ 18 w 84"/>
                <a:gd name="T25" fmla="*/ 0 h 69"/>
                <a:gd name="T26" fmla="*/ 18 w 84"/>
                <a:gd name="T27" fmla="*/ 0 h 69"/>
                <a:gd name="T28" fmla="*/ 17 w 84"/>
                <a:gd name="T29" fmla="*/ 0 h 69"/>
                <a:gd name="T30" fmla="*/ 17 w 84"/>
                <a:gd name="T31" fmla="*/ 0 h 69"/>
                <a:gd name="T32" fmla="*/ 17 w 84"/>
                <a:gd name="T33" fmla="*/ 0 h 69"/>
                <a:gd name="T34" fmla="*/ 17 w 84"/>
                <a:gd name="T35" fmla="*/ 0 h 69"/>
                <a:gd name="T36" fmla="*/ 6 w 84"/>
                <a:gd name="T37" fmla="*/ 0 h 69"/>
                <a:gd name="T38" fmla="*/ 0 w 84"/>
                <a:gd name="T39" fmla="*/ 6 h 69"/>
                <a:gd name="T40" fmla="*/ 6 w 84"/>
                <a:gd name="T41" fmla="*/ 12 h 69"/>
                <a:gd name="T42" fmla="*/ 12 w 84"/>
                <a:gd name="T43" fmla="*/ 12 h 69"/>
                <a:gd name="T44" fmla="*/ 22 w 84"/>
                <a:gd name="T45" fmla="*/ 56 h 69"/>
                <a:gd name="T46" fmla="*/ 21 w 84"/>
                <a:gd name="T47" fmla="*/ 61 h 69"/>
                <a:gd name="T48" fmla="*/ 29 w 84"/>
                <a:gd name="T49" fmla="*/ 69 h 69"/>
                <a:gd name="T50" fmla="*/ 36 w 84"/>
                <a:gd name="T51" fmla="*/ 66 h 69"/>
                <a:gd name="T52" fmla="*/ 61 w 84"/>
                <a:gd name="T53" fmla="*/ 66 h 69"/>
                <a:gd name="T54" fmla="*/ 67 w 84"/>
                <a:gd name="T55" fmla="*/ 69 h 69"/>
                <a:gd name="T56" fmla="*/ 76 w 84"/>
                <a:gd name="T57" fmla="*/ 61 h 69"/>
                <a:gd name="T58" fmla="*/ 67 w 84"/>
                <a:gd name="T59" fmla="*/ 52 h 69"/>
                <a:gd name="T60" fmla="*/ 63 w 84"/>
                <a:gd name="T61" fmla="*/ 54 h 69"/>
                <a:gd name="T62" fmla="*/ 34 w 84"/>
                <a:gd name="T63" fmla="*/ 54 h 69"/>
                <a:gd name="T64" fmla="*/ 34 w 84"/>
                <a:gd name="T65" fmla="*/ 51 h 69"/>
                <a:gd name="T66" fmla="*/ 69 w 84"/>
                <a:gd name="T67" fmla="*/ 51 h 69"/>
                <a:gd name="T68" fmla="*/ 74 w 84"/>
                <a:gd name="T69" fmla="*/ 47 h 69"/>
                <a:gd name="T70" fmla="*/ 84 w 84"/>
                <a:gd name="T71" fmla="*/ 19 h 69"/>
                <a:gd name="T72" fmla="*/ 83 w 84"/>
                <a:gd name="T73" fmla="*/ 13 h 69"/>
                <a:gd name="T74" fmla="*/ 78 w 84"/>
                <a:gd name="T75" fmla="*/ 11 h 69"/>
                <a:gd name="T76" fmla="*/ 24 w 84"/>
                <a:gd name="T77" fmla="*/ 11 h 69"/>
                <a:gd name="T78" fmla="*/ 64 w 84"/>
                <a:gd name="T79" fmla="*/ 39 h 69"/>
                <a:gd name="T80" fmla="*/ 31 w 84"/>
                <a:gd name="T81" fmla="*/ 39 h 69"/>
                <a:gd name="T82" fmla="*/ 27 w 84"/>
                <a:gd name="T83" fmla="*/ 23 h 69"/>
                <a:gd name="T84" fmla="*/ 70 w 84"/>
                <a:gd name="T85" fmla="*/ 23 h 69"/>
                <a:gd name="T86" fmla="*/ 64 w 84"/>
                <a:gd name="T87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4" h="69">
                  <a:moveTo>
                    <a:pt x="24" y="11"/>
                  </a:move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1" y="57"/>
                    <a:pt x="21" y="59"/>
                    <a:pt x="21" y="61"/>
                  </a:cubicBezTo>
                  <a:cubicBezTo>
                    <a:pt x="21" y="65"/>
                    <a:pt x="24" y="69"/>
                    <a:pt x="29" y="69"/>
                  </a:cubicBezTo>
                  <a:cubicBezTo>
                    <a:pt x="32" y="69"/>
                    <a:pt x="34" y="68"/>
                    <a:pt x="36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8"/>
                    <a:pt x="65" y="69"/>
                    <a:pt x="67" y="69"/>
                  </a:cubicBezTo>
                  <a:cubicBezTo>
                    <a:pt x="72" y="69"/>
                    <a:pt x="76" y="65"/>
                    <a:pt x="76" y="61"/>
                  </a:cubicBezTo>
                  <a:cubicBezTo>
                    <a:pt x="76" y="56"/>
                    <a:pt x="72" y="52"/>
                    <a:pt x="67" y="52"/>
                  </a:cubicBezTo>
                  <a:cubicBezTo>
                    <a:pt x="66" y="52"/>
                    <a:pt x="64" y="53"/>
                    <a:pt x="63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71" y="51"/>
                    <a:pt x="74" y="50"/>
                    <a:pt x="74" y="47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84" y="17"/>
                    <a:pt x="84" y="15"/>
                    <a:pt x="83" y="13"/>
                  </a:cubicBezTo>
                  <a:cubicBezTo>
                    <a:pt x="82" y="12"/>
                    <a:pt x="80" y="11"/>
                    <a:pt x="78" y="11"/>
                  </a:cubicBezTo>
                  <a:lnTo>
                    <a:pt x="24" y="11"/>
                  </a:lnTo>
                  <a:close/>
                  <a:moveTo>
                    <a:pt x="64" y="39"/>
                  </a:moveTo>
                  <a:cubicBezTo>
                    <a:pt x="31" y="39"/>
                    <a:pt x="31" y="39"/>
                    <a:pt x="31" y="39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70" y="23"/>
                    <a:pt x="70" y="23"/>
                    <a:pt x="70" y="23"/>
                  </a:cubicBezTo>
                  <a:lnTo>
                    <a:pt x="64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3" name="Freeform 8">
              <a:extLst>
                <a:ext uri="{FF2B5EF4-FFF2-40B4-BE49-F238E27FC236}">
                  <a16:creationId xmlns:a16="http://schemas.microsoft.com/office/drawing/2014/main" id="{048BBA46-04F4-30BC-E920-A2E3C630A3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4" y="1714"/>
              <a:ext cx="174" cy="175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16 h 128"/>
                <a:gd name="T12" fmla="*/ 12 w 128"/>
                <a:gd name="T13" fmla="*/ 64 h 128"/>
                <a:gd name="T14" fmla="*/ 64 w 128"/>
                <a:gd name="T15" fmla="*/ 12 h 128"/>
                <a:gd name="T16" fmla="*/ 116 w 128"/>
                <a:gd name="T17" fmla="*/ 64 h 128"/>
                <a:gd name="T18" fmla="*/ 64 w 128"/>
                <a:gd name="T19" fmla="*/ 1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64" y="116"/>
                  </a:moveTo>
                  <a:cubicBezTo>
                    <a:pt x="35" y="116"/>
                    <a:pt x="12" y="93"/>
                    <a:pt x="12" y="64"/>
                  </a:cubicBezTo>
                  <a:cubicBezTo>
                    <a:pt x="12" y="35"/>
                    <a:pt x="35" y="12"/>
                    <a:pt x="64" y="12"/>
                  </a:cubicBezTo>
                  <a:cubicBezTo>
                    <a:pt x="93" y="12"/>
                    <a:pt x="116" y="35"/>
                    <a:pt x="116" y="64"/>
                  </a:cubicBezTo>
                  <a:cubicBezTo>
                    <a:pt x="116" y="93"/>
                    <a:pt x="93" y="116"/>
                    <a:pt x="64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5" name="Freeform 9">
              <a:extLst>
                <a:ext uri="{FF2B5EF4-FFF2-40B4-BE49-F238E27FC236}">
                  <a16:creationId xmlns:a16="http://schemas.microsoft.com/office/drawing/2014/main" id="{455771D2-685A-F4D5-677B-06E7F00CF2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7" y="1714"/>
              <a:ext cx="175" cy="175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16 h 128"/>
                <a:gd name="T12" fmla="*/ 12 w 128"/>
                <a:gd name="T13" fmla="*/ 64 h 128"/>
                <a:gd name="T14" fmla="*/ 64 w 128"/>
                <a:gd name="T15" fmla="*/ 12 h 128"/>
                <a:gd name="T16" fmla="*/ 116 w 128"/>
                <a:gd name="T17" fmla="*/ 64 h 128"/>
                <a:gd name="T18" fmla="*/ 64 w 128"/>
                <a:gd name="T19" fmla="*/ 1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64" y="116"/>
                  </a:moveTo>
                  <a:cubicBezTo>
                    <a:pt x="35" y="116"/>
                    <a:pt x="12" y="93"/>
                    <a:pt x="12" y="64"/>
                  </a:cubicBezTo>
                  <a:cubicBezTo>
                    <a:pt x="12" y="35"/>
                    <a:pt x="35" y="12"/>
                    <a:pt x="64" y="12"/>
                  </a:cubicBezTo>
                  <a:cubicBezTo>
                    <a:pt x="93" y="12"/>
                    <a:pt x="116" y="35"/>
                    <a:pt x="116" y="64"/>
                  </a:cubicBezTo>
                  <a:cubicBezTo>
                    <a:pt x="116" y="93"/>
                    <a:pt x="93" y="116"/>
                    <a:pt x="64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6" name="Freeform 10">
              <a:extLst>
                <a:ext uri="{FF2B5EF4-FFF2-40B4-BE49-F238E27FC236}">
                  <a16:creationId xmlns:a16="http://schemas.microsoft.com/office/drawing/2014/main" id="{A2AA8A6D-11E0-467C-60EE-C38098588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8" y="1744"/>
              <a:ext cx="52" cy="115"/>
            </a:xfrm>
            <a:custGeom>
              <a:avLst/>
              <a:gdLst>
                <a:gd name="T0" fmla="*/ 19 w 38"/>
                <a:gd name="T1" fmla="*/ 21 h 84"/>
                <a:gd name="T2" fmla="*/ 26 w 38"/>
                <a:gd name="T3" fmla="*/ 29 h 84"/>
                <a:gd name="T4" fmla="*/ 32 w 38"/>
                <a:gd name="T5" fmla="*/ 35 h 84"/>
                <a:gd name="T6" fmla="*/ 38 w 38"/>
                <a:gd name="T7" fmla="*/ 29 h 84"/>
                <a:gd name="T8" fmla="*/ 25 w 38"/>
                <a:gd name="T9" fmla="*/ 10 h 84"/>
                <a:gd name="T10" fmla="*/ 25 w 38"/>
                <a:gd name="T11" fmla="*/ 6 h 84"/>
                <a:gd name="T12" fmla="*/ 19 w 38"/>
                <a:gd name="T13" fmla="*/ 0 h 84"/>
                <a:gd name="T14" fmla="*/ 13 w 38"/>
                <a:gd name="T15" fmla="*/ 6 h 84"/>
                <a:gd name="T16" fmla="*/ 13 w 38"/>
                <a:gd name="T17" fmla="*/ 10 h 84"/>
                <a:gd name="T18" fmla="*/ 0 w 38"/>
                <a:gd name="T19" fmla="*/ 29 h 84"/>
                <a:gd name="T20" fmla="*/ 19 w 38"/>
                <a:gd name="T21" fmla="*/ 48 h 84"/>
                <a:gd name="T22" fmla="*/ 26 w 38"/>
                <a:gd name="T23" fmla="*/ 55 h 84"/>
                <a:gd name="T24" fmla="*/ 19 w 38"/>
                <a:gd name="T25" fmla="*/ 63 h 84"/>
                <a:gd name="T26" fmla="*/ 12 w 38"/>
                <a:gd name="T27" fmla="*/ 55 h 84"/>
                <a:gd name="T28" fmla="*/ 6 w 38"/>
                <a:gd name="T29" fmla="*/ 49 h 84"/>
                <a:gd name="T30" fmla="*/ 0 w 38"/>
                <a:gd name="T31" fmla="*/ 55 h 84"/>
                <a:gd name="T32" fmla="*/ 13 w 38"/>
                <a:gd name="T33" fmla="*/ 74 h 84"/>
                <a:gd name="T34" fmla="*/ 13 w 38"/>
                <a:gd name="T35" fmla="*/ 78 h 84"/>
                <a:gd name="T36" fmla="*/ 19 w 38"/>
                <a:gd name="T37" fmla="*/ 84 h 84"/>
                <a:gd name="T38" fmla="*/ 25 w 38"/>
                <a:gd name="T39" fmla="*/ 78 h 84"/>
                <a:gd name="T40" fmla="*/ 25 w 38"/>
                <a:gd name="T41" fmla="*/ 74 h 84"/>
                <a:gd name="T42" fmla="*/ 38 w 38"/>
                <a:gd name="T43" fmla="*/ 55 h 84"/>
                <a:gd name="T44" fmla="*/ 19 w 38"/>
                <a:gd name="T45" fmla="*/ 36 h 84"/>
                <a:gd name="T46" fmla="*/ 12 w 38"/>
                <a:gd name="T47" fmla="*/ 29 h 84"/>
                <a:gd name="T48" fmla="*/ 19 w 38"/>
                <a:gd name="T49" fmla="*/ 2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84">
                  <a:moveTo>
                    <a:pt x="19" y="21"/>
                  </a:moveTo>
                  <a:cubicBezTo>
                    <a:pt x="23" y="21"/>
                    <a:pt x="26" y="24"/>
                    <a:pt x="26" y="29"/>
                  </a:cubicBezTo>
                  <a:cubicBezTo>
                    <a:pt x="26" y="32"/>
                    <a:pt x="29" y="35"/>
                    <a:pt x="32" y="35"/>
                  </a:cubicBezTo>
                  <a:cubicBezTo>
                    <a:pt x="36" y="35"/>
                    <a:pt x="38" y="32"/>
                    <a:pt x="38" y="29"/>
                  </a:cubicBezTo>
                  <a:cubicBezTo>
                    <a:pt x="38" y="20"/>
                    <a:pt x="33" y="13"/>
                    <a:pt x="25" y="1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3"/>
                    <a:pt x="22" y="0"/>
                    <a:pt x="19" y="0"/>
                  </a:cubicBezTo>
                  <a:cubicBezTo>
                    <a:pt x="16" y="0"/>
                    <a:pt x="13" y="3"/>
                    <a:pt x="13" y="6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5" y="13"/>
                    <a:pt x="0" y="20"/>
                    <a:pt x="0" y="29"/>
                  </a:cubicBezTo>
                  <a:cubicBezTo>
                    <a:pt x="0" y="39"/>
                    <a:pt x="8" y="48"/>
                    <a:pt x="19" y="48"/>
                  </a:cubicBezTo>
                  <a:cubicBezTo>
                    <a:pt x="23" y="48"/>
                    <a:pt x="26" y="51"/>
                    <a:pt x="26" y="55"/>
                  </a:cubicBezTo>
                  <a:cubicBezTo>
                    <a:pt x="26" y="60"/>
                    <a:pt x="23" y="63"/>
                    <a:pt x="19" y="63"/>
                  </a:cubicBezTo>
                  <a:cubicBezTo>
                    <a:pt x="15" y="63"/>
                    <a:pt x="12" y="60"/>
                    <a:pt x="12" y="55"/>
                  </a:cubicBezTo>
                  <a:cubicBezTo>
                    <a:pt x="12" y="52"/>
                    <a:pt x="9" y="49"/>
                    <a:pt x="6" y="49"/>
                  </a:cubicBezTo>
                  <a:cubicBezTo>
                    <a:pt x="2" y="49"/>
                    <a:pt x="0" y="52"/>
                    <a:pt x="0" y="55"/>
                  </a:cubicBezTo>
                  <a:cubicBezTo>
                    <a:pt x="0" y="64"/>
                    <a:pt x="5" y="71"/>
                    <a:pt x="13" y="74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81"/>
                    <a:pt x="16" y="84"/>
                    <a:pt x="19" y="84"/>
                  </a:cubicBezTo>
                  <a:cubicBezTo>
                    <a:pt x="22" y="84"/>
                    <a:pt x="25" y="81"/>
                    <a:pt x="25" y="78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33" y="71"/>
                    <a:pt x="38" y="64"/>
                    <a:pt x="38" y="55"/>
                  </a:cubicBezTo>
                  <a:cubicBezTo>
                    <a:pt x="38" y="45"/>
                    <a:pt x="30" y="36"/>
                    <a:pt x="19" y="36"/>
                  </a:cubicBezTo>
                  <a:cubicBezTo>
                    <a:pt x="15" y="36"/>
                    <a:pt x="12" y="33"/>
                    <a:pt x="12" y="29"/>
                  </a:cubicBezTo>
                  <a:cubicBezTo>
                    <a:pt x="12" y="24"/>
                    <a:pt x="15" y="21"/>
                    <a:pt x="1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7" name="Freeform 11">
              <a:extLst>
                <a:ext uri="{FF2B5EF4-FFF2-40B4-BE49-F238E27FC236}">
                  <a16:creationId xmlns:a16="http://schemas.microsoft.com/office/drawing/2014/main" id="{A36F9A76-0B27-FB14-831B-090D00610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" y="1661"/>
              <a:ext cx="54" cy="54"/>
            </a:xfrm>
            <a:custGeom>
              <a:avLst/>
              <a:gdLst>
                <a:gd name="T0" fmla="*/ 33 w 40"/>
                <a:gd name="T1" fmla="*/ 39 h 39"/>
                <a:gd name="T2" fmla="*/ 37 w 40"/>
                <a:gd name="T3" fmla="*/ 37 h 39"/>
                <a:gd name="T4" fmla="*/ 37 w 40"/>
                <a:gd name="T5" fmla="*/ 29 h 39"/>
                <a:gd name="T6" fmla="*/ 11 w 40"/>
                <a:gd name="T7" fmla="*/ 3 h 39"/>
                <a:gd name="T8" fmla="*/ 3 w 40"/>
                <a:gd name="T9" fmla="*/ 3 h 39"/>
                <a:gd name="T10" fmla="*/ 3 w 40"/>
                <a:gd name="T11" fmla="*/ 11 h 39"/>
                <a:gd name="T12" fmla="*/ 29 w 40"/>
                <a:gd name="T13" fmla="*/ 37 h 39"/>
                <a:gd name="T14" fmla="*/ 33 w 40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9">
                  <a:moveTo>
                    <a:pt x="33" y="39"/>
                  </a:moveTo>
                  <a:cubicBezTo>
                    <a:pt x="35" y="39"/>
                    <a:pt x="36" y="38"/>
                    <a:pt x="37" y="37"/>
                  </a:cubicBezTo>
                  <a:cubicBezTo>
                    <a:pt x="40" y="35"/>
                    <a:pt x="40" y="31"/>
                    <a:pt x="37" y="29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9" y="0"/>
                    <a:pt x="5" y="0"/>
                    <a:pt x="3" y="3"/>
                  </a:cubicBezTo>
                  <a:cubicBezTo>
                    <a:pt x="0" y="5"/>
                    <a:pt x="0" y="9"/>
                    <a:pt x="3" y="11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30" y="38"/>
                    <a:pt x="32" y="39"/>
                    <a:pt x="3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8" name="Freeform 12">
              <a:extLst>
                <a:ext uri="{FF2B5EF4-FFF2-40B4-BE49-F238E27FC236}">
                  <a16:creationId xmlns:a16="http://schemas.microsoft.com/office/drawing/2014/main" id="{E04304F5-ECBB-4354-5118-F3BB6EF0A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9" y="1661"/>
              <a:ext cx="55" cy="54"/>
            </a:xfrm>
            <a:custGeom>
              <a:avLst/>
              <a:gdLst>
                <a:gd name="T0" fmla="*/ 29 w 40"/>
                <a:gd name="T1" fmla="*/ 3 h 39"/>
                <a:gd name="T2" fmla="*/ 3 w 40"/>
                <a:gd name="T3" fmla="*/ 29 h 39"/>
                <a:gd name="T4" fmla="*/ 3 w 40"/>
                <a:gd name="T5" fmla="*/ 37 h 39"/>
                <a:gd name="T6" fmla="*/ 7 w 40"/>
                <a:gd name="T7" fmla="*/ 39 h 39"/>
                <a:gd name="T8" fmla="*/ 11 w 40"/>
                <a:gd name="T9" fmla="*/ 37 h 39"/>
                <a:gd name="T10" fmla="*/ 37 w 40"/>
                <a:gd name="T11" fmla="*/ 11 h 39"/>
                <a:gd name="T12" fmla="*/ 37 w 40"/>
                <a:gd name="T13" fmla="*/ 3 h 39"/>
                <a:gd name="T14" fmla="*/ 29 w 40"/>
                <a:gd name="T15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9">
                  <a:moveTo>
                    <a:pt x="29" y="3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0" y="31"/>
                    <a:pt x="0" y="35"/>
                    <a:pt x="3" y="37"/>
                  </a:cubicBezTo>
                  <a:cubicBezTo>
                    <a:pt x="4" y="38"/>
                    <a:pt x="5" y="39"/>
                    <a:pt x="7" y="39"/>
                  </a:cubicBezTo>
                  <a:cubicBezTo>
                    <a:pt x="8" y="39"/>
                    <a:pt x="10" y="38"/>
                    <a:pt x="11" y="37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0" y="9"/>
                    <a:pt x="40" y="5"/>
                    <a:pt x="37" y="3"/>
                  </a:cubicBezTo>
                  <a:cubicBezTo>
                    <a:pt x="35" y="0"/>
                    <a:pt x="31" y="0"/>
                    <a:pt x="2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99" name="Freeform 13">
              <a:extLst>
                <a:ext uri="{FF2B5EF4-FFF2-40B4-BE49-F238E27FC236}">
                  <a16:creationId xmlns:a16="http://schemas.microsoft.com/office/drawing/2014/main" id="{5A7E8FE3-60E7-B470-7106-A2C95AE63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1" y="1788"/>
              <a:ext cx="65" cy="16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6" y="12"/>
                    <a:pt x="48" y="9"/>
                    <a:pt x="48" y="6"/>
                  </a:cubicBezTo>
                  <a:cubicBezTo>
                    <a:pt x="48" y="2"/>
                    <a:pt x="46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8200" name="Group 40">
            <a:extLst>
              <a:ext uri="{FF2B5EF4-FFF2-40B4-BE49-F238E27FC236}">
                <a16:creationId xmlns:a16="http://schemas.microsoft.com/office/drawing/2014/main" id="{DBE851EB-F2F9-5B65-E5C6-5F942691C7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63150" y="3897333"/>
            <a:ext cx="521622" cy="482532"/>
            <a:chOff x="3438" y="454"/>
            <a:chExt cx="427" cy="395"/>
          </a:xfrm>
          <a:solidFill>
            <a:schemeClr val="tx2"/>
          </a:solidFill>
        </p:grpSpPr>
        <p:sp>
          <p:nvSpPr>
            <p:cNvPr id="8201" name="Freeform 41">
              <a:extLst>
                <a:ext uri="{FF2B5EF4-FFF2-40B4-BE49-F238E27FC236}">
                  <a16:creationId xmlns:a16="http://schemas.microsoft.com/office/drawing/2014/main" id="{9D6DB545-3D2B-88F2-6578-4FB857BB8F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8" y="653"/>
              <a:ext cx="196" cy="19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5"/>
                    <a:pt x="36" y="120"/>
                    <a:pt x="66" y="120"/>
                  </a:cubicBezTo>
                  <a:cubicBezTo>
                    <a:pt x="96" y="120"/>
                    <a:pt x="120" y="95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2" name="Freeform 42">
              <a:extLst>
                <a:ext uri="{FF2B5EF4-FFF2-40B4-BE49-F238E27FC236}">
                  <a16:creationId xmlns:a16="http://schemas.microsoft.com/office/drawing/2014/main" id="{6284F34F-0FE4-9D73-2875-F3241EE9D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" y="457"/>
              <a:ext cx="179" cy="250"/>
            </a:xfrm>
            <a:custGeom>
              <a:avLst/>
              <a:gdLst>
                <a:gd name="T0" fmla="*/ 7 w 121"/>
                <a:gd name="T1" fmla="*/ 169 h 169"/>
                <a:gd name="T2" fmla="*/ 4 w 121"/>
                <a:gd name="T3" fmla="*/ 168 h 169"/>
                <a:gd name="T4" fmla="*/ 1 w 121"/>
                <a:gd name="T5" fmla="*/ 160 h 169"/>
                <a:gd name="T6" fmla="*/ 37 w 121"/>
                <a:gd name="T7" fmla="*/ 76 h 169"/>
                <a:gd name="T8" fmla="*/ 39 w 121"/>
                <a:gd name="T9" fmla="*/ 74 h 169"/>
                <a:gd name="T10" fmla="*/ 56 w 121"/>
                <a:gd name="T11" fmla="*/ 57 h 169"/>
                <a:gd name="T12" fmla="*/ 73 w 121"/>
                <a:gd name="T13" fmla="*/ 11 h 169"/>
                <a:gd name="T14" fmla="*/ 75 w 121"/>
                <a:gd name="T15" fmla="*/ 8 h 169"/>
                <a:gd name="T16" fmla="*/ 97 w 121"/>
                <a:gd name="T17" fmla="*/ 0 h 169"/>
                <a:gd name="T18" fmla="*/ 119 w 121"/>
                <a:gd name="T19" fmla="*/ 8 h 169"/>
                <a:gd name="T20" fmla="*/ 121 w 121"/>
                <a:gd name="T21" fmla="*/ 13 h 169"/>
                <a:gd name="T22" fmla="*/ 121 w 121"/>
                <a:gd name="T23" fmla="*/ 61 h 169"/>
                <a:gd name="T24" fmla="*/ 115 w 121"/>
                <a:gd name="T25" fmla="*/ 67 h 169"/>
                <a:gd name="T26" fmla="*/ 109 w 121"/>
                <a:gd name="T27" fmla="*/ 61 h 169"/>
                <a:gd name="T28" fmla="*/ 109 w 121"/>
                <a:gd name="T29" fmla="*/ 15 h 169"/>
                <a:gd name="T30" fmla="*/ 84 w 121"/>
                <a:gd name="T31" fmla="*/ 16 h 169"/>
                <a:gd name="T32" fmla="*/ 66 w 121"/>
                <a:gd name="T33" fmla="*/ 63 h 169"/>
                <a:gd name="T34" fmla="*/ 65 w 121"/>
                <a:gd name="T35" fmla="*/ 65 h 169"/>
                <a:gd name="T36" fmla="*/ 48 w 121"/>
                <a:gd name="T37" fmla="*/ 82 h 169"/>
                <a:gd name="T38" fmla="*/ 12 w 121"/>
                <a:gd name="T39" fmla="*/ 165 h 169"/>
                <a:gd name="T40" fmla="*/ 7 w 121"/>
                <a:gd name="T41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" h="169">
                  <a:moveTo>
                    <a:pt x="7" y="169"/>
                  </a:moveTo>
                  <a:cubicBezTo>
                    <a:pt x="6" y="169"/>
                    <a:pt x="5" y="168"/>
                    <a:pt x="4" y="168"/>
                  </a:cubicBezTo>
                  <a:cubicBezTo>
                    <a:pt x="1" y="167"/>
                    <a:pt x="0" y="163"/>
                    <a:pt x="1" y="160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5"/>
                    <a:pt x="39" y="74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4" y="10"/>
                    <a:pt x="74" y="9"/>
                    <a:pt x="75" y="8"/>
                  </a:cubicBezTo>
                  <a:cubicBezTo>
                    <a:pt x="80" y="3"/>
                    <a:pt x="88" y="0"/>
                    <a:pt x="97" y="0"/>
                  </a:cubicBezTo>
                  <a:cubicBezTo>
                    <a:pt x="106" y="0"/>
                    <a:pt x="114" y="3"/>
                    <a:pt x="119" y="8"/>
                  </a:cubicBezTo>
                  <a:cubicBezTo>
                    <a:pt x="120" y="10"/>
                    <a:pt x="121" y="11"/>
                    <a:pt x="121" y="13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1" y="64"/>
                    <a:pt x="118" y="67"/>
                    <a:pt x="115" y="67"/>
                  </a:cubicBezTo>
                  <a:cubicBezTo>
                    <a:pt x="112" y="67"/>
                    <a:pt x="109" y="64"/>
                    <a:pt x="109" y="61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02" y="10"/>
                    <a:pt x="90" y="11"/>
                    <a:pt x="84" y="16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4"/>
                    <a:pt x="66" y="64"/>
                    <a:pt x="65" y="65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12" y="165"/>
                    <a:pt x="12" y="165"/>
                    <a:pt x="12" y="165"/>
                  </a:cubicBezTo>
                  <a:cubicBezTo>
                    <a:pt x="11" y="167"/>
                    <a:pt x="9" y="169"/>
                    <a:pt x="7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3" name="Freeform 43">
              <a:extLst>
                <a:ext uri="{FF2B5EF4-FFF2-40B4-BE49-F238E27FC236}">
                  <a16:creationId xmlns:a16="http://schemas.microsoft.com/office/drawing/2014/main" id="{170E382C-B1B0-144D-1A59-E9D249F90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9" y="653"/>
              <a:ext cx="196" cy="19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5"/>
                    <a:pt x="36" y="120"/>
                    <a:pt x="66" y="120"/>
                  </a:cubicBezTo>
                  <a:cubicBezTo>
                    <a:pt x="96" y="120"/>
                    <a:pt x="120" y="95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4" name="Freeform 44">
              <a:extLst>
                <a:ext uri="{FF2B5EF4-FFF2-40B4-BE49-F238E27FC236}">
                  <a16:creationId xmlns:a16="http://schemas.microsoft.com/office/drawing/2014/main" id="{B8001EAA-63B7-8D87-0643-0119FFDD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454"/>
              <a:ext cx="179" cy="253"/>
            </a:xfrm>
            <a:custGeom>
              <a:avLst/>
              <a:gdLst>
                <a:gd name="T0" fmla="*/ 114 w 121"/>
                <a:gd name="T1" fmla="*/ 171 h 171"/>
                <a:gd name="T2" fmla="*/ 108 w 121"/>
                <a:gd name="T3" fmla="*/ 167 h 171"/>
                <a:gd name="T4" fmla="*/ 73 w 121"/>
                <a:gd name="T5" fmla="*/ 84 h 171"/>
                <a:gd name="T6" fmla="*/ 56 w 121"/>
                <a:gd name="T7" fmla="*/ 67 h 171"/>
                <a:gd name="T8" fmla="*/ 54 w 121"/>
                <a:gd name="T9" fmla="*/ 65 h 171"/>
                <a:gd name="T10" fmla="*/ 37 w 121"/>
                <a:gd name="T11" fmla="*/ 19 h 171"/>
                <a:gd name="T12" fmla="*/ 12 w 121"/>
                <a:gd name="T13" fmla="*/ 18 h 171"/>
                <a:gd name="T14" fmla="*/ 12 w 121"/>
                <a:gd name="T15" fmla="*/ 63 h 171"/>
                <a:gd name="T16" fmla="*/ 6 w 121"/>
                <a:gd name="T17" fmla="*/ 69 h 171"/>
                <a:gd name="T18" fmla="*/ 0 w 121"/>
                <a:gd name="T19" fmla="*/ 63 h 171"/>
                <a:gd name="T20" fmla="*/ 0 w 121"/>
                <a:gd name="T21" fmla="*/ 15 h 171"/>
                <a:gd name="T22" fmla="*/ 2 w 121"/>
                <a:gd name="T23" fmla="*/ 11 h 171"/>
                <a:gd name="T24" fmla="*/ 46 w 121"/>
                <a:gd name="T25" fmla="*/ 11 h 171"/>
                <a:gd name="T26" fmla="*/ 47 w 121"/>
                <a:gd name="T27" fmla="*/ 13 h 171"/>
                <a:gd name="T28" fmla="*/ 65 w 121"/>
                <a:gd name="T29" fmla="*/ 59 h 171"/>
                <a:gd name="T30" fmla="*/ 82 w 121"/>
                <a:gd name="T31" fmla="*/ 76 h 171"/>
                <a:gd name="T32" fmla="*/ 83 w 121"/>
                <a:gd name="T33" fmla="*/ 78 h 171"/>
                <a:gd name="T34" fmla="*/ 119 w 121"/>
                <a:gd name="T35" fmla="*/ 162 h 171"/>
                <a:gd name="T36" fmla="*/ 116 w 121"/>
                <a:gd name="T37" fmla="*/ 170 h 171"/>
                <a:gd name="T38" fmla="*/ 114 w 121"/>
                <a:gd name="T3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171">
                  <a:moveTo>
                    <a:pt x="114" y="171"/>
                  </a:moveTo>
                  <a:cubicBezTo>
                    <a:pt x="112" y="171"/>
                    <a:pt x="109" y="169"/>
                    <a:pt x="108" y="167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5" y="66"/>
                    <a:pt x="55" y="66"/>
                    <a:pt x="54" y="6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0" y="13"/>
                    <a:pt x="19" y="13"/>
                    <a:pt x="12" y="18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6"/>
                    <a:pt x="9" y="69"/>
                    <a:pt x="6" y="69"/>
                  </a:cubicBezTo>
                  <a:cubicBezTo>
                    <a:pt x="3" y="69"/>
                    <a:pt x="0" y="66"/>
                    <a:pt x="0" y="6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13" y="0"/>
                    <a:pt x="35" y="0"/>
                    <a:pt x="46" y="11"/>
                  </a:cubicBezTo>
                  <a:cubicBezTo>
                    <a:pt x="47" y="12"/>
                    <a:pt x="47" y="12"/>
                    <a:pt x="47" y="13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7"/>
                    <a:pt x="83" y="78"/>
                    <a:pt x="83" y="78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21" y="165"/>
                    <a:pt x="119" y="169"/>
                    <a:pt x="116" y="170"/>
                  </a:cubicBezTo>
                  <a:cubicBezTo>
                    <a:pt x="115" y="170"/>
                    <a:pt x="115" y="171"/>
                    <a:pt x="114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5" name="Freeform 45">
              <a:extLst>
                <a:ext uri="{FF2B5EF4-FFF2-40B4-BE49-F238E27FC236}">
                  <a16:creationId xmlns:a16="http://schemas.microsoft.com/office/drawing/2014/main" id="{8E7E0BBE-24F6-E371-5058-9FC00F95D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574"/>
              <a:ext cx="159" cy="53"/>
            </a:xfrm>
            <a:custGeom>
              <a:avLst/>
              <a:gdLst>
                <a:gd name="T0" fmla="*/ 102 w 108"/>
                <a:gd name="T1" fmla="*/ 36 h 36"/>
                <a:gd name="T2" fmla="*/ 96 w 108"/>
                <a:gd name="T3" fmla="*/ 30 h 36"/>
                <a:gd name="T4" fmla="*/ 54 w 108"/>
                <a:gd name="T5" fmla="*/ 12 h 36"/>
                <a:gd name="T6" fmla="*/ 12 w 108"/>
                <a:gd name="T7" fmla="*/ 30 h 36"/>
                <a:gd name="T8" fmla="*/ 6 w 108"/>
                <a:gd name="T9" fmla="*/ 36 h 36"/>
                <a:gd name="T10" fmla="*/ 0 w 108"/>
                <a:gd name="T11" fmla="*/ 30 h 36"/>
                <a:gd name="T12" fmla="*/ 54 w 108"/>
                <a:gd name="T13" fmla="*/ 0 h 36"/>
                <a:gd name="T14" fmla="*/ 108 w 108"/>
                <a:gd name="T15" fmla="*/ 30 h 36"/>
                <a:gd name="T16" fmla="*/ 102 w 108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36">
                  <a:moveTo>
                    <a:pt x="102" y="36"/>
                  </a:moveTo>
                  <a:cubicBezTo>
                    <a:pt x="99" y="36"/>
                    <a:pt x="96" y="33"/>
                    <a:pt x="96" y="30"/>
                  </a:cubicBezTo>
                  <a:cubicBezTo>
                    <a:pt x="96" y="21"/>
                    <a:pt x="78" y="12"/>
                    <a:pt x="54" y="12"/>
                  </a:cubicBezTo>
                  <a:cubicBezTo>
                    <a:pt x="30" y="12"/>
                    <a:pt x="12" y="21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13"/>
                    <a:pt x="23" y="0"/>
                    <a:pt x="54" y="0"/>
                  </a:cubicBezTo>
                  <a:cubicBezTo>
                    <a:pt x="85" y="0"/>
                    <a:pt x="108" y="13"/>
                    <a:pt x="108" y="30"/>
                  </a:cubicBezTo>
                  <a:cubicBezTo>
                    <a:pt x="108" y="33"/>
                    <a:pt x="105" y="36"/>
                    <a:pt x="10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6" name="Freeform 46">
              <a:extLst>
                <a:ext uri="{FF2B5EF4-FFF2-40B4-BE49-F238E27FC236}">
                  <a16:creationId xmlns:a16="http://schemas.microsoft.com/office/drawing/2014/main" id="{D7A19709-EF84-C27E-40F7-14D4A86CB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575"/>
              <a:ext cx="18" cy="185"/>
            </a:xfrm>
            <a:custGeom>
              <a:avLst/>
              <a:gdLst>
                <a:gd name="T0" fmla="*/ 6 w 12"/>
                <a:gd name="T1" fmla="*/ 125 h 125"/>
                <a:gd name="T2" fmla="*/ 0 w 12"/>
                <a:gd name="T3" fmla="*/ 119 h 125"/>
                <a:gd name="T4" fmla="*/ 0 w 12"/>
                <a:gd name="T5" fmla="*/ 6 h 125"/>
                <a:gd name="T6" fmla="*/ 6 w 12"/>
                <a:gd name="T7" fmla="*/ 0 h 125"/>
                <a:gd name="T8" fmla="*/ 12 w 12"/>
                <a:gd name="T9" fmla="*/ 6 h 125"/>
                <a:gd name="T10" fmla="*/ 12 w 12"/>
                <a:gd name="T11" fmla="*/ 119 h 125"/>
                <a:gd name="T12" fmla="*/ 6 w 1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5">
                  <a:moveTo>
                    <a:pt x="6" y="125"/>
                  </a:moveTo>
                  <a:cubicBezTo>
                    <a:pt x="3" y="125"/>
                    <a:pt x="0" y="122"/>
                    <a:pt x="0" y="1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2"/>
                    <a:pt x="9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7" name="Freeform 47">
              <a:extLst>
                <a:ext uri="{FF2B5EF4-FFF2-40B4-BE49-F238E27FC236}">
                  <a16:creationId xmlns:a16="http://schemas.microsoft.com/office/drawing/2014/main" id="{DBDD1AD0-33C8-B030-13DC-A518A1008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575"/>
              <a:ext cx="18" cy="185"/>
            </a:xfrm>
            <a:custGeom>
              <a:avLst/>
              <a:gdLst>
                <a:gd name="T0" fmla="*/ 6 w 12"/>
                <a:gd name="T1" fmla="*/ 125 h 125"/>
                <a:gd name="T2" fmla="*/ 0 w 12"/>
                <a:gd name="T3" fmla="*/ 119 h 125"/>
                <a:gd name="T4" fmla="*/ 0 w 12"/>
                <a:gd name="T5" fmla="*/ 6 h 125"/>
                <a:gd name="T6" fmla="*/ 6 w 12"/>
                <a:gd name="T7" fmla="*/ 0 h 125"/>
                <a:gd name="T8" fmla="*/ 12 w 12"/>
                <a:gd name="T9" fmla="*/ 6 h 125"/>
                <a:gd name="T10" fmla="*/ 12 w 12"/>
                <a:gd name="T11" fmla="*/ 119 h 125"/>
                <a:gd name="T12" fmla="*/ 6 w 1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5">
                  <a:moveTo>
                    <a:pt x="6" y="125"/>
                  </a:moveTo>
                  <a:cubicBezTo>
                    <a:pt x="3" y="125"/>
                    <a:pt x="0" y="122"/>
                    <a:pt x="0" y="1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2"/>
                    <a:pt x="9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8" name="Freeform 48">
              <a:extLst>
                <a:ext uri="{FF2B5EF4-FFF2-40B4-BE49-F238E27FC236}">
                  <a16:creationId xmlns:a16="http://schemas.microsoft.com/office/drawing/2014/main" id="{50EAC844-11C4-F1A2-E04E-659AB725D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4" y="689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42 w 48"/>
                <a:gd name="T5" fmla="*/ 0 h 48"/>
                <a:gd name="T6" fmla="*/ 48 w 48"/>
                <a:gd name="T7" fmla="*/ 6 h 48"/>
                <a:gd name="T8" fmla="*/ 42 w 48"/>
                <a:gd name="T9" fmla="*/ 12 h 48"/>
                <a:gd name="T10" fmla="*/ 12 w 48"/>
                <a:gd name="T11" fmla="*/ 42 h 48"/>
                <a:gd name="T12" fmla="*/ 6 w 4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25" y="12"/>
                    <a:pt x="12" y="25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09" name="Freeform 49">
              <a:extLst>
                <a:ext uri="{FF2B5EF4-FFF2-40B4-BE49-F238E27FC236}">
                  <a16:creationId xmlns:a16="http://schemas.microsoft.com/office/drawing/2014/main" id="{48522FB4-5A65-D019-6F39-5520BE967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5" y="689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42 w 48"/>
                <a:gd name="T5" fmla="*/ 0 h 48"/>
                <a:gd name="T6" fmla="*/ 48 w 48"/>
                <a:gd name="T7" fmla="*/ 6 h 48"/>
                <a:gd name="T8" fmla="*/ 42 w 48"/>
                <a:gd name="T9" fmla="*/ 12 h 48"/>
                <a:gd name="T10" fmla="*/ 12 w 48"/>
                <a:gd name="T11" fmla="*/ 42 h 48"/>
                <a:gd name="T12" fmla="*/ 6 w 4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25" y="12"/>
                    <a:pt x="12" y="25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194" name="Marcador de pie de página 8193">
            <a:extLst>
              <a:ext uri="{FF2B5EF4-FFF2-40B4-BE49-F238E27FC236}">
                <a16:creationId xmlns:a16="http://schemas.microsoft.com/office/drawing/2014/main" id="{48D4DAC1-4EAA-FD97-A323-DC1F4E0522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845532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28" name="Objeto 9227" hidden="1">
            <a:extLst>
              <a:ext uri="{FF2B5EF4-FFF2-40B4-BE49-F238E27FC236}">
                <a16:creationId xmlns:a16="http://schemas.microsoft.com/office/drawing/2014/main" id="{481DB249-FCA0-F667-4CDC-8CD1F36F58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9228" name="Objeto 9227" hidden="1">
                        <a:extLst>
                          <a:ext uri="{FF2B5EF4-FFF2-40B4-BE49-F238E27FC236}">
                            <a16:creationId xmlns:a16="http://schemas.microsoft.com/office/drawing/2014/main" id="{481DB249-FCA0-F667-4CDC-8CD1F36F5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SIPOC model</a:t>
            </a:r>
          </a:p>
        </p:txBody>
      </p:sp>
      <p:grpSp>
        <p:nvGrpSpPr>
          <p:cNvPr id="9246" name="Grupo 9245">
            <a:extLst>
              <a:ext uri="{FF2B5EF4-FFF2-40B4-BE49-F238E27FC236}">
                <a16:creationId xmlns:a16="http://schemas.microsoft.com/office/drawing/2014/main" id="{64FCC82D-46DB-7897-4F04-547F1E9D7D58}"/>
              </a:ext>
            </a:extLst>
          </p:cNvPr>
          <p:cNvGrpSpPr/>
          <p:nvPr/>
        </p:nvGrpSpPr>
        <p:grpSpPr>
          <a:xfrm>
            <a:off x="10345158" y="1519371"/>
            <a:ext cx="795204" cy="795204"/>
            <a:chOff x="10345158" y="1519371"/>
            <a:chExt cx="795204" cy="795204"/>
          </a:xfrm>
        </p:grpSpPr>
        <p:sp>
          <p:nvSpPr>
            <p:cNvPr id="9226" name="Elipse 9225">
              <a:extLst>
                <a:ext uri="{FF2B5EF4-FFF2-40B4-BE49-F238E27FC236}">
                  <a16:creationId xmlns:a16="http://schemas.microsoft.com/office/drawing/2014/main" id="{2F35F395-78B7-9DB8-39F9-9838F653630D}"/>
                </a:ext>
              </a:extLst>
            </p:cNvPr>
            <p:cNvSpPr/>
            <p:nvPr/>
          </p:nvSpPr>
          <p:spPr>
            <a:xfrm>
              <a:off x="10345158" y="1519371"/>
              <a:ext cx="795204" cy="795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0" name="Group 31">
              <a:extLst>
                <a:ext uri="{FF2B5EF4-FFF2-40B4-BE49-F238E27FC236}">
                  <a16:creationId xmlns:a16="http://schemas.microsoft.com/office/drawing/2014/main" id="{9F9AE78F-9AF1-1771-7C70-1C6AED2D21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92669" y="1672566"/>
              <a:ext cx="500182" cy="488814"/>
              <a:chOff x="3619" y="663"/>
              <a:chExt cx="440" cy="430"/>
            </a:xfrm>
            <a:solidFill>
              <a:schemeClr val="tx2"/>
            </a:solidFill>
          </p:grpSpPr>
          <p:sp>
            <p:nvSpPr>
              <p:cNvPr id="11" name="Freeform 32">
                <a:extLst>
                  <a:ext uri="{FF2B5EF4-FFF2-40B4-BE49-F238E27FC236}">
                    <a16:creationId xmlns:a16="http://schemas.microsoft.com/office/drawing/2014/main" id="{401C6BE9-63B1-90FC-2271-745F181651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6" y="806"/>
                <a:ext cx="92" cy="90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33">
                <a:extLst>
                  <a:ext uri="{FF2B5EF4-FFF2-40B4-BE49-F238E27FC236}">
                    <a16:creationId xmlns:a16="http://schemas.microsoft.com/office/drawing/2014/main" id="{1BC55ED2-F174-9475-8015-9F3246E06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19" y="914"/>
                <a:ext cx="147" cy="179"/>
              </a:xfrm>
              <a:custGeom>
                <a:avLst/>
                <a:gdLst>
                  <a:gd name="T0" fmla="*/ 66 w 96"/>
                  <a:gd name="T1" fmla="*/ 120 h 120"/>
                  <a:gd name="T2" fmla="*/ 30 w 96"/>
                  <a:gd name="T3" fmla="*/ 120 h 120"/>
                  <a:gd name="T4" fmla="*/ 24 w 96"/>
                  <a:gd name="T5" fmla="*/ 114 h 120"/>
                  <a:gd name="T6" fmla="*/ 24 w 96"/>
                  <a:gd name="T7" fmla="*/ 69 h 120"/>
                  <a:gd name="T8" fmla="*/ 0 w 96"/>
                  <a:gd name="T9" fmla="*/ 6 h 120"/>
                  <a:gd name="T10" fmla="*/ 6 w 96"/>
                  <a:gd name="T11" fmla="*/ 0 h 120"/>
                  <a:gd name="T12" fmla="*/ 90 w 96"/>
                  <a:gd name="T13" fmla="*/ 0 h 120"/>
                  <a:gd name="T14" fmla="*/ 96 w 96"/>
                  <a:gd name="T15" fmla="*/ 6 h 120"/>
                  <a:gd name="T16" fmla="*/ 72 w 96"/>
                  <a:gd name="T17" fmla="*/ 69 h 120"/>
                  <a:gd name="T18" fmla="*/ 72 w 96"/>
                  <a:gd name="T19" fmla="*/ 114 h 120"/>
                  <a:gd name="T20" fmla="*/ 66 w 96"/>
                  <a:gd name="T21" fmla="*/ 120 h 120"/>
                  <a:gd name="T22" fmla="*/ 36 w 96"/>
                  <a:gd name="T23" fmla="*/ 108 h 120"/>
                  <a:gd name="T24" fmla="*/ 60 w 96"/>
                  <a:gd name="T25" fmla="*/ 108 h 120"/>
                  <a:gd name="T26" fmla="*/ 60 w 96"/>
                  <a:gd name="T27" fmla="*/ 65 h 120"/>
                  <a:gd name="T28" fmla="*/ 64 w 96"/>
                  <a:gd name="T29" fmla="*/ 59 h 120"/>
                  <a:gd name="T30" fmla="*/ 84 w 96"/>
                  <a:gd name="T31" fmla="*/ 12 h 120"/>
                  <a:gd name="T32" fmla="*/ 12 w 96"/>
                  <a:gd name="T33" fmla="*/ 12 h 120"/>
                  <a:gd name="T34" fmla="*/ 31 w 96"/>
                  <a:gd name="T35" fmla="*/ 59 h 120"/>
                  <a:gd name="T36" fmla="*/ 36 w 96"/>
                  <a:gd name="T37" fmla="*/ 65 h 120"/>
                  <a:gd name="T38" fmla="*/ 36 w 96"/>
                  <a:gd name="T39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6" h="120">
                    <a:moveTo>
                      <a:pt x="66" y="120"/>
                    </a:moveTo>
                    <a:cubicBezTo>
                      <a:pt x="30" y="120"/>
                      <a:pt x="30" y="120"/>
                      <a:pt x="30" y="120"/>
                    </a:cubicBezTo>
                    <a:cubicBezTo>
                      <a:pt x="27" y="120"/>
                      <a:pt x="24" y="117"/>
                      <a:pt x="24" y="11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" y="61"/>
                      <a:pt x="0" y="3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34"/>
                      <a:pt x="94" y="61"/>
                      <a:pt x="72" y="69"/>
                    </a:cubicBezTo>
                    <a:cubicBezTo>
                      <a:pt x="72" y="114"/>
                      <a:pt x="72" y="114"/>
                      <a:pt x="72" y="114"/>
                    </a:cubicBezTo>
                    <a:cubicBezTo>
                      <a:pt x="72" y="117"/>
                      <a:pt x="69" y="120"/>
                      <a:pt x="66" y="120"/>
                    </a:cubicBezTo>
                    <a:close/>
                    <a:moveTo>
                      <a:pt x="36" y="108"/>
                    </a:moveTo>
                    <a:cubicBezTo>
                      <a:pt x="60" y="108"/>
                      <a:pt x="60" y="108"/>
                      <a:pt x="60" y="108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60" y="62"/>
                      <a:pt x="62" y="60"/>
                      <a:pt x="64" y="59"/>
                    </a:cubicBezTo>
                    <a:cubicBezTo>
                      <a:pt x="80" y="55"/>
                      <a:pt x="83" y="39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39"/>
                      <a:pt x="16" y="55"/>
                      <a:pt x="31" y="59"/>
                    </a:cubicBezTo>
                    <a:cubicBezTo>
                      <a:pt x="34" y="60"/>
                      <a:pt x="36" y="62"/>
                      <a:pt x="36" y="65"/>
                    </a:cubicBezTo>
                    <a:lnTo>
                      <a:pt x="36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" name="Freeform 34">
                <a:extLst>
                  <a:ext uri="{FF2B5EF4-FFF2-40B4-BE49-F238E27FC236}">
                    <a16:creationId xmlns:a16="http://schemas.microsoft.com/office/drawing/2014/main" id="{903A7EBB-3148-48CD-FD24-FA4D5D73AF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" y="806"/>
                <a:ext cx="92" cy="90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" name="Freeform 35">
                <a:extLst>
                  <a:ext uri="{FF2B5EF4-FFF2-40B4-BE49-F238E27FC236}">
                    <a16:creationId xmlns:a16="http://schemas.microsoft.com/office/drawing/2014/main" id="{B7F493D3-3962-5ABD-8EFB-80CC437387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12" y="914"/>
                <a:ext cx="147" cy="179"/>
              </a:xfrm>
              <a:custGeom>
                <a:avLst/>
                <a:gdLst>
                  <a:gd name="T0" fmla="*/ 66 w 96"/>
                  <a:gd name="T1" fmla="*/ 120 h 120"/>
                  <a:gd name="T2" fmla="*/ 30 w 96"/>
                  <a:gd name="T3" fmla="*/ 120 h 120"/>
                  <a:gd name="T4" fmla="*/ 24 w 96"/>
                  <a:gd name="T5" fmla="*/ 114 h 120"/>
                  <a:gd name="T6" fmla="*/ 24 w 96"/>
                  <a:gd name="T7" fmla="*/ 69 h 120"/>
                  <a:gd name="T8" fmla="*/ 0 w 96"/>
                  <a:gd name="T9" fmla="*/ 6 h 120"/>
                  <a:gd name="T10" fmla="*/ 6 w 96"/>
                  <a:gd name="T11" fmla="*/ 0 h 120"/>
                  <a:gd name="T12" fmla="*/ 90 w 96"/>
                  <a:gd name="T13" fmla="*/ 0 h 120"/>
                  <a:gd name="T14" fmla="*/ 96 w 96"/>
                  <a:gd name="T15" fmla="*/ 6 h 120"/>
                  <a:gd name="T16" fmla="*/ 72 w 96"/>
                  <a:gd name="T17" fmla="*/ 69 h 120"/>
                  <a:gd name="T18" fmla="*/ 72 w 96"/>
                  <a:gd name="T19" fmla="*/ 114 h 120"/>
                  <a:gd name="T20" fmla="*/ 66 w 96"/>
                  <a:gd name="T21" fmla="*/ 120 h 120"/>
                  <a:gd name="T22" fmla="*/ 36 w 96"/>
                  <a:gd name="T23" fmla="*/ 108 h 120"/>
                  <a:gd name="T24" fmla="*/ 60 w 96"/>
                  <a:gd name="T25" fmla="*/ 108 h 120"/>
                  <a:gd name="T26" fmla="*/ 60 w 96"/>
                  <a:gd name="T27" fmla="*/ 65 h 120"/>
                  <a:gd name="T28" fmla="*/ 64 w 96"/>
                  <a:gd name="T29" fmla="*/ 59 h 120"/>
                  <a:gd name="T30" fmla="*/ 84 w 96"/>
                  <a:gd name="T31" fmla="*/ 12 h 120"/>
                  <a:gd name="T32" fmla="*/ 12 w 96"/>
                  <a:gd name="T33" fmla="*/ 12 h 120"/>
                  <a:gd name="T34" fmla="*/ 31 w 96"/>
                  <a:gd name="T35" fmla="*/ 59 h 120"/>
                  <a:gd name="T36" fmla="*/ 36 w 96"/>
                  <a:gd name="T37" fmla="*/ 65 h 120"/>
                  <a:gd name="T38" fmla="*/ 36 w 96"/>
                  <a:gd name="T39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6" h="120">
                    <a:moveTo>
                      <a:pt x="66" y="120"/>
                    </a:moveTo>
                    <a:cubicBezTo>
                      <a:pt x="30" y="120"/>
                      <a:pt x="30" y="120"/>
                      <a:pt x="30" y="120"/>
                    </a:cubicBezTo>
                    <a:cubicBezTo>
                      <a:pt x="27" y="120"/>
                      <a:pt x="24" y="117"/>
                      <a:pt x="24" y="11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" y="61"/>
                      <a:pt x="0" y="3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34"/>
                      <a:pt x="94" y="61"/>
                      <a:pt x="72" y="69"/>
                    </a:cubicBezTo>
                    <a:cubicBezTo>
                      <a:pt x="72" y="114"/>
                      <a:pt x="72" y="114"/>
                      <a:pt x="72" y="114"/>
                    </a:cubicBezTo>
                    <a:cubicBezTo>
                      <a:pt x="72" y="117"/>
                      <a:pt x="69" y="120"/>
                      <a:pt x="66" y="120"/>
                    </a:cubicBezTo>
                    <a:close/>
                    <a:moveTo>
                      <a:pt x="36" y="108"/>
                    </a:moveTo>
                    <a:cubicBezTo>
                      <a:pt x="60" y="108"/>
                      <a:pt x="60" y="108"/>
                      <a:pt x="60" y="108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60" y="62"/>
                      <a:pt x="62" y="60"/>
                      <a:pt x="64" y="59"/>
                    </a:cubicBezTo>
                    <a:cubicBezTo>
                      <a:pt x="80" y="55"/>
                      <a:pt x="83" y="39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39"/>
                      <a:pt x="16" y="55"/>
                      <a:pt x="31" y="59"/>
                    </a:cubicBezTo>
                    <a:cubicBezTo>
                      <a:pt x="34" y="60"/>
                      <a:pt x="36" y="62"/>
                      <a:pt x="36" y="65"/>
                    </a:cubicBezTo>
                    <a:lnTo>
                      <a:pt x="36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36">
                <a:extLst>
                  <a:ext uri="{FF2B5EF4-FFF2-40B4-BE49-F238E27FC236}">
                    <a16:creationId xmlns:a16="http://schemas.microsoft.com/office/drawing/2014/main" id="{3F666D3E-83BA-E78B-9906-2BE016B634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3" y="663"/>
                <a:ext cx="92" cy="90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" name="Freeform 37">
                <a:extLst>
                  <a:ext uri="{FF2B5EF4-FFF2-40B4-BE49-F238E27FC236}">
                    <a16:creationId xmlns:a16="http://schemas.microsoft.com/office/drawing/2014/main" id="{2604BD15-D753-498A-6FAD-E0323504B9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66" y="771"/>
                <a:ext cx="146" cy="179"/>
              </a:xfrm>
              <a:custGeom>
                <a:avLst/>
                <a:gdLst>
                  <a:gd name="T0" fmla="*/ 66 w 96"/>
                  <a:gd name="T1" fmla="*/ 120 h 120"/>
                  <a:gd name="T2" fmla="*/ 30 w 96"/>
                  <a:gd name="T3" fmla="*/ 120 h 120"/>
                  <a:gd name="T4" fmla="*/ 24 w 96"/>
                  <a:gd name="T5" fmla="*/ 114 h 120"/>
                  <a:gd name="T6" fmla="*/ 24 w 96"/>
                  <a:gd name="T7" fmla="*/ 69 h 120"/>
                  <a:gd name="T8" fmla="*/ 0 w 96"/>
                  <a:gd name="T9" fmla="*/ 6 h 120"/>
                  <a:gd name="T10" fmla="*/ 6 w 96"/>
                  <a:gd name="T11" fmla="*/ 0 h 120"/>
                  <a:gd name="T12" fmla="*/ 90 w 96"/>
                  <a:gd name="T13" fmla="*/ 0 h 120"/>
                  <a:gd name="T14" fmla="*/ 96 w 96"/>
                  <a:gd name="T15" fmla="*/ 6 h 120"/>
                  <a:gd name="T16" fmla="*/ 72 w 96"/>
                  <a:gd name="T17" fmla="*/ 69 h 120"/>
                  <a:gd name="T18" fmla="*/ 72 w 96"/>
                  <a:gd name="T19" fmla="*/ 114 h 120"/>
                  <a:gd name="T20" fmla="*/ 66 w 96"/>
                  <a:gd name="T21" fmla="*/ 120 h 120"/>
                  <a:gd name="T22" fmla="*/ 36 w 96"/>
                  <a:gd name="T23" fmla="*/ 108 h 120"/>
                  <a:gd name="T24" fmla="*/ 60 w 96"/>
                  <a:gd name="T25" fmla="*/ 108 h 120"/>
                  <a:gd name="T26" fmla="*/ 60 w 96"/>
                  <a:gd name="T27" fmla="*/ 65 h 120"/>
                  <a:gd name="T28" fmla="*/ 64 w 96"/>
                  <a:gd name="T29" fmla="*/ 59 h 120"/>
                  <a:gd name="T30" fmla="*/ 84 w 96"/>
                  <a:gd name="T31" fmla="*/ 12 h 120"/>
                  <a:gd name="T32" fmla="*/ 12 w 96"/>
                  <a:gd name="T33" fmla="*/ 12 h 120"/>
                  <a:gd name="T34" fmla="*/ 31 w 96"/>
                  <a:gd name="T35" fmla="*/ 59 h 120"/>
                  <a:gd name="T36" fmla="*/ 36 w 96"/>
                  <a:gd name="T37" fmla="*/ 65 h 120"/>
                  <a:gd name="T38" fmla="*/ 36 w 96"/>
                  <a:gd name="T39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6" h="120">
                    <a:moveTo>
                      <a:pt x="66" y="120"/>
                    </a:moveTo>
                    <a:cubicBezTo>
                      <a:pt x="30" y="120"/>
                      <a:pt x="30" y="120"/>
                      <a:pt x="30" y="120"/>
                    </a:cubicBezTo>
                    <a:cubicBezTo>
                      <a:pt x="27" y="120"/>
                      <a:pt x="24" y="117"/>
                      <a:pt x="24" y="11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" y="61"/>
                      <a:pt x="0" y="3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34"/>
                      <a:pt x="94" y="61"/>
                      <a:pt x="72" y="69"/>
                    </a:cubicBezTo>
                    <a:cubicBezTo>
                      <a:pt x="72" y="114"/>
                      <a:pt x="72" y="114"/>
                      <a:pt x="72" y="114"/>
                    </a:cubicBezTo>
                    <a:cubicBezTo>
                      <a:pt x="72" y="117"/>
                      <a:pt x="69" y="120"/>
                      <a:pt x="66" y="120"/>
                    </a:cubicBezTo>
                    <a:close/>
                    <a:moveTo>
                      <a:pt x="36" y="108"/>
                    </a:moveTo>
                    <a:cubicBezTo>
                      <a:pt x="60" y="108"/>
                      <a:pt x="60" y="108"/>
                      <a:pt x="60" y="108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60" y="62"/>
                      <a:pt x="62" y="60"/>
                      <a:pt x="64" y="59"/>
                    </a:cubicBezTo>
                    <a:cubicBezTo>
                      <a:pt x="80" y="55"/>
                      <a:pt x="83" y="39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39"/>
                      <a:pt x="16" y="55"/>
                      <a:pt x="31" y="59"/>
                    </a:cubicBezTo>
                    <a:cubicBezTo>
                      <a:pt x="34" y="60"/>
                      <a:pt x="36" y="62"/>
                      <a:pt x="36" y="65"/>
                    </a:cubicBezTo>
                    <a:lnTo>
                      <a:pt x="36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247" name="Grupo 9246">
            <a:extLst>
              <a:ext uri="{FF2B5EF4-FFF2-40B4-BE49-F238E27FC236}">
                <a16:creationId xmlns:a16="http://schemas.microsoft.com/office/drawing/2014/main" id="{016780C6-1420-CC21-C0AF-B7DBC7AD9715}"/>
              </a:ext>
            </a:extLst>
          </p:cNvPr>
          <p:cNvGrpSpPr/>
          <p:nvPr/>
        </p:nvGrpSpPr>
        <p:grpSpPr>
          <a:xfrm>
            <a:off x="8021778" y="1519371"/>
            <a:ext cx="795204" cy="795204"/>
            <a:chOff x="8021778" y="1519371"/>
            <a:chExt cx="795204" cy="795204"/>
          </a:xfrm>
        </p:grpSpPr>
        <p:sp>
          <p:nvSpPr>
            <p:cNvPr id="9225" name="Elipse 9224">
              <a:extLst>
                <a:ext uri="{FF2B5EF4-FFF2-40B4-BE49-F238E27FC236}">
                  <a16:creationId xmlns:a16="http://schemas.microsoft.com/office/drawing/2014/main" id="{56C5A167-CFB8-F2AB-E2CD-55888750F078}"/>
                </a:ext>
              </a:extLst>
            </p:cNvPr>
            <p:cNvSpPr/>
            <p:nvPr/>
          </p:nvSpPr>
          <p:spPr>
            <a:xfrm>
              <a:off x="8021778" y="1519371"/>
              <a:ext cx="795204" cy="795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7" name="Group 146">
              <a:extLst>
                <a:ext uri="{FF2B5EF4-FFF2-40B4-BE49-F238E27FC236}">
                  <a16:creationId xmlns:a16="http://schemas.microsoft.com/office/drawing/2014/main" id="{FF7B5684-59CA-FC16-6573-BFFD366702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207410" y="1707467"/>
              <a:ext cx="423942" cy="419012"/>
              <a:chOff x="3438" y="1721"/>
              <a:chExt cx="430" cy="425"/>
            </a:xfrm>
            <a:solidFill>
              <a:schemeClr val="tx2"/>
            </a:solidFill>
          </p:grpSpPr>
          <p:sp>
            <p:nvSpPr>
              <p:cNvPr id="18" name="Freeform 147">
                <a:extLst>
                  <a:ext uri="{FF2B5EF4-FFF2-40B4-BE49-F238E27FC236}">
                    <a16:creationId xmlns:a16="http://schemas.microsoft.com/office/drawing/2014/main" id="{BCB3EA2E-812F-3D54-9767-2FB7E847DA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40" y="2004"/>
                <a:ext cx="426" cy="142"/>
              </a:xfrm>
              <a:custGeom>
                <a:avLst/>
                <a:gdLst>
                  <a:gd name="T0" fmla="*/ 282 w 288"/>
                  <a:gd name="T1" fmla="*/ 96 h 96"/>
                  <a:gd name="T2" fmla="*/ 6 w 288"/>
                  <a:gd name="T3" fmla="*/ 96 h 96"/>
                  <a:gd name="T4" fmla="*/ 0 w 288"/>
                  <a:gd name="T5" fmla="*/ 90 h 96"/>
                  <a:gd name="T6" fmla="*/ 0 w 288"/>
                  <a:gd name="T7" fmla="*/ 6 h 96"/>
                  <a:gd name="T8" fmla="*/ 6 w 288"/>
                  <a:gd name="T9" fmla="*/ 0 h 96"/>
                  <a:gd name="T10" fmla="*/ 96 w 288"/>
                  <a:gd name="T11" fmla="*/ 0 h 96"/>
                  <a:gd name="T12" fmla="*/ 102 w 288"/>
                  <a:gd name="T13" fmla="*/ 6 h 96"/>
                  <a:gd name="T14" fmla="*/ 102 w 288"/>
                  <a:gd name="T15" fmla="*/ 18 h 96"/>
                  <a:gd name="T16" fmla="*/ 120 w 288"/>
                  <a:gd name="T17" fmla="*/ 36 h 96"/>
                  <a:gd name="T18" fmla="*/ 174 w 288"/>
                  <a:gd name="T19" fmla="*/ 36 h 96"/>
                  <a:gd name="T20" fmla="*/ 192 w 288"/>
                  <a:gd name="T21" fmla="*/ 18 h 96"/>
                  <a:gd name="T22" fmla="*/ 192 w 288"/>
                  <a:gd name="T23" fmla="*/ 6 h 96"/>
                  <a:gd name="T24" fmla="*/ 198 w 288"/>
                  <a:gd name="T25" fmla="*/ 0 h 96"/>
                  <a:gd name="T26" fmla="*/ 282 w 288"/>
                  <a:gd name="T27" fmla="*/ 0 h 96"/>
                  <a:gd name="T28" fmla="*/ 288 w 288"/>
                  <a:gd name="T29" fmla="*/ 6 h 96"/>
                  <a:gd name="T30" fmla="*/ 288 w 288"/>
                  <a:gd name="T31" fmla="*/ 90 h 96"/>
                  <a:gd name="T32" fmla="*/ 282 w 288"/>
                  <a:gd name="T33" fmla="*/ 96 h 96"/>
                  <a:gd name="T34" fmla="*/ 12 w 288"/>
                  <a:gd name="T35" fmla="*/ 84 h 96"/>
                  <a:gd name="T36" fmla="*/ 276 w 288"/>
                  <a:gd name="T37" fmla="*/ 84 h 96"/>
                  <a:gd name="T38" fmla="*/ 276 w 288"/>
                  <a:gd name="T39" fmla="*/ 12 h 96"/>
                  <a:gd name="T40" fmla="*/ 204 w 288"/>
                  <a:gd name="T41" fmla="*/ 12 h 96"/>
                  <a:gd name="T42" fmla="*/ 204 w 288"/>
                  <a:gd name="T43" fmla="*/ 18 h 96"/>
                  <a:gd name="T44" fmla="*/ 174 w 288"/>
                  <a:gd name="T45" fmla="*/ 48 h 96"/>
                  <a:gd name="T46" fmla="*/ 120 w 288"/>
                  <a:gd name="T47" fmla="*/ 48 h 96"/>
                  <a:gd name="T48" fmla="*/ 90 w 288"/>
                  <a:gd name="T49" fmla="*/ 18 h 96"/>
                  <a:gd name="T50" fmla="*/ 90 w 288"/>
                  <a:gd name="T51" fmla="*/ 12 h 96"/>
                  <a:gd name="T52" fmla="*/ 12 w 288"/>
                  <a:gd name="T53" fmla="*/ 12 h 96"/>
                  <a:gd name="T54" fmla="*/ 12 w 288"/>
                  <a:gd name="T55" fmla="*/ 8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96">
                    <a:moveTo>
                      <a:pt x="282" y="96"/>
                    </a:moveTo>
                    <a:cubicBezTo>
                      <a:pt x="6" y="96"/>
                      <a:pt x="6" y="96"/>
                      <a:pt x="6" y="96"/>
                    </a:cubicBezTo>
                    <a:cubicBezTo>
                      <a:pt x="3" y="96"/>
                      <a:pt x="0" y="94"/>
                      <a:pt x="0" y="9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100" y="0"/>
                      <a:pt x="102" y="3"/>
                      <a:pt x="102" y="6"/>
                    </a:cubicBezTo>
                    <a:cubicBezTo>
                      <a:pt x="102" y="18"/>
                      <a:pt x="102" y="18"/>
                      <a:pt x="102" y="18"/>
                    </a:cubicBezTo>
                    <a:cubicBezTo>
                      <a:pt x="102" y="28"/>
                      <a:pt x="110" y="36"/>
                      <a:pt x="120" y="36"/>
                    </a:cubicBezTo>
                    <a:cubicBezTo>
                      <a:pt x="174" y="36"/>
                      <a:pt x="174" y="36"/>
                      <a:pt x="174" y="36"/>
                    </a:cubicBezTo>
                    <a:cubicBezTo>
                      <a:pt x="184" y="36"/>
                      <a:pt x="192" y="28"/>
                      <a:pt x="192" y="18"/>
                    </a:cubicBezTo>
                    <a:cubicBezTo>
                      <a:pt x="192" y="6"/>
                      <a:pt x="192" y="6"/>
                      <a:pt x="192" y="6"/>
                    </a:cubicBezTo>
                    <a:cubicBezTo>
                      <a:pt x="192" y="3"/>
                      <a:pt x="195" y="0"/>
                      <a:pt x="198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6" y="0"/>
                      <a:pt x="288" y="3"/>
                      <a:pt x="288" y="6"/>
                    </a:cubicBezTo>
                    <a:cubicBezTo>
                      <a:pt x="288" y="90"/>
                      <a:pt x="288" y="90"/>
                      <a:pt x="288" y="90"/>
                    </a:cubicBezTo>
                    <a:cubicBezTo>
                      <a:pt x="288" y="94"/>
                      <a:pt x="286" y="96"/>
                      <a:pt x="282" y="96"/>
                    </a:cubicBezTo>
                    <a:close/>
                    <a:moveTo>
                      <a:pt x="12" y="84"/>
                    </a:moveTo>
                    <a:cubicBezTo>
                      <a:pt x="276" y="84"/>
                      <a:pt x="276" y="84"/>
                      <a:pt x="276" y="84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204" y="18"/>
                      <a:pt x="204" y="18"/>
                      <a:pt x="204" y="18"/>
                    </a:cubicBezTo>
                    <a:cubicBezTo>
                      <a:pt x="204" y="35"/>
                      <a:pt x="191" y="48"/>
                      <a:pt x="174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104" y="48"/>
                      <a:pt x="90" y="35"/>
                      <a:pt x="90" y="18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" name="Freeform 148">
                <a:extLst>
                  <a:ext uri="{FF2B5EF4-FFF2-40B4-BE49-F238E27FC236}">
                    <a16:creationId xmlns:a16="http://schemas.microsoft.com/office/drawing/2014/main" id="{41F48EEE-A424-E5B6-0DDD-69C16764D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8" y="1898"/>
                <a:ext cx="144" cy="124"/>
              </a:xfrm>
              <a:custGeom>
                <a:avLst/>
                <a:gdLst>
                  <a:gd name="T0" fmla="*/ 7 w 97"/>
                  <a:gd name="T1" fmla="*/ 84 h 84"/>
                  <a:gd name="T2" fmla="*/ 4 w 97"/>
                  <a:gd name="T3" fmla="*/ 83 h 84"/>
                  <a:gd name="T4" fmla="*/ 2 w 97"/>
                  <a:gd name="T5" fmla="*/ 75 h 84"/>
                  <a:gd name="T6" fmla="*/ 44 w 97"/>
                  <a:gd name="T7" fmla="*/ 3 h 84"/>
                  <a:gd name="T8" fmla="*/ 49 w 97"/>
                  <a:gd name="T9" fmla="*/ 0 h 84"/>
                  <a:gd name="T10" fmla="*/ 91 w 97"/>
                  <a:gd name="T11" fmla="*/ 0 h 84"/>
                  <a:gd name="T12" fmla="*/ 97 w 97"/>
                  <a:gd name="T13" fmla="*/ 6 h 84"/>
                  <a:gd name="T14" fmla="*/ 91 w 97"/>
                  <a:gd name="T15" fmla="*/ 12 h 84"/>
                  <a:gd name="T16" fmla="*/ 53 w 97"/>
                  <a:gd name="T17" fmla="*/ 12 h 84"/>
                  <a:gd name="T18" fmla="*/ 12 w 97"/>
                  <a:gd name="T19" fmla="*/ 81 h 84"/>
                  <a:gd name="T20" fmla="*/ 7 w 97"/>
                  <a:gd name="T2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7" h="84">
                    <a:moveTo>
                      <a:pt x="7" y="84"/>
                    </a:moveTo>
                    <a:cubicBezTo>
                      <a:pt x="6" y="84"/>
                      <a:pt x="5" y="84"/>
                      <a:pt x="4" y="83"/>
                    </a:cubicBezTo>
                    <a:cubicBezTo>
                      <a:pt x="1" y="82"/>
                      <a:pt x="0" y="78"/>
                      <a:pt x="2" y="75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5" y="1"/>
                      <a:pt x="47" y="0"/>
                      <a:pt x="49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5" y="0"/>
                      <a:pt x="97" y="3"/>
                      <a:pt x="97" y="6"/>
                    </a:cubicBezTo>
                    <a:cubicBezTo>
                      <a:pt x="97" y="10"/>
                      <a:pt x="95" y="12"/>
                      <a:pt x="91" y="12"/>
                    </a:cubicBezTo>
                    <a:cubicBezTo>
                      <a:pt x="53" y="12"/>
                      <a:pt x="53" y="12"/>
                      <a:pt x="53" y="12"/>
                    </a:cubicBezTo>
                    <a:cubicBezTo>
                      <a:pt x="12" y="81"/>
                      <a:pt x="12" y="81"/>
                      <a:pt x="12" y="81"/>
                    </a:cubicBezTo>
                    <a:cubicBezTo>
                      <a:pt x="11" y="83"/>
                      <a:pt x="9" y="84"/>
                      <a:pt x="7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" name="Freeform 149">
                <a:extLst>
                  <a:ext uri="{FF2B5EF4-FFF2-40B4-BE49-F238E27FC236}">
                    <a16:creationId xmlns:a16="http://schemas.microsoft.com/office/drawing/2014/main" id="{F3C802CB-9223-7853-178B-358378BC6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1898"/>
                <a:ext cx="126" cy="124"/>
              </a:xfrm>
              <a:custGeom>
                <a:avLst/>
                <a:gdLst>
                  <a:gd name="T0" fmla="*/ 78 w 85"/>
                  <a:gd name="T1" fmla="*/ 84 h 84"/>
                  <a:gd name="T2" fmla="*/ 73 w 85"/>
                  <a:gd name="T3" fmla="*/ 81 h 84"/>
                  <a:gd name="T4" fmla="*/ 33 w 85"/>
                  <a:gd name="T5" fmla="*/ 12 h 84"/>
                  <a:gd name="T6" fmla="*/ 6 w 85"/>
                  <a:gd name="T7" fmla="*/ 12 h 84"/>
                  <a:gd name="T8" fmla="*/ 0 w 85"/>
                  <a:gd name="T9" fmla="*/ 6 h 84"/>
                  <a:gd name="T10" fmla="*/ 6 w 85"/>
                  <a:gd name="T11" fmla="*/ 0 h 84"/>
                  <a:gd name="T12" fmla="*/ 36 w 85"/>
                  <a:gd name="T13" fmla="*/ 0 h 84"/>
                  <a:gd name="T14" fmla="*/ 41 w 85"/>
                  <a:gd name="T15" fmla="*/ 3 h 84"/>
                  <a:gd name="T16" fmla="*/ 83 w 85"/>
                  <a:gd name="T17" fmla="*/ 75 h 84"/>
                  <a:gd name="T18" fmla="*/ 81 w 85"/>
                  <a:gd name="T19" fmla="*/ 83 h 84"/>
                  <a:gd name="T20" fmla="*/ 78 w 85"/>
                  <a:gd name="T2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84">
                    <a:moveTo>
                      <a:pt x="78" y="84"/>
                    </a:moveTo>
                    <a:cubicBezTo>
                      <a:pt x="76" y="84"/>
                      <a:pt x="74" y="83"/>
                      <a:pt x="73" y="81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8" y="0"/>
                      <a:pt x="40" y="1"/>
                      <a:pt x="41" y="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85" y="78"/>
                      <a:pt x="84" y="82"/>
                      <a:pt x="81" y="83"/>
                    </a:cubicBezTo>
                    <a:cubicBezTo>
                      <a:pt x="80" y="84"/>
                      <a:pt x="79" y="84"/>
                      <a:pt x="78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" name="Freeform 150">
                <a:extLst>
                  <a:ext uri="{FF2B5EF4-FFF2-40B4-BE49-F238E27FC236}">
                    <a16:creationId xmlns:a16="http://schemas.microsoft.com/office/drawing/2014/main" id="{A03A64BD-7BF3-6EE2-1944-CC5AC7C60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1721"/>
                <a:ext cx="18" cy="213"/>
              </a:xfrm>
              <a:custGeom>
                <a:avLst/>
                <a:gdLst>
                  <a:gd name="T0" fmla="*/ 6 w 12"/>
                  <a:gd name="T1" fmla="*/ 144 h 144"/>
                  <a:gd name="T2" fmla="*/ 0 w 12"/>
                  <a:gd name="T3" fmla="*/ 138 h 144"/>
                  <a:gd name="T4" fmla="*/ 0 w 12"/>
                  <a:gd name="T5" fmla="*/ 6 h 144"/>
                  <a:gd name="T6" fmla="*/ 6 w 12"/>
                  <a:gd name="T7" fmla="*/ 0 h 144"/>
                  <a:gd name="T8" fmla="*/ 12 w 12"/>
                  <a:gd name="T9" fmla="*/ 6 h 144"/>
                  <a:gd name="T10" fmla="*/ 12 w 12"/>
                  <a:gd name="T11" fmla="*/ 138 h 144"/>
                  <a:gd name="T12" fmla="*/ 6 w 12"/>
                  <a:gd name="T1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44">
                    <a:moveTo>
                      <a:pt x="6" y="144"/>
                    </a:moveTo>
                    <a:cubicBezTo>
                      <a:pt x="3" y="144"/>
                      <a:pt x="0" y="142"/>
                      <a:pt x="0" y="13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2" y="3"/>
                      <a:pt x="12" y="6"/>
                    </a:cubicBezTo>
                    <a:cubicBezTo>
                      <a:pt x="12" y="138"/>
                      <a:pt x="12" y="138"/>
                      <a:pt x="12" y="138"/>
                    </a:cubicBezTo>
                    <a:cubicBezTo>
                      <a:pt x="12" y="142"/>
                      <a:pt x="10" y="144"/>
                      <a:pt x="6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" name="Freeform 151">
                <a:extLst>
                  <a:ext uri="{FF2B5EF4-FFF2-40B4-BE49-F238E27FC236}">
                    <a16:creationId xmlns:a16="http://schemas.microsoft.com/office/drawing/2014/main" id="{2CE71F02-D03C-8795-8923-51B14F98A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" y="1721"/>
                <a:ext cx="161" cy="90"/>
              </a:xfrm>
              <a:custGeom>
                <a:avLst/>
                <a:gdLst>
                  <a:gd name="T0" fmla="*/ 102 w 109"/>
                  <a:gd name="T1" fmla="*/ 60 h 61"/>
                  <a:gd name="T2" fmla="*/ 98 w 109"/>
                  <a:gd name="T3" fmla="*/ 58 h 61"/>
                  <a:gd name="T4" fmla="*/ 54 w 109"/>
                  <a:gd name="T5" fmla="*/ 15 h 61"/>
                  <a:gd name="T6" fmla="*/ 10 w 109"/>
                  <a:gd name="T7" fmla="*/ 58 h 61"/>
                  <a:gd name="T8" fmla="*/ 2 w 109"/>
                  <a:gd name="T9" fmla="*/ 58 h 61"/>
                  <a:gd name="T10" fmla="*/ 2 w 109"/>
                  <a:gd name="T11" fmla="*/ 50 h 61"/>
                  <a:gd name="T12" fmla="*/ 50 w 109"/>
                  <a:gd name="T13" fmla="*/ 2 h 61"/>
                  <a:gd name="T14" fmla="*/ 58 w 109"/>
                  <a:gd name="T15" fmla="*/ 2 h 61"/>
                  <a:gd name="T16" fmla="*/ 106 w 109"/>
                  <a:gd name="T17" fmla="*/ 50 h 61"/>
                  <a:gd name="T18" fmla="*/ 106 w 109"/>
                  <a:gd name="T19" fmla="*/ 58 h 61"/>
                  <a:gd name="T20" fmla="*/ 102 w 109"/>
                  <a:gd name="T21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61">
                    <a:moveTo>
                      <a:pt x="102" y="60"/>
                    </a:moveTo>
                    <a:cubicBezTo>
                      <a:pt x="101" y="60"/>
                      <a:pt x="99" y="60"/>
                      <a:pt x="98" y="5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8" y="61"/>
                      <a:pt x="4" y="61"/>
                      <a:pt x="2" y="58"/>
                    </a:cubicBezTo>
                    <a:cubicBezTo>
                      <a:pt x="0" y="56"/>
                      <a:pt x="0" y="52"/>
                      <a:pt x="2" y="50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0"/>
                      <a:pt x="56" y="0"/>
                      <a:pt x="58" y="2"/>
                    </a:cubicBezTo>
                    <a:cubicBezTo>
                      <a:pt x="106" y="50"/>
                      <a:pt x="106" y="50"/>
                      <a:pt x="106" y="50"/>
                    </a:cubicBezTo>
                    <a:cubicBezTo>
                      <a:pt x="109" y="52"/>
                      <a:pt x="109" y="56"/>
                      <a:pt x="106" y="58"/>
                    </a:cubicBezTo>
                    <a:cubicBezTo>
                      <a:pt x="105" y="60"/>
                      <a:pt x="104" y="60"/>
                      <a:pt x="10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249" name="Grupo 9248">
            <a:extLst>
              <a:ext uri="{FF2B5EF4-FFF2-40B4-BE49-F238E27FC236}">
                <a16:creationId xmlns:a16="http://schemas.microsoft.com/office/drawing/2014/main" id="{87A3E0D1-8455-ACE4-9650-21A77E497E29}"/>
              </a:ext>
            </a:extLst>
          </p:cNvPr>
          <p:cNvGrpSpPr/>
          <p:nvPr/>
        </p:nvGrpSpPr>
        <p:grpSpPr>
          <a:xfrm>
            <a:off x="3533036" y="1519371"/>
            <a:ext cx="795204" cy="795204"/>
            <a:chOff x="3533036" y="1519371"/>
            <a:chExt cx="795204" cy="795204"/>
          </a:xfrm>
        </p:grpSpPr>
        <p:sp>
          <p:nvSpPr>
            <p:cNvPr id="9223" name="Elipse 9222">
              <a:extLst>
                <a:ext uri="{FF2B5EF4-FFF2-40B4-BE49-F238E27FC236}">
                  <a16:creationId xmlns:a16="http://schemas.microsoft.com/office/drawing/2014/main" id="{A5BB5293-9A1E-D5D0-A0C6-5998CF5E2CCF}"/>
                </a:ext>
              </a:extLst>
            </p:cNvPr>
            <p:cNvSpPr/>
            <p:nvPr/>
          </p:nvSpPr>
          <p:spPr>
            <a:xfrm>
              <a:off x="3533036" y="1519371"/>
              <a:ext cx="795204" cy="795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3" name="Group 19">
              <a:extLst>
                <a:ext uri="{FF2B5EF4-FFF2-40B4-BE49-F238E27FC236}">
                  <a16:creationId xmlns:a16="http://schemas.microsoft.com/office/drawing/2014/main" id="{2BE65B78-F079-93A4-7618-FBE7556840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720618" y="1707932"/>
              <a:ext cx="420042" cy="418082"/>
              <a:chOff x="2402" y="437"/>
              <a:chExt cx="429" cy="427"/>
            </a:xfrm>
            <a:solidFill>
              <a:schemeClr val="tx2"/>
            </a:solidFill>
          </p:grpSpPr>
          <p:sp>
            <p:nvSpPr>
              <p:cNvPr id="24" name="Freeform 20">
                <a:extLst>
                  <a:ext uri="{FF2B5EF4-FFF2-40B4-BE49-F238E27FC236}">
                    <a16:creationId xmlns:a16="http://schemas.microsoft.com/office/drawing/2014/main" id="{9FDC6761-B1E6-DA16-F3D6-C774BADD59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721"/>
                <a:ext cx="427" cy="143"/>
              </a:xfrm>
              <a:custGeom>
                <a:avLst/>
                <a:gdLst>
                  <a:gd name="T0" fmla="*/ 282 w 288"/>
                  <a:gd name="T1" fmla="*/ 96 h 96"/>
                  <a:gd name="T2" fmla="*/ 6 w 288"/>
                  <a:gd name="T3" fmla="*/ 96 h 96"/>
                  <a:gd name="T4" fmla="*/ 0 w 288"/>
                  <a:gd name="T5" fmla="*/ 90 h 96"/>
                  <a:gd name="T6" fmla="*/ 0 w 288"/>
                  <a:gd name="T7" fmla="*/ 6 h 96"/>
                  <a:gd name="T8" fmla="*/ 6 w 288"/>
                  <a:gd name="T9" fmla="*/ 0 h 96"/>
                  <a:gd name="T10" fmla="*/ 96 w 288"/>
                  <a:gd name="T11" fmla="*/ 0 h 96"/>
                  <a:gd name="T12" fmla="*/ 102 w 288"/>
                  <a:gd name="T13" fmla="*/ 6 h 96"/>
                  <a:gd name="T14" fmla="*/ 102 w 288"/>
                  <a:gd name="T15" fmla="*/ 18 h 96"/>
                  <a:gd name="T16" fmla="*/ 120 w 288"/>
                  <a:gd name="T17" fmla="*/ 36 h 96"/>
                  <a:gd name="T18" fmla="*/ 174 w 288"/>
                  <a:gd name="T19" fmla="*/ 36 h 96"/>
                  <a:gd name="T20" fmla="*/ 192 w 288"/>
                  <a:gd name="T21" fmla="*/ 18 h 96"/>
                  <a:gd name="T22" fmla="*/ 192 w 288"/>
                  <a:gd name="T23" fmla="*/ 6 h 96"/>
                  <a:gd name="T24" fmla="*/ 198 w 288"/>
                  <a:gd name="T25" fmla="*/ 0 h 96"/>
                  <a:gd name="T26" fmla="*/ 282 w 288"/>
                  <a:gd name="T27" fmla="*/ 0 h 96"/>
                  <a:gd name="T28" fmla="*/ 288 w 288"/>
                  <a:gd name="T29" fmla="*/ 6 h 96"/>
                  <a:gd name="T30" fmla="*/ 288 w 288"/>
                  <a:gd name="T31" fmla="*/ 90 h 96"/>
                  <a:gd name="T32" fmla="*/ 282 w 288"/>
                  <a:gd name="T33" fmla="*/ 96 h 96"/>
                  <a:gd name="T34" fmla="*/ 12 w 288"/>
                  <a:gd name="T35" fmla="*/ 84 h 96"/>
                  <a:gd name="T36" fmla="*/ 276 w 288"/>
                  <a:gd name="T37" fmla="*/ 84 h 96"/>
                  <a:gd name="T38" fmla="*/ 276 w 288"/>
                  <a:gd name="T39" fmla="*/ 12 h 96"/>
                  <a:gd name="T40" fmla="*/ 204 w 288"/>
                  <a:gd name="T41" fmla="*/ 12 h 96"/>
                  <a:gd name="T42" fmla="*/ 204 w 288"/>
                  <a:gd name="T43" fmla="*/ 18 h 96"/>
                  <a:gd name="T44" fmla="*/ 174 w 288"/>
                  <a:gd name="T45" fmla="*/ 48 h 96"/>
                  <a:gd name="T46" fmla="*/ 120 w 288"/>
                  <a:gd name="T47" fmla="*/ 48 h 96"/>
                  <a:gd name="T48" fmla="*/ 90 w 288"/>
                  <a:gd name="T49" fmla="*/ 18 h 96"/>
                  <a:gd name="T50" fmla="*/ 90 w 288"/>
                  <a:gd name="T51" fmla="*/ 12 h 96"/>
                  <a:gd name="T52" fmla="*/ 12 w 288"/>
                  <a:gd name="T53" fmla="*/ 12 h 96"/>
                  <a:gd name="T54" fmla="*/ 12 w 288"/>
                  <a:gd name="T55" fmla="*/ 8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96">
                    <a:moveTo>
                      <a:pt x="282" y="96"/>
                    </a:moveTo>
                    <a:cubicBezTo>
                      <a:pt x="6" y="96"/>
                      <a:pt x="6" y="96"/>
                      <a:pt x="6" y="96"/>
                    </a:cubicBezTo>
                    <a:cubicBezTo>
                      <a:pt x="3" y="96"/>
                      <a:pt x="0" y="93"/>
                      <a:pt x="0" y="9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9" y="0"/>
                      <a:pt x="102" y="3"/>
                      <a:pt x="102" y="6"/>
                    </a:cubicBezTo>
                    <a:cubicBezTo>
                      <a:pt x="102" y="18"/>
                      <a:pt x="102" y="18"/>
                      <a:pt x="102" y="18"/>
                    </a:cubicBezTo>
                    <a:cubicBezTo>
                      <a:pt x="102" y="28"/>
                      <a:pt x="110" y="36"/>
                      <a:pt x="120" y="36"/>
                    </a:cubicBezTo>
                    <a:cubicBezTo>
                      <a:pt x="174" y="36"/>
                      <a:pt x="174" y="36"/>
                      <a:pt x="174" y="36"/>
                    </a:cubicBezTo>
                    <a:cubicBezTo>
                      <a:pt x="184" y="36"/>
                      <a:pt x="192" y="28"/>
                      <a:pt x="192" y="18"/>
                    </a:cubicBezTo>
                    <a:cubicBezTo>
                      <a:pt x="192" y="6"/>
                      <a:pt x="192" y="6"/>
                      <a:pt x="192" y="6"/>
                    </a:cubicBezTo>
                    <a:cubicBezTo>
                      <a:pt x="192" y="3"/>
                      <a:pt x="195" y="0"/>
                      <a:pt x="198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90"/>
                      <a:pt x="288" y="90"/>
                      <a:pt x="288" y="90"/>
                    </a:cubicBezTo>
                    <a:cubicBezTo>
                      <a:pt x="288" y="93"/>
                      <a:pt x="285" y="96"/>
                      <a:pt x="282" y="96"/>
                    </a:cubicBezTo>
                    <a:close/>
                    <a:moveTo>
                      <a:pt x="12" y="84"/>
                    </a:moveTo>
                    <a:cubicBezTo>
                      <a:pt x="276" y="84"/>
                      <a:pt x="276" y="84"/>
                      <a:pt x="276" y="84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204" y="18"/>
                      <a:pt x="204" y="18"/>
                      <a:pt x="204" y="18"/>
                    </a:cubicBezTo>
                    <a:cubicBezTo>
                      <a:pt x="204" y="35"/>
                      <a:pt x="190" y="48"/>
                      <a:pt x="174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103" y="48"/>
                      <a:pt x="90" y="35"/>
                      <a:pt x="90" y="18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" name="Freeform 21">
                <a:extLst>
                  <a:ext uri="{FF2B5EF4-FFF2-40B4-BE49-F238E27FC236}">
                    <a16:creationId xmlns:a16="http://schemas.microsoft.com/office/drawing/2014/main" id="{788AB7E9-1137-731B-C0BC-5ED909965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2" y="615"/>
                <a:ext cx="126" cy="124"/>
              </a:xfrm>
              <a:custGeom>
                <a:avLst/>
                <a:gdLst>
                  <a:gd name="T0" fmla="*/ 7 w 85"/>
                  <a:gd name="T1" fmla="*/ 84 h 84"/>
                  <a:gd name="T2" fmla="*/ 4 w 85"/>
                  <a:gd name="T3" fmla="*/ 83 h 84"/>
                  <a:gd name="T4" fmla="*/ 2 w 85"/>
                  <a:gd name="T5" fmla="*/ 75 h 84"/>
                  <a:gd name="T6" fmla="*/ 44 w 85"/>
                  <a:gd name="T7" fmla="*/ 3 h 84"/>
                  <a:gd name="T8" fmla="*/ 49 w 85"/>
                  <a:gd name="T9" fmla="*/ 0 h 84"/>
                  <a:gd name="T10" fmla="*/ 79 w 85"/>
                  <a:gd name="T11" fmla="*/ 0 h 84"/>
                  <a:gd name="T12" fmla="*/ 85 w 85"/>
                  <a:gd name="T13" fmla="*/ 6 h 84"/>
                  <a:gd name="T14" fmla="*/ 79 w 85"/>
                  <a:gd name="T15" fmla="*/ 12 h 84"/>
                  <a:gd name="T16" fmla="*/ 52 w 85"/>
                  <a:gd name="T17" fmla="*/ 12 h 84"/>
                  <a:gd name="T18" fmla="*/ 12 w 85"/>
                  <a:gd name="T19" fmla="*/ 81 h 84"/>
                  <a:gd name="T20" fmla="*/ 7 w 85"/>
                  <a:gd name="T2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84">
                    <a:moveTo>
                      <a:pt x="7" y="84"/>
                    </a:moveTo>
                    <a:cubicBezTo>
                      <a:pt x="6" y="84"/>
                      <a:pt x="5" y="84"/>
                      <a:pt x="4" y="83"/>
                    </a:cubicBezTo>
                    <a:cubicBezTo>
                      <a:pt x="1" y="82"/>
                      <a:pt x="0" y="78"/>
                      <a:pt x="2" y="75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5" y="1"/>
                      <a:pt x="47" y="0"/>
                      <a:pt x="49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0"/>
                      <a:pt x="85" y="3"/>
                      <a:pt x="85" y="6"/>
                    </a:cubicBezTo>
                    <a:cubicBezTo>
                      <a:pt x="85" y="9"/>
                      <a:pt x="82" y="12"/>
                      <a:pt x="79" y="12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12" y="81"/>
                      <a:pt x="12" y="81"/>
                      <a:pt x="12" y="81"/>
                    </a:cubicBezTo>
                    <a:cubicBezTo>
                      <a:pt x="11" y="83"/>
                      <a:pt x="9" y="84"/>
                      <a:pt x="7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6" name="Freeform 22">
                <a:extLst>
                  <a:ext uri="{FF2B5EF4-FFF2-40B4-BE49-F238E27FC236}">
                    <a16:creationId xmlns:a16="http://schemas.microsoft.com/office/drawing/2014/main" id="{1980D43D-F160-230A-0AF3-A63E7A079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615"/>
                <a:ext cx="135" cy="124"/>
              </a:xfrm>
              <a:custGeom>
                <a:avLst/>
                <a:gdLst>
                  <a:gd name="T0" fmla="*/ 84 w 91"/>
                  <a:gd name="T1" fmla="*/ 84 h 84"/>
                  <a:gd name="T2" fmla="*/ 79 w 91"/>
                  <a:gd name="T3" fmla="*/ 81 h 84"/>
                  <a:gd name="T4" fmla="*/ 38 w 91"/>
                  <a:gd name="T5" fmla="*/ 12 h 84"/>
                  <a:gd name="T6" fmla="*/ 6 w 91"/>
                  <a:gd name="T7" fmla="*/ 12 h 84"/>
                  <a:gd name="T8" fmla="*/ 0 w 91"/>
                  <a:gd name="T9" fmla="*/ 6 h 84"/>
                  <a:gd name="T10" fmla="*/ 6 w 91"/>
                  <a:gd name="T11" fmla="*/ 0 h 84"/>
                  <a:gd name="T12" fmla="*/ 42 w 91"/>
                  <a:gd name="T13" fmla="*/ 0 h 84"/>
                  <a:gd name="T14" fmla="*/ 47 w 91"/>
                  <a:gd name="T15" fmla="*/ 3 h 84"/>
                  <a:gd name="T16" fmla="*/ 89 w 91"/>
                  <a:gd name="T17" fmla="*/ 75 h 84"/>
                  <a:gd name="T18" fmla="*/ 87 w 91"/>
                  <a:gd name="T19" fmla="*/ 83 h 84"/>
                  <a:gd name="T20" fmla="*/ 84 w 91"/>
                  <a:gd name="T2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1" h="84">
                    <a:moveTo>
                      <a:pt x="84" y="84"/>
                    </a:moveTo>
                    <a:cubicBezTo>
                      <a:pt x="82" y="84"/>
                      <a:pt x="80" y="83"/>
                      <a:pt x="79" y="81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4" y="0"/>
                      <a:pt x="46" y="1"/>
                      <a:pt x="47" y="3"/>
                    </a:cubicBezTo>
                    <a:cubicBezTo>
                      <a:pt x="89" y="75"/>
                      <a:pt x="89" y="75"/>
                      <a:pt x="89" y="75"/>
                    </a:cubicBezTo>
                    <a:cubicBezTo>
                      <a:pt x="91" y="78"/>
                      <a:pt x="90" y="82"/>
                      <a:pt x="87" y="83"/>
                    </a:cubicBezTo>
                    <a:cubicBezTo>
                      <a:pt x="86" y="84"/>
                      <a:pt x="85" y="84"/>
                      <a:pt x="84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Freeform 23">
                <a:extLst>
                  <a:ext uri="{FF2B5EF4-FFF2-40B4-BE49-F238E27FC236}">
                    <a16:creationId xmlns:a16="http://schemas.microsoft.com/office/drawing/2014/main" id="{D1456FCA-B43F-0C8D-811B-0A75A0E60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437"/>
                <a:ext cx="18" cy="213"/>
              </a:xfrm>
              <a:custGeom>
                <a:avLst/>
                <a:gdLst>
                  <a:gd name="T0" fmla="*/ 6 w 12"/>
                  <a:gd name="T1" fmla="*/ 144 h 144"/>
                  <a:gd name="T2" fmla="*/ 0 w 12"/>
                  <a:gd name="T3" fmla="*/ 138 h 144"/>
                  <a:gd name="T4" fmla="*/ 0 w 12"/>
                  <a:gd name="T5" fmla="*/ 6 h 144"/>
                  <a:gd name="T6" fmla="*/ 6 w 12"/>
                  <a:gd name="T7" fmla="*/ 0 h 144"/>
                  <a:gd name="T8" fmla="*/ 12 w 12"/>
                  <a:gd name="T9" fmla="*/ 6 h 144"/>
                  <a:gd name="T10" fmla="*/ 12 w 12"/>
                  <a:gd name="T11" fmla="*/ 138 h 144"/>
                  <a:gd name="T12" fmla="*/ 6 w 12"/>
                  <a:gd name="T1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44">
                    <a:moveTo>
                      <a:pt x="6" y="144"/>
                    </a:moveTo>
                    <a:cubicBezTo>
                      <a:pt x="3" y="144"/>
                      <a:pt x="0" y="141"/>
                      <a:pt x="0" y="13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38"/>
                      <a:pt x="12" y="138"/>
                      <a:pt x="12" y="138"/>
                    </a:cubicBezTo>
                    <a:cubicBezTo>
                      <a:pt x="12" y="141"/>
                      <a:pt x="9" y="144"/>
                      <a:pt x="6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" name="Freeform 24">
                <a:extLst>
                  <a:ext uri="{FF2B5EF4-FFF2-40B4-BE49-F238E27FC236}">
                    <a16:creationId xmlns:a16="http://schemas.microsoft.com/office/drawing/2014/main" id="{870F4AC9-904F-F2FD-0425-23D04FBB7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6" y="560"/>
                <a:ext cx="162" cy="90"/>
              </a:xfrm>
              <a:custGeom>
                <a:avLst/>
                <a:gdLst>
                  <a:gd name="T0" fmla="*/ 55 w 109"/>
                  <a:gd name="T1" fmla="*/ 61 h 61"/>
                  <a:gd name="T2" fmla="*/ 51 w 109"/>
                  <a:gd name="T3" fmla="*/ 59 h 61"/>
                  <a:gd name="T4" fmla="*/ 3 w 109"/>
                  <a:gd name="T5" fmla="*/ 11 h 61"/>
                  <a:gd name="T6" fmla="*/ 3 w 109"/>
                  <a:gd name="T7" fmla="*/ 3 h 61"/>
                  <a:gd name="T8" fmla="*/ 11 w 109"/>
                  <a:gd name="T9" fmla="*/ 3 h 61"/>
                  <a:gd name="T10" fmla="*/ 55 w 109"/>
                  <a:gd name="T11" fmla="*/ 47 h 61"/>
                  <a:gd name="T12" fmla="*/ 99 w 109"/>
                  <a:gd name="T13" fmla="*/ 3 h 61"/>
                  <a:gd name="T14" fmla="*/ 107 w 109"/>
                  <a:gd name="T15" fmla="*/ 3 h 61"/>
                  <a:gd name="T16" fmla="*/ 107 w 109"/>
                  <a:gd name="T17" fmla="*/ 11 h 61"/>
                  <a:gd name="T18" fmla="*/ 59 w 109"/>
                  <a:gd name="T19" fmla="*/ 59 h 61"/>
                  <a:gd name="T20" fmla="*/ 55 w 109"/>
                  <a:gd name="T2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61">
                    <a:moveTo>
                      <a:pt x="55" y="61"/>
                    </a:moveTo>
                    <a:cubicBezTo>
                      <a:pt x="53" y="61"/>
                      <a:pt x="52" y="60"/>
                      <a:pt x="51" y="5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0" y="9"/>
                      <a:pt x="0" y="5"/>
                      <a:pt x="3" y="3"/>
                    </a:cubicBezTo>
                    <a:cubicBezTo>
                      <a:pt x="5" y="0"/>
                      <a:pt x="9" y="0"/>
                      <a:pt x="11" y="3"/>
                    </a:cubicBezTo>
                    <a:cubicBezTo>
                      <a:pt x="55" y="47"/>
                      <a:pt x="55" y="47"/>
                      <a:pt x="55" y="47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101" y="0"/>
                      <a:pt x="105" y="0"/>
                      <a:pt x="107" y="3"/>
                    </a:cubicBezTo>
                    <a:cubicBezTo>
                      <a:pt x="109" y="5"/>
                      <a:pt x="109" y="9"/>
                      <a:pt x="107" y="11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8" y="60"/>
                      <a:pt x="56" y="61"/>
                      <a:pt x="5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248" name="Grupo 9247">
            <a:extLst>
              <a:ext uri="{FF2B5EF4-FFF2-40B4-BE49-F238E27FC236}">
                <a16:creationId xmlns:a16="http://schemas.microsoft.com/office/drawing/2014/main" id="{15E04AF0-5D8D-415B-F3A0-51688EB7C388}"/>
              </a:ext>
            </a:extLst>
          </p:cNvPr>
          <p:cNvGrpSpPr/>
          <p:nvPr/>
        </p:nvGrpSpPr>
        <p:grpSpPr>
          <a:xfrm>
            <a:off x="5698399" y="1519371"/>
            <a:ext cx="795204" cy="795204"/>
            <a:chOff x="5698399" y="1519371"/>
            <a:chExt cx="795204" cy="795204"/>
          </a:xfrm>
        </p:grpSpPr>
        <p:sp>
          <p:nvSpPr>
            <p:cNvPr id="9224" name="Elipse 9223">
              <a:extLst>
                <a:ext uri="{FF2B5EF4-FFF2-40B4-BE49-F238E27FC236}">
                  <a16:creationId xmlns:a16="http://schemas.microsoft.com/office/drawing/2014/main" id="{0CF60551-0D28-764A-CFCB-F6F78A757BC3}"/>
                </a:ext>
              </a:extLst>
            </p:cNvPr>
            <p:cNvSpPr/>
            <p:nvPr/>
          </p:nvSpPr>
          <p:spPr>
            <a:xfrm>
              <a:off x="5698399" y="1519371"/>
              <a:ext cx="795204" cy="795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4245858-42D1-9189-7DF8-7B61896E04F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87178" y="1708150"/>
              <a:ext cx="417648" cy="417646"/>
              <a:chOff x="2402" y="439"/>
              <a:chExt cx="426" cy="426"/>
            </a:xfrm>
            <a:solidFill>
              <a:schemeClr val="tx2"/>
            </a:solidFill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0E537C32-3859-864A-27A4-C97627858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2" y="439"/>
                <a:ext cx="426" cy="426"/>
              </a:xfrm>
              <a:custGeom>
                <a:avLst/>
                <a:gdLst>
                  <a:gd name="T0" fmla="*/ 126 w 288"/>
                  <a:gd name="T1" fmla="*/ 288 h 288"/>
                  <a:gd name="T2" fmla="*/ 120 w 288"/>
                  <a:gd name="T3" fmla="*/ 247 h 288"/>
                  <a:gd name="T4" fmla="*/ 67 w 288"/>
                  <a:gd name="T5" fmla="*/ 262 h 288"/>
                  <a:gd name="T6" fmla="*/ 25 w 288"/>
                  <a:gd name="T7" fmla="*/ 229 h 288"/>
                  <a:gd name="T8" fmla="*/ 25 w 288"/>
                  <a:gd name="T9" fmla="*/ 220 h 288"/>
                  <a:gd name="T10" fmla="*/ 40 w 288"/>
                  <a:gd name="T11" fmla="*/ 168 h 288"/>
                  <a:gd name="T12" fmla="*/ 0 w 288"/>
                  <a:gd name="T13" fmla="*/ 162 h 288"/>
                  <a:gd name="T14" fmla="*/ 6 w 288"/>
                  <a:gd name="T15" fmla="*/ 120 h 288"/>
                  <a:gd name="T16" fmla="*/ 49 w 288"/>
                  <a:gd name="T17" fmla="*/ 92 h 288"/>
                  <a:gd name="T18" fmla="*/ 23 w 288"/>
                  <a:gd name="T19" fmla="*/ 63 h 288"/>
                  <a:gd name="T20" fmla="*/ 59 w 288"/>
                  <a:gd name="T21" fmla="*/ 25 h 288"/>
                  <a:gd name="T22" fmla="*/ 92 w 288"/>
                  <a:gd name="T23" fmla="*/ 49 h 288"/>
                  <a:gd name="T24" fmla="*/ 120 w 288"/>
                  <a:gd name="T25" fmla="*/ 6 h 288"/>
                  <a:gd name="T26" fmla="*/ 162 w 288"/>
                  <a:gd name="T27" fmla="*/ 0 h 288"/>
                  <a:gd name="T28" fmla="*/ 168 w 288"/>
                  <a:gd name="T29" fmla="*/ 40 h 288"/>
                  <a:gd name="T30" fmla="*/ 220 w 288"/>
                  <a:gd name="T31" fmla="*/ 25 h 288"/>
                  <a:gd name="T32" fmla="*/ 262 w 288"/>
                  <a:gd name="T33" fmla="*/ 59 h 288"/>
                  <a:gd name="T34" fmla="*/ 262 w 288"/>
                  <a:gd name="T35" fmla="*/ 67 h 288"/>
                  <a:gd name="T36" fmla="*/ 247 w 288"/>
                  <a:gd name="T37" fmla="*/ 120 h 288"/>
                  <a:gd name="T38" fmla="*/ 288 w 288"/>
                  <a:gd name="T39" fmla="*/ 126 h 288"/>
                  <a:gd name="T40" fmla="*/ 282 w 288"/>
                  <a:gd name="T41" fmla="*/ 168 h 288"/>
                  <a:gd name="T42" fmla="*/ 238 w 288"/>
                  <a:gd name="T43" fmla="*/ 196 h 288"/>
                  <a:gd name="T44" fmla="*/ 262 w 288"/>
                  <a:gd name="T45" fmla="*/ 229 h 288"/>
                  <a:gd name="T46" fmla="*/ 220 w 288"/>
                  <a:gd name="T47" fmla="*/ 262 h 288"/>
                  <a:gd name="T48" fmla="*/ 168 w 288"/>
                  <a:gd name="T49" fmla="*/ 247 h 288"/>
                  <a:gd name="T50" fmla="*/ 162 w 288"/>
                  <a:gd name="T51" fmla="*/ 288 h 288"/>
                  <a:gd name="T52" fmla="*/ 156 w 288"/>
                  <a:gd name="T53" fmla="*/ 276 h 288"/>
                  <a:gd name="T54" fmla="*/ 160 w 288"/>
                  <a:gd name="T55" fmla="*/ 237 h 288"/>
                  <a:gd name="T56" fmla="*/ 201 w 288"/>
                  <a:gd name="T57" fmla="*/ 226 h 288"/>
                  <a:gd name="T58" fmla="*/ 250 w 288"/>
                  <a:gd name="T59" fmla="*/ 224 h 288"/>
                  <a:gd name="T60" fmla="*/ 226 w 288"/>
                  <a:gd name="T61" fmla="*/ 194 h 288"/>
                  <a:gd name="T62" fmla="*/ 243 w 288"/>
                  <a:gd name="T63" fmla="*/ 156 h 288"/>
                  <a:gd name="T64" fmla="*/ 276 w 288"/>
                  <a:gd name="T65" fmla="*/ 132 h 288"/>
                  <a:gd name="T66" fmla="*/ 237 w 288"/>
                  <a:gd name="T67" fmla="*/ 127 h 288"/>
                  <a:gd name="T68" fmla="*/ 226 w 288"/>
                  <a:gd name="T69" fmla="*/ 86 h 288"/>
                  <a:gd name="T70" fmla="*/ 224 w 288"/>
                  <a:gd name="T71" fmla="*/ 38 h 288"/>
                  <a:gd name="T72" fmla="*/ 194 w 288"/>
                  <a:gd name="T73" fmla="*/ 62 h 288"/>
                  <a:gd name="T74" fmla="*/ 156 w 288"/>
                  <a:gd name="T75" fmla="*/ 45 h 288"/>
                  <a:gd name="T76" fmla="*/ 132 w 288"/>
                  <a:gd name="T77" fmla="*/ 12 h 288"/>
                  <a:gd name="T78" fmla="*/ 127 w 288"/>
                  <a:gd name="T79" fmla="*/ 50 h 288"/>
                  <a:gd name="T80" fmla="*/ 86 w 288"/>
                  <a:gd name="T81" fmla="*/ 61 h 288"/>
                  <a:gd name="T82" fmla="*/ 38 w 288"/>
                  <a:gd name="T83" fmla="*/ 63 h 288"/>
                  <a:gd name="T84" fmla="*/ 62 w 288"/>
                  <a:gd name="T85" fmla="*/ 94 h 288"/>
                  <a:gd name="T86" fmla="*/ 45 w 288"/>
                  <a:gd name="T87" fmla="*/ 132 h 288"/>
                  <a:gd name="T88" fmla="*/ 12 w 288"/>
                  <a:gd name="T89" fmla="*/ 156 h 288"/>
                  <a:gd name="T90" fmla="*/ 50 w 288"/>
                  <a:gd name="T91" fmla="*/ 160 h 288"/>
                  <a:gd name="T92" fmla="*/ 61 w 288"/>
                  <a:gd name="T93" fmla="*/ 201 h 288"/>
                  <a:gd name="T94" fmla="*/ 63 w 288"/>
                  <a:gd name="T95" fmla="*/ 250 h 288"/>
                  <a:gd name="T96" fmla="*/ 94 w 288"/>
                  <a:gd name="T97" fmla="*/ 226 h 288"/>
                  <a:gd name="T98" fmla="*/ 132 w 288"/>
                  <a:gd name="T99" fmla="*/ 243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88" h="288">
                    <a:moveTo>
                      <a:pt x="162" y="288"/>
                    </a:moveTo>
                    <a:cubicBezTo>
                      <a:pt x="126" y="288"/>
                      <a:pt x="126" y="288"/>
                      <a:pt x="126" y="288"/>
                    </a:cubicBezTo>
                    <a:cubicBezTo>
                      <a:pt x="122" y="288"/>
                      <a:pt x="120" y="285"/>
                      <a:pt x="120" y="282"/>
                    </a:cubicBezTo>
                    <a:cubicBezTo>
                      <a:pt x="120" y="247"/>
                      <a:pt x="120" y="247"/>
                      <a:pt x="120" y="247"/>
                    </a:cubicBezTo>
                    <a:cubicBezTo>
                      <a:pt x="110" y="245"/>
                      <a:pt x="100" y="242"/>
                      <a:pt x="92" y="238"/>
                    </a:cubicBezTo>
                    <a:cubicBezTo>
                      <a:pt x="67" y="262"/>
                      <a:pt x="67" y="262"/>
                      <a:pt x="67" y="262"/>
                    </a:cubicBezTo>
                    <a:cubicBezTo>
                      <a:pt x="65" y="265"/>
                      <a:pt x="61" y="265"/>
                      <a:pt x="59" y="262"/>
                    </a:cubicBezTo>
                    <a:cubicBezTo>
                      <a:pt x="25" y="229"/>
                      <a:pt x="25" y="229"/>
                      <a:pt x="25" y="229"/>
                    </a:cubicBezTo>
                    <a:cubicBezTo>
                      <a:pt x="24" y="227"/>
                      <a:pt x="23" y="226"/>
                      <a:pt x="23" y="224"/>
                    </a:cubicBezTo>
                    <a:cubicBezTo>
                      <a:pt x="23" y="223"/>
                      <a:pt x="24" y="221"/>
                      <a:pt x="25" y="220"/>
                    </a:cubicBezTo>
                    <a:cubicBezTo>
                      <a:pt x="49" y="196"/>
                      <a:pt x="49" y="196"/>
                      <a:pt x="49" y="196"/>
                    </a:cubicBezTo>
                    <a:cubicBezTo>
                      <a:pt x="45" y="188"/>
                      <a:pt x="42" y="177"/>
                      <a:pt x="40" y="168"/>
                    </a:cubicBezTo>
                    <a:cubicBezTo>
                      <a:pt x="6" y="168"/>
                      <a:pt x="6" y="168"/>
                      <a:pt x="6" y="168"/>
                    </a:cubicBezTo>
                    <a:cubicBezTo>
                      <a:pt x="2" y="168"/>
                      <a:pt x="0" y="165"/>
                      <a:pt x="0" y="16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22"/>
                      <a:pt x="2" y="120"/>
                      <a:pt x="6" y="120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2" y="110"/>
                      <a:pt x="45" y="100"/>
                      <a:pt x="49" y="92"/>
                    </a:cubicBezTo>
                    <a:cubicBezTo>
                      <a:pt x="25" y="67"/>
                      <a:pt x="25" y="67"/>
                      <a:pt x="25" y="67"/>
                    </a:cubicBezTo>
                    <a:cubicBezTo>
                      <a:pt x="24" y="66"/>
                      <a:pt x="23" y="65"/>
                      <a:pt x="23" y="63"/>
                    </a:cubicBezTo>
                    <a:cubicBezTo>
                      <a:pt x="23" y="61"/>
                      <a:pt x="24" y="60"/>
                      <a:pt x="25" y="59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61" y="23"/>
                      <a:pt x="65" y="23"/>
                      <a:pt x="67" y="25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100" y="45"/>
                      <a:pt x="110" y="42"/>
                      <a:pt x="120" y="40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120" y="2"/>
                      <a:pt x="122" y="0"/>
                      <a:pt x="126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5" y="0"/>
                      <a:pt x="168" y="2"/>
                      <a:pt x="168" y="6"/>
                    </a:cubicBezTo>
                    <a:cubicBezTo>
                      <a:pt x="168" y="40"/>
                      <a:pt x="168" y="40"/>
                      <a:pt x="168" y="40"/>
                    </a:cubicBezTo>
                    <a:cubicBezTo>
                      <a:pt x="177" y="42"/>
                      <a:pt x="188" y="45"/>
                      <a:pt x="196" y="49"/>
                    </a:cubicBezTo>
                    <a:cubicBezTo>
                      <a:pt x="220" y="25"/>
                      <a:pt x="220" y="25"/>
                      <a:pt x="220" y="25"/>
                    </a:cubicBezTo>
                    <a:cubicBezTo>
                      <a:pt x="222" y="23"/>
                      <a:pt x="226" y="23"/>
                      <a:pt x="228" y="25"/>
                    </a:cubicBezTo>
                    <a:cubicBezTo>
                      <a:pt x="262" y="59"/>
                      <a:pt x="262" y="59"/>
                      <a:pt x="262" y="59"/>
                    </a:cubicBezTo>
                    <a:cubicBezTo>
                      <a:pt x="264" y="60"/>
                      <a:pt x="264" y="61"/>
                      <a:pt x="264" y="63"/>
                    </a:cubicBezTo>
                    <a:cubicBezTo>
                      <a:pt x="264" y="65"/>
                      <a:pt x="264" y="66"/>
                      <a:pt x="262" y="67"/>
                    </a:cubicBezTo>
                    <a:cubicBezTo>
                      <a:pt x="238" y="92"/>
                      <a:pt x="238" y="92"/>
                      <a:pt x="238" y="92"/>
                    </a:cubicBezTo>
                    <a:cubicBezTo>
                      <a:pt x="242" y="100"/>
                      <a:pt x="245" y="110"/>
                      <a:pt x="247" y="120"/>
                    </a:cubicBezTo>
                    <a:cubicBezTo>
                      <a:pt x="282" y="120"/>
                      <a:pt x="282" y="120"/>
                      <a:pt x="282" y="120"/>
                    </a:cubicBezTo>
                    <a:cubicBezTo>
                      <a:pt x="285" y="120"/>
                      <a:pt x="288" y="122"/>
                      <a:pt x="288" y="126"/>
                    </a:cubicBezTo>
                    <a:cubicBezTo>
                      <a:pt x="288" y="162"/>
                      <a:pt x="288" y="162"/>
                      <a:pt x="288" y="162"/>
                    </a:cubicBezTo>
                    <a:cubicBezTo>
                      <a:pt x="288" y="165"/>
                      <a:pt x="285" y="168"/>
                      <a:pt x="282" y="168"/>
                    </a:cubicBezTo>
                    <a:cubicBezTo>
                      <a:pt x="247" y="168"/>
                      <a:pt x="247" y="168"/>
                      <a:pt x="247" y="168"/>
                    </a:cubicBezTo>
                    <a:cubicBezTo>
                      <a:pt x="245" y="177"/>
                      <a:pt x="242" y="188"/>
                      <a:pt x="238" y="196"/>
                    </a:cubicBezTo>
                    <a:cubicBezTo>
                      <a:pt x="262" y="220"/>
                      <a:pt x="262" y="220"/>
                      <a:pt x="262" y="220"/>
                    </a:cubicBezTo>
                    <a:cubicBezTo>
                      <a:pt x="265" y="222"/>
                      <a:pt x="265" y="226"/>
                      <a:pt x="262" y="229"/>
                    </a:cubicBezTo>
                    <a:cubicBezTo>
                      <a:pt x="228" y="262"/>
                      <a:pt x="228" y="262"/>
                      <a:pt x="228" y="262"/>
                    </a:cubicBezTo>
                    <a:cubicBezTo>
                      <a:pt x="226" y="265"/>
                      <a:pt x="222" y="265"/>
                      <a:pt x="220" y="262"/>
                    </a:cubicBezTo>
                    <a:cubicBezTo>
                      <a:pt x="196" y="238"/>
                      <a:pt x="196" y="238"/>
                      <a:pt x="196" y="238"/>
                    </a:cubicBezTo>
                    <a:cubicBezTo>
                      <a:pt x="188" y="242"/>
                      <a:pt x="177" y="245"/>
                      <a:pt x="168" y="247"/>
                    </a:cubicBezTo>
                    <a:cubicBezTo>
                      <a:pt x="168" y="282"/>
                      <a:pt x="168" y="282"/>
                      <a:pt x="168" y="282"/>
                    </a:cubicBezTo>
                    <a:cubicBezTo>
                      <a:pt x="168" y="285"/>
                      <a:pt x="165" y="288"/>
                      <a:pt x="162" y="288"/>
                    </a:cubicBezTo>
                    <a:close/>
                    <a:moveTo>
                      <a:pt x="132" y="276"/>
                    </a:moveTo>
                    <a:cubicBezTo>
                      <a:pt x="156" y="276"/>
                      <a:pt x="156" y="276"/>
                      <a:pt x="156" y="276"/>
                    </a:cubicBezTo>
                    <a:cubicBezTo>
                      <a:pt x="156" y="243"/>
                      <a:pt x="156" y="243"/>
                      <a:pt x="156" y="243"/>
                    </a:cubicBezTo>
                    <a:cubicBezTo>
                      <a:pt x="156" y="240"/>
                      <a:pt x="158" y="238"/>
                      <a:pt x="160" y="237"/>
                    </a:cubicBezTo>
                    <a:cubicBezTo>
                      <a:pt x="167" y="235"/>
                      <a:pt x="185" y="231"/>
                      <a:pt x="194" y="226"/>
                    </a:cubicBezTo>
                    <a:cubicBezTo>
                      <a:pt x="196" y="224"/>
                      <a:pt x="199" y="224"/>
                      <a:pt x="201" y="226"/>
                    </a:cubicBezTo>
                    <a:cubicBezTo>
                      <a:pt x="224" y="250"/>
                      <a:pt x="224" y="250"/>
                      <a:pt x="224" y="250"/>
                    </a:cubicBezTo>
                    <a:cubicBezTo>
                      <a:pt x="250" y="224"/>
                      <a:pt x="250" y="224"/>
                      <a:pt x="250" y="224"/>
                    </a:cubicBezTo>
                    <a:cubicBezTo>
                      <a:pt x="226" y="201"/>
                      <a:pt x="226" y="201"/>
                      <a:pt x="226" y="201"/>
                    </a:cubicBezTo>
                    <a:cubicBezTo>
                      <a:pt x="224" y="199"/>
                      <a:pt x="224" y="196"/>
                      <a:pt x="226" y="194"/>
                    </a:cubicBezTo>
                    <a:cubicBezTo>
                      <a:pt x="231" y="185"/>
                      <a:pt x="235" y="167"/>
                      <a:pt x="237" y="160"/>
                    </a:cubicBezTo>
                    <a:cubicBezTo>
                      <a:pt x="238" y="158"/>
                      <a:pt x="240" y="156"/>
                      <a:pt x="243" y="156"/>
                    </a:cubicBezTo>
                    <a:cubicBezTo>
                      <a:pt x="276" y="156"/>
                      <a:pt x="276" y="156"/>
                      <a:pt x="276" y="156"/>
                    </a:cubicBezTo>
                    <a:cubicBezTo>
                      <a:pt x="276" y="132"/>
                      <a:pt x="276" y="132"/>
                      <a:pt x="276" y="132"/>
                    </a:cubicBezTo>
                    <a:cubicBezTo>
                      <a:pt x="243" y="132"/>
                      <a:pt x="243" y="132"/>
                      <a:pt x="243" y="132"/>
                    </a:cubicBezTo>
                    <a:cubicBezTo>
                      <a:pt x="240" y="132"/>
                      <a:pt x="237" y="130"/>
                      <a:pt x="237" y="127"/>
                    </a:cubicBezTo>
                    <a:cubicBezTo>
                      <a:pt x="235" y="120"/>
                      <a:pt x="231" y="103"/>
                      <a:pt x="226" y="94"/>
                    </a:cubicBezTo>
                    <a:cubicBezTo>
                      <a:pt x="224" y="91"/>
                      <a:pt x="224" y="88"/>
                      <a:pt x="226" y="86"/>
                    </a:cubicBezTo>
                    <a:cubicBezTo>
                      <a:pt x="250" y="63"/>
                      <a:pt x="250" y="63"/>
                      <a:pt x="250" y="63"/>
                    </a:cubicBezTo>
                    <a:cubicBezTo>
                      <a:pt x="224" y="38"/>
                      <a:pt x="224" y="38"/>
                      <a:pt x="224" y="38"/>
                    </a:cubicBezTo>
                    <a:cubicBezTo>
                      <a:pt x="201" y="61"/>
                      <a:pt x="201" y="61"/>
                      <a:pt x="201" y="61"/>
                    </a:cubicBezTo>
                    <a:cubicBezTo>
                      <a:pt x="199" y="63"/>
                      <a:pt x="196" y="63"/>
                      <a:pt x="194" y="62"/>
                    </a:cubicBezTo>
                    <a:cubicBezTo>
                      <a:pt x="185" y="56"/>
                      <a:pt x="167" y="52"/>
                      <a:pt x="160" y="50"/>
                    </a:cubicBezTo>
                    <a:cubicBezTo>
                      <a:pt x="158" y="50"/>
                      <a:pt x="156" y="47"/>
                      <a:pt x="156" y="45"/>
                    </a:cubicBezTo>
                    <a:cubicBezTo>
                      <a:pt x="156" y="12"/>
                      <a:pt x="156" y="12"/>
                      <a:pt x="156" y="12"/>
                    </a:cubicBezTo>
                    <a:cubicBezTo>
                      <a:pt x="132" y="12"/>
                      <a:pt x="132" y="12"/>
                      <a:pt x="132" y="12"/>
                    </a:cubicBezTo>
                    <a:cubicBezTo>
                      <a:pt x="132" y="45"/>
                      <a:pt x="132" y="45"/>
                      <a:pt x="132" y="45"/>
                    </a:cubicBezTo>
                    <a:cubicBezTo>
                      <a:pt x="132" y="47"/>
                      <a:pt x="130" y="50"/>
                      <a:pt x="127" y="50"/>
                    </a:cubicBezTo>
                    <a:cubicBezTo>
                      <a:pt x="120" y="52"/>
                      <a:pt x="103" y="56"/>
                      <a:pt x="94" y="62"/>
                    </a:cubicBezTo>
                    <a:cubicBezTo>
                      <a:pt x="91" y="63"/>
                      <a:pt x="88" y="63"/>
                      <a:pt x="86" y="61"/>
                    </a:cubicBezTo>
                    <a:cubicBezTo>
                      <a:pt x="63" y="38"/>
                      <a:pt x="63" y="38"/>
                      <a:pt x="63" y="38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61" y="86"/>
                      <a:pt x="61" y="86"/>
                      <a:pt x="61" y="86"/>
                    </a:cubicBezTo>
                    <a:cubicBezTo>
                      <a:pt x="63" y="88"/>
                      <a:pt x="63" y="91"/>
                      <a:pt x="62" y="94"/>
                    </a:cubicBezTo>
                    <a:cubicBezTo>
                      <a:pt x="56" y="103"/>
                      <a:pt x="52" y="120"/>
                      <a:pt x="50" y="127"/>
                    </a:cubicBezTo>
                    <a:cubicBezTo>
                      <a:pt x="50" y="130"/>
                      <a:pt x="47" y="132"/>
                      <a:pt x="45" y="132"/>
                    </a:cubicBezTo>
                    <a:cubicBezTo>
                      <a:pt x="12" y="132"/>
                      <a:pt x="12" y="132"/>
                      <a:pt x="12" y="132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45" y="156"/>
                      <a:pt x="45" y="156"/>
                      <a:pt x="45" y="156"/>
                    </a:cubicBezTo>
                    <a:cubicBezTo>
                      <a:pt x="47" y="156"/>
                      <a:pt x="50" y="158"/>
                      <a:pt x="50" y="160"/>
                    </a:cubicBezTo>
                    <a:cubicBezTo>
                      <a:pt x="52" y="167"/>
                      <a:pt x="56" y="185"/>
                      <a:pt x="62" y="194"/>
                    </a:cubicBezTo>
                    <a:cubicBezTo>
                      <a:pt x="63" y="196"/>
                      <a:pt x="63" y="199"/>
                      <a:pt x="61" y="201"/>
                    </a:cubicBezTo>
                    <a:cubicBezTo>
                      <a:pt x="38" y="224"/>
                      <a:pt x="38" y="224"/>
                      <a:pt x="38" y="224"/>
                    </a:cubicBezTo>
                    <a:cubicBezTo>
                      <a:pt x="63" y="250"/>
                      <a:pt x="63" y="250"/>
                      <a:pt x="63" y="250"/>
                    </a:cubicBezTo>
                    <a:cubicBezTo>
                      <a:pt x="86" y="226"/>
                      <a:pt x="86" y="226"/>
                      <a:pt x="86" y="226"/>
                    </a:cubicBezTo>
                    <a:cubicBezTo>
                      <a:pt x="88" y="224"/>
                      <a:pt x="91" y="224"/>
                      <a:pt x="94" y="226"/>
                    </a:cubicBezTo>
                    <a:cubicBezTo>
                      <a:pt x="103" y="231"/>
                      <a:pt x="120" y="235"/>
                      <a:pt x="127" y="237"/>
                    </a:cubicBezTo>
                    <a:cubicBezTo>
                      <a:pt x="130" y="238"/>
                      <a:pt x="132" y="240"/>
                      <a:pt x="132" y="243"/>
                    </a:cubicBezTo>
                    <a:lnTo>
                      <a:pt x="132" y="2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5C0CF053-DE23-51F7-4B44-87C3D80505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26" y="563"/>
                <a:ext cx="178" cy="178"/>
              </a:xfrm>
              <a:custGeom>
                <a:avLst/>
                <a:gdLst>
                  <a:gd name="T0" fmla="*/ 60 w 120"/>
                  <a:gd name="T1" fmla="*/ 120 h 120"/>
                  <a:gd name="T2" fmla="*/ 0 w 120"/>
                  <a:gd name="T3" fmla="*/ 60 h 120"/>
                  <a:gd name="T4" fmla="*/ 60 w 120"/>
                  <a:gd name="T5" fmla="*/ 0 h 120"/>
                  <a:gd name="T6" fmla="*/ 120 w 120"/>
                  <a:gd name="T7" fmla="*/ 60 h 120"/>
                  <a:gd name="T8" fmla="*/ 60 w 120"/>
                  <a:gd name="T9" fmla="*/ 120 h 120"/>
                  <a:gd name="T10" fmla="*/ 60 w 120"/>
                  <a:gd name="T11" fmla="*/ 12 h 120"/>
                  <a:gd name="T12" fmla="*/ 12 w 120"/>
                  <a:gd name="T13" fmla="*/ 60 h 120"/>
                  <a:gd name="T14" fmla="*/ 60 w 120"/>
                  <a:gd name="T15" fmla="*/ 108 h 120"/>
                  <a:gd name="T16" fmla="*/ 108 w 120"/>
                  <a:gd name="T17" fmla="*/ 60 h 120"/>
                  <a:gd name="T18" fmla="*/ 60 w 120"/>
                  <a:gd name="T19" fmla="*/ 1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0" h="120">
                    <a:moveTo>
                      <a:pt x="60" y="120"/>
                    </a:moveTo>
                    <a:cubicBezTo>
                      <a:pt x="27" y="120"/>
                      <a:pt x="0" y="93"/>
                      <a:pt x="0" y="60"/>
                    </a:cubicBezTo>
                    <a:cubicBezTo>
                      <a:pt x="0" y="27"/>
                      <a:pt x="27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lose/>
                    <a:moveTo>
                      <a:pt x="60" y="12"/>
                    </a:moveTo>
                    <a:cubicBezTo>
                      <a:pt x="33" y="12"/>
                      <a:pt x="12" y="33"/>
                      <a:pt x="12" y="60"/>
                    </a:cubicBezTo>
                    <a:cubicBezTo>
                      <a:pt x="12" y="86"/>
                      <a:pt x="33" y="108"/>
                      <a:pt x="60" y="108"/>
                    </a:cubicBezTo>
                    <a:cubicBezTo>
                      <a:pt x="86" y="108"/>
                      <a:pt x="108" y="86"/>
                      <a:pt x="108" y="60"/>
                    </a:cubicBezTo>
                    <a:cubicBezTo>
                      <a:pt x="108" y="33"/>
                      <a:pt x="86" y="12"/>
                      <a:pt x="6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250" name="Grupo 9249">
            <a:extLst>
              <a:ext uri="{FF2B5EF4-FFF2-40B4-BE49-F238E27FC236}">
                <a16:creationId xmlns:a16="http://schemas.microsoft.com/office/drawing/2014/main" id="{AF981980-EE18-6802-7480-2D04110FDB1F}"/>
              </a:ext>
            </a:extLst>
          </p:cNvPr>
          <p:cNvGrpSpPr/>
          <p:nvPr/>
        </p:nvGrpSpPr>
        <p:grpSpPr>
          <a:xfrm>
            <a:off x="1051640" y="1519371"/>
            <a:ext cx="795204" cy="795204"/>
            <a:chOff x="1051640" y="1519371"/>
            <a:chExt cx="795204" cy="795204"/>
          </a:xfrm>
        </p:grpSpPr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C93D31DF-30D8-AD40-7436-0D0E735240EF}"/>
                </a:ext>
              </a:extLst>
            </p:cNvPr>
            <p:cNvSpPr/>
            <p:nvPr/>
          </p:nvSpPr>
          <p:spPr>
            <a:xfrm>
              <a:off x="1051640" y="1519371"/>
              <a:ext cx="795204" cy="795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216" name="Group 166">
              <a:extLst>
                <a:ext uri="{FF2B5EF4-FFF2-40B4-BE49-F238E27FC236}">
                  <a16:creationId xmlns:a16="http://schemas.microsoft.com/office/drawing/2014/main" id="{368C2900-14F4-30EE-11C5-03FE91EA4E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29023" y="1693119"/>
              <a:ext cx="440438" cy="447708"/>
              <a:chOff x="6728" y="3219"/>
              <a:chExt cx="424" cy="431"/>
            </a:xfrm>
            <a:solidFill>
              <a:schemeClr val="tx2"/>
            </a:solidFill>
          </p:grpSpPr>
          <p:sp>
            <p:nvSpPr>
              <p:cNvPr id="9217" name="Rectangle 167">
                <a:extLst>
                  <a:ext uri="{FF2B5EF4-FFF2-40B4-BE49-F238E27FC236}">
                    <a16:creationId xmlns:a16="http://schemas.microsoft.com/office/drawing/2014/main" id="{B2E7C479-1493-5698-EA5C-7F084B26CB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9" y="3430"/>
                <a:ext cx="18" cy="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19" name="Freeform 168">
                <a:extLst>
                  <a:ext uri="{FF2B5EF4-FFF2-40B4-BE49-F238E27FC236}">
                    <a16:creationId xmlns:a16="http://schemas.microsoft.com/office/drawing/2014/main" id="{F6CE1AEE-32ED-E6AC-52BF-417DA4BEB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8" y="3430"/>
                <a:ext cx="211" cy="184"/>
              </a:xfrm>
              <a:custGeom>
                <a:avLst/>
                <a:gdLst>
                  <a:gd name="T0" fmla="*/ 138 w 138"/>
                  <a:gd name="T1" fmla="*/ 123 h 123"/>
                  <a:gd name="T2" fmla="*/ 6 w 138"/>
                  <a:gd name="T3" fmla="*/ 123 h 123"/>
                  <a:gd name="T4" fmla="*/ 0 w 138"/>
                  <a:gd name="T5" fmla="*/ 117 h 123"/>
                  <a:gd name="T6" fmla="*/ 0 w 138"/>
                  <a:gd name="T7" fmla="*/ 89 h 123"/>
                  <a:gd name="T8" fmla="*/ 28 w 138"/>
                  <a:gd name="T9" fmla="*/ 49 h 123"/>
                  <a:gd name="T10" fmla="*/ 84 w 138"/>
                  <a:gd name="T11" fmla="*/ 29 h 123"/>
                  <a:gd name="T12" fmla="*/ 84 w 138"/>
                  <a:gd name="T13" fmla="*/ 0 h 123"/>
                  <a:gd name="T14" fmla="*/ 96 w 138"/>
                  <a:gd name="T15" fmla="*/ 0 h 123"/>
                  <a:gd name="T16" fmla="*/ 96 w 138"/>
                  <a:gd name="T17" fmla="*/ 33 h 123"/>
                  <a:gd name="T18" fmla="*/ 92 w 138"/>
                  <a:gd name="T19" fmla="*/ 39 h 123"/>
                  <a:gd name="T20" fmla="*/ 32 w 138"/>
                  <a:gd name="T21" fmla="*/ 61 h 123"/>
                  <a:gd name="T22" fmla="*/ 12 w 138"/>
                  <a:gd name="T23" fmla="*/ 89 h 123"/>
                  <a:gd name="T24" fmla="*/ 12 w 138"/>
                  <a:gd name="T25" fmla="*/ 111 h 123"/>
                  <a:gd name="T26" fmla="*/ 138 w 138"/>
                  <a:gd name="T27" fmla="*/ 111 h 123"/>
                  <a:gd name="T28" fmla="*/ 138 w 138"/>
                  <a:gd name="T2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8" h="123">
                    <a:moveTo>
                      <a:pt x="138" y="123"/>
                    </a:moveTo>
                    <a:cubicBezTo>
                      <a:pt x="6" y="123"/>
                      <a:pt x="6" y="123"/>
                      <a:pt x="6" y="123"/>
                    </a:cubicBezTo>
                    <a:cubicBezTo>
                      <a:pt x="3" y="123"/>
                      <a:pt x="0" y="121"/>
                      <a:pt x="0" y="11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1"/>
                      <a:pt x="11" y="55"/>
                      <a:pt x="28" y="49"/>
                    </a:cubicBezTo>
                    <a:cubicBezTo>
                      <a:pt x="84" y="29"/>
                      <a:pt x="84" y="29"/>
                      <a:pt x="84" y="29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33"/>
                      <a:pt x="96" y="33"/>
                      <a:pt x="96" y="33"/>
                    </a:cubicBezTo>
                    <a:cubicBezTo>
                      <a:pt x="96" y="36"/>
                      <a:pt x="94" y="38"/>
                      <a:pt x="92" y="39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20" y="65"/>
                      <a:pt x="12" y="76"/>
                      <a:pt x="12" y="89"/>
                    </a:cubicBezTo>
                    <a:cubicBezTo>
                      <a:pt x="12" y="111"/>
                      <a:pt x="12" y="111"/>
                      <a:pt x="12" y="111"/>
                    </a:cubicBezTo>
                    <a:cubicBezTo>
                      <a:pt x="138" y="111"/>
                      <a:pt x="138" y="111"/>
                      <a:pt x="138" y="111"/>
                    </a:cubicBezTo>
                    <a:lnTo>
                      <a:pt x="138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20" name="Freeform 169">
                <a:extLst>
                  <a:ext uri="{FF2B5EF4-FFF2-40B4-BE49-F238E27FC236}">
                    <a16:creationId xmlns:a16="http://schemas.microsoft.com/office/drawing/2014/main" id="{19F4B894-607A-DD0D-14DF-C75A65B97A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11" y="3219"/>
                <a:ext cx="202" cy="234"/>
              </a:xfrm>
              <a:custGeom>
                <a:avLst/>
                <a:gdLst>
                  <a:gd name="T0" fmla="*/ 66 w 132"/>
                  <a:gd name="T1" fmla="*/ 156 h 156"/>
                  <a:gd name="T2" fmla="*/ 0 w 132"/>
                  <a:gd name="T3" fmla="*/ 78 h 156"/>
                  <a:gd name="T4" fmla="*/ 66 w 132"/>
                  <a:gd name="T5" fmla="*/ 0 h 156"/>
                  <a:gd name="T6" fmla="*/ 132 w 132"/>
                  <a:gd name="T7" fmla="*/ 78 h 156"/>
                  <a:gd name="T8" fmla="*/ 66 w 132"/>
                  <a:gd name="T9" fmla="*/ 156 h 156"/>
                  <a:gd name="T10" fmla="*/ 66 w 132"/>
                  <a:gd name="T11" fmla="*/ 12 h 156"/>
                  <a:gd name="T12" fmla="*/ 12 w 132"/>
                  <a:gd name="T13" fmla="*/ 78 h 156"/>
                  <a:gd name="T14" fmla="*/ 66 w 132"/>
                  <a:gd name="T15" fmla="*/ 144 h 156"/>
                  <a:gd name="T16" fmla="*/ 120 w 132"/>
                  <a:gd name="T17" fmla="*/ 78 h 156"/>
                  <a:gd name="T18" fmla="*/ 66 w 132"/>
                  <a:gd name="T19" fmla="*/ 12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2" h="156">
                    <a:moveTo>
                      <a:pt x="66" y="156"/>
                    </a:moveTo>
                    <a:cubicBezTo>
                      <a:pt x="29" y="156"/>
                      <a:pt x="0" y="121"/>
                      <a:pt x="0" y="78"/>
                    </a:cubicBezTo>
                    <a:cubicBezTo>
                      <a:pt x="0" y="35"/>
                      <a:pt x="29" y="0"/>
                      <a:pt x="66" y="0"/>
                    </a:cubicBezTo>
                    <a:cubicBezTo>
                      <a:pt x="102" y="0"/>
                      <a:pt x="132" y="35"/>
                      <a:pt x="132" y="78"/>
                    </a:cubicBezTo>
                    <a:cubicBezTo>
                      <a:pt x="132" y="121"/>
                      <a:pt x="102" y="156"/>
                      <a:pt x="66" y="156"/>
                    </a:cubicBezTo>
                    <a:close/>
                    <a:moveTo>
                      <a:pt x="66" y="12"/>
                    </a:moveTo>
                    <a:cubicBezTo>
                      <a:pt x="36" y="12"/>
                      <a:pt x="12" y="42"/>
                      <a:pt x="12" y="78"/>
                    </a:cubicBezTo>
                    <a:cubicBezTo>
                      <a:pt x="12" y="115"/>
                      <a:pt x="36" y="144"/>
                      <a:pt x="66" y="144"/>
                    </a:cubicBezTo>
                    <a:cubicBezTo>
                      <a:pt x="96" y="144"/>
                      <a:pt x="120" y="115"/>
                      <a:pt x="120" y="78"/>
                    </a:cubicBezTo>
                    <a:cubicBezTo>
                      <a:pt x="120" y="42"/>
                      <a:pt x="96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21" name="Freeform 171">
                <a:extLst>
                  <a:ext uri="{FF2B5EF4-FFF2-40B4-BE49-F238E27FC236}">
                    <a16:creationId xmlns:a16="http://schemas.microsoft.com/office/drawing/2014/main" id="{00FF6F77-5288-F984-A6A8-54A0C93F42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25" y="3524"/>
                <a:ext cx="74" cy="72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8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8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0" y="36"/>
                      <a:pt x="36" y="31"/>
                      <a:pt x="36" y="24"/>
                    </a:cubicBezTo>
                    <a:cubicBezTo>
                      <a:pt x="36" y="18"/>
                      <a:pt x="30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22" name="Freeform 172">
                <a:extLst>
                  <a:ext uri="{FF2B5EF4-FFF2-40B4-BE49-F238E27FC236}">
                    <a16:creationId xmlns:a16="http://schemas.microsoft.com/office/drawing/2014/main" id="{BEA602DC-9E39-D60A-AAD6-09135A7020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0" y="3471"/>
                <a:ext cx="182" cy="179"/>
              </a:xfrm>
              <a:custGeom>
                <a:avLst/>
                <a:gdLst>
                  <a:gd name="T0" fmla="*/ 46 w 119"/>
                  <a:gd name="T1" fmla="*/ 120 h 120"/>
                  <a:gd name="T2" fmla="*/ 40 w 119"/>
                  <a:gd name="T3" fmla="*/ 105 h 120"/>
                  <a:gd name="T4" fmla="*/ 22 w 119"/>
                  <a:gd name="T5" fmla="*/ 103 h 120"/>
                  <a:gd name="T6" fmla="*/ 14 w 119"/>
                  <a:gd name="T7" fmla="*/ 101 h 120"/>
                  <a:gd name="T8" fmla="*/ 1 w 119"/>
                  <a:gd name="T9" fmla="*/ 75 h 120"/>
                  <a:gd name="T10" fmla="*/ 12 w 119"/>
                  <a:gd name="T11" fmla="*/ 67 h 120"/>
                  <a:gd name="T12" fmla="*/ 12 w 119"/>
                  <a:gd name="T13" fmla="*/ 54 h 120"/>
                  <a:gd name="T14" fmla="*/ 2 w 119"/>
                  <a:gd name="T15" fmla="*/ 41 h 120"/>
                  <a:gd name="T16" fmla="*/ 17 w 119"/>
                  <a:gd name="T17" fmla="*/ 17 h 120"/>
                  <a:gd name="T18" fmla="*/ 29 w 119"/>
                  <a:gd name="T19" fmla="*/ 23 h 120"/>
                  <a:gd name="T20" fmla="*/ 40 w 119"/>
                  <a:gd name="T21" fmla="*/ 6 h 120"/>
                  <a:gd name="T22" fmla="*/ 70 w 119"/>
                  <a:gd name="T23" fmla="*/ 0 h 120"/>
                  <a:gd name="T24" fmla="*/ 76 w 119"/>
                  <a:gd name="T25" fmla="*/ 16 h 120"/>
                  <a:gd name="T26" fmla="*/ 98 w 119"/>
                  <a:gd name="T27" fmla="*/ 18 h 120"/>
                  <a:gd name="T28" fmla="*/ 118 w 119"/>
                  <a:gd name="T29" fmla="*/ 41 h 120"/>
                  <a:gd name="T30" fmla="*/ 116 w 119"/>
                  <a:gd name="T31" fmla="*/ 49 h 120"/>
                  <a:gd name="T32" fmla="*/ 108 w 119"/>
                  <a:gd name="T33" fmla="*/ 60 h 120"/>
                  <a:gd name="T34" fmla="*/ 115 w 119"/>
                  <a:gd name="T35" fmla="*/ 72 h 120"/>
                  <a:gd name="T36" fmla="*/ 118 w 119"/>
                  <a:gd name="T37" fmla="*/ 80 h 120"/>
                  <a:gd name="T38" fmla="*/ 97 w 119"/>
                  <a:gd name="T39" fmla="*/ 103 h 120"/>
                  <a:gd name="T40" fmla="*/ 76 w 119"/>
                  <a:gd name="T41" fmla="*/ 105 h 120"/>
                  <a:gd name="T42" fmla="*/ 70 w 119"/>
                  <a:gd name="T43" fmla="*/ 120 h 120"/>
                  <a:gd name="T44" fmla="*/ 64 w 119"/>
                  <a:gd name="T45" fmla="*/ 108 h 120"/>
                  <a:gd name="T46" fmla="*/ 68 w 119"/>
                  <a:gd name="T47" fmla="*/ 95 h 120"/>
                  <a:gd name="T48" fmla="*/ 91 w 119"/>
                  <a:gd name="T49" fmla="*/ 86 h 120"/>
                  <a:gd name="T50" fmla="*/ 104 w 119"/>
                  <a:gd name="T51" fmla="*/ 79 h 120"/>
                  <a:gd name="T52" fmla="*/ 95 w 119"/>
                  <a:gd name="T53" fmla="*/ 69 h 120"/>
                  <a:gd name="T54" fmla="*/ 95 w 119"/>
                  <a:gd name="T55" fmla="*/ 52 h 120"/>
                  <a:gd name="T56" fmla="*/ 104 w 119"/>
                  <a:gd name="T57" fmla="*/ 42 h 120"/>
                  <a:gd name="T58" fmla="*/ 91 w 119"/>
                  <a:gd name="T59" fmla="*/ 35 h 120"/>
                  <a:gd name="T60" fmla="*/ 68 w 119"/>
                  <a:gd name="T61" fmla="*/ 26 h 120"/>
                  <a:gd name="T62" fmla="*/ 64 w 119"/>
                  <a:gd name="T63" fmla="*/ 12 h 120"/>
                  <a:gd name="T64" fmla="*/ 52 w 119"/>
                  <a:gd name="T65" fmla="*/ 20 h 120"/>
                  <a:gd name="T66" fmla="*/ 34 w 119"/>
                  <a:gd name="T67" fmla="*/ 34 h 120"/>
                  <a:gd name="T68" fmla="*/ 21 w 119"/>
                  <a:gd name="T69" fmla="*/ 31 h 120"/>
                  <a:gd name="T70" fmla="*/ 22 w 119"/>
                  <a:gd name="T71" fmla="*/ 46 h 120"/>
                  <a:gd name="T72" fmla="*/ 24 w 119"/>
                  <a:gd name="T73" fmla="*/ 60 h 120"/>
                  <a:gd name="T74" fmla="*/ 22 w 119"/>
                  <a:gd name="T75" fmla="*/ 75 h 120"/>
                  <a:gd name="T76" fmla="*/ 21 w 119"/>
                  <a:gd name="T77" fmla="*/ 89 h 120"/>
                  <a:gd name="T78" fmla="*/ 34 w 119"/>
                  <a:gd name="T79" fmla="*/ 87 h 120"/>
                  <a:gd name="T80" fmla="*/ 52 w 119"/>
                  <a:gd name="T81" fmla="*/ 10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9" h="120">
                    <a:moveTo>
                      <a:pt x="70" y="120"/>
                    </a:moveTo>
                    <a:cubicBezTo>
                      <a:pt x="46" y="120"/>
                      <a:pt x="46" y="120"/>
                      <a:pt x="46" y="120"/>
                    </a:cubicBezTo>
                    <a:cubicBezTo>
                      <a:pt x="43" y="120"/>
                      <a:pt x="40" y="118"/>
                      <a:pt x="40" y="114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36" y="103"/>
                      <a:pt x="33" y="101"/>
                      <a:pt x="29" y="98"/>
                    </a:cubicBezTo>
                    <a:cubicBezTo>
                      <a:pt x="22" y="103"/>
                      <a:pt x="22" y="103"/>
                      <a:pt x="22" y="103"/>
                    </a:cubicBezTo>
                    <a:cubicBezTo>
                      <a:pt x="21" y="104"/>
                      <a:pt x="19" y="104"/>
                      <a:pt x="18" y="104"/>
                    </a:cubicBezTo>
                    <a:cubicBezTo>
                      <a:pt x="16" y="103"/>
                      <a:pt x="15" y="102"/>
                      <a:pt x="14" y="101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1" y="79"/>
                      <a:pt x="1" y="77"/>
                      <a:pt x="1" y="75"/>
                    </a:cubicBezTo>
                    <a:cubicBezTo>
                      <a:pt x="2" y="74"/>
                      <a:pt x="3" y="73"/>
                      <a:pt x="4" y="72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2" y="65"/>
                      <a:pt x="12" y="63"/>
                      <a:pt x="12" y="60"/>
                    </a:cubicBezTo>
                    <a:cubicBezTo>
                      <a:pt x="12" y="58"/>
                      <a:pt x="12" y="56"/>
                      <a:pt x="12" y="54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1" y="47"/>
                      <a:pt x="0" y="44"/>
                      <a:pt x="2" y="4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4" y="19"/>
                      <a:pt x="16" y="18"/>
                      <a:pt x="17" y="17"/>
                    </a:cubicBezTo>
                    <a:cubicBezTo>
                      <a:pt x="19" y="17"/>
                      <a:pt x="20" y="17"/>
                      <a:pt x="22" y="18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33" y="20"/>
                      <a:pt x="36" y="18"/>
                      <a:pt x="40" y="16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40" y="3"/>
                      <a:pt x="43" y="0"/>
                      <a:pt x="46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73" y="0"/>
                      <a:pt x="76" y="3"/>
                      <a:pt x="76" y="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9" y="17"/>
                      <a:pt x="84" y="20"/>
                      <a:pt x="88" y="23"/>
                    </a:cubicBezTo>
                    <a:cubicBezTo>
                      <a:pt x="98" y="18"/>
                      <a:pt x="98" y="18"/>
                      <a:pt x="98" y="18"/>
                    </a:cubicBezTo>
                    <a:cubicBezTo>
                      <a:pt x="101" y="16"/>
                      <a:pt x="104" y="17"/>
                      <a:pt x="106" y="20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9" y="42"/>
                      <a:pt x="119" y="44"/>
                      <a:pt x="118" y="45"/>
                    </a:cubicBezTo>
                    <a:cubicBezTo>
                      <a:pt x="118" y="47"/>
                      <a:pt x="117" y="48"/>
                      <a:pt x="116" y="49"/>
                    </a:cubicBezTo>
                    <a:cubicBezTo>
                      <a:pt x="107" y="54"/>
                      <a:pt x="107" y="54"/>
                      <a:pt x="107" y="54"/>
                    </a:cubicBezTo>
                    <a:cubicBezTo>
                      <a:pt x="108" y="56"/>
                      <a:pt x="108" y="58"/>
                      <a:pt x="108" y="60"/>
                    </a:cubicBezTo>
                    <a:cubicBezTo>
                      <a:pt x="108" y="63"/>
                      <a:pt x="108" y="65"/>
                      <a:pt x="107" y="67"/>
                    </a:cubicBezTo>
                    <a:cubicBezTo>
                      <a:pt x="115" y="72"/>
                      <a:pt x="115" y="72"/>
                      <a:pt x="115" y="72"/>
                    </a:cubicBezTo>
                    <a:cubicBezTo>
                      <a:pt x="117" y="73"/>
                      <a:pt x="118" y="74"/>
                      <a:pt x="118" y="76"/>
                    </a:cubicBezTo>
                    <a:cubicBezTo>
                      <a:pt x="119" y="77"/>
                      <a:pt x="118" y="79"/>
                      <a:pt x="118" y="80"/>
                    </a:cubicBezTo>
                    <a:cubicBezTo>
                      <a:pt x="105" y="101"/>
                      <a:pt x="105" y="101"/>
                      <a:pt x="105" y="101"/>
                    </a:cubicBezTo>
                    <a:cubicBezTo>
                      <a:pt x="104" y="104"/>
                      <a:pt x="100" y="105"/>
                      <a:pt x="97" y="103"/>
                    </a:cubicBezTo>
                    <a:cubicBezTo>
                      <a:pt x="88" y="98"/>
                      <a:pt x="88" y="98"/>
                      <a:pt x="88" y="98"/>
                    </a:cubicBezTo>
                    <a:cubicBezTo>
                      <a:pt x="84" y="101"/>
                      <a:pt x="79" y="103"/>
                      <a:pt x="76" y="105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76" y="118"/>
                      <a:pt x="73" y="120"/>
                      <a:pt x="70" y="120"/>
                    </a:cubicBezTo>
                    <a:close/>
                    <a:moveTo>
                      <a:pt x="52" y="108"/>
                    </a:moveTo>
                    <a:cubicBezTo>
                      <a:pt x="64" y="108"/>
                      <a:pt x="64" y="108"/>
                      <a:pt x="64" y="108"/>
                    </a:cubicBezTo>
                    <a:cubicBezTo>
                      <a:pt x="64" y="101"/>
                      <a:pt x="64" y="101"/>
                      <a:pt x="64" y="101"/>
                    </a:cubicBezTo>
                    <a:cubicBezTo>
                      <a:pt x="64" y="98"/>
                      <a:pt x="66" y="96"/>
                      <a:pt x="68" y="95"/>
                    </a:cubicBezTo>
                    <a:cubicBezTo>
                      <a:pt x="74" y="93"/>
                      <a:pt x="80" y="90"/>
                      <a:pt x="84" y="87"/>
                    </a:cubicBezTo>
                    <a:cubicBezTo>
                      <a:pt x="85" y="85"/>
                      <a:pt x="88" y="84"/>
                      <a:pt x="91" y="86"/>
                    </a:cubicBezTo>
                    <a:cubicBezTo>
                      <a:pt x="98" y="90"/>
                      <a:pt x="98" y="90"/>
                      <a:pt x="98" y="90"/>
                    </a:cubicBezTo>
                    <a:cubicBezTo>
                      <a:pt x="104" y="79"/>
                      <a:pt x="104" y="79"/>
                      <a:pt x="104" y="79"/>
                    </a:cubicBezTo>
                    <a:cubicBezTo>
                      <a:pt x="98" y="75"/>
                      <a:pt x="98" y="75"/>
                      <a:pt x="98" y="75"/>
                    </a:cubicBezTo>
                    <a:cubicBezTo>
                      <a:pt x="95" y="74"/>
                      <a:pt x="94" y="71"/>
                      <a:pt x="95" y="69"/>
                    </a:cubicBezTo>
                    <a:cubicBezTo>
                      <a:pt x="96" y="65"/>
                      <a:pt x="96" y="63"/>
                      <a:pt x="96" y="60"/>
                    </a:cubicBezTo>
                    <a:cubicBezTo>
                      <a:pt x="96" y="58"/>
                      <a:pt x="96" y="55"/>
                      <a:pt x="95" y="52"/>
                    </a:cubicBezTo>
                    <a:cubicBezTo>
                      <a:pt x="94" y="50"/>
                      <a:pt x="95" y="47"/>
                      <a:pt x="98" y="46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98" y="31"/>
                      <a:pt x="98" y="31"/>
                      <a:pt x="98" y="31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88" y="36"/>
                      <a:pt x="85" y="36"/>
                      <a:pt x="84" y="34"/>
                    </a:cubicBezTo>
                    <a:cubicBezTo>
                      <a:pt x="80" y="31"/>
                      <a:pt x="74" y="28"/>
                      <a:pt x="68" y="26"/>
                    </a:cubicBezTo>
                    <a:cubicBezTo>
                      <a:pt x="66" y="25"/>
                      <a:pt x="64" y="23"/>
                      <a:pt x="64" y="20"/>
                    </a:cubicBezTo>
                    <a:cubicBezTo>
                      <a:pt x="64" y="12"/>
                      <a:pt x="64" y="12"/>
                      <a:pt x="64" y="12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52" y="20"/>
                      <a:pt x="52" y="20"/>
                      <a:pt x="52" y="20"/>
                    </a:cubicBezTo>
                    <a:cubicBezTo>
                      <a:pt x="52" y="23"/>
                      <a:pt x="50" y="25"/>
                      <a:pt x="48" y="26"/>
                    </a:cubicBezTo>
                    <a:cubicBezTo>
                      <a:pt x="43" y="27"/>
                      <a:pt x="39" y="30"/>
                      <a:pt x="34" y="34"/>
                    </a:cubicBezTo>
                    <a:cubicBezTo>
                      <a:pt x="32" y="36"/>
                      <a:pt x="29" y="36"/>
                      <a:pt x="27" y="35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4" y="47"/>
                      <a:pt x="25" y="50"/>
                      <a:pt x="25" y="52"/>
                    </a:cubicBezTo>
                    <a:cubicBezTo>
                      <a:pt x="24" y="55"/>
                      <a:pt x="24" y="58"/>
                      <a:pt x="24" y="60"/>
                    </a:cubicBezTo>
                    <a:cubicBezTo>
                      <a:pt x="24" y="63"/>
                      <a:pt x="24" y="66"/>
                      <a:pt x="25" y="69"/>
                    </a:cubicBezTo>
                    <a:cubicBezTo>
                      <a:pt x="25" y="71"/>
                      <a:pt x="24" y="74"/>
                      <a:pt x="22" y="75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21" y="89"/>
                      <a:pt x="21" y="89"/>
                      <a:pt x="21" y="89"/>
                    </a:cubicBezTo>
                    <a:cubicBezTo>
                      <a:pt x="27" y="86"/>
                      <a:pt x="27" y="86"/>
                      <a:pt x="27" y="86"/>
                    </a:cubicBezTo>
                    <a:cubicBezTo>
                      <a:pt x="29" y="84"/>
                      <a:pt x="32" y="85"/>
                      <a:pt x="34" y="87"/>
                    </a:cubicBezTo>
                    <a:cubicBezTo>
                      <a:pt x="39" y="91"/>
                      <a:pt x="43" y="93"/>
                      <a:pt x="48" y="95"/>
                    </a:cubicBezTo>
                    <a:cubicBezTo>
                      <a:pt x="50" y="96"/>
                      <a:pt x="52" y="98"/>
                      <a:pt x="52" y="101"/>
                    </a:cubicBezTo>
                    <a:lnTo>
                      <a:pt x="52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Box 24">
            <a:extLst>
              <a:ext uri="{FF2B5EF4-FFF2-40B4-BE49-F238E27FC236}">
                <a16:creationId xmlns:a16="http://schemas.microsoft.com/office/drawing/2014/main" id="{0BA1E044-E982-D597-39A9-85BBCFDBBE1B}"/>
              </a:ext>
            </a:extLst>
          </p:cNvPr>
          <p:cNvSpPr txBox="1"/>
          <p:nvPr/>
        </p:nvSpPr>
        <p:spPr>
          <a:xfrm>
            <a:off x="371476" y="2880360"/>
            <a:ext cx="2155532" cy="34283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ppli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B7BF6EC4-DCED-1942-8A50-178F0CD42315}"/>
              </a:ext>
            </a:extLst>
          </p:cNvPr>
          <p:cNvSpPr txBox="1"/>
          <p:nvPr/>
        </p:nvSpPr>
        <p:spPr>
          <a:xfrm>
            <a:off x="2694856" y="2880360"/>
            <a:ext cx="2155532" cy="34283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npu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DCB2AC3D-6500-5AC5-3D3B-C24359166F60}"/>
              </a:ext>
            </a:extLst>
          </p:cNvPr>
          <p:cNvSpPr txBox="1"/>
          <p:nvPr/>
        </p:nvSpPr>
        <p:spPr>
          <a:xfrm>
            <a:off x="5018236" y="2880360"/>
            <a:ext cx="2155532" cy="34283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ces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1BD8A85A-20B5-B685-FD60-4DA9AC9D5020}"/>
              </a:ext>
            </a:extLst>
          </p:cNvPr>
          <p:cNvSpPr txBox="1"/>
          <p:nvPr/>
        </p:nvSpPr>
        <p:spPr>
          <a:xfrm>
            <a:off x="7341616" y="2880360"/>
            <a:ext cx="2155532" cy="34283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tpu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55B39897-0266-CCAB-8BD4-9364E7E8E3E5}"/>
              </a:ext>
            </a:extLst>
          </p:cNvPr>
          <p:cNvSpPr txBox="1"/>
          <p:nvPr/>
        </p:nvSpPr>
        <p:spPr>
          <a:xfrm>
            <a:off x="9664994" y="2880360"/>
            <a:ext cx="2155532" cy="34283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ustom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9230" name="Conector recto 9229">
            <a:extLst>
              <a:ext uri="{FF2B5EF4-FFF2-40B4-BE49-F238E27FC236}">
                <a16:creationId xmlns:a16="http://schemas.microsoft.com/office/drawing/2014/main" id="{469E2E3E-E2C4-9FDE-EE9E-13CF06DF1BED}"/>
              </a:ext>
            </a:extLst>
          </p:cNvPr>
          <p:cNvCxnSpPr>
            <a:cxnSpLocks/>
          </p:cNvCxnSpPr>
          <p:nvPr/>
        </p:nvCxnSpPr>
        <p:spPr>
          <a:xfrm flipV="1">
            <a:off x="2610932" y="2880360"/>
            <a:ext cx="0" cy="3428364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2" name="Conector recto 9231">
            <a:extLst>
              <a:ext uri="{FF2B5EF4-FFF2-40B4-BE49-F238E27FC236}">
                <a16:creationId xmlns:a16="http://schemas.microsoft.com/office/drawing/2014/main" id="{B97C65A1-1192-3784-24CC-7285F38854CF}"/>
              </a:ext>
            </a:extLst>
          </p:cNvPr>
          <p:cNvCxnSpPr>
            <a:cxnSpLocks/>
          </p:cNvCxnSpPr>
          <p:nvPr/>
        </p:nvCxnSpPr>
        <p:spPr>
          <a:xfrm flipV="1">
            <a:off x="4934312" y="2880360"/>
            <a:ext cx="0" cy="3428364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3" name="Conector recto 9232">
            <a:extLst>
              <a:ext uri="{FF2B5EF4-FFF2-40B4-BE49-F238E27FC236}">
                <a16:creationId xmlns:a16="http://schemas.microsoft.com/office/drawing/2014/main" id="{FC45690C-CECC-0262-049D-C5E1219C7DDD}"/>
              </a:ext>
            </a:extLst>
          </p:cNvPr>
          <p:cNvCxnSpPr>
            <a:cxnSpLocks/>
          </p:cNvCxnSpPr>
          <p:nvPr/>
        </p:nvCxnSpPr>
        <p:spPr>
          <a:xfrm flipV="1">
            <a:off x="7257692" y="2880360"/>
            <a:ext cx="0" cy="3428364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4" name="Conector recto 9233">
            <a:extLst>
              <a:ext uri="{FF2B5EF4-FFF2-40B4-BE49-F238E27FC236}">
                <a16:creationId xmlns:a16="http://schemas.microsoft.com/office/drawing/2014/main" id="{B1658D0A-520D-E230-A014-2A8B727B2732}"/>
              </a:ext>
            </a:extLst>
          </p:cNvPr>
          <p:cNvCxnSpPr>
            <a:cxnSpLocks/>
          </p:cNvCxnSpPr>
          <p:nvPr/>
        </p:nvCxnSpPr>
        <p:spPr>
          <a:xfrm flipV="1">
            <a:off x="9581072" y="2880360"/>
            <a:ext cx="0" cy="3428364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41" name="Rectángulo 9240">
            <a:extLst>
              <a:ext uri="{FF2B5EF4-FFF2-40B4-BE49-F238E27FC236}">
                <a16:creationId xmlns:a16="http://schemas.microsoft.com/office/drawing/2014/main" id="{F0CE5A87-7768-64D4-F5FB-5291B1A38B64}"/>
              </a:ext>
            </a:extLst>
          </p:cNvPr>
          <p:cNvSpPr/>
          <p:nvPr/>
        </p:nvSpPr>
        <p:spPr>
          <a:xfrm>
            <a:off x="371476" y="2395920"/>
            <a:ext cx="385383" cy="3853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</a:t>
            </a:r>
          </a:p>
        </p:txBody>
      </p:sp>
      <p:sp>
        <p:nvSpPr>
          <p:cNvPr id="9242" name="Rectángulo 9241">
            <a:extLst>
              <a:ext uri="{FF2B5EF4-FFF2-40B4-BE49-F238E27FC236}">
                <a16:creationId xmlns:a16="http://schemas.microsoft.com/office/drawing/2014/main" id="{9F815297-4501-63A3-7679-8723243D4515}"/>
              </a:ext>
            </a:extLst>
          </p:cNvPr>
          <p:cNvSpPr/>
          <p:nvPr/>
        </p:nvSpPr>
        <p:spPr>
          <a:xfrm>
            <a:off x="2694856" y="2395920"/>
            <a:ext cx="385383" cy="3853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</a:p>
        </p:txBody>
      </p:sp>
      <p:sp>
        <p:nvSpPr>
          <p:cNvPr id="9243" name="Rectángulo 9242">
            <a:extLst>
              <a:ext uri="{FF2B5EF4-FFF2-40B4-BE49-F238E27FC236}">
                <a16:creationId xmlns:a16="http://schemas.microsoft.com/office/drawing/2014/main" id="{EBB054AD-E835-2EE6-DB0B-7749D2BFC8D5}"/>
              </a:ext>
            </a:extLst>
          </p:cNvPr>
          <p:cNvSpPr/>
          <p:nvPr/>
        </p:nvSpPr>
        <p:spPr>
          <a:xfrm>
            <a:off x="5018236" y="2395920"/>
            <a:ext cx="385383" cy="3853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</a:t>
            </a:r>
          </a:p>
        </p:txBody>
      </p:sp>
      <p:sp>
        <p:nvSpPr>
          <p:cNvPr id="9244" name="Rectángulo 9243">
            <a:extLst>
              <a:ext uri="{FF2B5EF4-FFF2-40B4-BE49-F238E27FC236}">
                <a16:creationId xmlns:a16="http://schemas.microsoft.com/office/drawing/2014/main" id="{26A881FE-D28D-A230-6C89-E43807887FB5}"/>
              </a:ext>
            </a:extLst>
          </p:cNvPr>
          <p:cNvSpPr/>
          <p:nvPr/>
        </p:nvSpPr>
        <p:spPr>
          <a:xfrm>
            <a:off x="7341616" y="2395920"/>
            <a:ext cx="385383" cy="3853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</a:t>
            </a:r>
          </a:p>
        </p:txBody>
      </p:sp>
      <p:sp>
        <p:nvSpPr>
          <p:cNvPr id="9245" name="Rectángulo 9244">
            <a:extLst>
              <a:ext uri="{FF2B5EF4-FFF2-40B4-BE49-F238E27FC236}">
                <a16:creationId xmlns:a16="http://schemas.microsoft.com/office/drawing/2014/main" id="{C38D7092-7A5A-34AA-B7CE-0955538B6FB9}"/>
              </a:ext>
            </a:extLst>
          </p:cNvPr>
          <p:cNvSpPr/>
          <p:nvPr/>
        </p:nvSpPr>
        <p:spPr>
          <a:xfrm>
            <a:off x="9664994" y="2395920"/>
            <a:ext cx="385383" cy="3853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</a:t>
            </a: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6F1D4B30-E7A6-C5C8-D2F7-8E879C3B80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183935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82DE044-6DD4-1DD9-DA9D-55A0F74093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C82DE044-6DD4-1DD9-DA9D-55A0F7409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PESTEL Analysis</a:t>
            </a:r>
          </a:p>
        </p:txBody>
      </p:sp>
      <p:graphicFrame>
        <p:nvGraphicFramePr>
          <p:cNvPr id="4" name="Tabla 4">
            <a:extLst>
              <a:ext uri="{FF2B5EF4-FFF2-40B4-BE49-F238E27FC236}">
                <a16:creationId xmlns:a16="http://schemas.microsoft.com/office/drawing/2014/main" id="{3F4008BD-9106-EEF5-229D-4E37EB43E94B}"/>
              </a:ext>
            </a:extLst>
          </p:cNvPr>
          <p:cNvGraphicFramePr>
            <a:graphicFrameLocks noGrp="1"/>
          </p:cNvGraphicFramePr>
          <p:nvPr/>
        </p:nvGraphicFramePr>
        <p:xfrm>
          <a:off x="398687" y="1152525"/>
          <a:ext cx="11421838" cy="5156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113">
                  <a:extLst>
                    <a:ext uri="{9D8B030D-6E8A-4147-A177-3AD203B41FA5}">
                      <a16:colId xmlns:a16="http://schemas.microsoft.com/office/drawing/2014/main" val="2333216020"/>
                    </a:ext>
                  </a:extLst>
                </a:gridCol>
                <a:gridCol w="1602282">
                  <a:extLst>
                    <a:ext uri="{9D8B030D-6E8A-4147-A177-3AD203B41FA5}">
                      <a16:colId xmlns:a16="http://schemas.microsoft.com/office/drawing/2014/main" val="3710560"/>
                    </a:ext>
                  </a:extLst>
                </a:gridCol>
                <a:gridCol w="8897443">
                  <a:extLst>
                    <a:ext uri="{9D8B030D-6E8A-4147-A177-3AD203B41FA5}">
                      <a16:colId xmlns:a16="http://schemas.microsoft.com/office/drawing/2014/main" val="2954588548"/>
                    </a:ext>
                  </a:extLst>
                </a:gridCol>
              </a:tblGrid>
              <a:tr h="85936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P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Political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1029431"/>
                  </a:ext>
                </a:extLst>
              </a:tr>
              <a:tr h="85936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E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2"/>
                          </a:solidFill>
                        </a:rPr>
                        <a:t>Economic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27384"/>
                  </a:ext>
                </a:extLst>
              </a:tr>
              <a:tr h="85936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2"/>
                          </a:solidFill>
                        </a:rPr>
                        <a:t>Social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134485"/>
                  </a:ext>
                </a:extLst>
              </a:tr>
              <a:tr h="85936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T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2"/>
                          </a:solidFill>
                        </a:rPr>
                        <a:t>Technological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0900508"/>
                  </a:ext>
                </a:extLst>
              </a:tr>
              <a:tr h="85936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L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2"/>
                          </a:solidFill>
                        </a:rPr>
                        <a:t>Legal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359613"/>
                  </a:ext>
                </a:extLst>
              </a:tr>
              <a:tr h="85936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E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2"/>
                          </a:solidFill>
                        </a:rPr>
                        <a:t>Environmental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1673216"/>
                  </a:ext>
                </a:extLst>
              </a:tr>
            </a:tbl>
          </a:graphicData>
        </a:graphic>
      </p:graphicFrame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2CA7D47-6E83-943A-1D7B-4AF2418624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904152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to 28" hidden="1">
            <a:extLst>
              <a:ext uri="{FF2B5EF4-FFF2-40B4-BE49-F238E27FC236}">
                <a16:creationId xmlns:a16="http://schemas.microsoft.com/office/drawing/2014/main" id="{24DB6369-8492-E3D4-C3B4-D2E0E85F1F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9" name="Objeto 28" hidden="1">
                        <a:extLst>
                          <a:ext uri="{FF2B5EF4-FFF2-40B4-BE49-F238E27FC236}">
                            <a16:creationId xmlns:a16="http://schemas.microsoft.com/office/drawing/2014/main" id="{24DB6369-8492-E3D4-C3B4-D2E0E85F1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</a:t>
            </a:r>
            <a:r>
              <a:rPr lang="en-US" dirty="0" err="1"/>
              <a:t>Lafley</a:t>
            </a:r>
            <a:r>
              <a:rPr lang="en-US" dirty="0"/>
              <a:t> Strategy</a:t>
            </a: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F30D5A80-063F-0615-B862-2FC638CC0B1D}"/>
              </a:ext>
            </a:extLst>
          </p:cNvPr>
          <p:cNvSpPr txBox="1"/>
          <p:nvPr/>
        </p:nvSpPr>
        <p:spPr>
          <a:xfrm>
            <a:off x="384175" y="1520825"/>
            <a:ext cx="2221860" cy="894715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BDBC6C86-9B8E-AAE9-822A-FEA0F45A932F}"/>
              </a:ext>
            </a:extLst>
          </p:cNvPr>
          <p:cNvSpPr txBox="1"/>
          <p:nvPr/>
        </p:nvSpPr>
        <p:spPr>
          <a:xfrm>
            <a:off x="2683828" y="2494121"/>
            <a:ext cx="2221860" cy="894715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818127A0-485E-F22D-DE3F-5EDF1680943E}"/>
              </a:ext>
            </a:extLst>
          </p:cNvPr>
          <p:cNvSpPr txBox="1"/>
          <p:nvPr/>
        </p:nvSpPr>
        <p:spPr>
          <a:xfrm>
            <a:off x="4983482" y="3467417"/>
            <a:ext cx="2221860" cy="894715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0E435D40-A5D6-E02A-36BD-8E3B8B7FCBBC}"/>
              </a:ext>
            </a:extLst>
          </p:cNvPr>
          <p:cNvSpPr txBox="1"/>
          <p:nvPr/>
        </p:nvSpPr>
        <p:spPr>
          <a:xfrm>
            <a:off x="7283135" y="4440713"/>
            <a:ext cx="2221860" cy="894715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82593055-1F27-2E1D-EEA9-CA869F9E0626}"/>
              </a:ext>
            </a:extLst>
          </p:cNvPr>
          <p:cNvSpPr txBox="1"/>
          <p:nvPr/>
        </p:nvSpPr>
        <p:spPr>
          <a:xfrm>
            <a:off x="9582789" y="5414010"/>
            <a:ext cx="2221860" cy="894715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F76C5DAA-0970-40D9-F3EA-57AEE761E8FB}"/>
              </a:ext>
            </a:extLst>
          </p:cNvPr>
          <p:cNvSpPr txBox="1"/>
          <p:nvPr/>
        </p:nvSpPr>
        <p:spPr>
          <a:xfrm>
            <a:off x="384175" y="3073047"/>
            <a:ext cx="221027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0E663BF9-DE2C-886C-2BB4-437E88650DA1}"/>
              </a:ext>
            </a:extLst>
          </p:cNvPr>
          <p:cNvSpPr txBox="1"/>
          <p:nvPr/>
        </p:nvSpPr>
        <p:spPr>
          <a:xfrm>
            <a:off x="4173377" y="1652111"/>
            <a:ext cx="398812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9FCC689-E488-B1BF-37A8-39E655D167F3}"/>
              </a:ext>
            </a:extLst>
          </p:cNvPr>
          <p:cNvSpPr txBox="1"/>
          <p:nvPr/>
        </p:nvSpPr>
        <p:spPr>
          <a:xfrm>
            <a:off x="8633081" y="3563983"/>
            <a:ext cx="221027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41050329-314D-4239-4166-434340C7F19A}"/>
              </a:ext>
            </a:extLst>
          </p:cNvPr>
          <p:cNvSpPr txBox="1"/>
          <p:nvPr/>
        </p:nvSpPr>
        <p:spPr>
          <a:xfrm>
            <a:off x="2653698" y="4018121"/>
            <a:ext cx="221027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595193D2-9BA2-86CF-3D13-A215083C19FD}"/>
              </a:ext>
            </a:extLst>
          </p:cNvPr>
          <p:cNvSpPr txBox="1"/>
          <p:nvPr/>
        </p:nvSpPr>
        <p:spPr>
          <a:xfrm>
            <a:off x="5014020" y="5584368"/>
            <a:ext cx="309177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: angular 13">
            <a:extLst>
              <a:ext uri="{FF2B5EF4-FFF2-40B4-BE49-F238E27FC236}">
                <a16:creationId xmlns:a16="http://schemas.microsoft.com/office/drawing/2014/main" id="{F32B5691-09B3-DCD0-E556-D3056FCC9053}"/>
              </a:ext>
            </a:extLst>
          </p:cNvPr>
          <p:cNvCxnSpPr>
            <a:cxnSpLocks/>
            <a:stCxn id="2" idx="3"/>
            <a:endCxn id="4" idx="0"/>
          </p:cNvCxnSpPr>
          <p:nvPr/>
        </p:nvCxnSpPr>
        <p:spPr>
          <a:xfrm>
            <a:off x="2606035" y="1968183"/>
            <a:ext cx="1188723" cy="525938"/>
          </a:xfrm>
          <a:prstGeom prst="bentConnector2">
            <a:avLst/>
          </a:prstGeom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: angular 16">
            <a:extLst>
              <a:ext uri="{FF2B5EF4-FFF2-40B4-BE49-F238E27FC236}">
                <a16:creationId xmlns:a16="http://schemas.microsoft.com/office/drawing/2014/main" id="{8EA68CA2-89B5-04BF-88E8-154E61268A5B}"/>
              </a:ext>
            </a:extLst>
          </p:cNvPr>
          <p:cNvCxnSpPr>
            <a:cxnSpLocks/>
            <a:stCxn id="4" idx="3"/>
            <a:endCxn id="5" idx="0"/>
          </p:cNvCxnSpPr>
          <p:nvPr/>
        </p:nvCxnSpPr>
        <p:spPr>
          <a:xfrm>
            <a:off x="4905688" y="2941479"/>
            <a:ext cx="1188724" cy="525938"/>
          </a:xfrm>
          <a:prstGeom prst="bentConnector2">
            <a:avLst/>
          </a:prstGeom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: angular 19">
            <a:extLst>
              <a:ext uri="{FF2B5EF4-FFF2-40B4-BE49-F238E27FC236}">
                <a16:creationId xmlns:a16="http://schemas.microsoft.com/office/drawing/2014/main" id="{2A61062D-E008-F3DB-ED43-D3C4143F5115}"/>
              </a:ext>
            </a:extLst>
          </p:cNvPr>
          <p:cNvCxnSpPr>
            <a:cxnSpLocks/>
            <a:stCxn id="5" idx="3"/>
            <a:endCxn id="6" idx="0"/>
          </p:cNvCxnSpPr>
          <p:nvPr/>
        </p:nvCxnSpPr>
        <p:spPr>
          <a:xfrm>
            <a:off x="7205342" y="3914775"/>
            <a:ext cx="1188723" cy="525938"/>
          </a:xfrm>
          <a:prstGeom prst="bentConnector2">
            <a:avLst/>
          </a:prstGeom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: angular 23">
            <a:extLst>
              <a:ext uri="{FF2B5EF4-FFF2-40B4-BE49-F238E27FC236}">
                <a16:creationId xmlns:a16="http://schemas.microsoft.com/office/drawing/2014/main" id="{05E08E3A-DE86-3ED7-47FD-0095B355F457}"/>
              </a:ext>
            </a:extLst>
          </p:cNvPr>
          <p:cNvCxnSpPr>
            <a:cxnSpLocks/>
            <a:stCxn id="6" idx="3"/>
            <a:endCxn id="7" idx="0"/>
          </p:cNvCxnSpPr>
          <p:nvPr/>
        </p:nvCxnSpPr>
        <p:spPr>
          <a:xfrm>
            <a:off x="9504995" y="4888071"/>
            <a:ext cx="1188724" cy="525939"/>
          </a:xfrm>
          <a:prstGeom prst="bentConnector2">
            <a:avLst/>
          </a:prstGeom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6" name="Conector: angular 7175">
            <a:extLst>
              <a:ext uri="{FF2B5EF4-FFF2-40B4-BE49-F238E27FC236}">
                <a16:creationId xmlns:a16="http://schemas.microsoft.com/office/drawing/2014/main" id="{84866620-AEF7-EF2C-742A-B127A31DF272}"/>
              </a:ext>
            </a:extLst>
          </p:cNvPr>
          <p:cNvCxnSpPr>
            <a:cxnSpLocks/>
            <a:stCxn id="4" idx="1"/>
            <a:endCxn id="2" idx="2"/>
          </p:cNvCxnSpPr>
          <p:nvPr/>
        </p:nvCxnSpPr>
        <p:spPr>
          <a:xfrm rot="10800000">
            <a:off x="1495106" y="2415541"/>
            <a:ext cx="1188723" cy="52593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0" name="Conector: angular 7179">
            <a:extLst>
              <a:ext uri="{FF2B5EF4-FFF2-40B4-BE49-F238E27FC236}">
                <a16:creationId xmlns:a16="http://schemas.microsoft.com/office/drawing/2014/main" id="{202A3BEA-F041-33AC-5B4B-1813DB8BE3EC}"/>
              </a:ext>
            </a:extLst>
          </p:cNvPr>
          <p:cNvCxnSpPr>
            <a:cxnSpLocks/>
            <a:stCxn id="7" idx="1"/>
            <a:endCxn id="6" idx="2"/>
          </p:cNvCxnSpPr>
          <p:nvPr/>
        </p:nvCxnSpPr>
        <p:spPr>
          <a:xfrm rot="10800000">
            <a:off x="8394065" y="5335428"/>
            <a:ext cx="1188724" cy="525940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3" name="Conector: angular 7182">
            <a:extLst>
              <a:ext uri="{FF2B5EF4-FFF2-40B4-BE49-F238E27FC236}">
                <a16:creationId xmlns:a16="http://schemas.microsoft.com/office/drawing/2014/main" id="{BCF94D9D-97F9-AA73-D756-03B9EB19E6BB}"/>
              </a:ext>
            </a:extLst>
          </p:cNvPr>
          <p:cNvCxnSpPr>
            <a:cxnSpLocks/>
            <a:stCxn id="6" idx="1"/>
            <a:endCxn id="5" idx="2"/>
          </p:cNvCxnSpPr>
          <p:nvPr/>
        </p:nvCxnSpPr>
        <p:spPr>
          <a:xfrm rot="10800000">
            <a:off x="6094413" y="4362133"/>
            <a:ext cx="1188723" cy="52593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6" name="Conector: angular 7185">
            <a:extLst>
              <a:ext uri="{FF2B5EF4-FFF2-40B4-BE49-F238E27FC236}">
                <a16:creationId xmlns:a16="http://schemas.microsoft.com/office/drawing/2014/main" id="{A1A04A75-EFDB-5F34-31E4-D9D545619635}"/>
              </a:ext>
            </a:extLst>
          </p:cNvPr>
          <p:cNvCxnSpPr>
            <a:cxnSpLocks/>
            <a:stCxn id="5" idx="1"/>
            <a:endCxn id="4" idx="2"/>
          </p:cNvCxnSpPr>
          <p:nvPr/>
        </p:nvCxnSpPr>
        <p:spPr>
          <a:xfrm rot="10800000">
            <a:off x="3794758" y="3388837"/>
            <a:ext cx="1188724" cy="52593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B68C9FE9-4931-1CA0-E321-C3BA54F3FB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559360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98F30C71-CC86-7B35-2E2F-E92EB27A4E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98F30C71-CC86-7B35-2E2F-E92EB27A4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Three Horizons </a:t>
            </a:r>
          </a:p>
        </p:txBody>
      </p:sp>
      <p:sp>
        <p:nvSpPr>
          <p:cNvPr id="6" name="TextBox 25">
            <a:extLst>
              <a:ext uri="{FF2B5EF4-FFF2-40B4-BE49-F238E27FC236}">
                <a16:creationId xmlns:a16="http://schemas.microsoft.com/office/drawing/2014/main" id="{85141D88-E56C-3B4B-9B17-F0EA1AB0AAC6}"/>
              </a:ext>
            </a:extLst>
          </p:cNvPr>
          <p:cNvSpPr txBox="1"/>
          <p:nvPr/>
        </p:nvSpPr>
        <p:spPr>
          <a:xfrm rot="16200000">
            <a:off x="-160770" y="3399814"/>
            <a:ext cx="1368829" cy="2789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alue</a:t>
            </a: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26EB811B-8F5E-F18A-B4EA-DBC5998E8F9B}"/>
              </a:ext>
            </a:extLst>
          </p:cNvPr>
          <p:cNvCxnSpPr>
            <a:cxnSpLocks/>
          </p:cNvCxnSpPr>
          <p:nvPr/>
        </p:nvCxnSpPr>
        <p:spPr>
          <a:xfrm>
            <a:off x="754744" y="5926048"/>
            <a:ext cx="11065780" cy="0"/>
          </a:xfrm>
          <a:prstGeom prst="line">
            <a:avLst/>
          </a:prstGeom>
          <a:noFill/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25">
            <a:extLst>
              <a:ext uri="{FF2B5EF4-FFF2-40B4-BE49-F238E27FC236}">
                <a16:creationId xmlns:a16="http://schemas.microsoft.com/office/drawing/2014/main" id="{052D12BE-4341-50D2-C1AE-9577F384F883}"/>
              </a:ext>
            </a:extLst>
          </p:cNvPr>
          <p:cNvSpPr txBox="1"/>
          <p:nvPr/>
        </p:nvSpPr>
        <p:spPr>
          <a:xfrm>
            <a:off x="5421119" y="6096362"/>
            <a:ext cx="1733028" cy="21236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me</a:t>
            </a:r>
          </a:p>
        </p:txBody>
      </p:sp>
      <p:cxnSp>
        <p:nvCxnSpPr>
          <p:cNvPr id="2" name="Conector recto 1">
            <a:extLst>
              <a:ext uri="{FF2B5EF4-FFF2-40B4-BE49-F238E27FC236}">
                <a16:creationId xmlns:a16="http://schemas.microsoft.com/office/drawing/2014/main" id="{B916C808-0510-9427-87C4-7CF2FBF072FA}"/>
              </a:ext>
            </a:extLst>
          </p:cNvPr>
          <p:cNvCxnSpPr>
            <a:cxnSpLocks/>
          </p:cNvCxnSpPr>
          <p:nvPr/>
        </p:nvCxnSpPr>
        <p:spPr>
          <a:xfrm flipV="1">
            <a:off x="754744" y="1152525"/>
            <a:ext cx="0" cy="4773523"/>
          </a:xfrm>
          <a:prstGeom prst="line">
            <a:avLst/>
          </a:prstGeom>
          <a:noFill/>
          <a:ln w="28575">
            <a:solidFill>
              <a:schemeClr val="tx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5">
            <a:extLst>
              <a:ext uri="{FF2B5EF4-FFF2-40B4-BE49-F238E27FC236}">
                <a16:creationId xmlns:a16="http://schemas.microsoft.com/office/drawing/2014/main" id="{9169E6F1-A663-CABB-0D43-1338A4C72995}"/>
              </a:ext>
            </a:extLst>
          </p:cNvPr>
          <p:cNvSpPr txBox="1"/>
          <p:nvPr/>
        </p:nvSpPr>
        <p:spPr>
          <a:xfrm>
            <a:off x="754743" y="4461842"/>
            <a:ext cx="3688567" cy="553998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rizon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intain and defend core busin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1-3 years</a:t>
            </a:r>
          </a:p>
        </p:txBody>
      </p:sp>
      <p:grpSp>
        <p:nvGrpSpPr>
          <p:cNvPr id="10245" name="Grupo 10244">
            <a:extLst>
              <a:ext uri="{FF2B5EF4-FFF2-40B4-BE49-F238E27FC236}">
                <a16:creationId xmlns:a16="http://schemas.microsoft.com/office/drawing/2014/main" id="{B8B9BC4C-81F9-AC9E-9AAF-9E68C2B6E6ED}"/>
              </a:ext>
            </a:extLst>
          </p:cNvPr>
          <p:cNvGrpSpPr/>
          <p:nvPr/>
        </p:nvGrpSpPr>
        <p:grpSpPr>
          <a:xfrm>
            <a:off x="4443338" y="1794682"/>
            <a:ext cx="3688594" cy="4131365"/>
            <a:chOff x="3211381" y="1754549"/>
            <a:chExt cx="2371950" cy="4150951"/>
          </a:xfrm>
        </p:grpSpPr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9E244827-E78C-CD4C-2508-0A2E6D73FB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11381" y="1754549"/>
              <a:ext cx="0" cy="4150951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cto 15">
              <a:extLst>
                <a:ext uri="{FF2B5EF4-FFF2-40B4-BE49-F238E27FC236}">
                  <a16:creationId xmlns:a16="http://schemas.microsoft.com/office/drawing/2014/main" id="{5D25CB1A-2BB4-10EA-C1D5-195456D563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83331" y="1754549"/>
              <a:ext cx="0" cy="4150951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25">
            <a:extLst>
              <a:ext uri="{FF2B5EF4-FFF2-40B4-BE49-F238E27FC236}">
                <a16:creationId xmlns:a16="http://schemas.microsoft.com/office/drawing/2014/main" id="{38FFBEE6-F77C-A1E0-3529-1290EA6564BC}"/>
              </a:ext>
            </a:extLst>
          </p:cNvPr>
          <p:cNvSpPr txBox="1"/>
          <p:nvPr/>
        </p:nvSpPr>
        <p:spPr>
          <a:xfrm>
            <a:off x="4443365" y="3609704"/>
            <a:ext cx="3688567" cy="553998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rizon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oster emerg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-5 years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5296F93B-BB8B-A3FF-28CE-3BE48F19D0F3}"/>
              </a:ext>
            </a:extLst>
          </p:cNvPr>
          <p:cNvSpPr txBox="1"/>
          <p:nvPr/>
        </p:nvSpPr>
        <p:spPr>
          <a:xfrm>
            <a:off x="8131957" y="2647258"/>
            <a:ext cx="3688567" cy="553998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orizon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ed future business (e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&gt;5 years</a:t>
            </a:r>
          </a:p>
        </p:txBody>
      </p:sp>
      <p:sp>
        <p:nvSpPr>
          <p:cNvPr id="24" name="Arco 23">
            <a:extLst>
              <a:ext uri="{FF2B5EF4-FFF2-40B4-BE49-F238E27FC236}">
                <a16:creationId xmlns:a16="http://schemas.microsoft.com/office/drawing/2014/main" id="{B6CE4D4B-528C-5967-BACF-B8493558EA55}"/>
              </a:ext>
            </a:extLst>
          </p:cNvPr>
          <p:cNvSpPr/>
          <p:nvPr/>
        </p:nvSpPr>
        <p:spPr>
          <a:xfrm>
            <a:off x="993667" y="4093858"/>
            <a:ext cx="6817257" cy="1242887"/>
          </a:xfrm>
          <a:prstGeom prst="arc">
            <a:avLst>
              <a:gd name="adj1" fmla="val 10785616"/>
              <a:gd name="adj2" fmla="val 16173199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AFC63A38-1B66-96D2-C058-4EE6FD101EBA}"/>
              </a:ext>
            </a:extLst>
          </p:cNvPr>
          <p:cNvSpPr/>
          <p:nvPr/>
        </p:nvSpPr>
        <p:spPr>
          <a:xfrm>
            <a:off x="4551933" y="3223326"/>
            <a:ext cx="6817257" cy="1242887"/>
          </a:xfrm>
          <a:prstGeom prst="arc">
            <a:avLst>
              <a:gd name="adj1" fmla="val 10785616"/>
              <a:gd name="adj2" fmla="val 16173199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7103777-F04F-D682-5485-8A0E1F5D452D}"/>
              </a:ext>
            </a:extLst>
          </p:cNvPr>
          <p:cNvCxnSpPr>
            <a:cxnSpLocks/>
          </p:cNvCxnSpPr>
          <p:nvPr/>
        </p:nvCxnSpPr>
        <p:spPr>
          <a:xfrm>
            <a:off x="754744" y="1694388"/>
            <a:ext cx="11065780" cy="0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5">
            <a:extLst>
              <a:ext uri="{FF2B5EF4-FFF2-40B4-BE49-F238E27FC236}">
                <a16:creationId xmlns:a16="http://schemas.microsoft.com/office/drawing/2014/main" id="{F08786B5-CDDB-670C-A176-36BDDD01E8E4}"/>
              </a:ext>
            </a:extLst>
          </p:cNvPr>
          <p:cNvSpPr txBox="1"/>
          <p:nvPr/>
        </p:nvSpPr>
        <p:spPr>
          <a:xfrm>
            <a:off x="2140180" y="1588206"/>
            <a:ext cx="917696" cy="212363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0" rIns="72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w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E751F10F-B500-FFF8-722E-72CD064AC7BC}"/>
              </a:ext>
            </a:extLst>
          </p:cNvPr>
          <p:cNvSpPr txBox="1"/>
          <p:nvPr/>
        </p:nvSpPr>
        <p:spPr>
          <a:xfrm>
            <a:off x="5828802" y="1588206"/>
            <a:ext cx="917696" cy="212363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0" rIns="72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w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40" name="TextBox 25">
            <a:extLst>
              <a:ext uri="{FF2B5EF4-FFF2-40B4-BE49-F238E27FC236}">
                <a16:creationId xmlns:a16="http://schemas.microsoft.com/office/drawing/2014/main" id="{6C7F8F96-0A2D-30BD-6423-911000AAF04E}"/>
              </a:ext>
            </a:extLst>
          </p:cNvPr>
          <p:cNvSpPr txBox="1"/>
          <p:nvPr/>
        </p:nvSpPr>
        <p:spPr>
          <a:xfrm>
            <a:off x="9517393" y="1588206"/>
            <a:ext cx="917696" cy="212363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0" rIns="72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xt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Arco 10">
            <a:extLst>
              <a:ext uri="{FF2B5EF4-FFF2-40B4-BE49-F238E27FC236}">
                <a16:creationId xmlns:a16="http://schemas.microsoft.com/office/drawing/2014/main" id="{2224FCBD-2CDA-593D-517B-E89223D9A288}"/>
              </a:ext>
            </a:extLst>
          </p:cNvPr>
          <p:cNvSpPr/>
          <p:nvPr/>
        </p:nvSpPr>
        <p:spPr>
          <a:xfrm>
            <a:off x="8267592" y="2290732"/>
            <a:ext cx="6817257" cy="1242887"/>
          </a:xfrm>
          <a:prstGeom prst="arc">
            <a:avLst>
              <a:gd name="adj1" fmla="val 10785616"/>
              <a:gd name="adj2" fmla="val 16173199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446620BC-97AA-0FAF-792D-C18B5AFE6D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7543976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/>
          <a:lstStyle/>
          <a:p>
            <a:r>
              <a:rPr lang="en-US" dirty="0"/>
              <a:t>Template — Seven Degrees of Freedom for Growth </a:t>
            </a:r>
          </a:p>
        </p:txBody>
      </p:sp>
      <p:graphicFrame>
        <p:nvGraphicFramePr>
          <p:cNvPr id="2" name="Tabla 3">
            <a:extLst>
              <a:ext uri="{FF2B5EF4-FFF2-40B4-BE49-F238E27FC236}">
                <a16:creationId xmlns:a16="http://schemas.microsoft.com/office/drawing/2014/main" id="{1A15C02A-5B85-B510-490B-2E479F50D98C}"/>
              </a:ext>
            </a:extLst>
          </p:cNvPr>
          <p:cNvGraphicFramePr>
            <a:graphicFrameLocks noGrp="1"/>
          </p:cNvGraphicFramePr>
          <p:nvPr/>
        </p:nvGraphicFramePr>
        <p:xfrm>
          <a:off x="384174" y="1520825"/>
          <a:ext cx="11420474" cy="4787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26">
                  <a:extLst>
                    <a:ext uri="{9D8B030D-6E8A-4147-A177-3AD203B41FA5}">
                      <a16:colId xmlns:a16="http://schemas.microsoft.com/office/drawing/2014/main" val="3529416909"/>
                    </a:ext>
                  </a:extLst>
                </a:gridCol>
                <a:gridCol w="2247900">
                  <a:extLst>
                    <a:ext uri="{9D8B030D-6E8A-4147-A177-3AD203B41FA5}">
                      <a16:colId xmlns:a16="http://schemas.microsoft.com/office/drawing/2014/main" val="1462606667"/>
                    </a:ext>
                  </a:extLst>
                </a:gridCol>
                <a:gridCol w="8439148">
                  <a:extLst>
                    <a:ext uri="{9D8B030D-6E8A-4147-A177-3AD203B41FA5}">
                      <a16:colId xmlns:a16="http://schemas.microsoft.com/office/drawing/2014/main" val="2188744960"/>
                    </a:ext>
                  </a:extLst>
                </a:gridCol>
              </a:tblGrid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Selling existing products to existing customers </a:t>
                      </a:r>
                    </a:p>
                  </a:txBody>
                  <a:tcPr marL="36000" marR="36000" marT="36000" marB="36000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5143948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Acquiring new customers in existing markets 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939495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Creating New Products and Services 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247882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Developing New Value-Delivery Approaches 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5728261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Moving Into New Geographies 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333803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Creating a New Industry Structure 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621642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2"/>
                          </a:solidFill>
                        </a:rPr>
                        <a:t>Opening up New Competitive Arenas 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3270759"/>
                  </a:ext>
                </a:extLst>
              </a:tr>
            </a:tbl>
          </a:graphicData>
        </a:graphic>
      </p:graphicFrame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662CF1B-2AE7-FBCA-563C-C8B626F633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2124661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87" name="Objeto 16486" hidden="1">
            <a:extLst>
              <a:ext uri="{FF2B5EF4-FFF2-40B4-BE49-F238E27FC236}">
                <a16:creationId xmlns:a16="http://schemas.microsoft.com/office/drawing/2014/main" id="{9BEBFEB3-9BA5-EEAB-D5F3-EEA1DB856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6487" name="Objeto 16486" hidden="1">
                        <a:extLst>
                          <a:ext uri="{FF2B5EF4-FFF2-40B4-BE49-F238E27FC236}">
                            <a16:creationId xmlns:a16="http://schemas.microsoft.com/office/drawing/2014/main" id="{9BEBFEB3-9BA5-EEAB-D5F3-EEA1DB856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90" name="Pentágono 16489">
            <a:extLst>
              <a:ext uri="{FF2B5EF4-FFF2-40B4-BE49-F238E27FC236}">
                <a16:creationId xmlns:a16="http://schemas.microsoft.com/office/drawing/2014/main" id="{1E9BBECD-8162-8FE8-29FE-698FADE2F0DD}"/>
              </a:ext>
            </a:extLst>
          </p:cNvPr>
          <p:cNvSpPr/>
          <p:nvPr/>
        </p:nvSpPr>
        <p:spPr>
          <a:xfrm>
            <a:off x="4279167" y="2097935"/>
            <a:ext cx="3633668" cy="3633680"/>
          </a:xfrm>
          <a:prstGeom prst="pentag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492" name="Pentágono 16491">
            <a:extLst>
              <a:ext uri="{FF2B5EF4-FFF2-40B4-BE49-F238E27FC236}">
                <a16:creationId xmlns:a16="http://schemas.microsoft.com/office/drawing/2014/main" id="{50CA7911-BF95-3BD5-B02D-35845177AB99}"/>
              </a:ext>
            </a:extLst>
          </p:cNvPr>
          <p:cNvSpPr/>
          <p:nvPr/>
        </p:nvSpPr>
        <p:spPr>
          <a:xfrm rot="10800000">
            <a:off x="5402037" y="3485874"/>
            <a:ext cx="1387930" cy="1387934"/>
          </a:xfrm>
          <a:prstGeom prst="pent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6471" name="Conector recto 16470">
            <a:extLst>
              <a:ext uri="{FF2B5EF4-FFF2-40B4-BE49-F238E27FC236}">
                <a16:creationId xmlns:a16="http://schemas.microsoft.com/office/drawing/2014/main" id="{BDB3DF6C-C461-1D9F-27E6-7FF102E597E2}"/>
              </a:ext>
            </a:extLst>
          </p:cNvPr>
          <p:cNvCxnSpPr>
            <a:cxnSpLocks/>
          </p:cNvCxnSpPr>
          <p:nvPr/>
        </p:nvCxnSpPr>
        <p:spPr>
          <a:xfrm flipH="1" flipV="1">
            <a:off x="6096000" y="2097936"/>
            <a:ext cx="1122866" cy="363366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Galbraith Star Model </a:t>
            </a:r>
          </a:p>
        </p:txBody>
      </p:sp>
      <p:sp>
        <p:nvSpPr>
          <p:cNvPr id="16416" name="TextBox 25">
            <a:extLst>
              <a:ext uri="{FF2B5EF4-FFF2-40B4-BE49-F238E27FC236}">
                <a16:creationId xmlns:a16="http://schemas.microsoft.com/office/drawing/2014/main" id="{911B6A74-AD8D-AD9E-4808-7166C6B2400D}"/>
              </a:ext>
            </a:extLst>
          </p:cNvPr>
          <p:cNvSpPr txBox="1"/>
          <p:nvPr/>
        </p:nvSpPr>
        <p:spPr>
          <a:xfrm>
            <a:off x="6796289" y="1822286"/>
            <a:ext cx="3450500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6445" name="Conector recto 16444">
            <a:extLst>
              <a:ext uri="{FF2B5EF4-FFF2-40B4-BE49-F238E27FC236}">
                <a16:creationId xmlns:a16="http://schemas.microsoft.com/office/drawing/2014/main" id="{BD48D7A9-3688-A6DB-DCD0-F9CD7E4B8905}"/>
              </a:ext>
            </a:extLst>
          </p:cNvPr>
          <p:cNvCxnSpPr>
            <a:cxnSpLocks/>
          </p:cNvCxnSpPr>
          <p:nvPr/>
        </p:nvCxnSpPr>
        <p:spPr>
          <a:xfrm>
            <a:off x="4973134" y="5731615"/>
            <a:ext cx="2244802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46" name="Conector recto 16445">
            <a:extLst>
              <a:ext uri="{FF2B5EF4-FFF2-40B4-BE49-F238E27FC236}">
                <a16:creationId xmlns:a16="http://schemas.microsoft.com/office/drawing/2014/main" id="{6B61517C-765B-0617-CFD5-D67997F0668C}"/>
              </a:ext>
            </a:extLst>
          </p:cNvPr>
          <p:cNvCxnSpPr>
            <a:cxnSpLocks/>
          </p:cNvCxnSpPr>
          <p:nvPr/>
        </p:nvCxnSpPr>
        <p:spPr>
          <a:xfrm flipV="1">
            <a:off x="4279165" y="2097936"/>
            <a:ext cx="1816835" cy="1387938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50" name="Conector recto 16449">
            <a:extLst>
              <a:ext uri="{FF2B5EF4-FFF2-40B4-BE49-F238E27FC236}">
                <a16:creationId xmlns:a16="http://schemas.microsoft.com/office/drawing/2014/main" id="{38EB3BBB-5F7B-F0FE-591C-4296E44EF0BC}"/>
              </a:ext>
            </a:extLst>
          </p:cNvPr>
          <p:cNvCxnSpPr>
            <a:cxnSpLocks/>
          </p:cNvCxnSpPr>
          <p:nvPr/>
        </p:nvCxnSpPr>
        <p:spPr>
          <a:xfrm flipH="1" flipV="1">
            <a:off x="6096000" y="2097936"/>
            <a:ext cx="1816835" cy="1387938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54" name="Conector recto 16453">
            <a:extLst>
              <a:ext uri="{FF2B5EF4-FFF2-40B4-BE49-F238E27FC236}">
                <a16:creationId xmlns:a16="http://schemas.microsoft.com/office/drawing/2014/main" id="{8DE51A5B-A7E5-F5C1-05C5-DBADCAAB9945}"/>
              </a:ext>
            </a:extLst>
          </p:cNvPr>
          <p:cNvCxnSpPr>
            <a:cxnSpLocks/>
          </p:cNvCxnSpPr>
          <p:nvPr/>
        </p:nvCxnSpPr>
        <p:spPr>
          <a:xfrm flipH="1">
            <a:off x="7218866" y="3485874"/>
            <a:ext cx="693969" cy="224573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60" name="Conector recto 16459">
            <a:extLst>
              <a:ext uri="{FF2B5EF4-FFF2-40B4-BE49-F238E27FC236}">
                <a16:creationId xmlns:a16="http://schemas.microsoft.com/office/drawing/2014/main" id="{2CB1A558-0503-6A5C-126B-3271A586E865}"/>
              </a:ext>
            </a:extLst>
          </p:cNvPr>
          <p:cNvCxnSpPr>
            <a:cxnSpLocks/>
          </p:cNvCxnSpPr>
          <p:nvPr/>
        </p:nvCxnSpPr>
        <p:spPr>
          <a:xfrm>
            <a:off x="4279165" y="3485874"/>
            <a:ext cx="693969" cy="224573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66" name="Conector recto 16465">
            <a:extLst>
              <a:ext uri="{FF2B5EF4-FFF2-40B4-BE49-F238E27FC236}">
                <a16:creationId xmlns:a16="http://schemas.microsoft.com/office/drawing/2014/main" id="{46C18BEC-66AD-51D0-0F82-03BF73285CEA}"/>
              </a:ext>
            </a:extLst>
          </p:cNvPr>
          <p:cNvCxnSpPr>
            <a:cxnSpLocks/>
          </p:cNvCxnSpPr>
          <p:nvPr/>
        </p:nvCxnSpPr>
        <p:spPr>
          <a:xfrm flipV="1">
            <a:off x="4973134" y="2097936"/>
            <a:ext cx="1122866" cy="363366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75" name="Conector recto 16474">
            <a:extLst>
              <a:ext uri="{FF2B5EF4-FFF2-40B4-BE49-F238E27FC236}">
                <a16:creationId xmlns:a16="http://schemas.microsoft.com/office/drawing/2014/main" id="{E82BB1C8-51C0-C925-9FE1-F2149C8072DA}"/>
              </a:ext>
            </a:extLst>
          </p:cNvPr>
          <p:cNvCxnSpPr>
            <a:cxnSpLocks/>
          </p:cNvCxnSpPr>
          <p:nvPr/>
        </p:nvCxnSpPr>
        <p:spPr>
          <a:xfrm>
            <a:off x="4279165" y="3485874"/>
            <a:ext cx="363367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80" name="Conector recto 16479">
            <a:extLst>
              <a:ext uri="{FF2B5EF4-FFF2-40B4-BE49-F238E27FC236}">
                <a16:creationId xmlns:a16="http://schemas.microsoft.com/office/drawing/2014/main" id="{BCA5EEFB-5FF5-7E91-4D6C-364CE52AECAA}"/>
              </a:ext>
            </a:extLst>
          </p:cNvPr>
          <p:cNvCxnSpPr>
            <a:cxnSpLocks/>
          </p:cNvCxnSpPr>
          <p:nvPr/>
        </p:nvCxnSpPr>
        <p:spPr>
          <a:xfrm>
            <a:off x="4279165" y="3485874"/>
            <a:ext cx="2939701" cy="224573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83" name="Conector recto 16482">
            <a:extLst>
              <a:ext uri="{FF2B5EF4-FFF2-40B4-BE49-F238E27FC236}">
                <a16:creationId xmlns:a16="http://schemas.microsoft.com/office/drawing/2014/main" id="{4D30B74D-A8EE-892E-4468-61CA005E1F8E}"/>
              </a:ext>
            </a:extLst>
          </p:cNvPr>
          <p:cNvCxnSpPr>
            <a:cxnSpLocks/>
          </p:cNvCxnSpPr>
          <p:nvPr/>
        </p:nvCxnSpPr>
        <p:spPr>
          <a:xfrm flipV="1">
            <a:off x="4973134" y="3485874"/>
            <a:ext cx="2939701" cy="224573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6" name="Elipse 16425">
            <a:extLst>
              <a:ext uri="{FF2B5EF4-FFF2-40B4-BE49-F238E27FC236}">
                <a16:creationId xmlns:a16="http://schemas.microsoft.com/office/drawing/2014/main" id="{7AFC4624-4828-400D-3C46-3EE76B77A15D}"/>
              </a:ext>
            </a:extLst>
          </p:cNvPr>
          <p:cNvSpPr/>
          <p:nvPr/>
        </p:nvSpPr>
        <p:spPr>
          <a:xfrm>
            <a:off x="5517301" y="1520825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ategy</a:t>
            </a:r>
          </a:p>
        </p:txBody>
      </p:sp>
      <p:sp>
        <p:nvSpPr>
          <p:cNvPr id="16430" name="Elipse 16429">
            <a:extLst>
              <a:ext uri="{FF2B5EF4-FFF2-40B4-BE49-F238E27FC236}">
                <a16:creationId xmlns:a16="http://schemas.microsoft.com/office/drawing/2014/main" id="{2209C21C-3AC2-FE1D-AC45-6B00D505C19D}"/>
              </a:ext>
            </a:extLst>
          </p:cNvPr>
          <p:cNvSpPr/>
          <p:nvPr/>
        </p:nvSpPr>
        <p:spPr>
          <a:xfrm>
            <a:off x="7335728" y="2909039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e</a:t>
            </a:r>
          </a:p>
        </p:txBody>
      </p:sp>
      <p:sp>
        <p:nvSpPr>
          <p:cNvPr id="16434" name="Elipse 16433">
            <a:extLst>
              <a:ext uri="{FF2B5EF4-FFF2-40B4-BE49-F238E27FC236}">
                <a16:creationId xmlns:a16="http://schemas.microsoft.com/office/drawing/2014/main" id="{5539556B-B997-18D2-850D-6EA0E4F644E3}"/>
              </a:ext>
            </a:extLst>
          </p:cNvPr>
          <p:cNvSpPr/>
          <p:nvPr/>
        </p:nvSpPr>
        <p:spPr>
          <a:xfrm>
            <a:off x="3705274" y="2909039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ople</a:t>
            </a:r>
          </a:p>
        </p:txBody>
      </p:sp>
      <p:sp>
        <p:nvSpPr>
          <p:cNvPr id="16443" name="Elipse 16442">
            <a:extLst>
              <a:ext uri="{FF2B5EF4-FFF2-40B4-BE49-F238E27FC236}">
                <a16:creationId xmlns:a16="http://schemas.microsoft.com/office/drawing/2014/main" id="{BBE06FAC-9653-AB9D-BA78-3DA5907ADCA3}"/>
              </a:ext>
            </a:extLst>
          </p:cNvPr>
          <p:cNvSpPr/>
          <p:nvPr/>
        </p:nvSpPr>
        <p:spPr>
          <a:xfrm>
            <a:off x="6640826" y="5154504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</a:t>
            </a:r>
          </a:p>
        </p:txBody>
      </p:sp>
      <p:sp>
        <p:nvSpPr>
          <p:cNvPr id="16440" name="Elipse 16439">
            <a:extLst>
              <a:ext uri="{FF2B5EF4-FFF2-40B4-BE49-F238E27FC236}">
                <a16:creationId xmlns:a16="http://schemas.microsoft.com/office/drawing/2014/main" id="{EF8AAEF3-C213-369C-C9D1-4516367AD6F5}"/>
              </a:ext>
            </a:extLst>
          </p:cNvPr>
          <p:cNvSpPr/>
          <p:nvPr/>
        </p:nvSpPr>
        <p:spPr>
          <a:xfrm>
            <a:off x="4396953" y="5154504"/>
            <a:ext cx="1154221" cy="115422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wards</a:t>
            </a:r>
          </a:p>
        </p:txBody>
      </p:sp>
      <p:sp>
        <p:nvSpPr>
          <p:cNvPr id="16488" name="Rectángulo 16487">
            <a:extLst>
              <a:ext uri="{FF2B5EF4-FFF2-40B4-BE49-F238E27FC236}">
                <a16:creationId xmlns:a16="http://schemas.microsoft.com/office/drawing/2014/main" id="{CB23446E-0B6F-42FC-61EB-8A1E059F8C0A}"/>
              </a:ext>
            </a:extLst>
          </p:cNvPr>
          <p:cNvSpPr/>
          <p:nvPr/>
        </p:nvSpPr>
        <p:spPr>
          <a:xfrm>
            <a:off x="5640086" y="3852704"/>
            <a:ext cx="911830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r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</a:t>
            </a:r>
          </a:p>
        </p:txBody>
      </p:sp>
      <p:sp>
        <p:nvSpPr>
          <p:cNvPr id="16412" name="Freeform 29">
            <a:extLst>
              <a:ext uri="{FF2B5EF4-FFF2-40B4-BE49-F238E27FC236}">
                <a16:creationId xmlns:a16="http://schemas.microsoft.com/office/drawing/2014/main" id="{FBFB77F1-8553-FB3C-4A2E-2F2DB8934EBF}"/>
              </a:ext>
            </a:extLst>
          </p:cNvPr>
          <p:cNvSpPr>
            <a:spLocks noEditPoints="1"/>
          </p:cNvSpPr>
          <p:nvPr/>
        </p:nvSpPr>
        <p:spPr bwMode="auto">
          <a:xfrm>
            <a:off x="5900666" y="1627892"/>
            <a:ext cx="387491" cy="520987"/>
          </a:xfrm>
          <a:custGeom>
            <a:avLst/>
            <a:gdLst>
              <a:gd name="T0" fmla="*/ 211 w 214"/>
              <a:gd name="T1" fmla="*/ 90 h 295"/>
              <a:gd name="T2" fmla="*/ 185 w 214"/>
              <a:gd name="T3" fmla="*/ 73 h 295"/>
              <a:gd name="T4" fmla="*/ 170 w 214"/>
              <a:gd name="T5" fmla="*/ 46 h 295"/>
              <a:gd name="T6" fmla="*/ 129 w 214"/>
              <a:gd name="T7" fmla="*/ 6 h 295"/>
              <a:gd name="T8" fmla="*/ 123 w 214"/>
              <a:gd name="T9" fmla="*/ 0 h 295"/>
              <a:gd name="T10" fmla="*/ 99 w 214"/>
              <a:gd name="T11" fmla="*/ 14 h 295"/>
              <a:gd name="T12" fmla="*/ 81 w 214"/>
              <a:gd name="T13" fmla="*/ 27 h 295"/>
              <a:gd name="T14" fmla="*/ 38 w 214"/>
              <a:gd name="T15" fmla="*/ 67 h 295"/>
              <a:gd name="T16" fmla="*/ 18 w 214"/>
              <a:gd name="T17" fmla="*/ 116 h 295"/>
              <a:gd name="T18" fmla="*/ 16 w 214"/>
              <a:gd name="T19" fmla="*/ 154 h 295"/>
              <a:gd name="T20" fmla="*/ 23 w 214"/>
              <a:gd name="T21" fmla="*/ 206 h 295"/>
              <a:gd name="T22" fmla="*/ 17 w 214"/>
              <a:gd name="T23" fmla="*/ 212 h 295"/>
              <a:gd name="T24" fmla="*/ 0 w 214"/>
              <a:gd name="T25" fmla="*/ 251 h 295"/>
              <a:gd name="T26" fmla="*/ 6 w 214"/>
              <a:gd name="T27" fmla="*/ 295 h 295"/>
              <a:gd name="T28" fmla="*/ 197 w 214"/>
              <a:gd name="T29" fmla="*/ 289 h 295"/>
              <a:gd name="T30" fmla="*/ 182 w 214"/>
              <a:gd name="T31" fmla="*/ 213 h 295"/>
              <a:gd name="T32" fmla="*/ 175 w 214"/>
              <a:gd name="T33" fmla="*/ 206 h 295"/>
              <a:gd name="T34" fmla="*/ 174 w 214"/>
              <a:gd name="T35" fmla="*/ 205 h 295"/>
              <a:gd name="T36" fmla="*/ 167 w 214"/>
              <a:gd name="T37" fmla="*/ 183 h 295"/>
              <a:gd name="T38" fmla="*/ 132 w 214"/>
              <a:gd name="T39" fmla="*/ 116 h 295"/>
              <a:gd name="T40" fmla="*/ 170 w 214"/>
              <a:gd name="T41" fmla="*/ 126 h 295"/>
              <a:gd name="T42" fmla="*/ 193 w 214"/>
              <a:gd name="T43" fmla="*/ 131 h 295"/>
              <a:gd name="T44" fmla="*/ 213 w 214"/>
              <a:gd name="T45" fmla="*/ 97 h 295"/>
              <a:gd name="T46" fmla="*/ 185 w 214"/>
              <a:gd name="T47" fmla="*/ 243 h 295"/>
              <a:gd name="T48" fmla="*/ 186 w 214"/>
              <a:gd name="T49" fmla="*/ 284 h 295"/>
              <a:gd name="T50" fmla="*/ 12 w 214"/>
              <a:gd name="T51" fmla="*/ 251 h 295"/>
              <a:gd name="T52" fmla="*/ 13 w 214"/>
              <a:gd name="T53" fmla="*/ 242 h 295"/>
              <a:gd name="T54" fmla="*/ 104 w 214"/>
              <a:gd name="T55" fmla="*/ 242 h 295"/>
              <a:gd name="T56" fmla="*/ 104 w 214"/>
              <a:gd name="T57" fmla="*/ 242 h 295"/>
              <a:gd name="T58" fmla="*/ 171 w 214"/>
              <a:gd name="T59" fmla="*/ 219 h 295"/>
              <a:gd name="T60" fmla="*/ 173 w 214"/>
              <a:gd name="T61" fmla="*/ 220 h 295"/>
              <a:gd name="T62" fmla="*/ 180 w 214"/>
              <a:gd name="T63" fmla="*/ 231 h 295"/>
              <a:gd name="T64" fmla="*/ 104 w 214"/>
              <a:gd name="T65" fmla="*/ 231 h 295"/>
              <a:gd name="T66" fmla="*/ 104 w 214"/>
              <a:gd name="T67" fmla="*/ 231 h 295"/>
              <a:gd name="T68" fmla="*/ 18 w 214"/>
              <a:gd name="T69" fmla="*/ 231 h 295"/>
              <a:gd name="T70" fmla="*/ 25 w 214"/>
              <a:gd name="T71" fmla="*/ 220 h 295"/>
              <a:gd name="T72" fmla="*/ 26 w 214"/>
              <a:gd name="T73" fmla="*/ 219 h 295"/>
              <a:gd name="T74" fmla="*/ 166 w 214"/>
              <a:gd name="T75" fmla="*/ 214 h 295"/>
              <a:gd name="T76" fmla="*/ 191 w 214"/>
              <a:gd name="T77" fmla="*/ 118 h 295"/>
              <a:gd name="T78" fmla="*/ 180 w 214"/>
              <a:gd name="T79" fmla="*/ 116 h 295"/>
              <a:gd name="T80" fmla="*/ 122 w 214"/>
              <a:gd name="T81" fmla="*/ 100 h 295"/>
              <a:gd name="T82" fmla="*/ 112 w 214"/>
              <a:gd name="T83" fmla="*/ 106 h 295"/>
              <a:gd name="T84" fmla="*/ 162 w 214"/>
              <a:gd name="T85" fmla="*/ 202 h 295"/>
              <a:gd name="T86" fmla="*/ 33 w 214"/>
              <a:gd name="T87" fmla="*/ 202 h 295"/>
              <a:gd name="T88" fmla="*/ 27 w 214"/>
              <a:gd name="T89" fmla="*/ 153 h 295"/>
              <a:gd name="T90" fmla="*/ 31 w 214"/>
              <a:gd name="T91" fmla="*/ 113 h 295"/>
              <a:gd name="T92" fmla="*/ 49 w 214"/>
              <a:gd name="T93" fmla="*/ 72 h 295"/>
              <a:gd name="T94" fmla="*/ 109 w 214"/>
              <a:gd name="T95" fmla="*/ 21 h 295"/>
              <a:gd name="T96" fmla="*/ 117 w 214"/>
              <a:gd name="T97" fmla="*/ 16 h 295"/>
              <a:gd name="T98" fmla="*/ 120 w 214"/>
              <a:gd name="T99" fmla="*/ 40 h 295"/>
              <a:gd name="T100" fmla="*/ 176 w 214"/>
              <a:gd name="T101" fmla="*/ 79 h 295"/>
              <a:gd name="T102" fmla="*/ 200 w 214"/>
              <a:gd name="T103" fmla="*/ 97 h 295"/>
              <a:gd name="T104" fmla="*/ 191 w 214"/>
              <a:gd name="T105" fmla="*/ 11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4" h="295">
                <a:moveTo>
                  <a:pt x="213" y="97"/>
                </a:moveTo>
                <a:cubicBezTo>
                  <a:pt x="214" y="94"/>
                  <a:pt x="213" y="91"/>
                  <a:pt x="211" y="90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74" y="49"/>
                  <a:pt x="174" y="49"/>
                  <a:pt x="174" y="49"/>
                </a:cubicBezTo>
                <a:cubicBezTo>
                  <a:pt x="173" y="47"/>
                  <a:pt x="172" y="46"/>
                  <a:pt x="170" y="46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6"/>
                  <a:pt x="129" y="6"/>
                  <a:pt x="129" y="6"/>
                </a:cubicBezTo>
                <a:cubicBezTo>
                  <a:pt x="129" y="4"/>
                  <a:pt x="128" y="2"/>
                  <a:pt x="126" y="1"/>
                </a:cubicBezTo>
                <a:cubicBezTo>
                  <a:pt x="125" y="0"/>
                  <a:pt x="124" y="0"/>
                  <a:pt x="123" y="0"/>
                </a:cubicBezTo>
                <a:cubicBezTo>
                  <a:pt x="122" y="0"/>
                  <a:pt x="121" y="0"/>
                  <a:pt x="120" y="1"/>
                </a:cubicBezTo>
                <a:cubicBezTo>
                  <a:pt x="119" y="2"/>
                  <a:pt x="110" y="7"/>
                  <a:pt x="99" y="14"/>
                </a:cubicBezTo>
                <a:cubicBezTo>
                  <a:pt x="95" y="17"/>
                  <a:pt x="92" y="19"/>
                  <a:pt x="88" y="22"/>
                </a:cubicBezTo>
                <a:cubicBezTo>
                  <a:pt x="86" y="23"/>
                  <a:pt x="84" y="25"/>
                  <a:pt x="81" y="27"/>
                </a:cubicBezTo>
                <a:cubicBezTo>
                  <a:pt x="70" y="35"/>
                  <a:pt x="61" y="42"/>
                  <a:pt x="54" y="49"/>
                </a:cubicBezTo>
                <a:cubicBezTo>
                  <a:pt x="46" y="56"/>
                  <a:pt x="41" y="62"/>
                  <a:pt x="38" y="67"/>
                </a:cubicBezTo>
                <a:cubicBezTo>
                  <a:pt x="37" y="69"/>
                  <a:pt x="36" y="71"/>
                  <a:pt x="35" y="73"/>
                </a:cubicBezTo>
                <a:cubicBezTo>
                  <a:pt x="29" y="86"/>
                  <a:pt x="22" y="99"/>
                  <a:pt x="18" y="116"/>
                </a:cubicBezTo>
                <a:cubicBezTo>
                  <a:pt x="17" y="120"/>
                  <a:pt x="17" y="124"/>
                  <a:pt x="16" y="128"/>
                </a:cubicBezTo>
                <a:cubicBezTo>
                  <a:pt x="15" y="137"/>
                  <a:pt x="15" y="145"/>
                  <a:pt x="16" y="154"/>
                </a:cubicBezTo>
                <a:cubicBezTo>
                  <a:pt x="18" y="182"/>
                  <a:pt x="21" y="199"/>
                  <a:pt x="22" y="206"/>
                </a:cubicBezTo>
                <a:cubicBezTo>
                  <a:pt x="23" y="206"/>
                  <a:pt x="23" y="206"/>
                  <a:pt x="23" y="206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20" y="208"/>
                  <a:pt x="19" y="210"/>
                  <a:pt x="17" y="212"/>
                </a:cubicBezTo>
                <a:cubicBezTo>
                  <a:pt x="16" y="213"/>
                  <a:pt x="16" y="213"/>
                  <a:pt x="16" y="213"/>
                </a:cubicBezTo>
                <a:cubicBezTo>
                  <a:pt x="9" y="222"/>
                  <a:pt x="0" y="236"/>
                  <a:pt x="0" y="251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3"/>
                  <a:pt x="3" y="295"/>
                  <a:pt x="6" y="295"/>
                </a:cubicBezTo>
                <a:cubicBezTo>
                  <a:pt x="192" y="295"/>
                  <a:pt x="192" y="295"/>
                  <a:pt x="192" y="295"/>
                </a:cubicBezTo>
                <a:cubicBezTo>
                  <a:pt x="195" y="295"/>
                  <a:pt x="197" y="293"/>
                  <a:pt x="197" y="289"/>
                </a:cubicBezTo>
                <a:cubicBezTo>
                  <a:pt x="197" y="251"/>
                  <a:pt x="197" y="251"/>
                  <a:pt x="197" y="251"/>
                </a:cubicBezTo>
                <a:cubicBezTo>
                  <a:pt x="197" y="236"/>
                  <a:pt x="189" y="222"/>
                  <a:pt x="182" y="213"/>
                </a:cubicBezTo>
                <a:cubicBezTo>
                  <a:pt x="181" y="213"/>
                  <a:pt x="181" y="213"/>
                  <a:pt x="181" y="212"/>
                </a:cubicBezTo>
                <a:cubicBezTo>
                  <a:pt x="179" y="210"/>
                  <a:pt x="177" y="208"/>
                  <a:pt x="175" y="206"/>
                </a:cubicBezTo>
                <a:cubicBezTo>
                  <a:pt x="175" y="206"/>
                  <a:pt x="175" y="206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3" y="199"/>
                  <a:pt x="171" y="191"/>
                  <a:pt x="167" y="183"/>
                </a:cubicBezTo>
                <a:cubicBezTo>
                  <a:pt x="158" y="160"/>
                  <a:pt x="144" y="135"/>
                  <a:pt x="133" y="117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3" y="119"/>
                  <a:pt x="155" y="122"/>
                  <a:pt x="170" y="126"/>
                </a:cubicBezTo>
                <a:cubicBezTo>
                  <a:pt x="174" y="126"/>
                  <a:pt x="178" y="127"/>
                  <a:pt x="182" y="128"/>
                </a:cubicBezTo>
                <a:cubicBezTo>
                  <a:pt x="186" y="129"/>
                  <a:pt x="190" y="130"/>
                  <a:pt x="193" y="131"/>
                </a:cubicBezTo>
                <a:cubicBezTo>
                  <a:pt x="196" y="131"/>
                  <a:pt x="199" y="130"/>
                  <a:pt x="200" y="127"/>
                </a:cubicBezTo>
                <a:lnTo>
                  <a:pt x="213" y="97"/>
                </a:lnTo>
                <a:close/>
                <a:moveTo>
                  <a:pt x="185" y="242"/>
                </a:moveTo>
                <a:cubicBezTo>
                  <a:pt x="185" y="243"/>
                  <a:pt x="185" y="243"/>
                  <a:pt x="185" y="243"/>
                </a:cubicBezTo>
                <a:cubicBezTo>
                  <a:pt x="186" y="246"/>
                  <a:pt x="186" y="248"/>
                  <a:pt x="186" y="251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51"/>
                  <a:pt x="12" y="251"/>
                  <a:pt x="12" y="251"/>
                </a:cubicBezTo>
                <a:cubicBezTo>
                  <a:pt x="12" y="248"/>
                  <a:pt x="12" y="246"/>
                  <a:pt x="13" y="243"/>
                </a:cubicBezTo>
                <a:cubicBezTo>
                  <a:pt x="13" y="242"/>
                  <a:pt x="13" y="242"/>
                  <a:pt x="13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lnTo>
                  <a:pt x="185" y="242"/>
                </a:lnTo>
                <a:close/>
                <a:moveTo>
                  <a:pt x="171" y="219"/>
                </a:moveTo>
                <a:cubicBezTo>
                  <a:pt x="172" y="220"/>
                  <a:pt x="172" y="220"/>
                  <a:pt x="172" y="220"/>
                </a:cubicBezTo>
                <a:cubicBezTo>
                  <a:pt x="173" y="220"/>
                  <a:pt x="173" y="220"/>
                  <a:pt x="173" y="220"/>
                </a:cubicBezTo>
                <a:cubicBezTo>
                  <a:pt x="175" y="223"/>
                  <a:pt x="177" y="226"/>
                  <a:pt x="179" y="230"/>
                </a:cubicBezTo>
                <a:cubicBezTo>
                  <a:pt x="180" y="231"/>
                  <a:pt x="180" y="231"/>
                  <a:pt x="180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8" y="231"/>
                  <a:pt x="18" y="231"/>
                  <a:pt x="18" y="231"/>
                </a:cubicBezTo>
                <a:cubicBezTo>
                  <a:pt x="19" y="230"/>
                  <a:pt x="19" y="230"/>
                  <a:pt x="19" y="230"/>
                </a:cubicBezTo>
                <a:cubicBezTo>
                  <a:pt x="20" y="226"/>
                  <a:pt x="23" y="223"/>
                  <a:pt x="25" y="220"/>
                </a:cubicBezTo>
                <a:cubicBezTo>
                  <a:pt x="25" y="220"/>
                  <a:pt x="25" y="220"/>
                  <a:pt x="25" y="220"/>
                </a:cubicBezTo>
                <a:cubicBezTo>
                  <a:pt x="26" y="220"/>
                  <a:pt x="26" y="220"/>
                  <a:pt x="26" y="219"/>
                </a:cubicBezTo>
                <a:cubicBezTo>
                  <a:pt x="31" y="214"/>
                  <a:pt x="31" y="214"/>
                  <a:pt x="31" y="214"/>
                </a:cubicBezTo>
                <a:cubicBezTo>
                  <a:pt x="166" y="214"/>
                  <a:pt x="166" y="214"/>
                  <a:pt x="166" y="214"/>
                </a:cubicBezTo>
                <a:lnTo>
                  <a:pt x="171" y="219"/>
                </a:lnTo>
                <a:close/>
                <a:moveTo>
                  <a:pt x="191" y="118"/>
                </a:moveTo>
                <a:cubicBezTo>
                  <a:pt x="191" y="118"/>
                  <a:pt x="191" y="118"/>
                  <a:pt x="191" y="118"/>
                </a:cubicBezTo>
                <a:cubicBezTo>
                  <a:pt x="187" y="118"/>
                  <a:pt x="183" y="117"/>
                  <a:pt x="180" y="116"/>
                </a:cubicBezTo>
                <a:cubicBezTo>
                  <a:pt x="175" y="115"/>
                  <a:pt x="171" y="114"/>
                  <a:pt x="167" y="113"/>
                </a:cubicBezTo>
                <a:cubicBezTo>
                  <a:pt x="142" y="108"/>
                  <a:pt x="125" y="103"/>
                  <a:pt x="122" y="100"/>
                </a:cubicBezTo>
                <a:cubicBezTo>
                  <a:pt x="120" y="98"/>
                  <a:pt x="116" y="97"/>
                  <a:pt x="114" y="99"/>
                </a:cubicBezTo>
                <a:cubicBezTo>
                  <a:pt x="111" y="100"/>
                  <a:pt x="111" y="104"/>
                  <a:pt x="112" y="106"/>
                </a:cubicBezTo>
                <a:cubicBezTo>
                  <a:pt x="114" y="109"/>
                  <a:pt x="152" y="167"/>
                  <a:pt x="162" y="202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2" y="198"/>
                  <a:pt x="31" y="192"/>
                  <a:pt x="30" y="183"/>
                </a:cubicBezTo>
                <a:cubicBezTo>
                  <a:pt x="29" y="174"/>
                  <a:pt x="28" y="164"/>
                  <a:pt x="27" y="153"/>
                </a:cubicBezTo>
                <a:cubicBezTo>
                  <a:pt x="26" y="144"/>
                  <a:pt x="27" y="135"/>
                  <a:pt x="28" y="126"/>
                </a:cubicBezTo>
                <a:cubicBezTo>
                  <a:pt x="29" y="122"/>
                  <a:pt x="30" y="117"/>
                  <a:pt x="31" y="113"/>
                </a:cubicBezTo>
                <a:cubicBezTo>
                  <a:pt x="35" y="100"/>
                  <a:pt x="40" y="89"/>
                  <a:pt x="45" y="79"/>
                </a:cubicBezTo>
                <a:cubicBezTo>
                  <a:pt x="46" y="77"/>
                  <a:pt x="48" y="74"/>
                  <a:pt x="49" y="72"/>
                </a:cubicBezTo>
                <a:cubicBezTo>
                  <a:pt x="54" y="61"/>
                  <a:pt x="79" y="42"/>
                  <a:pt x="99" y="28"/>
                </a:cubicBezTo>
                <a:cubicBezTo>
                  <a:pt x="102" y="26"/>
                  <a:pt x="106" y="24"/>
                  <a:pt x="109" y="21"/>
                </a:cubicBezTo>
                <a:cubicBezTo>
                  <a:pt x="112" y="20"/>
                  <a:pt x="114" y="18"/>
                  <a:pt x="116" y="17"/>
                </a:cubicBezTo>
                <a:cubicBezTo>
                  <a:pt x="117" y="16"/>
                  <a:pt x="117" y="16"/>
                  <a:pt x="117" y="16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37"/>
                  <a:pt x="118" y="39"/>
                  <a:pt x="120" y="40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76" y="79"/>
                  <a:pt x="176" y="79"/>
                  <a:pt x="176" y="79"/>
                </a:cubicBezTo>
                <a:cubicBezTo>
                  <a:pt x="176" y="80"/>
                  <a:pt x="177" y="81"/>
                  <a:pt x="178" y="82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0" y="97"/>
                  <a:pt x="200" y="97"/>
                </a:cubicBezTo>
                <a:lnTo>
                  <a:pt x="191" y="1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3" name="Group 146">
            <a:extLst>
              <a:ext uri="{FF2B5EF4-FFF2-40B4-BE49-F238E27FC236}">
                <a16:creationId xmlns:a16="http://schemas.microsoft.com/office/drawing/2014/main" id="{1D4D72C4-CD33-F6D4-AFF0-BBECA52BBA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70262" y="3034717"/>
            <a:ext cx="485152" cy="502815"/>
            <a:chOff x="6545" y="1716"/>
            <a:chExt cx="412" cy="427"/>
          </a:xfrm>
          <a:solidFill>
            <a:schemeClr val="tx2"/>
          </a:solidFill>
        </p:grpSpPr>
        <p:sp>
          <p:nvSpPr>
            <p:cNvPr id="24" name="Freeform 147">
              <a:extLst>
                <a:ext uri="{FF2B5EF4-FFF2-40B4-BE49-F238E27FC236}">
                  <a16:creationId xmlns:a16="http://schemas.microsoft.com/office/drawing/2014/main" id="{4AD77514-B8D4-2CB4-2CE9-C2E945F29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1743"/>
              <a:ext cx="195" cy="169"/>
            </a:xfrm>
            <a:custGeom>
              <a:avLst/>
              <a:gdLst>
                <a:gd name="T0" fmla="*/ 66 w 132"/>
                <a:gd name="T1" fmla="*/ 114 h 114"/>
                <a:gd name="T2" fmla="*/ 64 w 132"/>
                <a:gd name="T3" fmla="*/ 114 h 114"/>
                <a:gd name="T4" fmla="*/ 4 w 132"/>
                <a:gd name="T5" fmla="*/ 90 h 114"/>
                <a:gd name="T6" fmla="*/ 0 w 132"/>
                <a:gd name="T7" fmla="*/ 84 h 114"/>
                <a:gd name="T8" fmla="*/ 0 w 132"/>
                <a:gd name="T9" fmla="*/ 6 h 114"/>
                <a:gd name="T10" fmla="*/ 3 w 132"/>
                <a:gd name="T11" fmla="*/ 1 h 114"/>
                <a:gd name="T12" fmla="*/ 8 w 132"/>
                <a:gd name="T13" fmla="*/ 0 h 114"/>
                <a:gd name="T14" fmla="*/ 66 w 132"/>
                <a:gd name="T15" fmla="*/ 18 h 114"/>
                <a:gd name="T16" fmla="*/ 125 w 132"/>
                <a:gd name="T17" fmla="*/ 0 h 114"/>
                <a:gd name="T18" fmla="*/ 130 w 132"/>
                <a:gd name="T19" fmla="*/ 1 h 114"/>
                <a:gd name="T20" fmla="*/ 132 w 132"/>
                <a:gd name="T21" fmla="*/ 6 h 114"/>
                <a:gd name="T22" fmla="*/ 132 w 132"/>
                <a:gd name="T23" fmla="*/ 84 h 114"/>
                <a:gd name="T24" fmla="*/ 128 w 132"/>
                <a:gd name="T25" fmla="*/ 90 h 114"/>
                <a:gd name="T26" fmla="*/ 68 w 132"/>
                <a:gd name="T27" fmla="*/ 114 h 114"/>
                <a:gd name="T28" fmla="*/ 66 w 132"/>
                <a:gd name="T29" fmla="*/ 114 h 114"/>
                <a:gd name="T30" fmla="*/ 12 w 132"/>
                <a:gd name="T31" fmla="*/ 80 h 114"/>
                <a:gd name="T32" fmla="*/ 66 w 132"/>
                <a:gd name="T33" fmla="*/ 102 h 114"/>
                <a:gd name="T34" fmla="*/ 120 w 132"/>
                <a:gd name="T35" fmla="*/ 80 h 114"/>
                <a:gd name="T36" fmla="*/ 120 w 132"/>
                <a:gd name="T37" fmla="*/ 14 h 114"/>
                <a:gd name="T38" fmla="*/ 68 w 132"/>
                <a:gd name="T39" fmla="*/ 30 h 114"/>
                <a:gd name="T40" fmla="*/ 65 w 132"/>
                <a:gd name="T41" fmla="*/ 30 h 114"/>
                <a:gd name="T42" fmla="*/ 12 w 132"/>
                <a:gd name="T43" fmla="*/ 14 h 114"/>
                <a:gd name="T44" fmla="*/ 12 w 132"/>
                <a:gd name="T45" fmla="*/ 8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14">
                  <a:moveTo>
                    <a:pt x="66" y="114"/>
                  </a:moveTo>
                  <a:cubicBezTo>
                    <a:pt x="65" y="114"/>
                    <a:pt x="65" y="114"/>
                    <a:pt x="64" y="114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2" y="89"/>
                    <a:pt x="0" y="86"/>
                    <a:pt x="0" y="8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0"/>
                    <a:pt x="128" y="0"/>
                    <a:pt x="130" y="1"/>
                  </a:cubicBezTo>
                  <a:cubicBezTo>
                    <a:pt x="131" y="2"/>
                    <a:pt x="132" y="4"/>
                    <a:pt x="132" y="6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6"/>
                    <a:pt x="131" y="89"/>
                    <a:pt x="128" y="90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68" y="114"/>
                    <a:pt x="67" y="114"/>
                    <a:pt x="66" y="114"/>
                  </a:cubicBezTo>
                  <a:close/>
                  <a:moveTo>
                    <a:pt x="12" y="80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6" y="30"/>
                    <a:pt x="65" y="30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48">
              <a:extLst>
                <a:ext uri="{FF2B5EF4-FFF2-40B4-BE49-F238E27FC236}">
                  <a16:creationId xmlns:a16="http://schemas.microsoft.com/office/drawing/2014/main" id="{7D9F9657-194D-A4B6-D315-033BA546A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716"/>
              <a:ext cx="197" cy="46"/>
            </a:xfrm>
            <a:custGeom>
              <a:avLst/>
              <a:gdLst>
                <a:gd name="T0" fmla="*/ 126 w 133"/>
                <a:gd name="T1" fmla="*/ 30 h 31"/>
                <a:gd name="T2" fmla="*/ 125 w 133"/>
                <a:gd name="T3" fmla="*/ 30 h 31"/>
                <a:gd name="T4" fmla="*/ 66 w 133"/>
                <a:gd name="T5" fmla="*/ 12 h 31"/>
                <a:gd name="T6" fmla="*/ 8 w 133"/>
                <a:gd name="T7" fmla="*/ 30 h 31"/>
                <a:gd name="T8" fmla="*/ 0 w 133"/>
                <a:gd name="T9" fmla="*/ 26 h 31"/>
                <a:gd name="T10" fmla="*/ 5 w 133"/>
                <a:gd name="T11" fmla="*/ 18 h 31"/>
                <a:gd name="T12" fmla="*/ 65 w 133"/>
                <a:gd name="T13" fmla="*/ 0 h 31"/>
                <a:gd name="T14" fmla="*/ 68 w 133"/>
                <a:gd name="T15" fmla="*/ 0 h 31"/>
                <a:gd name="T16" fmla="*/ 128 w 133"/>
                <a:gd name="T17" fmla="*/ 18 h 31"/>
                <a:gd name="T18" fmla="*/ 132 w 133"/>
                <a:gd name="T19" fmla="*/ 26 h 31"/>
                <a:gd name="T20" fmla="*/ 126 w 133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31">
                  <a:moveTo>
                    <a:pt x="126" y="30"/>
                  </a:moveTo>
                  <a:cubicBezTo>
                    <a:pt x="126" y="30"/>
                    <a:pt x="125" y="30"/>
                    <a:pt x="125" y="30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5" y="31"/>
                    <a:pt x="1" y="29"/>
                    <a:pt x="0" y="26"/>
                  </a:cubicBezTo>
                  <a:cubicBezTo>
                    <a:pt x="0" y="23"/>
                    <a:pt x="1" y="19"/>
                    <a:pt x="5" y="1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7" y="0"/>
                    <a:pt x="68" y="0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31" y="19"/>
                    <a:pt x="133" y="23"/>
                    <a:pt x="132" y="26"/>
                  </a:cubicBezTo>
                  <a:cubicBezTo>
                    <a:pt x="131" y="28"/>
                    <a:pt x="129" y="30"/>
                    <a:pt x="12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49">
              <a:extLst>
                <a:ext uri="{FF2B5EF4-FFF2-40B4-BE49-F238E27FC236}">
                  <a16:creationId xmlns:a16="http://schemas.microsoft.com/office/drawing/2014/main" id="{CF408B22-43A7-858D-A43C-E55489A8B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0" y="1770"/>
              <a:ext cx="18" cy="142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10" y="96"/>
                    <a:pt x="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50">
              <a:extLst>
                <a:ext uri="{FF2B5EF4-FFF2-40B4-BE49-F238E27FC236}">
                  <a16:creationId xmlns:a16="http://schemas.microsoft.com/office/drawing/2014/main" id="{30786AC4-990F-C1DB-152A-CE66004EF4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5" y="1929"/>
              <a:ext cx="160" cy="134"/>
            </a:xfrm>
            <a:custGeom>
              <a:avLst/>
              <a:gdLst>
                <a:gd name="T0" fmla="*/ 54 w 108"/>
                <a:gd name="T1" fmla="*/ 90 h 90"/>
                <a:gd name="T2" fmla="*/ 52 w 108"/>
                <a:gd name="T3" fmla="*/ 89 h 90"/>
                <a:gd name="T4" fmla="*/ 4 w 108"/>
                <a:gd name="T5" fmla="*/ 65 h 90"/>
                <a:gd name="T6" fmla="*/ 0 w 108"/>
                <a:gd name="T7" fmla="*/ 60 h 90"/>
                <a:gd name="T8" fmla="*/ 0 w 108"/>
                <a:gd name="T9" fmla="*/ 6 h 90"/>
                <a:gd name="T10" fmla="*/ 3 w 108"/>
                <a:gd name="T11" fmla="*/ 1 h 90"/>
                <a:gd name="T12" fmla="*/ 8 w 108"/>
                <a:gd name="T13" fmla="*/ 0 h 90"/>
                <a:gd name="T14" fmla="*/ 54 w 108"/>
                <a:gd name="T15" fmla="*/ 18 h 90"/>
                <a:gd name="T16" fmla="*/ 100 w 108"/>
                <a:gd name="T17" fmla="*/ 0 h 90"/>
                <a:gd name="T18" fmla="*/ 106 w 108"/>
                <a:gd name="T19" fmla="*/ 1 h 90"/>
                <a:gd name="T20" fmla="*/ 108 w 108"/>
                <a:gd name="T21" fmla="*/ 6 h 90"/>
                <a:gd name="T22" fmla="*/ 108 w 108"/>
                <a:gd name="T23" fmla="*/ 60 h 90"/>
                <a:gd name="T24" fmla="*/ 105 w 108"/>
                <a:gd name="T25" fmla="*/ 65 h 90"/>
                <a:gd name="T26" fmla="*/ 57 w 108"/>
                <a:gd name="T27" fmla="*/ 89 h 90"/>
                <a:gd name="T28" fmla="*/ 54 w 108"/>
                <a:gd name="T29" fmla="*/ 90 h 90"/>
                <a:gd name="T30" fmla="*/ 12 w 108"/>
                <a:gd name="T31" fmla="*/ 56 h 90"/>
                <a:gd name="T32" fmla="*/ 54 w 108"/>
                <a:gd name="T33" fmla="*/ 77 h 90"/>
                <a:gd name="T34" fmla="*/ 96 w 108"/>
                <a:gd name="T35" fmla="*/ 56 h 90"/>
                <a:gd name="T36" fmla="*/ 96 w 108"/>
                <a:gd name="T37" fmla="*/ 15 h 90"/>
                <a:gd name="T38" fmla="*/ 56 w 108"/>
                <a:gd name="T39" fmla="*/ 30 h 90"/>
                <a:gd name="T40" fmla="*/ 52 w 108"/>
                <a:gd name="T41" fmla="*/ 30 h 90"/>
                <a:gd name="T42" fmla="*/ 12 w 108"/>
                <a:gd name="T43" fmla="*/ 15 h 90"/>
                <a:gd name="T44" fmla="*/ 12 w 108"/>
                <a:gd name="T45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90">
                  <a:moveTo>
                    <a:pt x="54" y="90"/>
                  </a:moveTo>
                  <a:cubicBezTo>
                    <a:pt x="53" y="90"/>
                    <a:pt x="52" y="90"/>
                    <a:pt x="52" y="89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0"/>
                    <a:pt x="106" y="1"/>
                  </a:cubicBezTo>
                  <a:cubicBezTo>
                    <a:pt x="107" y="2"/>
                    <a:pt x="108" y="4"/>
                    <a:pt x="108" y="6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2"/>
                    <a:pt x="107" y="64"/>
                    <a:pt x="105" y="65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90"/>
                    <a:pt x="55" y="90"/>
                    <a:pt x="54" y="90"/>
                  </a:cubicBezTo>
                  <a:close/>
                  <a:moveTo>
                    <a:pt x="12" y="56"/>
                  </a:moveTo>
                  <a:cubicBezTo>
                    <a:pt x="54" y="77"/>
                    <a:pt x="54" y="77"/>
                    <a:pt x="54" y="7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5" y="30"/>
                    <a:pt x="53" y="30"/>
                    <a:pt x="52" y="30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12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51">
              <a:extLst>
                <a:ext uri="{FF2B5EF4-FFF2-40B4-BE49-F238E27FC236}">
                  <a16:creationId xmlns:a16="http://schemas.microsoft.com/office/drawing/2014/main" id="{3CEA6BFC-C92D-50EB-FEDD-D042FA43B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" y="1903"/>
              <a:ext cx="163" cy="46"/>
            </a:xfrm>
            <a:custGeom>
              <a:avLst/>
              <a:gdLst>
                <a:gd name="T0" fmla="*/ 103 w 110"/>
                <a:gd name="T1" fmla="*/ 30 h 31"/>
                <a:gd name="T2" fmla="*/ 101 w 110"/>
                <a:gd name="T3" fmla="*/ 30 h 31"/>
                <a:gd name="T4" fmla="*/ 55 w 110"/>
                <a:gd name="T5" fmla="*/ 12 h 31"/>
                <a:gd name="T6" fmla="*/ 9 w 110"/>
                <a:gd name="T7" fmla="*/ 30 h 31"/>
                <a:gd name="T8" fmla="*/ 2 w 110"/>
                <a:gd name="T9" fmla="*/ 26 h 31"/>
                <a:gd name="T10" fmla="*/ 5 w 110"/>
                <a:gd name="T11" fmla="*/ 18 h 31"/>
                <a:gd name="T12" fmla="*/ 53 w 110"/>
                <a:gd name="T13" fmla="*/ 0 h 31"/>
                <a:gd name="T14" fmla="*/ 57 w 110"/>
                <a:gd name="T15" fmla="*/ 0 h 31"/>
                <a:gd name="T16" fmla="*/ 105 w 110"/>
                <a:gd name="T17" fmla="*/ 18 h 31"/>
                <a:gd name="T18" fmla="*/ 109 w 110"/>
                <a:gd name="T19" fmla="*/ 26 h 31"/>
                <a:gd name="T20" fmla="*/ 103 w 110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1">
                  <a:moveTo>
                    <a:pt x="103" y="30"/>
                  </a:moveTo>
                  <a:cubicBezTo>
                    <a:pt x="103" y="30"/>
                    <a:pt x="102" y="30"/>
                    <a:pt x="101" y="3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6" y="31"/>
                    <a:pt x="3" y="29"/>
                    <a:pt x="2" y="26"/>
                  </a:cubicBezTo>
                  <a:cubicBezTo>
                    <a:pt x="0" y="23"/>
                    <a:pt x="2" y="20"/>
                    <a:pt x="5" y="18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6" y="0"/>
                    <a:pt x="57" y="0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20"/>
                    <a:pt x="110" y="23"/>
                    <a:pt x="109" y="26"/>
                  </a:cubicBezTo>
                  <a:cubicBezTo>
                    <a:pt x="108" y="29"/>
                    <a:pt x="106" y="30"/>
                    <a:pt x="103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52">
              <a:extLst>
                <a:ext uri="{FF2B5EF4-FFF2-40B4-BE49-F238E27FC236}">
                  <a16:creationId xmlns:a16="http://schemas.microsoft.com/office/drawing/2014/main" id="{44D029D3-6128-A77F-A8E9-F553A432C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6" y="1956"/>
              <a:ext cx="18" cy="107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10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53">
              <a:extLst>
                <a:ext uri="{FF2B5EF4-FFF2-40B4-BE49-F238E27FC236}">
                  <a16:creationId xmlns:a16="http://schemas.microsoft.com/office/drawing/2014/main" id="{F41065D9-504E-7446-C7A9-E5AB4D9CDD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" y="1947"/>
              <a:ext cx="231" cy="196"/>
            </a:xfrm>
            <a:custGeom>
              <a:avLst/>
              <a:gdLst>
                <a:gd name="T0" fmla="*/ 78 w 156"/>
                <a:gd name="T1" fmla="*/ 132 h 132"/>
                <a:gd name="T2" fmla="*/ 76 w 156"/>
                <a:gd name="T3" fmla="*/ 132 h 132"/>
                <a:gd name="T4" fmla="*/ 4 w 156"/>
                <a:gd name="T5" fmla="*/ 108 h 132"/>
                <a:gd name="T6" fmla="*/ 0 w 156"/>
                <a:gd name="T7" fmla="*/ 102 h 132"/>
                <a:gd name="T8" fmla="*/ 0 w 156"/>
                <a:gd name="T9" fmla="*/ 6 h 132"/>
                <a:gd name="T10" fmla="*/ 3 w 156"/>
                <a:gd name="T11" fmla="*/ 1 h 132"/>
                <a:gd name="T12" fmla="*/ 8 w 156"/>
                <a:gd name="T13" fmla="*/ 0 h 132"/>
                <a:gd name="T14" fmla="*/ 78 w 156"/>
                <a:gd name="T15" fmla="*/ 24 h 132"/>
                <a:gd name="T16" fmla="*/ 148 w 156"/>
                <a:gd name="T17" fmla="*/ 0 h 132"/>
                <a:gd name="T18" fmla="*/ 154 w 156"/>
                <a:gd name="T19" fmla="*/ 1 h 132"/>
                <a:gd name="T20" fmla="*/ 156 w 156"/>
                <a:gd name="T21" fmla="*/ 6 h 132"/>
                <a:gd name="T22" fmla="*/ 156 w 156"/>
                <a:gd name="T23" fmla="*/ 102 h 132"/>
                <a:gd name="T24" fmla="*/ 152 w 156"/>
                <a:gd name="T25" fmla="*/ 108 h 132"/>
                <a:gd name="T26" fmla="*/ 80 w 156"/>
                <a:gd name="T27" fmla="*/ 132 h 132"/>
                <a:gd name="T28" fmla="*/ 78 w 156"/>
                <a:gd name="T29" fmla="*/ 132 h 132"/>
                <a:gd name="T30" fmla="*/ 12 w 156"/>
                <a:gd name="T31" fmla="*/ 98 h 132"/>
                <a:gd name="T32" fmla="*/ 78 w 156"/>
                <a:gd name="T33" fmla="*/ 120 h 132"/>
                <a:gd name="T34" fmla="*/ 144 w 156"/>
                <a:gd name="T35" fmla="*/ 98 h 132"/>
                <a:gd name="T36" fmla="*/ 144 w 156"/>
                <a:gd name="T37" fmla="*/ 14 h 132"/>
                <a:gd name="T38" fmla="*/ 80 w 156"/>
                <a:gd name="T39" fmla="*/ 36 h 132"/>
                <a:gd name="T40" fmla="*/ 76 w 156"/>
                <a:gd name="T41" fmla="*/ 36 h 132"/>
                <a:gd name="T42" fmla="*/ 12 w 156"/>
                <a:gd name="T43" fmla="*/ 14 h 132"/>
                <a:gd name="T44" fmla="*/ 12 w 156"/>
                <a:gd name="T45" fmla="*/ 9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6" h="132">
                  <a:moveTo>
                    <a:pt x="78" y="132"/>
                  </a:moveTo>
                  <a:cubicBezTo>
                    <a:pt x="78" y="132"/>
                    <a:pt x="77" y="132"/>
                    <a:pt x="76" y="132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2" y="107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0" y="0"/>
                    <a:pt x="152" y="0"/>
                    <a:pt x="154" y="1"/>
                  </a:cubicBezTo>
                  <a:cubicBezTo>
                    <a:pt x="155" y="2"/>
                    <a:pt x="156" y="4"/>
                    <a:pt x="156" y="6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5"/>
                    <a:pt x="155" y="107"/>
                    <a:pt x="152" y="108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2"/>
                    <a:pt x="79" y="132"/>
                    <a:pt x="78" y="132"/>
                  </a:cubicBezTo>
                  <a:close/>
                  <a:moveTo>
                    <a:pt x="12" y="98"/>
                  </a:moveTo>
                  <a:cubicBezTo>
                    <a:pt x="78" y="120"/>
                    <a:pt x="78" y="120"/>
                    <a:pt x="78" y="120"/>
                  </a:cubicBezTo>
                  <a:cubicBezTo>
                    <a:pt x="144" y="98"/>
                    <a:pt x="144" y="98"/>
                    <a:pt x="144" y="98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6"/>
                    <a:pt x="78" y="36"/>
                    <a:pt x="76" y="36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54">
              <a:extLst>
                <a:ext uri="{FF2B5EF4-FFF2-40B4-BE49-F238E27FC236}">
                  <a16:creationId xmlns:a16="http://schemas.microsoft.com/office/drawing/2014/main" id="{B91B1782-236F-106F-24F6-BD6E33B1A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" y="1912"/>
              <a:ext cx="234" cy="54"/>
            </a:xfrm>
            <a:custGeom>
              <a:avLst/>
              <a:gdLst>
                <a:gd name="T0" fmla="*/ 151 w 158"/>
                <a:gd name="T1" fmla="*/ 36 h 37"/>
                <a:gd name="T2" fmla="*/ 149 w 158"/>
                <a:gd name="T3" fmla="*/ 36 h 37"/>
                <a:gd name="T4" fmla="*/ 79 w 158"/>
                <a:gd name="T5" fmla="*/ 12 h 37"/>
                <a:gd name="T6" fmla="*/ 9 w 158"/>
                <a:gd name="T7" fmla="*/ 36 h 37"/>
                <a:gd name="T8" fmla="*/ 2 w 158"/>
                <a:gd name="T9" fmla="*/ 32 h 37"/>
                <a:gd name="T10" fmla="*/ 5 w 158"/>
                <a:gd name="T11" fmla="*/ 24 h 37"/>
                <a:gd name="T12" fmla="*/ 77 w 158"/>
                <a:gd name="T13" fmla="*/ 0 h 37"/>
                <a:gd name="T14" fmla="*/ 81 w 158"/>
                <a:gd name="T15" fmla="*/ 0 h 37"/>
                <a:gd name="T16" fmla="*/ 153 w 158"/>
                <a:gd name="T17" fmla="*/ 24 h 37"/>
                <a:gd name="T18" fmla="*/ 157 w 158"/>
                <a:gd name="T19" fmla="*/ 32 h 37"/>
                <a:gd name="T20" fmla="*/ 151 w 158"/>
                <a:gd name="T21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37">
                  <a:moveTo>
                    <a:pt x="151" y="36"/>
                  </a:moveTo>
                  <a:cubicBezTo>
                    <a:pt x="151" y="36"/>
                    <a:pt x="150" y="36"/>
                    <a:pt x="149" y="3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6" y="37"/>
                    <a:pt x="3" y="35"/>
                    <a:pt x="2" y="32"/>
                  </a:cubicBezTo>
                  <a:cubicBezTo>
                    <a:pt x="0" y="29"/>
                    <a:pt x="2" y="25"/>
                    <a:pt x="5" y="2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0" y="0"/>
                    <a:pt x="81" y="0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6" y="25"/>
                    <a:pt x="158" y="29"/>
                    <a:pt x="157" y="32"/>
                  </a:cubicBezTo>
                  <a:cubicBezTo>
                    <a:pt x="156" y="34"/>
                    <a:pt x="154" y="36"/>
                    <a:pt x="15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84" name="Freeform 155">
              <a:extLst>
                <a:ext uri="{FF2B5EF4-FFF2-40B4-BE49-F238E27FC236}">
                  <a16:creationId xmlns:a16="http://schemas.microsoft.com/office/drawing/2014/main" id="{15B32BFF-46C5-C59B-1DC8-36C342B94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" y="1983"/>
              <a:ext cx="18" cy="160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6385" name="Group 38">
            <a:extLst>
              <a:ext uri="{FF2B5EF4-FFF2-40B4-BE49-F238E27FC236}">
                <a16:creationId xmlns:a16="http://schemas.microsoft.com/office/drawing/2014/main" id="{B78D7063-35D7-9E9E-5223-C73DB8EC84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53352" y="5307617"/>
            <a:ext cx="529168" cy="543194"/>
            <a:chOff x="4482" y="439"/>
            <a:chExt cx="415" cy="426"/>
          </a:xfrm>
          <a:solidFill>
            <a:schemeClr val="tx2"/>
          </a:solidFill>
        </p:grpSpPr>
        <p:sp>
          <p:nvSpPr>
            <p:cNvPr id="16387" name="Freeform 39">
              <a:extLst>
                <a:ext uri="{FF2B5EF4-FFF2-40B4-BE49-F238E27FC236}">
                  <a16:creationId xmlns:a16="http://schemas.microsoft.com/office/drawing/2014/main" id="{58B53B89-A486-69DF-C4F6-FCE2C981D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" y="439"/>
              <a:ext cx="246" cy="249"/>
            </a:xfrm>
            <a:custGeom>
              <a:avLst/>
              <a:gdLst>
                <a:gd name="T0" fmla="*/ 66 w 166"/>
                <a:gd name="T1" fmla="*/ 168 h 168"/>
                <a:gd name="T2" fmla="*/ 60 w 166"/>
                <a:gd name="T3" fmla="*/ 146 h 168"/>
                <a:gd name="T4" fmla="*/ 27 w 166"/>
                <a:gd name="T5" fmla="*/ 143 h 168"/>
                <a:gd name="T6" fmla="*/ 1 w 166"/>
                <a:gd name="T7" fmla="*/ 110 h 168"/>
                <a:gd name="T8" fmla="*/ 3 w 166"/>
                <a:gd name="T9" fmla="*/ 102 h 168"/>
                <a:gd name="T10" fmla="*/ 18 w 166"/>
                <a:gd name="T11" fmla="*/ 74 h 168"/>
                <a:gd name="T12" fmla="*/ 1 w 166"/>
                <a:gd name="T13" fmla="*/ 62 h 168"/>
                <a:gd name="T14" fmla="*/ 20 w 166"/>
                <a:gd name="T15" fmla="*/ 26 h 168"/>
                <a:gd name="T16" fmla="*/ 42 w 166"/>
                <a:gd name="T17" fmla="*/ 32 h 168"/>
                <a:gd name="T18" fmla="*/ 60 w 166"/>
                <a:gd name="T19" fmla="*/ 6 h 168"/>
                <a:gd name="T20" fmla="*/ 102 w 166"/>
                <a:gd name="T21" fmla="*/ 0 h 168"/>
                <a:gd name="T22" fmla="*/ 108 w 166"/>
                <a:gd name="T23" fmla="*/ 23 h 168"/>
                <a:gd name="T24" fmla="*/ 139 w 166"/>
                <a:gd name="T25" fmla="*/ 24 h 168"/>
                <a:gd name="T26" fmla="*/ 147 w 166"/>
                <a:gd name="T27" fmla="*/ 26 h 168"/>
                <a:gd name="T28" fmla="*/ 165 w 166"/>
                <a:gd name="T29" fmla="*/ 62 h 168"/>
                <a:gd name="T30" fmla="*/ 148 w 166"/>
                <a:gd name="T31" fmla="*/ 74 h 168"/>
                <a:gd name="T32" fmla="*/ 163 w 166"/>
                <a:gd name="T33" fmla="*/ 102 h 168"/>
                <a:gd name="T34" fmla="*/ 165 w 166"/>
                <a:gd name="T35" fmla="*/ 110 h 168"/>
                <a:gd name="T36" fmla="*/ 143 w 166"/>
                <a:gd name="T37" fmla="*/ 144 h 168"/>
                <a:gd name="T38" fmla="*/ 125 w 166"/>
                <a:gd name="T39" fmla="*/ 135 h 168"/>
                <a:gd name="T40" fmla="*/ 108 w 166"/>
                <a:gd name="T41" fmla="*/ 162 h 168"/>
                <a:gd name="T42" fmla="*/ 72 w 166"/>
                <a:gd name="T43" fmla="*/ 156 h 168"/>
                <a:gd name="T44" fmla="*/ 96 w 166"/>
                <a:gd name="T45" fmla="*/ 141 h 168"/>
                <a:gd name="T46" fmla="*/ 120 w 166"/>
                <a:gd name="T47" fmla="*/ 123 h 168"/>
                <a:gd name="T48" fmla="*/ 139 w 166"/>
                <a:gd name="T49" fmla="*/ 130 h 168"/>
                <a:gd name="T50" fmla="*/ 139 w 166"/>
                <a:gd name="T51" fmla="*/ 102 h 168"/>
                <a:gd name="T52" fmla="*/ 136 w 166"/>
                <a:gd name="T53" fmla="*/ 72 h 168"/>
                <a:gd name="T54" fmla="*/ 151 w 166"/>
                <a:gd name="T55" fmla="*/ 58 h 168"/>
                <a:gd name="T56" fmla="*/ 127 w 166"/>
                <a:gd name="T57" fmla="*/ 45 h 168"/>
                <a:gd name="T58" fmla="*/ 100 w 166"/>
                <a:gd name="T59" fmla="*/ 32 h 168"/>
                <a:gd name="T60" fmla="*/ 96 w 166"/>
                <a:gd name="T61" fmla="*/ 12 h 168"/>
                <a:gd name="T62" fmla="*/ 72 w 166"/>
                <a:gd name="T63" fmla="*/ 26 h 168"/>
                <a:gd name="T64" fmla="*/ 48 w 166"/>
                <a:gd name="T65" fmla="*/ 44 h 168"/>
                <a:gd name="T66" fmla="*/ 27 w 166"/>
                <a:gd name="T67" fmla="*/ 37 h 168"/>
                <a:gd name="T68" fmla="*/ 28 w 166"/>
                <a:gd name="T69" fmla="*/ 65 h 168"/>
                <a:gd name="T70" fmla="*/ 30 w 166"/>
                <a:gd name="T71" fmla="*/ 95 h 168"/>
                <a:gd name="T72" fmla="*/ 15 w 166"/>
                <a:gd name="T73" fmla="*/ 109 h 168"/>
                <a:gd name="T74" fmla="*/ 40 w 166"/>
                <a:gd name="T75" fmla="*/ 123 h 168"/>
                <a:gd name="T76" fmla="*/ 68 w 166"/>
                <a:gd name="T77" fmla="*/ 135 h 168"/>
                <a:gd name="T78" fmla="*/ 72 w 166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5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09"/>
                    <a:pt x="0" y="107"/>
                    <a:pt x="1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7" y="87"/>
                    <a:pt x="17" y="80"/>
                    <a:pt x="18" y="7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1" y="63"/>
                    <a:pt x="1" y="62"/>
                  </a:cubicBezTo>
                  <a:cubicBezTo>
                    <a:pt x="0" y="60"/>
                    <a:pt x="1" y="59"/>
                    <a:pt x="1" y="5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3"/>
                    <a:pt x="25" y="22"/>
                    <a:pt x="28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1" y="29"/>
                    <a:pt x="125" y="32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3"/>
                    <a:pt x="142" y="23"/>
                    <a:pt x="143" y="23"/>
                  </a:cubicBezTo>
                  <a:cubicBezTo>
                    <a:pt x="145" y="24"/>
                    <a:pt x="146" y="25"/>
                    <a:pt x="147" y="26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6" y="59"/>
                    <a:pt x="166" y="60"/>
                    <a:pt x="165" y="62"/>
                  </a:cubicBezTo>
                  <a:cubicBezTo>
                    <a:pt x="165" y="63"/>
                    <a:pt x="164" y="65"/>
                    <a:pt x="163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6" y="107"/>
                    <a:pt x="166" y="109"/>
                    <a:pt x="165" y="110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6" y="143"/>
                    <a:pt x="145" y="144"/>
                    <a:pt x="143" y="144"/>
                  </a:cubicBezTo>
                  <a:cubicBezTo>
                    <a:pt x="142" y="144"/>
                    <a:pt x="140" y="144"/>
                    <a:pt x="139" y="143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21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6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8" y="136"/>
                    <a:pt x="100" y="135"/>
                  </a:cubicBezTo>
                  <a:cubicBezTo>
                    <a:pt x="109" y="131"/>
                    <a:pt x="116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6" y="101"/>
                    <a:pt x="135" y="98"/>
                    <a:pt x="136" y="95"/>
                  </a:cubicBezTo>
                  <a:cubicBezTo>
                    <a:pt x="137" y="87"/>
                    <a:pt x="137" y="80"/>
                    <a:pt x="136" y="72"/>
                  </a:cubicBezTo>
                  <a:cubicBezTo>
                    <a:pt x="135" y="69"/>
                    <a:pt x="136" y="67"/>
                    <a:pt x="139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8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1" y="32"/>
                    <a:pt x="68" y="32"/>
                  </a:cubicBezTo>
                  <a:cubicBezTo>
                    <a:pt x="57" y="35"/>
                    <a:pt x="54" y="38"/>
                    <a:pt x="48" y="44"/>
                  </a:cubicBezTo>
                  <a:cubicBezTo>
                    <a:pt x="46" y="45"/>
                    <a:pt x="43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0" y="67"/>
                    <a:pt x="31" y="69"/>
                    <a:pt x="30" y="72"/>
                  </a:cubicBezTo>
                  <a:cubicBezTo>
                    <a:pt x="29" y="80"/>
                    <a:pt x="29" y="88"/>
                    <a:pt x="30" y="95"/>
                  </a:cubicBezTo>
                  <a:cubicBezTo>
                    <a:pt x="31" y="98"/>
                    <a:pt x="30" y="101"/>
                    <a:pt x="28" y="102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3" y="121"/>
                    <a:pt x="45" y="122"/>
                    <a:pt x="47" y="123"/>
                  </a:cubicBezTo>
                  <a:cubicBezTo>
                    <a:pt x="54" y="129"/>
                    <a:pt x="57" y="133"/>
                    <a:pt x="68" y="135"/>
                  </a:cubicBezTo>
                  <a:cubicBezTo>
                    <a:pt x="71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88" name="Freeform 40">
              <a:extLst>
                <a:ext uri="{FF2B5EF4-FFF2-40B4-BE49-F238E27FC236}">
                  <a16:creationId xmlns:a16="http://schemas.microsoft.com/office/drawing/2014/main" id="{0BAE379B-2EEE-6965-D5AE-7FD6373B7E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" y="519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89" name="Freeform 41">
              <a:extLst>
                <a:ext uri="{FF2B5EF4-FFF2-40B4-BE49-F238E27FC236}">
                  <a16:creationId xmlns:a16="http://schemas.microsoft.com/office/drawing/2014/main" id="{8879D0D5-5DC4-0F0D-8A60-870AB9DE0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2" y="617"/>
              <a:ext cx="246" cy="248"/>
            </a:xfrm>
            <a:custGeom>
              <a:avLst/>
              <a:gdLst>
                <a:gd name="T0" fmla="*/ 66 w 166"/>
                <a:gd name="T1" fmla="*/ 168 h 168"/>
                <a:gd name="T2" fmla="*/ 60 w 166"/>
                <a:gd name="T3" fmla="*/ 146 h 168"/>
                <a:gd name="T4" fmla="*/ 27 w 166"/>
                <a:gd name="T5" fmla="*/ 143 h 168"/>
                <a:gd name="T6" fmla="*/ 1 w 166"/>
                <a:gd name="T7" fmla="*/ 110 h 168"/>
                <a:gd name="T8" fmla="*/ 3 w 166"/>
                <a:gd name="T9" fmla="*/ 102 h 168"/>
                <a:gd name="T10" fmla="*/ 18 w 166"/>
                <a:gd name="T11" fmla="*/ 74 h 168"/>
                <a:gd name="T12" fmla="*/ 1 w 166"/>
                <a:gd name="T13" fmla="*/ 62 h 168"/>
                <a:gd name="T14" fmla="*/ 20 w 166"/>
                <a:gd name="T15" fmla="*/ 26 h 168"/>
                <a:gd name="T16" fmla="*/ 42 w 166"/>
                <a:gd name="T17" fmla="*/ 32 h 168"/>
                <a:gd name="T18" fmla="*/ 60 w 166"/>
                <a:gd name="T19" fmla="*/ 6 h 168"/>
                <a:gd name="T20" fmla="*/ 102 w 166"/>
                <a:gd name="T21" fmla="*/ 0 h 168"/>
                <a:gd name="T22" fmla="*/ 108 w 166"/>
                <a:gd name="T23" fmla="*/ 23 h 168"/>
                <a:gd name="T24" fmla="*/ 138 w 166"/>
                <a:gd name="T25" fmla="*/ 24 h 168"/>
                <a:gd name="T26" fmla="*/ 147 w 166"/>
                <a:gd name="T27" fmla="*/ 26 h 168"/>
                <a:gd name="T28" fmla="*/ 165 w 166"/>
                <a:gd name="T29" fmla="*/ 62 h 168"/>
                <a:gd name="T30" fmla="*/ 148 w 166"/>
                <a:gd name="T31" fmla="*/ 74 h 168"/>
                <a:gd name="T32" fmla="*/ 163 w 166"/>
                <a:gd name="T33" fmla="*/ 102 h 168"/>
                <a:gd name="T34" fmla="*/ 165 w 166"/>
                <a:gd name="T35" fmla="*/ 110 h 168"/>
                <a:gd name="T36" fmla="*/ 143 w 166"/>
                <a:gd name="T37" fmla="*/ 144 h 168"/>
                <a:gd name="T38" fmla="*/ 125 w 166"/>
                <a:gd name="T39" fmla="*/ 135 h 168"/>
                <a:gd name="T40" fmla="*/ 108 w 166"/>
                <a:gd name="T41" fmla="*/ 162 h 168"/>
                <a:gd name="T42" fmla="*/ 72 w 166"/>
                <a:gd name="T43" fmla="*/ 156 h 168"/>
                <a:gd name="T44" fmla="*/ 96 w 166"/>
                <a:gd name="T45" fmla="*/ 141 h 168"/>
                <a:gd name="T46" fmla="*/ 120 w 166"/>
                <a:gd name="T47" fmla="*/ 123 h 168"/>
                <a:gd name="T48" fmla="*/ 139 w 166"/>
                <a:gd name="T49" fmla="*/ 130 h 168"/>
                <a:gd name="T50" fmla="*/ 139 w 166"/>
                <a:gd name="T51" fmla="*/ 102 h 168"/>
                <a:gd name="T52" fmla="*/ 136 w 166"/>
                <a:gd name="T53" fmla="*/ 72 h 168"/>
                <a:gd name="T54" fmla="*/ 151 w 166"/>
                <a:gd name="T55" fmla="*/ 58 h 168"/>
                <a:gd name="T56" fmla="*/ 127 w 166"/>
                <a:gd name="T57" fmla="*/ 45 h 168"/>
                <a:gd name="T58" fmla="*/ 100 w 166"/>
                <a:gd name="T59" fmla="*/ 32 h 168"/>
                <a:gd name="T60" fmla="*/ 96 w 166"/>
                <a:gd name="T61" fmla="*/ 12 h 168"/>
                <a:gd name="T62" fmla="*/ 72 w 166"/>
                <a:gd name="T63" fmla="*/ 26 h 168"/>
                <a:gd name="T64" fmla="*/ 48 w 166"/>
                <a:gd name="T65" fmla="*/ 44 h 168"/>
                <a:gd name="T66" fmla="*/ 27 w 166"/>
                <a:gd name="T67" fmla="*/ 37 h 168"/>
                <a:gd name="T68" fmla="*/ 28 w 166"/>
                <a:gd name="T69" fmla="*/ 65 h 168"/>
                <a:gd name="T70" fmla="*/ 30 w 166"/>
                <a:gd name="T71" fmla="*/ 95 h 168"/>
                <a:gd name="T72" fmla="*/ 15 w 166"/>
                <a:gd name="T73" fmla="*/ 109 h 168"/>
                <a:gd name="T74" fmla="*/ 40 w 166"/>
                <a:gd name="T75" fmla="*/ 123 h 168"/>
                <a:gd name="T76" fmla="*/ 68 w 166"/>
                <a:gd name="T77" fmla="*/ 135 h 168"/>
                <a:gd name="T78" fmla="*/ 72 w 166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5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1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7" y="87"/>
                    <a:pt x="17" y="80"/>
                    <a:pt x="18" y="7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1" y="63"/>
                    <a:pt x="1" y="62"/>
                  </a:cubicBezTo>
                  <a:cubicBezTo>
                    <a:pt x="0" y="60"/>
                    <a:pt x="1" y="59"/>
                    <a:pt x="1" y="5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3"/>
                    <a:pt x="25" y="22"/>
                    <a:pt x="28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1" y="29"/>
                    <a:pt x="125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40" y="23"/>
                    <a:pt x="142" y="23"/>
                    <a:pt x="143" y="23"/>
                  </a:cubicBezTo>
                  <a:cubicBezTo>
                    <a:pt x="145" y="24"/>
                    <a:pt x="146" y="25"/>
                    <a:pt x="147" y="26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6" y="59"/>
                    <a:pt x="166" y="60"/>
                    <a:pt x="165" y="62"/>
                  </a:cubicBezTo>
                  <a:cubicBezTo>
                    <a:pt x="165" y="63"/>
                    <a:pt x="164" y="65"/>
                    <a:pt x="163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6" y="107"/>
                    <a:pt x="166" y="109"/>
                    <a:pt x="165" y="110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6" y="143"/>
                    <a:pt x="145" y="144"/>
                    <a:pt x="143" y="144"/>
                  </a:cubicBezTo>
                  <a:cubicBezTo>
                    <a:pt x="142" y="144"/>
                    <a:pt x="140" y="144"/>
                    <a:pt x="138" y="143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21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6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8" y="136"/>
                    <a:pt x="100" y="135"/>
                  </a:cubicBezTo>
                  <a:cubicBezTo>
                    <a:pt x="109" y="131"/>
                    <a:pt x="116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6" y="101"/>
                    <a:pt x="135" y="98"/>
                    <a:pt x="136" y="95"/>
                  </a:cubicBezTo>
                  <a:cubicBezTo>
                    <a:pt x="137" y="87"/>
                    <a:pt x="137" y="80"/>
                    <a:pt x="136" y="72"/>
                  </a:cubicBezTo>
                  <a:cubicBezTo>
                    <a:pt x="135" y="69"/>
                    <a:pt x="136" y="67"/>
                    <a:pt x="139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8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1" y="32"/>
                    <a:pt x="68" y="32"/>
                  </a:cubicBezTo>
                  <a:cubicBezTo>
                    <a:pt x="58" y="35"/>
                    <a:pt x="54" y="38"/>
                    <a:pt x="48" y="44"/>
                  </a:cubicBezTo>
                  <a:cubicBezTo>
                    <a:pt x="46" y="45"/>
                    <a:pt x="43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0" y="67"/>
                    <a:pt x="31" y="69"/>
                    <a:pt x="30" y="72"/>
                  </a:cubicBezTo>
                  <a:cubicBezTo>
                    <a:pt x="29" y="80"/>
                    <a:pt x="29" y="88"/>
                    <a:pt x="30" y="95"/>
                  </a:cubicBezTo>
                  <a:cubicBezTo>
                    <a:pt x="31" y="98"/>
                    <a:pt x="30" y="101"/>
                    <a:pt x="28" y="102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3" y="121"/>
                    <a:pt x="45" y="122"/>
                    <a:pt x="47" y="123"/>
                  </a:cubicBezTo>
                  <a:cubicBezTo>
                    <a:pt x="54" y="129"/>
                    <a:pt x="57" y="133"/>
                    <a:pt x="68" y="135"/>
                  </a:cubicBezTo>
                  <a:cubicBezTo>
                    <a:pt x="71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90" name="Freeform 42">
              <a:extLst>
                <a:ext uri="{FF2B5EF4-FFF2-40B4-BE49-F238E27FC236}">
                  <a16:creationId xmlns:a16="http://schemas.microsoft.com/office/drawing/2014/main" id="{64E8C7B7-AD74-EA9C-B842-115576A321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1" y="696"/>
              <a:ext cx="88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6392" name="Group 31">
            <a:extLst>
              <a:ext uri="{FF2B5EF4-FFF2-40B4-BE49-F238E27FC236}">
                <a16:creationId xmlns:a16="http://schemas.microsoft.com/office/drawing/2014/main" id="{0CA5C12A-A85E-6E0E-1D1B-294338FBFD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94024" y="3004318"/>
            <a:ext cx="576720" cy="563612"/>
            <a:chOff x="3619" y="663"/>
            <a:chExt cx="440" cy="430"/>
          </a:xfrm>
          <a:solidFill>
            <a:schemeClr val="tx2"/>
          </a:solidFill>
        </p:grpSpPr>
        <p:sp>
          <p:nvSpPr>
            <p:cNvPr id="16393" name="Freeform 32">
              <a:extLst>
                <a:ext uri="{FF2B5EF4-FFF2-40B4-BE49-F238E27FC236}">
                  <a16:creationId xmlns:a16="http://schemas.microsoft.com/office/drawing/2014/main" id="{DAABC731-D801-C69D-BADD-33B00D266C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6" y="806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94" name="Freeform 33">
              <a:extLst>
                <a:ext uri="{FF2B5EF4-FFF2-40B4-BE49-F238E27FC236}">
                  <a16:creationId xmlns:a16="http://schemas.microsoft.com/office/drawing/2014/main" id="{750922B0-0842-7ED2-EFC9-A8104760E8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9" y="914"/>
              <a:ext cx="147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95" name="Freeform 34">
              <a:extLst>
                <a:ext uri="{FF2B5EF4-FFF2-40B4-BE49-F238E27FC236}">
                  <a16:creationId xmlns:a16="http://schemas.microsoft.com/office/drawing/2014/main" id="{5A9B1D07-C1B3-C4F9-793F-7A95C436C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0" y="806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96" name="Freeform 35">
              <a:extLst>
                <a:ext uri="{FF2B5EF4-FFF2-40B4-BE49-F238E27FC236}">
                  <a16:creationId xmlns:a16="http://schemas.microsoft.com/office/drawing/2014/main" id="{43357C03-A35F-EABA-FA6D-87F5B461C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2" y="914"/>
              <a:ext cx="147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97" name="Freeform 36">
              <a:extLst>
                <a:ext uri="{FF2B5EF4-FFF2-40B4-BE49-F238E27FC236}">
                  <a16:creationId xmlns:a16="http://schemas.microsoft.com/office/drawing/2014/main" id="{A6CAF113-E80F-54F7-C6F7-AD1845C04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3" y="663"/>
              <a:ext cx="92" cy="90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398" name="Freeform 37">
              <a:extLst>
                <a:ext uri="{FF2B5EF4-FFF2-40B4-BE49-F238E27FC236}">
                  <a16:creationId xmlns:a16="http://schemas.microsoft.com/office/drawing/2014/main" id="{FF765296-7D99-B0D6-F0D0-38EC910C6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6" y="771"/>
              <a:ext cx="146" cy="179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6493" name="Group 51">
            <a:extLst>
              <a:ext uri="{FF2B5EF4-FFF2-40B4-BE49-F238E27FC236}">
                <a16:creationId xmlns:a16="http://schemas.microsoft.com/office/drawing/2014/main" id="{4C34767C-531B-BBFA-4994-777244741A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1915" y="5327617"/>
            <a:ext cx="484296" cy="503194"/>
            <a:chOff x="357" y="1722"/>
            <a:chExt cx="410" cy="426"/>
          </a:xfrm>
          <a:solidFill>
            <a:schemeClr val="tx2"/>
          </a:solidFill>
        </p:grpSpPr>
        <p:sp>
          <p:nvSpPr>
            <p:cNvPr id="16494" name="Freeform 52">
              <a:extLst>
                <a:ext uri="{FF2B5EF4-FFF2-40B4-BE49-F238E27FC236}">
                  <a16:creationId xmlns:a16="http://schemas.microsoft.com/office/drawing/2014/main" id="{360B4CC7-C8DD-581C-4F70-A10FE2D42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" y="1864"/>
              <a:ext cx="285" cy="284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12 h 192"/>
                <a:gd name="T12" fmla="*/ 12 w 192"/>
                <a:gd name="T13" fmla="*/ 96 h 192"/>
                <a:gd name="T14" fmla="*/ 96 w 192"/>
                <a:gd name="T15" fmla="*/ 180 h 192"/>
                <a:gd name="T16" fmla="*/ 180 w 192"/>
                <a:gd name="T17" fmla="*/ 96 h 192"/>
                <a:gd name="T18" fmla="*/ 96 w 192"/>
                <a:gd name="T19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4"/>
                    <a:pt x="43" y="0"/>
                    <a:pt x="96" y="0"/>
                  </a:cubicBezTo>
                  <a:cubicBezTo>
                    <a:pt x="149" y="0"/>
                    <a:pt x="192" y="44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12"/>
                  </a:moveTo>
                  <a:cubicBezTo>
                    <a:pt x="50" y="12"/>
                    <a:pt x="12" y="50"/>
                    <a:pt x="12" y="96"/>
                  </a:cubicBezTo>
                  <a:cubicBezTo>
                    <a:pt x="12" y="143"/>
                    <a:pt x="50" y="180"/>
                    <a:pt x="96" y="180"/>
                  </a:cubicBezTo>
                  <a:cubicBezTo>
                    <a:pt x="142" y="180"/>
                    <a:pt x="180" y="143"/>
                    <a:pt x="180" y="96"/>
                  </a:cubicBezTo>
                  <a:cubicBezTo>
                    <a:pt x="180" y="50"/>
                    <a:pt x="142" y="12"/>
                    <a:pt x="9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495" name="Freeform 53">
              <a:extLst>
                <a:ext uri="{FF2B5EF4-FFF2-40B4-BE49-F238E27FC236}">
                  <a16:creationId xmlns:a16="http://schemas.microsoft.com/office/drawing/2014/main" id="{CD9D4E32-6B19-A3B0-C2E5-766480E92C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" y="1917"/>
              <a:ext cx="179" cy="171"/>
            </a:xfrm>
            <a:custGeom>
              <a:avLst/>
              <a:gdLst>
                <a:gd name="T0" fmla="*/ 96 w 121"/>
                <a:gd name="T1" fmla="*/ 114 h 115"/>
                <a:gd name="T2" fmla="*/ 93 w 121"/>
                <a:gd name="T3" fmla="*/ 114 h 115"/>
                <a:gd name="T4" fmla="*/ 60 w 121"/>
                <a:gd name="T5" fmla="*/ 93 h 115"/>
                <a:gd name="T6" fmla="*/ 27 w 121"/>
                <a:gd name="T7" fmla="*/ 114 h 115"/>
                <a:gd name="T8" fmla="*/ 20 w 121"/>
                <a:gd name="T9" fmla="*/ 113 h 115"/>
                <a:gd name="T10" fmla="*/ 18 w 121"/>
                <a:gd name="T11" fmla="*/ 107 h 115"/>
                <a:gd name="T12" fmla="*/ 29 w 121"/>
                <a:gd name="T13" fmla="*/ 69 h 115"/>
                <a:gd name="T14" fmla="*/ 2 w 121"/>
                <a:gd name="T15" fmla="*/ 47 h 115"/>
                <a:gd name="T16" fmla="*/ 0 w 121"/>
                <a:gd name="T17" fmla="*/ 40 h 115"/>
                <a:gd name="T18" fmla="*/ 6 w 121"/>
                <a:gd name="T19" fmla="*/ 36 h 115"/>
                <a:gd name="T20" fmla="*/ 38 w 121"/>
                <a:gd name="T21" fmla="*/ 36 h 115"/>
                <a:gd name="T22" fmla="*/ 55 w 121"/>
                <a:gd name="T23" fmla="*/ 4 h 115"/>
                <a:gd name="T24" fmla="*/ 60 w 121"/>
                <a:gd name="T25" fmla="*/ 0 h 115"/>
                <a:gd name="T26" fmla="*/ 65 w 121"/>
                <a:gd name="T27" fmla="*/ 4 h 115"/>
                <a:gd name="T28" fmla="*/ 82 w 121"/>
                <a:gd name="T29" fmla="*/ 36 h 115"/>
                <a:gd name="T30" fmla="*/ 114 w 121"/>
                <a:gd name="T31" fmla="*/ 36 h 115"/>
                <a:gd name="T32" fmla="*/ 120 w 121"/>
                <a:gd name="T33" fmla="*/ 40 h 115"/>
                <a:gd name="T34" fmla="*/ 118 w 121"/>
                <a:gd name="T35" fmla="*/ 47 h 115"/>
                <a:gd name="T36" fmla="*/ 91 w 121"/>
                <a:gd name="T37" fmla="*/ 69 h 115"/>
                <a:gd name="T38" fmla="*/ 102 w 121"/>
                <a:gd name="T39" fmla="*/ 107 h 115"/>
                <a:gd name="T40" fmla="*/ 100 w 121"/>
                <a:gd name="T41" fmla="*/ 113 h 115"/>
                <a:gd name="T42" fmla="*/ 96 w 121"/>
                <a:gd name="T43" fmla="*/ 114 h 115"/>
                <a:gd name="T44" fmla="*/ 60 w 121"/>
                <a:gd name="T45" fmla="*/ 80 h 115"/>
                <a:gd name="T46" fmla="*/ 63 w 121"/>
                <a:gd name="T47" fmla="*/ 81 h 115"/>
                <a:gd name="T48" fmla="*/ 86 w 121"/>
                <a:gd name="T49" fmla="*/ 95 h 115"/>
                <a:gd name="T50" fmla="*/ 78 w 121"/>
                <a:gd name="T51" fmla="*/ 68 h 115"/>
                <a:gd name="T52" fmla="*/ 80 w 121"/>
                <a:gd name="T53" fmla="*/ 62 h 115"/>
                <a:gd name="T54" fmla="*/ 97 w 121"/>
                <a:gd name="T55" fmla="*/ 48 h 115"/>
                <a:gd name="T56" fmla="*/ 78 w 121"/>
                <a:gd name="T57" fmla="*/ 48 h 115"/>
                <a:gd name="T58" fmla="*/ 73 w 121"/>
                <a:gd name="T59" fmla="*/ 45 h 115"/>
                <a:gd name="T60" fmla="*/ 60 w 121"/>
                <a:gd name="T61" fmla="*/ 20 h 115"/>
                <a:gd name="T62" fmla="*/ 47 w 121"/>
                <a:gd name="T63" fmla="*/ 45 h 115"/>
                <a:gd name="T64" fmla="*/ 42 w 121"/>
                <a:gd name="T65" fmla="*/ 48 h 115"/>
                <a:gd name="T66" fmla="*/ 23 w 121"/>
                <a:gd name="T67" fmla="*/ 48 h 115"/>
                <a:gd name="T68" fmla="*/ 40 w 121"/>
                <a:gd name="T69" fmla="*/ 62 h 115"/>
                <a:gd name="T70" fmla="*/ 42 w 121"/>
                <a:gd name="T71" fmla="*/ 68 h 115"/>
                <a:gd name="T72" fmla="*/ 34 w 121"/>
                <a:gd name="T73" fmla="*/ 95 h 115"/>
                <a:gd name="T74" fmla="*/ 57 w 121"/>
                <a:gd name="T75" fmla="*/ 81 h 115"/>
                <a:gd name="T76" fmla="*/ 60 w 121"/>
                <a:gd name="T77" fmla="*/ 8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15">
                  <a:moveTo>
                    <a:pt x="96" y="114"/>
                  </a:moveTo>
                  <a:cubicBezTo>
                    <a:pt x="95" y="114"/>
                    <a:pt x="94" y="114"/>
                    <a:pt x="93" y="114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5" y="115"/>
                    <a:pt x="22" y="115"/>
                    <a:pt x="20" y="113"/>
                  </a:cubicBezTo>
                  <a:cubicBezTo>
                    <a:pt x="19" y="112"/>
                    <a:pt x="18" y="109"/>
                    <a:pt x="18" y="107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0" y="46"/>
                    <a:pt x="0" y="43"/>
                    <a:pt x="0" y="40"/>
                  </a:cubicBezTo>
                  <a:cubicBezTo>
                    <a:pt x="1" y="38"/>
                    <a:pt x="4" y="36"/>
                    <a:pt x="6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6" y="2"/>
                    <a:pt x="58" y="0"/>
                    <a:pt x="60" y="0"/>
                  </a:cubicBezTo>
                  <a:cubicBezTo>
                    <a:pt x="62" y="0"/>
                    <a:pt x="64" y="2"/>
                    <a:pt x="65" y="4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8"/>
                    <a:pt x="120" y="40"/>
                  </a:cubicBezTo>
                  <a:cubicBezTo>
                    <a:pt x="121" y="43"/>
                    <a:pt x="120" y="46"/>
                    <a:pt x="118" y="47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3" y="109"/>
                    <a:pt x="102" y="112"/>
                    <a:pt x="100" y="113"/>
                  </a:cubicBezTo>
                  <a:cubicBezTo>
                    <a:pt x="99" y="114"/>
                    <a:pt x="97" y="114"/>
                    <a:pt x="96" y="114"/>
                  </a:cubicBezTo>
                  <a:close/>
                  <a:moveTo>
                    <a:pt x="60" y="80"/>
                  </a:moveTo>
                  <a:cubicBezTo>
                    <a:pt x="61" y="80"/>
                    <a:pt x="62" y="80"/>
                    <a:pt x="63" y="81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6"/>
                    <a:pt x="78" y="63"/>
                    <a:pt x="80" y="62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7"/>
                    <a:pt x="73" y="45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6" y="47"/>
                    <a:pt x="44" y="48"/>
                    <a:pt x="42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2" y="63"/>
                    <a:pt x="43" y="66"/>
                    <a:pt x="42" y="68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0"/>
                    <a:pt x="59" y="80"/>
                    <a:pt x="6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496" name="Freeform 54">
              <a:extLst>
                <a:ext uri="{FF2B5EF4-FFF2-40B4-BE49-F238E27FC236}">
                  <a16:creationId xmlns:a16="http://schemas.microsoft.com/office/drawing/2014/main" id="{9BB95CE5-2B1D-27C9-92DE-01E34D21E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1722"/>
              <a:ext cx="114" cy="142"/>
            </a:xfrm>
            <a:custGeom>
              <a:avLst/>
              <a:gdLst>
                <a:gd name="T0" fmla="*/ 31 w 77"/>
                <a:gd name="T1" fmla="*/ 96 h 96"/>
                <a:gd name="T2" fmla="*/ 29 w 77"/>
                <a:gd name="T3" fmla="*/ 96 h 96"/>
                <a:gd name="T4" fmla="*/ 26 w 77"/>
                <a:gd name="T5" fmla="*/ 88 h 96"/>
                <a:gd name="T6" fmla="*/ 62 w 77"/>
                <a:gd name="T7" fmla="*/ 12 h 96"/>
                <a:gd name="T8" fmla="*/ 45 w 77"/>
                <a:gd name="T9" fmla="*/ 12 h 96"/>
                <a:gd name="T10" fmla="*/ 12 w 77"/>
                <a:gd name="T11" fmla="*/ 81 h 96"/>
                <a:gd name="T12" fmla="*/ 4 w 77"/>
                <a:gd name="T13" fmla="*/ 84 h 96"/>
                <a:gd name="T14" fmla="*/ 1 w 77"/>
                <a:gd name="T15" fmla="*/ 76 h 96"/>
                <a:gd name="T16" fmla="*/ 36 w 77"/>
                <a:gd name="T17" fmla="*/ 4 h 96"/>
                <a:gd name="T18" fmla="*/ 41 w 77"/>
                <a:gd name="T19" fmla="*/ 0 h 96"/>
                <a:gd name="T20" fmla="*/ 71 w 77"/>
                <a:gd name="T21" fmla="*/ 0 h 96"/>
                <a:gd name="T22" fmla="*/ 76 w 77"/>
                <a:gd name="T23" fmla="*/ 3 h 96"/>
                <a:gd name="T24" fmla="*/ 77 w 77"/>
                <a:gd name="T25" fmla="*/ 9 h 96"/>
                <a:gd name="T26" fmla="*/ 37 w 77"/>
                <a:gd name="T27" fmla="*/ 93 h 96"/>
                <a:gd name="T28" fmla="*/ 31 w 77"/>
                <a:gd name="T2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96">
                  <a:moveTo>
                    <a:pt x="31" y="96"/>
                  </a:moveTo>
                  <a:cubicBezTo>
                    <a:pt x="31" y="96"/>
                    <a:pt x="30" y="96"/>
                    <a:pt x="29" y="96"/>
                  </a:cubicBezTo>
                  <a:cubicBezTo>
                    <a:pt x="26" y="94"/>
                    <a:pt x="25" y="91"/>
                    <a:pt x="26" y="88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1" y="84"/>
                    <a:pt x="7" y="85"/>
                    <a:pt x="4" y="84"/>
                  </a:cubicBezTo>
                  <a:cubicBezTo>
                    <a:pt x="1" y="83"/>
                    <a:pt x="0" y="79"/>
                    <a:pt x="1" y="76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2"/>
                    <a:pt x="39" y="0"/>
                    <a:pt x="4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77" y="5"/>
                    <a:pt x="77" y="7"/>
                    <a:pt x="77" y="9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6" y="95"/>
                    <a:pt x="34" y="96"/>
                    <a:pt x="3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497" name="Freeform 55">
              <a:extLst>
                <a:ext uri="{FF2B5EF4-FFF2-40B4-BE49-F238E27FC236}">
                  <a16:creationId xmlns:a16="http://schemas.microsoft.com/office/drawing/2014/main" id="{768DAB54-AA32-F775-FF80-9818914C6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" y="1722"/>
              <a:ext cx="122" cy="167"/>
            </a:xfrm>
            <a:custGeom>
              <a:avLst/>
              <a:gdLst>
                <a:gd name="T0" fmla="*/ 28 w 82"/>
                <a:gd name="T1" fmla="*/ 113 h 113"/>
                <a:gd name="T2" fmla="*/ 25 w 82"/>
                <a:gd name="T3" fmla="*/ 112 h 113"/>
                <a:gd name="T4" fmla="*/ 23 w 82"/>
                <a:gd name="T5" fmla="*/ 104 h 113"/>
                <a:gd name="T6" fmla="*/ 67 w 82"/>
                <a:gd name="T7" fmla="*/ 12 h 113"/>
                <a:gd name="T8" fmla="*/ 50 w 82"/>
                <a:gd name="T9" fmla="*/ 12 h 113"/>
                <a:gd name="T10" fmla="*/ 12 w 82"/>
                <a:gd name="T11" fmla="*/ 93 h 113"/>
                <a:gd name="T12" fmla="*/ 4 w 82"/>
                <a:gd name="T13" fmla="*/ 96 h 113"/>
                <a:gd name="T14" fmla="*/ 1 w 82"/>
                <a:gd name="T15" fmla="*/ 88 h 113"/>
                <a:gd name="T16" fmla="*/ 41 w 82"/>
                <a:gd name="T17" fmla="*/ 4 h 113"/>
                <a:gd name="T18" fmla="*/ 46 w 82"/>
                <a:gd name="T19" fmla="*/ 0 h 113"/>
                <a:gd name="T20" fmla="*/ 76 w 82"/>
                <a:gd name="T21" fmla="*/ 0 h 113"/>
                <a:gd name="T22" fmla="*/ 81 w 82"/>
                <a:gd name="T23" fmla="*/ 3 h 113"/>
                <a:gd name="T24" fmla="*/ 82 w 82"/>
                <a:gd name="T25" fmla="*/ 9 h 113"/>
                <a:gd name="T26" fmla="*/ 33 w 82"/>
                <a:gd name="T27" fmla="*/ 109 h 113"/>
                <a:gd name="T28" fmla="*/ 28 w 82"/>
                <a:gd name="T2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3">
                  <a:moveTo>
                    <a:pt x="28" y="113"/>
                  </a:moveTo>
                  <a:cubicBezTo>
                    <a:pt x="27" y="113"/>
                    <a:pt x="26" y="113"/>
                    <a:pt x="25" y="112"/>
                  </a:cubicBezTo>
                  <a:cubicBezTo>
                    <a:pt x="22" y="111"/>
                    <a:pt x="21" y="107"/>
                    <a:pt x="23" y="104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0" y="96"/>
                    <a:pt x="7" y="97"/>
                    <a:pt x="4" y="96"/>
                  </a:cubicBezTo>
                  <a:cubicBezTo>
                    <a:pt x="1" y="94"/>
                    <a:pt x="0" y="91"/>
                    <a:pt x="1" y="88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2" y="2"/>
                    <a:pt x="44" y="0"/>
                    <a:pt x="4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8" y="0"/>
                    <a:pt x="80" y="1"/>
                    <a:pt x="81" y="3"/>
                  </a:cubicBezTo>
                  <a:cubicBezTo>
                    <a:pt x="82" y="5"/>
                    <a:pt x="82" y="7"/>
                    <a:pt x="82" y="9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32" y="111"/>
                    <a:pt x="30" y="113"/>
                    <a:pt x="28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498" name="Freeform 56">
              <a:extLst>
                <a:ext uri="{FF2B5EF4-FFF2-40B4-BE49-F238E27FC236}">
                  <a16:creationId xmlns:a16="http://schemas.microsoft.com/office/drawing/2014/main" id="{A194CC73-2E1F-7F4F-08B6-67979B4D4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" y="1722"/>
              <a:ext cx="116" cy="142"/>
            </a:xfrm>
            <a:custGeom>
              <a:avLst/>
              <a:gdLst>
                <a:gd name="T0" fmla="*/ 46 w 78"/>
                <a:gd name="T1" fmla="*/ 96 h 96"/>
                <a:gd name="T2" fmla="*/ 41 w 78"/>
                <a:gd name="T3" fmla="*/ 93 h 96"/>
                <a:gd name="T4" fmla="*/ 1 w 78"/>
                <a:gd name="T5" fmla="*/ 9 h 96"/>
                <a:gd name="T6" fmla="*/ 2 w 78"/>
                <a:gd name="T7" fmla="*/ 3 h 96"/>
                <a:gd name="T8" fmla="*/ 7 w 78"/>
                <a:gd name="T9" fmla="*/ 0 h 96"/>
                <a:gd name="T10" fmla="*/ 37 w 78"/>
                <a:gd name="T11" fmla="*/ 0 h 96"/>
                <a:gd name="T12" fmla="*/ 42 w 78"/>
                <a:gd name="T13" fmla="*/ 4 h 96"/>
                <a:gd name="T14" fmla="*/ 76 w 78"/>
                <a:gd name="T15" fmla="*/ 76 h 96"/>
                <a:gd name="T16" fmla="*/ 74 w 78"/>
                <a:gd name="T17" fmla="*/ 84 h 96"/>
                <a:gd name="T18" fmla="*/ 66 w 78"/>
                <a:gd name="T19" fmla="*/ 81 h 96"/>
                <a:gd name="T20" fmla="*/ 33 w 78"/>
                <a:gd name="T21" fmla="*/ 12 h 96"/>
                <a:gd name="T22" fmla="*/ 16 w 78"/>
                <a:gd name="T23" fmla="*/ 12 h 96"/>
                <a:gd name="T24" fmla="*/ 52 w 78"/>
                <a:gd name="T25" fmla="*/ 88 h 96"/>
                <a:gd name="T26" fmla="*/ 49 w 78"/>
                <a:gd name="T27" fmla="*/ 96 h 96"/>
                <a:gd name="T28" fmla="*/ 46 w 78"/>
                <a:gd name="T2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96">
                  <a:moveTo>
                    <a:pt x="46" y="96"/>
                  </a:moveTo>
                  <a:cubicBezTo>
                    <a:pt x="44" y="96"/>
                    <a:pt x="42" y="95"/>
                    <a:pt x="41" y="93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7"/>
                    <a:pt x="0" y="5"/>
                    <a:pt x="2" y="3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2"/>
                    <a:pt x="42" y="4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8" y="79"/>
                    <a:pt x="77" y="83"/>
                    <a:pt x="74" y="84"/>
                  </a:cubicBezTo>
                  <a:cubicBezTo>
                    <a:pt x="71" y="85"/>
                    <a:pt x="67" y="84"/>
                    <a:pt x="66" y="81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3" y="91"/>
                    <a:pt x="52" y="94"/>
                    <a:pt x="49" y="96"/>
                  </a:cubicBezTo>
                  <a:cubicBezTo>
                    <a:pt x="48" y="96"/>
                    <a:pt x="47" y="96"/>
                    <a:pt x="4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499" name="Freeform 57">
              <a:extLst>
                <a:ext uri="{FF2B5EF4-FFF2-40B4-BE49-F238E27FC236}">
                  <a16:creationId xmlns:a16="http://schemas.microsoft.com/office/drawing/2014/main" id="{69FAE234-CAE2-E72A-339E-98B452C48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" y="1722"/>
              <a:ext cx="123" cy="167"/>
            </a:xfrm>
            <a:custGeom>
              <a:avLst/>
              <a:gdLst>
                <a:gd name="T0" fmla="*/ 55 w 83"/>
                <a:gd name="T1" fmla="*/ 113 h 113"/>
                <a:gd name="T2" fmla="*/ 49 w 83"/>
                <a:gd name="T3" fmla="*/ 109 h 113"/>
                <a:gd name="T4" fmla="*/ 1 w 83"/>
                <a:gd name="T5" fmla="*/ 9 h 113"/>
                <a:gd name="T6" fmla="*/ 2 w 83"/>
                <a:gd name="T7" fmla="*/ 3 h 113"/>
                <a:gd name="T8" fmla="*/ 7 w 83"/>
                <a:gd name="T9" fmla="*/ 0 h 113"/>
                <a:gd name="T10" fmla="*/ 37 w 83"/>
                <a:gd name="T11" fmla="*/ 0 h 113"/>
                <a:gd name="T12" fmla="*/ 42 w 83"/>
                <a:gd name="T13" fmla="*/ 4 h 113"/>
                <a:gd name="T14" fmla="*/ 82 w 83"/>
                <a:gd name="T15" fmla="*/ 88 h 113"/>
                <a:gd name="T16" fmla="*/ 79 w 83"/>
                <a:gd name="T17" fmla="*/ 96 h 113"/>
                <a:gd name="T18" fmla="*/ 71 w 83"/>
                <a:gd name="T19" fmla="*/ 93 h 113"/>
                <a:gd name="T20" fmla="*/ 33 w 83"/>
                <a:gd name="T21" fmla="*/ 12 h 113"/>
                <a:gd name="T22" fmla="*/ 16 w 83"/>
                <a:gd name="T23" fmla="*/ 12 h 113"/>
                <a:gd name="T24" fmla="*/ 60 w 83"/>
                <a:gd name="T25" fmla="*/ 104 h 113"/>
                <a:gd name="T26" fmla="*/ 57 w 83"/>
                <a:gd name="T27" fmla="*/ 112 h 113"/>
                <a:gd name="T28" fmla="*/ 55 w 83"/>
                <a:gd name="T2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13">
                  <a:moveTo>
                    <a:pt x="55" y="113"/>
                  </a:moveTo>
                  <a:cubicBezTo>
                    <a:pt x="52" y="113"/>
                    <a:pt x="50" y="111"/>
                    <a:pt x="49" y="10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7"/>
                    <a:pt x="0" y="5"/>
                    <a:pt x="2" y="3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2"/>
                    <a:pt x="42" y="4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3" y="91"/>
                    <a:pt x="82" y="94"/>
                    <a:pt x="79" y="96"/>
                  </a:cubicBezTo>
                  <a:cubicBezTo>
                    <a:pt x="76" y="97"/>
                    <a:pt x="72" y="96"/>
                    <a:pt x="71" y="93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2" y="107"/>
                    <a:pt x="60" y="111"/>
                    <a:pt x="57" y="112"/>
                  </a:cubicBezTo>
                  <a:cubicBezTo>
                    <a:pt x="56" y="113"/>
                    <a:pt x="56" y="113"/>
                    <a:pt x="55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500" name="TextBox 25">
            <a:extLst>
              <a:ext uri="{FF2B5EF4-FFF2-40B4-BE49-F238E27FC236}">
                <a16:creationId xmlns:a16="http://schemas.microsoft.com/office/drawing/2014/main" id="{C6E99E87-1F06-8692-93D9-1E9B2793016A}"/>
              </a:ext>
            </a:extLst>
          </p:cNvPr>
          <p:cNvSpPr txBox="1"/>
          <p:nvPr/>
        </p:nvSpPr>
        <p:spPr>
          <a:xfrm>
            <a:off x="8685834" y="3301483"/>
            <a:ext cx="3450500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6501" name="TextBox 25">
            <a:extLst>
              <a:ext uri="{FF2B5EF4-FFF2-40B4-BE49-F238E27FC236}">
                <a16:creationId xmlns:a16="http://schemas.microsoft.com/office/drawing/2014/main" id="{11ED1463-1034-B8AD-6F38-8994BE0D3703}"/>
              </a:ext>
            </a:extLst>
          </p:cNvPr>
          <p:cNvSpPr txBox="1"/>
          <p:nvPr/>
        </p:nvSpPr>
        <p:spPr>
          <a:xfrm>
            <a:off x="7939041" y="5546948"/>
            <a:ext cx="3450500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6502" name="TextBox 25">
            <a:extLst>
              <a:ext uri="{FF2B5EF4-FFF2-40B4-BE49-F238E27FC236}">
                <a16:creationId xmlns:a16="http://schemas.microsoft.com/office/drawing/2014/main" id="{0A086DE8-BAFB-E48D-D5A6-2244A27EBCE9}"/>
              </a:ext>
            </a:extLst>
          </p:cNvPr>
          <p:cNvSpPr txBox="1"/>
          <p:nvPr/>
        </p:nvSpPr>
        <p:spPr>
          <a:xfrm>
            <a:off x="836473" y="5546948"/>
            <a:ext cx="3450500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6503" name="TextBox 25">
            <a:extLst>
              <a:ext uri="{FF2B5EF4-FFF2-40B4-BE49-F238E27FC236}">
                <a16:creationId xmlns:a16="http://schemas.microsoft.com/office/drawing/2014/main" id="{2E00D8E9-7882-B121-FED0-CB5313B804AB}"/>
              </a:ext>
            </a:extLst>
          </p:cNvPr>
          <p:cNvSpPr txBox="1"/>
          <p:nvPr/>
        </p:nvSpPr>
        <p:spPr>
          <a:xfrm>
            <a:off x="836472" y="3301483"/>
            <a:ext cx="271881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AD6E4438-34A7-D385-ADC8-8831F90C57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1643077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306475889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EB5D31-955A-2AB1-B140-036C84246F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894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1EB5D31-955A-2AB1-B140-036C84246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E2CB7401-A38A-0D7D-B05C-E0371B96DE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D46C6B15-AF8E-9D83-3052-41F3C5577D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8723124"/>
              </p:ext>
            </p:extLst>
          </p:nvPr>
        </p:nvGraphicFramePr>
        <p:xfrm>
          <a:off x="384632" y="2438603"/>
          <a:ext cx="10668000" cy="383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4">
            <a:extLst>
              <a:ext uri="{FF2B5EF4-FFF2-40B4-BE49-F238E27FC236}">
                <a16:creationId xmlns:a16="http://schemas.microsoft.com/office/drawing/2014/main" id="{FD0A990C-36DD-C698-A615-4FF5FC31956A}"/>
              </a:ext>
            </a:extLst>
          </p:cNvPr>
          <p:cNvSpPr txBox="1"/>
          <p:nvPr/>
        </p:nvSpPr>
        <p:spPr>
          <a:xfrm>
            <a:off x="1074818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DDD8A5B2-6453-CDFB-50F4-78917B47C916}"/>
              </a:ext>
            </a:extLst>
          </p:cNvPr>
          <p:cNvSpPr txBox="1"/>
          <p:nvPr/>
        </p:nvSpPr>
        <p:spPr>
          <a:xfrm>
            <a:off x="3558873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078D4F3C-5C0B-F14A-2DB3-ADD94CC871DA}"/>
              </a:ext>
            </a:extLst>
          </p:cNvPr>
          <p:cNvSpPr txBox="1"/>
          <p:nvPr/>
        </p:nvSpPr>
        <p:spPr>
          <a:xfrm>
            <a:off x="6048958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06A1CA25-E5BF-C8FA-01A3-3B00176984EB}"/>
              </a:ext>
            </a:extLst>
          </p:cNvPr>
          <p:cNvSpPr txBox="1"/>
          <p:nvPr/>
        </p:nvSpPr>
        <p:spPr>
          <a:xfrm>
            <a:off x="8392286" y="2218548"/>
            <a:ext cx="2155730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E8DF15CE-2AC0-43CC-AD4F-D58E1F658186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" name="Conector recto 9">
            <a:extLst>
              <a:ext uri="{FF2B5EF4-FFF2-40B4-BE49-F238E27FC236}">
                <a16:creationId xmlns:a16="http://schemas.microsoft.com/office/drawing/2014/main" id="{A2238BBB-6C55-08EB-7E6D-8657998AA19A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4421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C6FC57CA-C04B-C58B-47F9-12A185CB77F1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5A4875-CF0C-9399-6C36-40D2FFC332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59F9B949-E3F3-F0F9-2FAA-3E337EC2D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kills And Self-id Top Factors</a:t>
            </a:r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46C8FF0B-4454-16AC-850B-BFC62F440588}"/>
              </a:ext>
            </a:extLst>
          </p:cNvPr>
          <p:cNvSpPr txBox="1"/>
          <p:nvPr/>
        </p:nvSpPr>
        <p:spPr>
          <a:xfrm>
            <a:off x="10848122" y="2694435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7" name="TextBox 4">
            <a:extLst>
              <a:ext uri="{FF2B5EF4-FFF2-40B4-BE49-F238E27FC236}">
                <a16:creationId xmlns:a16="http://schemas.microsoft.com/office/drawing/2014/main" id="{23B66A1F-56F6-9725-E537-143F19737B85}"/>
              </a:ext>
            </a:extLst>
          </p:cNvPr>
          <p:cNvSpPr txBox="1"/>
          <p:nvPr/>
        </p:nvSpPr>
        <p:spPr>
          <a:xfrm>
            <a:off x="10848122" y="3130511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5C467C76-E2AB-676E-E0DF-F82729E19877}"/>
              </a:ext>
            </a:extLst>
          </p:cNvPr>
          <p:cNvSpPr txBox="1"/>
          <p:nvPr/>
        </p:nvSpPr>
        <p:spPr>
          <a:xfrm>
            <a:off x="10848122" y="3681728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AE1C8C99-08AB-9779-D18C-1070CD9AC560}"/>
              </a:ext>
            </a:extLst>
          </p:cNvPr>
          <p:cNvSpPr txBox="1"/>
          <p:nvPr/>
        </p:nvSpPr>
        <p:spPr>
          <a:xfrm>
            <a:off x="10848122" y="4048363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098DE41C-2431-8F97-1FA0-589032C1A2AC}"/>
              </a:ext>
            </a:extLst>
          </p:cNvPr>
          <p:cNvSpPr txBox="1"/>
          <p:nvPr/>
        </p:nvSpPr>
        <p:spPr>
          <a:xfrm>
            <a:off x="10848122" y="4966754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57585212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9C7D1D8-0A9D-4594-4B7C-3199CADA5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9C7D1D8-0A9D-4594-4B7C-3199CADA5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476AB8C-517A-9D13-7E20-2B6175B6EA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E70B48B-A27C-81FD-6CEB-EC7C0E762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Percentage breakdown (circles)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F4A1BF6-1F6E-BB7C-609C-3E6133844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196" name="Grupo 5195">
            <a:extLst>
              <a:ext uri="{FF2B5EF4-FFF2-40B4-BE49-F238E27FC236}">
                <a16:creationId xmlns:a16="http://schemas.microsoft.com/office/drawing/2014/main" id="{76D59086-8F21-4191-501F-92BDF889E958}"/>
              </a:ext>
            </a:extLst>
          </p:cNvPr>
          <p:cNvGrpSpPr/>
          <p:nvPr/>
        </p:nvGrpSpPr>
        <p:grpSpPr>
          <a:xfrm>
            <a:off x="1794043" y="2759200"/>
            <a:ext cx="2185863" cy="2186887"/>
            <a:chOff x="1777562" y="2759200"/>
            <a:chExt cx="2185863" cy="2186887"/>
          </a:xfrm>
        </p:grpSpPr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35960400-1D12-5D9E-D966-85E7444E841E}"/>
                </a:ext>
              </a:extLst>
            </p:cNvPr>
            <p:cNvSpPr/>
            <p:nvPr/>
          </p:nvSpPr>
          <p:spPr>
            <a:xfrm>
              <a:off x="2933991" y="352186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60E1D257-E36A-D344-3ED4-93E33371E673}"/>
                </a:ext>
              </a:extLst>
            </p:cNvPr>
            <p:cNvSpPr/>
            <p:nvPr/>
          </p:nvSpPr>
          <p:spPr>
            <a:xfrm>
              <a:off x="2891129" y="33259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901B5203-91F4-D1A8-EC86-157FA3F8650E}"/>
                </a:ext>
              </a:extLst>
            </p:cNvPr>
            <p:cNvSpPr/>
            <p:nvPr/>
          </p:nvSpPr>
          <p:spPr>
            <a:xfrm>
              <a:off x="2729162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8AD83067-7D80-64B1-4507-191803962C60}"/>
                </a:ext>
              </a:extLst>
            </p:cNvPr>
            <p:cNvSpPr/>
            <p:nvPr/>
          </p:nvSpPr>
          <p:spPr>
            <a:xfrm>
              <a:off x="2948861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F3F48F1E-BA0F-E7A3-16FA-8A4FADFDF615}"/>
                </a:ext>
              </a:extLst>
            </p:cNvPr>
            <p:cNvSpPr/>
            <p:nvPr/>
          </p:nvSpPr>
          <p:spPr>
            <a:xfrm>
              <a:off x="2545139" y="284101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56BA5D74-27FF-7BCA-E547-AD85611A5CCB}"/>
                </a:ext>
              </a:extLst>
            </p:cNvPr>
            <p:cNvSpPr/>
            <p:nvPr/>
          </p:nvSpPr>
          <p:spPr>
            <a:xfrm>
              <a:off x="2344469" y="28453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3CC111F9-E695-5A78-C330-61CC2DA0684A}"/>
                </a:ext>
              </a:extLst>
            </p:cNvPr>
            <p:cNvSpPr/>
            <p:nvPr/>
          </p:nvSpPr>
          <p:spPr>
            <a:xfrm>
              <a:off x="2177545" y="294798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9C38463D-75CD-71ED-C701-3653258AD526}"/>
                </a:ext>
              </a:extLst>
            </p:cNvPr>
            <p:cNvSpPr/>
            <p:nvPr/>
          </p:nvSpPr>
          <p:spPr>
            <a:xfrm>
              <a:off x="2065626" y="31228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5159C36A-ADE4-96D7-D528-9EFD410117BD}"/>
                </a:ext>
              </a:extLst>
            </p:cNvPr>
            <p:cNvSpPr/>
            <p:nvPr/>
          </p:nvSpPr>
          <p:spPr>
            <a:xfrm>
              <a:off x="2275509" y="312757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C93D0C37-E277-F238-3B70-35F24301D2A4}"/>
                </a:ext>
              </a:extLst>
            </p:cNvPr>
            <p:cNvSpPr/>
            <p:nvPr/>
          </p:nvSpPr>
          <p:spPr>
            <a:xfrm>
              <a:off x="2457376" y="30239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D96602F1-817A-8F76-6518-D5AED77DF878}"/>
                </a:ext>
              </a:extLst>
            </p:cNvPr>
            <p:cNvSpPr/>
            <p:nvPr/>
          </p:nvSpPr>
          <p:spPr>
            <a:xfrm>
              <a:off x="2639276" y="30722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0856D642-CA0A-65A7-7324-58F8718EF938}"/>
                </a:ext>
              </a:extLst>
            </p:cNvPr>
            <p:cNvSpPr/>
            <p:nvPr/>
          </p:nvSpPr>
          <p:spPr>
            <a:xfrm>
              <a:off x="2805884" y="29368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FD204F31-E2EA-D929-0184-9ABCF3812FE9}"/>
                </a:ext>
              </a:extLst>
            </p:cNvPr>
            <p:cNvSpPr/>
            <p:nvPr/>
          </p:nvSpPr>
          <p:spPr>
            <a:xfrm>
              <a:off x="3003043" y="296637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3F870F44-AFB9-B0DE-C762-B6B08E3B384C}"/>
                </a:ext>
              </a:extLst>
            </p:cNvPr>
            <p:cNvSpPr/>
            <p:nvPr/>
          </p:nvSpPr>
          <p:spPr>
            <a:xfrm>
              <a:off x="3154392" y="28332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B361961C-3CCC-1AF7-E44D-5FDDDB34536E}"/>
                </a:ext>
              </a:extLst>
            </p:cNvPr>
            <p:cNvSpPr/>
            <p:nvPr/>
          </p:nvSpPr>
          <p:spPr>
            <a:xfrm>
              <a:off x="3328459" y="29150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6A4B71EC-8CFC-B304-3C49-BADDA24DE8E3}"/>
                </a:ext>
              </a:extLst>
            </p:cNvPr>
            <p:cNvSpPr/>
            <p:nvPr/>
          </p:nvSpPr>
          <p:spPr>
            <a:xfrm>
              <a:off x="3180957" y="30476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53EB165A-0C28-85B2-5BBA-9AFAECBAF857}"/>
                </a:ext>
              </a:extLst>
            </p:cNvPr>
            <p:cNvSpPr/>
            <p:nvPr/>
          </p:nvSpPr>
          <p:spPr>
            <a:xfrm>
              <a:off x="2841194" y="31347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9FB2D002-5482-ADD9-87F8-DCC6A70A2ADB}"/>
                </a:ext>
              </a:extLst>
            </p:cNvPr>
            <p:cNvSpPr/>
            <p:nvPr/>
          </p:nvSpPr>
          <p:spPr>
            <a:xfrm>
              <a:off x="3037301" y="31880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6EE252A9-511A-F066-4B99-3E6915384C72}"/>
                </a:ext>
              </a:extLst>
            </p:cNvPr>
            <p:cNvSpPr/>
            <p:nvPr/>
          </p:nvSpPr>
          <p:spPr>
            <a:xfrm>
              <a:off x="3369353" y="31109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B890A35C-127D-66B9-4511-4EAECA943950}"/>
                </a:ext>
              </a:extLst>
            </p:cNvPr>
            <p:cNvSpPr/>
            <p:nvPr/>
          </p:nvSpPr>
          <p:spPr>
            <a:xfrm>
              <a:off x="3569303" y="313956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9A88E44E-5585-90B0-91E8-3B3F73FAC244}"/>
                </a:ext>
              </a:extLst>
            </p:cNvPr>
            <p:cNvSpPr/>
            <p:nvPr/>
          </p:nvSpPr>
          <p:spPr>
            <a:xfrm>
              <a:off x="3419280" y="331403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AD4CAE5B-D427-2D45-872E-46DAE00109BC}"/>
                </a:ext>
              </a:extLst>
            </p:cNvPr>
            <p:cNvSpPr/>
            <p:nvPr/>
          </p:nvSpPr>
          <p:spPr>
            <a:xfrm>
              <a:off x="3233408" y="325169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250D8015-2CBF-8E4E-812C-D38B53D05C3E}"/>
                </a:ext>
              </a:extLst>
            </p:cNvPr>
            <p:cNvSpPr/>
            <p:nvPr/>
          </p:nvSpPr>
          <p:spPr>
            <a:xfrm>
              <a:off x="2697931" y="326309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68A28330-084A-2686-304E-E627839FC538}"/>
                </a:ext>
              </a:extLst>
            </p:cNvPr>
            <p:cNvSpPr/>
            <p:nvPr/>
          </p:nvSpPr>
          <p:spPr>
            <a:xfrm>
              <a:off x="2512197" y="32109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18254697-7253-008E-FAC2-5B37422CCBEB}"/>
                </a:ext>
              </a:extLst>
            </p:cNvPr>
            <p:cNvSpPr/>
            <p:nvPr/>
          </p:nvSpPr>
          <p:spPr>
            <a:xfrm>
              <a:off x="2362036" y="334903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866CC665-1126-C253-25E9-0F2D00D172C0}"/>
                </a:ext>
              </a:extLst>
            </p:cNvPr>
            <p:cNvSpPr/>
            <p:nvPr/>
          </p:nvSpPr>
          <p:spPr>
            <a:xfrm>
              <a:off x="2166061" y="328883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0" name="Elipse 5119">
              <a:extLst>
                <a:ext uri="{FF2B5EF4-FFF2-40B4-BE49-F238E27FC236}">
                  <a16:creationId xmlns:a16="http://schemas.microsoft.com/office/drawing/2014/main" id="{E19F3B8F-B7E0-2682-A86D-D75FAD8E1B96}"/>
                </a:ext>
              </a:extLst>
            </p:cNvPr>
            <p:cNvSpPr/>
            <p:nvPr/>
          </p:nvSpPr>
          <p:spPr>
            <a:xfrm>
              <a:off x="1913204" y="323656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1" name="Elipse 5120">
              <a:extLst>
                <a:ext uri="{FF2B5EF4-FFF2-40B4-BE49-F238E27FC236}">
                  <a16:creationId xmlns:a16="http://schemas.microsoft.com/office/drawing/2014/main" id="{59632A2D-2E26-B02E-74B4-38F54887C2CD}"/>
                </a:ext>
              </a:extLst>
            </p:cNvPr>
            <p:cNvSpPr/>
            <p:nvPr/>
          </p:nvSpPr>
          <p:spPr>
            <a:xfrm>
              <a:off x="1826691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3" name="Elipse 5122">
              <a:extLst>
                <a:ext uri="{FF2B5EF4-FFF2-40B4-BE49-F238E27FC236}">
                  <a16:creationId xmlns:a16="http://schemas.microsoft.com/office/drawing/2014/main" id="{91010BC0-881A-A622-FF85-094830388CCD}"/>
                </a:ext>
              </a:extLst>
            </p:cNvPr>
            <p:cNvSpPr/>
            <p:nvPr/>
          </p:nvSpPr>
          <p:spPr>
            <a:xfrm>
              <a:off x="2030116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4" name="Elipse 5123">
              <a:extLst>
                <a:ext uri="{FF2B5EF4-FFF2-40B4-BE49-F238E27FC236}">
                  <a16:creationId xmlns:a16="http://schemas.microsoft.com/office/drawing/2014/main" id="{9898F725-1FE5-3E08-F67E-BFD658220685}"/>
                </a:ext>
              </a:extLst>
            </p:cNvPr>
            <p:cNvSpPr/>
            <p:nvPr/>
          </p:nvSpPr>
          <p:spPr>
            <a:xfrm>
              <a:off x="2217307" y="348880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5" name="Elipse 5124">
              <a:extLst>
                <a:ext uri="{FF2B5EF4-FFF2-40B4-BE49-F238E27FC236}">
                  <a16:creationId xmlns:a16="http://schemas.microsoft.com/office/drawing/2014/main" id="{5C1912FA-389B-1DFD-B1B6-1218878E77D8}"/>
                </a:ext>
              </a:extLst>
            </p:cNvPr>
            <p:cNvSpPr/>
            <p:nvPr/>
          </p:nvSpPr>
          <p:spPr>
            <a:xfrm>
              <a:off x="2413192" y="35442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6" name="Elipse 5125">
              <a:extLst>
                <a:ext uri="{FF2B5EF4-FFF2-40B4-BE49-F238E27FC236}">
                  <a16:creationId xmlns:a16="http://schemas.microsoft.com/office/drawing/2014/main" id="{2B9D27C2-8507-79FB-5703-5DB2A87AEDAD}"/>
                </a:ext>
              </a:extLst>
            </p:cNvPr>
            <p:cNvSpPr/>
            <p:nvPr/>
          </p:nvSpPr>
          <p:spPr>
            <a:xfrm>
              <a:off x="2551363" y="3409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7" name="Elipse 5126">
              <a:extLst>
                <a:ext uri="{FF2B5EF4-FFF2-40B4-BE49-F238E27FC236}">
                  <a16:creationId xmlns:a16="http://schemas.microsoft.com/office/drawing/2014/main" id="{D4F73C6F-4AC3-6D2D-0CCC-888C538142C1}"/>
                </a:ext>
              </a:extLst>
            </p:cNvPr>
            <p:cNvSpPr/>
            <p:nvPr/>
          </p:nvSpPr>
          <p:spPr>
            <a:xfrm>
              <a:off x="2748730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8" name="Elipse 5127">
              <a:extLst>
                <a:ext uri="{FF2B5EF4-FFF2-40B4-BE49-F238E27FC236}">
                  <a16:creationId xmlns:a16="http://schemas.microsoft.com/office/drawing/2014/main" id="{B5922342-80F7-EEBF-99A6-47384F3E7A5C}"/>
                </a:ext>
              </a:extLst>
            </p:cNvPr>
            <p:cNvSpPr/>
            <p:nvPr/>
          </p:nvSpPr>
          <p:spPr>
            <a:xfrm>
              <a:off x="3077356" y="33862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9" name="Elipse 5128">
              <a:extLst>
                <a:ext uri="{FF2B5EF4-FFF2-40B4-BE49-F238E27FC236}">
                  <a16:creationId xmlns:a16="http://schemas.microsoft.com/office/drawing/2014/main" id="{99A0DC18-8C1A-FE94-2AFB-1FD7C98A79C1}"/>
                </a:ext>
              </a:extLst>
            </p:cNvPr>
            <p:cNvSpPr/>
            <p:nvPr/>
          </p:nvSpPr>
          <p:spPr>
            <a:xfrm>
              <a:off x="3276151" y="34422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0" name="Elipse 5129">
              <a:extLst>
                <a:ext uri="{FF2B5EF4-FFF2-40B4-BE49-F238E27FC236}">
                  <a16:creationId xmlns:a16="http://schemas.microsoft.com/office/drawing/2014/main" id="{473E5C28-BE4D-A460-EDC7-A40DB928347A}"/>
                </a:ext>
              </a:extLst>
            </p:cNvPr>
            <p:cNvSpPr/>
            <p:nvPr/>
          </p:nvSpPr>
          <p:spPr>
            <a:xfrm>
              <a:off x="3541176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1" name="Elipse 5130">
              <a:extLst>
                <a:ext uri="{FF2B5EF4-FFF2-40B4-BE49-F238E27FC236}">
                  <a16:creationId xmlns:a16="http://schemas.microsoft.com/office/drawing/2014/main" id="{B441E9D4-637D-C272-D2DC-65E582B60DDF}"/>
                </a:ext>
              </a:extLst>
            </p:cNvPr>
            <p:cNvSpPr/>
            <p:nvPr/>
          </p:nvSpPr>
          <p:spPr>
            <a:xfrm>
              <a:off x="3676051" y="330423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2" name="Elipse 5131">
              <a:extLst>
                <a:ext uri="{FF2B5EF4-FFF2-40B4-BE49-F238E27FC236}">
                  <a16:creationId xmlns:a16="http://schemas.microsoft.com/office/drawing/2014/main" id="{EBD2DD2A-D53F-C3AA-FEC4-BC419DA24503}"/>
                </a:ext>
              </a:extLst>
            </p:cNvPr>
            <p:cNvSpPr/>
            <p:nvPr/>
          </p:nvSpPr>
          <p:spPr>
            <a:xfrm>
              <a:off x="3748564" y="35120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3" name="Elipse 5132">
              <a:extLst>
                <a:ext uri="{FF2B5EF4-FFF2-40B4-BE49-F238E27FC236}">
                  <a16:creationId xmlns:a16="http://schemas.microsoft.com/office/drawing/2014/main" id="{ADDEC4CC-C606-71CB-D56F-2358AA85C170}"/>
                </a:ext>
              </a:extLst>
            </p:cNvPr>
            <p:cNvSpPr/>
            <p:nvPr/>
          </p:nvSpPr>
          <p:spPr>
            <a:xfrm>
              <a:off x="3396777" y="360004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4" name="Elipse 5133">
              <a:extLst>
                <a:ext uri="{FF2B5EF4-FFF2-40B4-BE49-F238E27FC236}">
                  <a16:creationId xmlns:a16="http://schemas.microsoft.com/office/drawing/2014/main" id="{AD7A8BD7-B1BC-5990-278B-300C49B52D65}"/>
                </a:ext>
              </a:extLst>
            </p:cNvPr>
            <p:cNvSpPr/>
            <p:nvPr/>
          </p:nvSpPr>
          <p:spPr>
            <a:xfrm>
              <a:off x="3122810" y="357315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5" name="Elipse 5134">
              <a:extLst>
                <a:ext uri="{FF2B5EF4-FFF2-40B4-BE49-F238E27FC236}">
                  <a16:creationId xmlns:a16="http://schemas.microsoft.com/office/drawing/2014/main" id="{A4274CCA-6E58-B602-3CAE-334797F5892C}"/>
                </a:ext>
              </a:extLst>
            </p:cNvPr>
            <p:cNvSpPr/>
            <p:nvPr/>
          </p:nvSpPr>
          <p:spPr>
            <a:xfrm>
              <a:off x="2788671" y="365748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6" name="Elipse 5135">
              <a:extLst>
                <a:ext uri="{FF2B5EF4-FFF2-40B4-BE49-F238E27FC236}">
                  <a16:creationId xmlns:a16="http://schemas.microsoft.com/office/drawing/2014/main" id="{D5C37C36-110B-21F2-CCD8-6289F8AF85A9}"/>
                </a:ext>
              </a:extLst>
            </p:cNvPr>
            <p:cNvSpPr/>
            <p:nvPr/>
          </p:nvSpPr>
          <p:spPr>
            <a:xfrm>
              <a:off x="2598061" y="35988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7" name="Elipse 5136">
              <a:extLst>
                <a:ext uri="{FF2B5EF4-FFF2-40B4-BE49-F238E27FC236}">
                  <a16:creationId xmlns:a16="http://schemas.microsoft.com/office/drawing/2014/main" id="{8F3B126E-DAAB-C902-C88A-E591158CCDE3}"/>
                </a:ext>
              </a:extLst>
            </p:cNvPr>
            <p:cNvSpPr/>
            <p:nvPr/>
          </p:nvSpPr>
          <p:spPr>
            <a:xfrm>
              <a:off x="1777562" y="36215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8" name="Elipse 5137">
              <a:extLst>
                <a:ext uri="{FF2B5EF4-FFF2-40B4-BE49-F238E27FC236}">
                  <a16:creationId xmlns:a16="http://schemas.microsoft.com/office/drawing/2014/main" id="{C77BCAE4-5EE9-4A9E-F73E-FD357B87C30F}"/>
                </a:ext>
              </a:extLst>
            </p:cNvPr>
            <p:cNvSpPr/>
            <p:nvPr/>
          </p:nvSpPr>
          <p:spPr>
            <a:xfrm>
              <a:off x="2069054" y="36173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9" name="Elipse 5138">
              <a:extLst>
                <a:ext uri="{FF2B5EF4-FFF2-40B4-BE49-F238E27FC236}">
                  <a16:creationId xmlns:a16="http://schemas.microsoft.com/office/drawing/2014/main" id="{4E9B6108-F709-AEB0-B81F-93920F183840}"/>
                </a:ext>
              </a:extLst>
            </p:cNvPr>
            <p:cNvSpPr/>
            <p:nvPr/>
          </p:nvSpPr>
          <p:spPr>
            <a:xfrm>
              <a:off x="1931059" y="375068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0" name="Elipse 5139">
              <a:extLst>
                <a:ext uri="{FF2B5EF4-FFF2-40B4-BE49-F238E27FC236}">
                  <a16:creationId xmlns:a16="http://schemas.microsoft.com/office/drawing/2014/main" id="{56D0084A-0AE7-8DC3-C485-2944C8FBE348}"/>
                </a:ext>
              </a:extLst>
            </p:cNvPr>
            <p:cNvSpPr/>
            <p:nvPr/>
          </p:nvSpPr>
          <p:spPr>
            <a:xfrm>
              <a:off x="1782324" y="388727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1" name="Elipse 5140">
              <a:extLst>
                <a:ext uri="{FF2B5EF4-FFF2-40B4-BE49-F238E27FC236}">
                  <a16:creationId xmlns:a16="http://schemas.microsoft.com/office/drawing/2014/main" id="{2080F2DA-AF25-A12C-8EC8-F8B4DCC1046C}"/>
                </a:ext>
              </a:extLst>
            </p:cNvPr>
            <p:cNvSpPr/>
            <p:nvPr/>
          </p:nvSpPr>
          <p:spPr>
            <a:xfrm>
              <a:off x="2259263" y="3679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2" name="Elipse 5141">
              <a:extLst>
                <a:ext uri="{FF2B5EF4-FFF2-40B4-BE49-F238E27FC236}">
                  <a16:creationId xmlns:a16="http://schemas.microsoft.com/office/drawing/2014/main" id="{D5EA39F9-8FF2-6C8E-4640-636BD6C258FB}"/>
                </a:ext>
              </a:extLst>
            </p:cNvPr>
            <p:cNvSpPr/>
            <p:nvPr/>
          </p:nvSpPr>
          <p:spPr>
            <a:xfrm>
              <a:off x="2444720" y="373065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3" name="Elipse 5142">
              <a:extLst>
                <a:ext uri="{FF2B5EF4-FFF2-40B4-BE49-F238E27FC236}">
                  <a16:creationId xmlns:a16="http://schemas.microsoft.com/office/drawing/2014/main" id="{AA4C4A51-4409-7613-5457-4FC7579D618A}"/>
                </a:ext>
              </a:extLst>
            </p:cNvPr>
            <p:cNvSpPr/>
            <p:nvPr/>
          </p:nvSpPr>
          <p:spPr>
            <a:xfrm>
              <a:off x="2639180" y="378769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4" name="Elipse 5143">
              <a:extLst>
                <a:ext uri="{FF2B5EF4-FFF2-40B4-BE49-F238E27FC236}">
                  <a16:creationId xmlns:a16="http://schemas.microsoft.com/office/drawing/2014/main" id="{6AFFE86B-4676-2C47-805B-6475E1B71BF9}"/>
                </a:ext>
              </a:extLst>
            </p:cNvPr>
            <p:cNvSpPr/>
            <p:nvPr/>
          </p:nvSpPr>
          <p:spPr>
            <a:xfrm>
              <a:off x="2836789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5" name="Elipse 5144">
              <a:extLst>
                <a:ext uri="{FF2B5EF4-FFF2-40B4-BE49-F238E27FC236}">
                  <a16:creationId xmlns:a16="http://schemas.microsoft.com/office/drawing/2014/main" id="{2ADDF06D-A2B8-94D0-9CBE-569CD6A3D04A}"/>
                </a:ext>
              </a:extLst>
            </p:cNvPr>
            <p:cNvSpPr/>
            <p:nvPr/>
          </p:nvSpPr>
          <p:spPr>
            <a:xfrm>
              <a:off x="2977483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6" name="Elipse 5145">
              <a:extLst>
                <a:ext uri="{FF2B5EF4-FFF2-40B4-BE49-F238E27FC236}">
                  <a16:creationId xmlns:a16="http://schemas.microsoft.com/office/drawing/2014/main" id="{D25B57E8-DA10-DE5B-5C18-56B0F2EC0309}"/>
                </a:ext>
              </a:extLst>
            </p:cNvPr>
            <p:cNvSpPr/>
            <p:nvPr/>
          </p:nvSpPr>
          <p:spPr>
            <a:xfrm>
              <a:off x="3170558" y="37728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7" name="Elipse 5146">
              <a:extLst>
                <a:ext uri="{FF2B5EF4-FFF2-40B4-BE49-F238E27FC236}">
                  <a16:creationId xmlns:a16="http://schemas.microsoft.com/office/drawing/2014/main" id="{1677FA32-55C8-7374-112C-31B46F982F6C}"/>
                </a:ext>
              </a:extLst>
            </p:cNvPr>
            <p:cNvSpPr/>
            <p:nvPr/>
          </p:nvSpPr>
          <p:spPr>
            <a:xfrm>
              <a:off x="3365954" y="3791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8" name="Elipse 5147">
              <a:extLst>
                <a:ext uri="{FF2B5EF4-FFF2-40B4-BE49-F238E27FC236}">
                  <a16:creationId xmlns:a16="http://schemas.microsoft.com/office/drawing/2014/main" id="{5CC9E1B9-5784-F3C0-5361-67531CD29D99}"/>
                </a:ext>
              </a:extLst>
            </p:cNvPr>
            <p:cNvSpPr/>
            <p:nvPr/>
          </p:nvSpPr>
          <p:spPr>
            <a:xfrm>
              <a:off x="3589852" y="36529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9" name="Elipse 5148">
              <a:extLst>
                <a:ext uri="{FF2B5EF4-FFF2-40B4-BE49-F238E27FC236}">
                  <a16:creationId xmlns:a16="http://schemas.microsoft.com/office/drawing/2014/main" id="{CB3E3C11-41F7-E769-FB07-BC10DC4712C7}"/>
                </a:ext>
              </a:extLst>
            </p:cNvPr>
            <p:cNvSpPr/>
            <p:nvPr/>
          </p:nvSpPr>
          <p:spPr>
            <a:xfrm>
              <a:off x="3777021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0" name="Elipse 5149">
              <a:extLst>
                <a:ext uri="{FF2B5EF4-FFF2-40B4-BE49-F238E27FC236}">
                  <a16:creationId xmlns:a16="http://schemas.microsoft.com/office/drawing/2014/main" id="{41A76BF6-6100-0936-58A8-5C6E35B65991}"/>
                </a:ext>
              </a:extLst>
            </p:cNvPr>
            <p:cNvSpPr/>
            <p:nvPr/>
          </p:nvSpPr>
          <p:spPr>
            <a:xfrm>
              <a:off x="3767163" y="391322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1" name="Elipse 5150">
              <a:extLst>
                <a:ext uri="{FF2B5EF4-FFF2-40B4-BE49-F238E27FC236}">
                  <a16:creationId xmlns:a16="http://schemas.microsoft.com/office/drawing/2014/main" id="{CA91DBAF-A34F-78F5-7FCC-D6720A29E2D8}"/>
                </a:ext>
              </a:extLst>
            </p:cNvPr>
            <p:cNvSpPr/>
            <p:nvPr/>
          </p:nvSpPr>
          <p:spPr>
            <a:xfrm>
              <a:off x="3561350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2" name="Elipse 5151">
              <a:extLst>
                <a:ext uri="{FF2B5EF4-FFF2-40B4-BE49-F238E27FC236}">
                  <a16:creationId xmlns:a16="http://schemas.microsoft.com/office/drawing/2014/main" id="{1592B626-646E-CCDF-2321-49A20645FF69}"/>
                </a:ext>
              </a:extLst>
            </p:cNvPr>
            <p:cNvSpPr/>
            <p:nvPr/>
          </p:nvSpPr>
          <p:spPr>
            <a:xfrm>
              <a:off x="3419280" y="3988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3" name="Elipse 5152">
              <a:extLst>
                <a:ext uri="{FF2B5EF4-FFF2-40B4-BE49-F238E27FC236}">
                  <a16:creationId xmlns:a16="http://schemas.microsoft.com/office/drawing/2014/main" id="{0C23D4C9-5BE0-A1E1-B000-E42317B1A543}"/>
                </a:ext>
              </a:extLst>
            </p:cNvPr>
            <p:cNvSpPr/>
            <p:nvPr/>
          </p:nvSpPr>
          <p:spPr>
            <a:xfrm>
              <a:off x="3610446" y="404319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4" name="Elipse 5153">
              <a:extLst>
                <a:ext uri="{FF2B5EF4-FFF2-40B4-BE49-F238E27FC236}">
                  <a16:creationId xmlns:a16="http://schemas.microsoft.com/office/drawing/2014/main" id="{A29971F9-DCB0-07D7-D371-DCCF22CD568E}"/>
                </a:ext>
              </a:extLst>
            </p:cNvPr>
            <p:cNvSpPr/>
            <p:nvPr/>
          </p:nvSpPr>
          <p:spPr>
            <a:xfrm>
              <a:off x="3660124" y="4235201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5" name="Elipse 5154">
              <a:extLst>
                <a:ext uri="{FF2B5EF4-FFF2-40B4-BE49-F238E27FC236}">
                  <a16:creationId xmlns:a16="http://schemas.microsoft.com/office/drawing/2014/main" id="{15A6F98B-B790-0901-393C-281AE787DCD1}"/>
                </a:ext>
              </a:extLst>
            </p:cNvPr>
            <p:cNvSpPr/>
            <p:nvPr/>
          </p:nvSpPr>
          <p:spPr>
            <a:xfrm>
              <a:off x="3469881" y="41798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6" name="Elipse 5155">
              <a:extLst>
                <a:ext uri="{FF2B5EF4-FFF2-40B4-BE49-F238E27FC236}">
                  <a16:creationId xmlns:a16="http://schemas.microsoft.com/office/drawing/2014/main" id="{4036AC94-6733-B7B9-F7AE-C238BB7DB799}"/>
                </a:ext>
              </a:extLst>
            </p:cNvPr>
            <p:cNvSpPr/>
            <p:nvPr/>
          </p:nvSpPr>
          <p:spPr>
            <a:xfrm>
              <a:off x="3266109" y="41672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7" name="Elipse 5156">
              <a:extLst>
                <a:ext uri="{FF2B5EF4-FFF2-40B4-BE49-F238E27FC236}">
                  <a16:creationId xmlns:a16="http://schemas.microsoft.com/office/drawing/2014/main" id="{900FB257-46A2-34E5-E583-65B43FE97A66}"/>
                </a:ext>
              </a:extLst>
            </p:cNvPr>
            <p:cNvSpPr/>
            <p:nvPr/>
          </p:nvSpPr>
          <p:spPr>
            <a:xfrm>
              <a:off x="3068946" y="40978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8" name="Elipse 5157">
              <a:extLst>
                <a:ext uri="{FF2B5EF4-FFF2-40B4-BE49-F238E27FC236}">
                  <a16:creationId xmlns:a16="http://schemas.microsoft.com/office/drawing/2014/main" id="{8EEBCE6A-2759-10E3-849D-24C31DBCC9F5}"/>
                </a:ext>
              </a:extLst>
            </p:cNvPr>
            <p:cNvSpPr/>
            <p:nvPr/>
          </p:nvSpPr>
          <p:spPr>
            <a:xfrm>
              <a:off x="3219346" y="396939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9" name="Elipse 5158">
              <a:extLst>
                <a:ext uri="{FF2B5EF4-FFF2-40B4-BE49-F238E27FC236}">
                  <a16:creationId xmlns:a16="http://schemas.microsoft.com/office/drawing/2014/main" id="{000D1D66-6183-5489-56D7-6CF990C4A130}"/>
                </a:ext>
              </a:extLst>
            </p:cNvPr>
            <p:cNvSpPr/>
            <p:nvPr/>
          </p:nvSpPr>
          <p:spPr>
            <a:xfrm>
              <a:off x="3020857" y="390753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0" name="Elipse 5159">
              <a:extLst>
                <a:ext uri="{FF2B5EF4-FFF2-40B4-BE49-F238E27FC236}">
                  <a16:creationId xmlns:a16="http://schemas.microsoft.com/office/drawing/2014/main" id="{FC5AD69B-E307-2E3E-6C7F-BEAEF9C951E1}"/>
                </a:ext>
              </a:extLst>
            </p:cNvPr>
            <p:cNvSpPr/>
            <p:nvPr/>
          </p:nvSpPr>
          <p:spPr>
            <a:xfrm>
              <a:off x="2879519" y="404265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1" name="Elipse 5160">
              <a:extLst>
                <a:ext uri="{FF2B5EF4-FFF2-40B4-BE49-F238E27FC236}">
                  <a16:creationId xmlns:a16="http://schemas.microsoft.com/office/drawing/2014/main" id="{09A1CD89-2B1E-62EB-CF39-038846FD59D0}"/>
                </a:ext>
              </a:extLst>
            </p:cNvPr>
            <p:cNvSpPr/>
            <p:nvPr/>
          </p:nvSpPr>
          <p:spPr>
            <a:xfrm>
              <a:off x="2685121" y="3985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2" name="Elipse 5161">
              <a:extLst>
                <a:ext uri="{FF2B5EF4-FFF2-40B4-BE49-F238E27FC236}">
                  <a16:creationId xmlns:a16="http://schemas.microsoft.com/office/drawing/2014/main" id="{24A248CD-B71D-5116-9F4E-9DE5E91B9125}"/>
                </a:ext>
              </a:extLst>
            </p:cNvPr>
            <p:cNvSpPr/>
            <p:nvPr/>
          </p:nvSpPr>
          <p:spPr>
            <a:xfrm>
              <a:off x="2504859" y="392743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3" name="Elipse 5162">
              <a:extLst>
                <a:ext uri="{FF2B5EF4-FFF2-40B4-BE49-F238E27FC236}">
                  <a16:creationId xmlns:a16="http://schemas.microsoft.com/office/drawing/2014/main" id="{5AAB784B-3028-F102-9F75-2A6B118B5BE5}"/>
                </a:ext>
              </a:extLst>
            </p:cNvPr>
            <p:cNvSpPr/>
            <p:nvPr/>
          </p:nvSpPr>
          <p:spPr>
            <a:xfrm>
              <a:off x="2306143" y="386779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4" name="Elipse 5163">
              <a:extLst>
                <a:ext uri="{FF2B5EF4-FFF2-40B4-BE49-F238E27FC236}">
                  <a16:creationId xmlns:a16="http://schemas.microsoft.com/office/drawing/2014/main" id="{75D549A1-DF2D-B024-633B-67843CC1C3BB}"/>
                </a:ext>
              </a:extLst>
            </p:cNvPr>
            <p:cNvSpPr/>
            <p:nvPr/>
          </p:nvSpPr>
          <p:spPr>
            <a:xfrm>
              <a:off x="2114206" y="38167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5" name="Elipse 5164">
              <a:extLst>
                <a:ext uri="{FF2B5EF4-FFF2-40B4-BE49-F238E27FC236}">
                  <a16:creationId xmlns:a16="http://schemas.microsoft.com/office/drawing/2014/main" id="{84AC5C5B-5BAC-0329-AB57-49B953CAEFAC}"/>
                </a:ext>
              </a:extLst>
            </p:cNvPr>
            <p:cNvSpPr/>
            <p:nvPr/>
          </p:nvSpPr>
          <p:spPr>
            <a:xfrm>
              <a:off x="2156976" y="401348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6" name="Elipse 5165">
              <a:extLst>
                <a:ext uri="{FF2B5EF4-FFF2-40B4-BE49-F238E27FC236}">
                  <a16:creationId xmlns:a16="http://schemas.microsoft.com/office/drawing/2014/main" id="{458F0541-C8F1-97C1-5989-01349751ABE6}"/>
                </a:ext>
              </a:extLst>
            </p:cNvPr>
            <p:cNvSpPr/>
            <p:nvPr/>
          </p:nvSpPr>
          <p:spPr>
            <a:xfrm>
              <a:off x="1968586" y="3948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7" name="Elipse 5166">
              <a:extLst>
                <a:ext uri="{FF2B5EF4-FFF2-40B4-BE49-F238E27FC236}">
                  <a16:creationId xmlns:a16="http://schemas.microsoft.com/office/drawing/2014/main" id="{3D229355-EFDF-0F3C-425C-AFCB6FD517B5}"/>
                </a:ext>
              </a:extLst>
            </p:cNvPr>
            <p:cNvSpPr/>
            <p:nvPr/>
          </p:nvSpPr>
          <p:spPr>
            <a:xfrm>
              <a:off x="1828723" y="408352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8" name="Elipse 5167">
              <a:extLst>
                <a:ext uri="{FF2B5EF4-FFF2-40B4-BE49-F238E27FC236}">
                  <a16:creationId xmlns:a16="http://schemas.microsoft.com/office/drawing/2014/main" id="{B010A881-5DF0-7A83-803C-C64EA96C3FC7}"/>
                </a:ext>
              </a:extLst>
            </p:cNvPr>
            <p:cNvSpPr/>
            <p:nvPr/>
          </p:nvSpPr>
          <p:spPr>
            <a:xfrm>
              <a:off x="3547596" y="440151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9" name="Elipse 5168">
              <a:extLst>
                <a:ext uri="{FF2B5EF4-FFF2-40B4-BE49-F238E27FC236}">
                  <a16:creationId xmlns:a16="http://schemas.microsoft.com/office/drawing/2014/main" id="{94619671-3736-DEA1-4477-A01562080E1B}"/>
                </a:ext>
              </a:extLst>
            </p:cNvPr>
            <p:cNvSpPr/>
            <p:nvPr/>
          </p:nvSpPr>
          <p:spPr>
            <a:xfrm>
              <a:off x="3356962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0" name="Elipse 5169">
              <a:extLst>
                <a:ext uri="{FF2B5EF4-FFF2-40B4-BE49-F238E27FC236}">
                  <a16:creationId xmlns:a16="http://schemas.microsoft.com/office/drawing/2014/main" id="{74901400-8FC1-2C46-05B8-00916B5ACAFE}"/>
                </a:ext>
              </a:extLst>
            </p:cNvPr>
            <p:cNvSpPr/>
            <p:nvPr/>
          </p:nvSpPr>
          <p:spPr>
            <a:xfrm>
              <a:off x="3114528" y="429815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1" name="Elipse 5170">
              <a:extLst>
                <a:ext uri="{FF2B5EF4-FFF2-40B4-BE49-F238E27FC236}">
                  <a16:creationId xmlns:a16="http://schemas.microsoft.com/office/drawing/2014/main" id="{7033D46D-510F-1D0E-85AE-A3D250E34E65}"/>
                </a:ext>
              </a:extLst>
            </p:cNvPr>
            <p:cNvSpPr/>
            <p:nvPr/>
          </p:nvSpPr>
          <p:spPr>
            <a:xfrm>
              <a:off x="2922159" y="42395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2" name="Elipse 5171">
              <a:extLst>
                <a:ext uri="{FF2B5EF4-FFF2-40B4-BE49-F238E27FC236}">
                  <a16:creationId xmlns:a16="http://schemas.microsoft.com/office/drawing/2014/main" id="{5A1F3E2A-DF85-650C-53AA-B9BA85CB0711}"/>
                </a:ext>
              </a:extLst>
            </p:cNvPr>
            <p:cNvSpPr/>
            <p:nvPr/>
          </p:nvSpPr>
          <p:spPr>
            <a:xfrm>
              <a:off x="2733924" y="41863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3" name="Elipse 5172">
              <a:extLst>
                <a:ext uri="{FF2B5EF4-FFF2-40B4-BE49-F238E27FC236}">
                  <a16:creationId xmlns:a16="http://schemas.microsoft.com/office/drawing/2014/main" id="{71B217D2-567B-B3F6-96DE-E52781732D5D}"/>
                </a:ext>
              </a:extLst>
            </p:cNvPr>
            <p:cNvSpPr/>
            <p:nvPr/>
          </p:nvSpPr>
          <p:spPr>
            <a:xfrm>
              <a:off x="2540670" y="412722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4" name="Elipse 5173">
              <a:extLst>
                <a:ext uri="{FF2B5EF4-FFF2-40B4-BE49-F238E27FC236}">
                  <a16:creationId xmlns:a16="http://schemas.microsoft.com/office/drawing/2014/main" id="{E7A8FA2C-A8CD-4EA9-9B2C-454BE59A48DB}"/>
                </a:ext>
              </a:extLst>
            </p:cNvPr>
            <p:cNvSpPr/>
            <p:nvPr/>
          </p:nvSpPr>
          <p:spPr>
            <a:xfrm>
              <a:off x="2350741" y="406735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5" name="Elipse 5174">
              <a:extLst>
                <a:ext uri="{FF2B5EF4-FFF2-40B4-BE49-F238E27FC236}">
                  <a16:creationId xmlns:a16="http://schemas.microsoft.com/office/drawing/2014/main" id="{6C5A4A62-DEEE-C8C9-A471-AA6E847527B6}"/>
                </a:ext>
              </a:extLst>
            </p:cNvPr>
            <p:cNvSpPr/>
            <p:nvPr/>
          </p:nvSpPr>
          <p:spPr>
            <a:xfrm>
              <a:off x="2014737" y="414499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6" name="Elipse 5175">
              <a:extLst>
                <a:ext uri="{FF2B5EF4-FFF2-40B4-BE49-F238E27FC236}">
                  <a16:creationId xmlns:a16="http://schemas.microsoft.com/office/drawing/2014/main" id="{C9CCDC7D-E6A0-887F-7672-3A30E16EB8C1}"/>
                </a:ext>
              </a:extLst>
            </p:cNvPr>
            <p:cNvSpPr/>
            <p:nvPr/>
          </p:nvSpPr>
          <p:spPr>
            <a:xfrm>
              <a:off x="1949550" y="432840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7" name="Elipse 5176">
              <a:extLst>
                <a:ext uri="{FF2B5EF4-FFF2-40B4-BE49-F238E27FC236}">
                  <a16:creationId xmlns:a16="http://schemas.microsoft.com/office/drawing/2014/main" id="{DBA2E307-E9CB-0250-E206-5614AE07EC4F}"/>
                </a:ext>
              </a:extLst>
            </p:cNvPr>
            <p:cNvSpPr/>
            <p:nvPr/>
          </p:nvSpPr>
          <p:spPr>
            <a:xfrm>
              <a:off x="2197917" y="422204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8" name="Elipse 5177">
              <a:extLst>
                <a:ext uri="{FF2B5EF4-FFF2-40B4-BE49-F238E27FC236}">
                  <a16:creationId xmlns:a16="http://schemas.microsoft.com/office/drawing/2014/main" id="{97B76D10-FECF-A5E6-232D-3AF2EFF8BDD7}"/>
                </a:ext>
              </a:extLst>
            </p:cNvPr>
            <p:cNvSpPr/>
            <p:nvPr/>
          </p:nvSpPr>
          <p:spPr>
            <a:xfrm>
              <a:off x="2399345" y="426049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9" name="Elipse 5178">
              <a:extLst>
                <a:ext uri="{FF2B5EF4-FFF2-40B4-BE49-F238E27FC236}">
                  <a16:creationId xmlns:a16="http://schemas.microsoft.com/office/drawing/2014/main" id="{A8475106-B676-F3D4-482A-40B73400BC6D}"/>
                </a:ext>
              </a:extLst>
            </p:cNvPr>
            <p:cNvSpPr/>
            <p:nvPr/>
          </p:nvSpPr>
          <p:spPr>
            <a:xfrm>
              <a:off x="2566570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0" name="Elipse 5179">
              <a:extLst>
                <a:ext uri="{FF2B5EF4-FFF2-40B4-BE49-F238E27FC236}">
                  <a16:creationId xmlns:a16="http://schemas.microsoft.com/office/drawing/2014/main" id="{E392193F-98A7-1130-E3C1-8CD87101A479}"/>
                </a:ext>
              </a:extLst>
            </p:cNvPr>
            <p:cNvSpPr/>
            <p:nvPr/>
          </p:nvSpPr>
          <p:spPr>
            <a:xfrm>
              <a:off x="2772300" y="438117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1" name="Elipse 5180">
              <a:extLst>
                <a:ext uri="{FF2B5EF4-FFF2-40B4-BE49-F238E27FC236}">
                  <a16:creationId xmlns:a16="http://schemas.microsoft.com/office/drawing/2014/main" id="{47D4F2A1-0E94-F6BA-B4E5-3F3BD45A86E1}"/>
                </a:ext>
              </a:extLst>
            </p:cNvPr>
            <p:cNvSpPr/>
            <p:nvPr/>
          </p:nvSpPr>
          <p:spPr>
            <a:xfrm>
              <a:off x="3005095" y="44617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2" name="Elipse 5181">
              <a:extLst>
                <a:ext uri="{FF2B5EF4-FFF2-40B4-BE49-F238E27FC236}">
                  <a16:creationId xmlns:a16="http://schemas.microsoft.com/office/drawing/2014/main" id="{A71D13AC-C6E8-4043-B78E-01D3F9BA759C}"/>
                </a:ext>
              </a:extLst>
            </p:cNvPr>
            <p:cNvSpPr/>
            <p:nvPr/>
          </p:nvSpPr>
          <p:spPr>
            <a:xfrm>
              <a:off x="3206642" y="447437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3" name="Elipse 5182">
              <a:extLst>
                <a:ext uri="{FF2B5EF4-FFF2-40B4-BE49-F238E27FC236}">
                  <a16:creationId xmlns:a16="http://schemas.microsoft.com/office/drawing/2014/main" id="{8009ECEE-70ED-E037-7592-2E2D579D4D9E}"/>
                </a:ext>
              </a:extLst>
            </p:cNvPr>
            <p:cNvSpPr/>
            <p:nvPr/>
          </p:nvSpPr>
          <p:spPr>
            <a:xfrm>
              <a:off x="3392040" y="45528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4" name="Elipse 5183">
              <a:extLst>
                <a:ext uri="{FF2B5EF4-FFF2-40B4-BE49-F238E27FC236}">
                  <a16:creationId xmlns:a16="http://schemas.microsoft.com/office/drawing/2014/main" id="{21D0D773-6C0F-1342-7F38-F28BD0F0D634}"/>
                </a:ext>
              </a:extLst>
            </p:cNvPr>
            <p:cNvSpPr/>
            <p:nvPr/>
          </p:nvSpPr>
          <p:spPr>
            <a:xfrm>
              <a:off x="3194348" y="467191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5" name="Elipse 5184">
              <a:extLst>
                <a:ext uri="{FF2B5EF4-FFF2-40B4-BE49-F238E27FC236}">
                  <a16:creationId xmlns:a16="http://schemas.microsoft.com/office/drawing/2014/main" id="{81AE29AC-E3FF-2230-77DA-3CFB9DF7C044}"/>
                </a:ext>
              </a:extLst>
            </p:cNvPr>
            <p:cNvSpPr/>
            <p:nvPr/>
          </p:nvSpPr>
          <p:spPr>
            <a:xfrm>
              <a:off x="2985989" y="46952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6" name="Elipse 5185">
              <a:extLst>
                <a:ext uri="{FF2B5EF4-FFF2-40B4-BE49-F238E27FC236}">
                  <a16:creationId xmlns:a16="http://schemas.microsoft.com/office/drawing/2014/main" id="{90711BD9-5543-F3C6-25C1-259A9A1A63C2}"/>
                </a:ext>
              </a:extLst>
            </p:cNvPr>
            <p:cNvSpPr/>
            <p:nvPr/>
          </p:nvSpPr>
          <p:spPr>
            <a:xfrm>
              <a:off x="2830433" y="45668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7" name="Elipse 5186">
              <a:extLst>
                <a:ext uri="{FF2B5EF4-FFF2-40B4-BE49-F238E27FC236}">
                  <a16:creationId xmlns:a16="http://schemas.microsoft.com/office/drawing/2014/main" id="{F669BD70-A505-65F6-4430-60D16D779313}"/>
                </a:ext>
              </a:extLst>
            </p:cNvPr>
            <p:cNvSpPr/>
            <p:nvPr/>
          </p:nvSpPr>
          <p:spPr>
            <a:xfrm>
              <a:off x="2638341" y="4547585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8" name="Elipse 5187">
              <a:extLst>
                <a:ext uri="{FF2B5EF4-FFF2-40B4-BE49-F238E27FC236}">
                  <a16:creationId xmlns:a16="http://schemas.microsoft.com/office/drawing/2014/main" id="{59E93422-CE46-CD5A-BC6A-B7B0D6CCE690}"/>
                </a:ext>
              </a:extLst>
            </p:cNvPr>
            <p:cNvSpPr/>
            <p:nvPr/>
          </p:nvSpPr>
          <p:spPr>
            <a:xfrm>
              <a:off x="2446422" y="449471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9" name="Elipse 5188">
              <a:extLst>
                <a:ext uri="{FF2B5EF4-FFF2-40B4-BE49-F238E27FC236}">
                  <a16:creationId xmlns:a16="http://schemas.microsoft.com/office/drawing/2014/main" id="{63ABF8D7-126D-C525-BCB9-228DB50E97A3}"/>
                </a:ext>
              </a:extLst>
            </p:cNvPr>
            <p:cNvSpPr/>
            <p:nvPr/>
          </p:nvSpPr>
          <p:spPr>
            <a:xfrm>
              <a:off x="2268271" y="44084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0" name="Elipse 5189">
              <a:extLst>
                <a:ext uri="{FF2B5EF4-FFF2-40B4-BE49-F238E27FC236}">
                  <a16:creationId xmlns:a16="http://schemas.microsoft.com/office/drawing/2014/main" id="{D8FB5151-6147-5F07-A738-4A582E707BAE}"/>
                </a:ext>
              </a:extLst>
            </p:cNvPr>
            <p:cNvSpPr/>
            <p:nvPr/>
          </p:nvSpPr>
          <p:spPr>
            <a:xfrm>
              <a:off x="2078466" y="448455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1" name="Elipse 5190">
              <a:extLst>
                <a:ext uri="{FF2B5EF4-FFF2-40B4-BE49-F238E27FC236}">
                  <a16:creationId xmlns:a16="http://schemas.microsoft.com/office/drawing/2014/main" id="{4A6A1B6E-AE74-B9CD-E7AF-03677094B412}"/>
                </a:ext>
              </a:extLst>
            </p:cNvPr>
            <p:cNvSpPr/>
            <p:nvPr/>
          </p:nvSpPr>
          <p:spPr>
            <a:xfrm>
              <a:off x="2238648" y="460404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2" name="Elipse 5191">
              <a:extLst>
                <a:ext uri="{FF2B5EF4-FFF2-40B4-BE49-F238E27FC236}">
                  <a16:creationId xmlns:a16="http://schemas.microsoft.com/office/drawing/2014/main" id="{13ECB30C-DA09-FED7-38C6-C2D1631DED4A}"/>
                </a:ext>
              </a:extLst>
            </p:cNvPr>
            <p:cNvSpPr/>
            <p:nvPr/>
          </p:nvSpPr>
          <p:spPr>
            <a:xfrm>
              <a:off x="2416771" y="469431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3" name="Elipse 5192">
              <a:extLst>
                <a:ext uri="{FF2B5EF4-FFF2-40B4-BE49-F238E27FC236}">
                  <a16:creationId xmlns:a16="http://schemas.microsoft.com/office/drawing/2014/main" id="{F01036EB-8F7E-C25E-CB82-004CEBACD994}"/>
                </a:ext>
              </a:extLst>
            </p:cNvPr>
            <p:cNvSpPr/>
            <p:nvPr/>
          </p:nvSpPr>
          <p:spPr>
            <a:xfrm>
              <a:off x="2604875" y="475155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4" name="Elipse 5193">
              <a:extLst>
                <a:ext uri="{FF2B5EF4-FFF2-40B4-BE49-F238E27FC236}">
                  <a16:creationId xmlns:a16="http://schemas.microsoft.com/office/drawing/2014/main" id="{1D974586-75C8-48FE-94EB-3425E4075888}"/>
                </a:ext>
              </a:extLst>
            </p:cNvPr>
            <p:cNvSpPr/>
            <p:nvPr/>
          </p:nvSpPr>
          <p:spPr>
            <a:xfrm>
              <a:off x="2799270" y="475968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95" name="TextBox 24">
            <a:extLst>
              <a:ext uri="{FF2B5EF4-FFF2-40B4-BE49-F238E27FC236}">
                <a16:creationId xmlns:a16="http://schemas.microsoft.com/office/drawing/2014/main" id="{C2E48EB7-55CD-365F-AC7A-0CBC2B26CEDC}"/>
              </a:ext>
            </a:extLst>
          </p:cNvPr>
          <p:cNvSpPr txBox="1"/>
          <p:nvPr/>
        </p:nvSpPr>
        <p:spPr>
          <a:xfrm>
            <a:off x="1442143" y="241102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197" name="TextBox 24">
            <a:extLst>
              <a:ext uri="{FF2B5EF4-FFF2-40B4-BE49-F238E27FC236}">
                <a16:creationId xmlns:a16="http://schemas.microsoft.com/office/drawing/2014/main" id="{A0D04AB6-C594-EDA0-5B3F-1E2B7B6DFA38}"/>
              </a:ext>
            </a:extLst>
          </p:cNvPr>
          <p:cNvSpPr txBox="1"/>
          <p:nvPr/>
        </p:nvSpPr>
        <p:spPr>
          <a:xfrm>
            <a:off x="1442143" y="207671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198" name="TextBox 24">
            <a:extLst>
              <a:ext uri="{FF2B5EF4-FFF2-40B4-BE49-F238E27FC236}">
                <a16:creationId xmlns:a16="http://schemas.microsoft.com/office/drawing/2014/main" id="{3FEA4309-1774-3452-ACB9-2239E87608CE}"/>
              </a:ext>
            </a:extLst>
          </p:cNvPr>
          <p:cNvSpPr txBox="1"/>
          <p:nvPr/>
        </p:nvSpPr>
        <p:spPr>
          <a:xfrm>
            <a:off x="1442143" y="1510262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199" name="TextBox 24">
            <a:extLst>
              <a:ext uri="{FF2B5EF4-FFF2-40B4-BE49-F238E27FC236}">
                <a16:creationId xmlns:a16="http://schemas.microsoft.com/office/drawing/2014/main" id="{673E75C5-A3E8-99E5-E03B-265E34CCDD38}"/>
              </a:ext>
            </a:extLst>
          </p:cNvPr>
          <p:cNvSpPr txBox="1"/>
          <p:nvPr/>
        </p:nvSpPr>
        <p:spPr>
          <a:xfrm>
            <a:off x="1442143" y="5252068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308" name="Grupo 5307">
            <a:extLst>
              <a:ext uri="{FF2B5EF4-FFF2-40B4-BE49-F238E27FC236}">
                <a16:creationId xmlns:a16="http://schemas.microsoft.com/office/drawing/2014/main" id="{6FA0482F-078E-B646-BC7D-F87AD4806D35}"/>
              </a:ext>
            </a:extLst>
          </p:cNvPr>
          <p:cNvGrpSpPr/>
          <p:nvPr/>
        </p:nvGrpSpPr>
        <p:grpSpPr>
          <a:xfrm>
            <a:off x="5001479" y="2759200"/>
            <a:ext cx="2185863" cy="2186887"/>
            <a:chOff x="1777562" y="2759200"/>
            <a:chExt cx="2185863" cy="2186887"/>
          </a:xfrm>
        </p:grpSpPr>
        <p:sp>
          <p:nvSpPr>
            <p:cNvPr id="5313" name="Elipse 5312">
              <a:extLst>
                <a:ext uri="{FF2B5EF4-FFF2-40B4-BE49-F238E27FC236}">
                  <a16:creationId xmlns:a16="http://schemas.microsoft.com/office/drawing/2014/main" id="{2FFA4BDC-6216-F585-8518-B39FBC44394E}"/>
                </a:ext>
              </a:extLst>
            </p:cNvPr>
            <p:cNvSpPr/>
            <p:nvPr/>
          </p:nvSpPr>
          <p:spPr>
            <a:xfrm>
              <a:off x="2933991" y="352186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4" name="Elipse 5313">
              <a:extLst>
                <a:ext uri="{FF2B5EF4-FFF2-40B4-BE49-F238E27FC236}">
                  <a16:creationId xmlns:a16="http://schemas.microsoft.com/office/drawing/2014/main" id="{A9250C28-0E39-6241-CBF6-9704DB2BF876}"/>
                </a:ext>
              </a:extLst>
            </p:cNvPr>
            <p:cNvSpPr/>
            <p:nvPr/>
          </p:nvSpPr>
          <p:spPr>
            <a:xfrm>
              <a:off x="2891129" y="33259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5" name="Elipse 5314">
              <a:extLst>
                <a:ext uri="{FF2B5EF4-FFF2-40B4-BE49-F238E27FC236}">
                  <a16:creationId xmlns:a16="http://schemas.microsoft.com/office/drawing/2014/main" id="{F0D227D8-C04C-1DAD-724C-63D900FFCE4A}"/>
                </a:ext>
              </a:extLst>
            </p:cNvPr>
            <p:cNvSpPr/>
            <p:nvPr/>
          </p:nvSpPr>
          <p:spPr>
            <a:xfrm>
              <a:off x="2729162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6" name="Elipse 5315">
              <a:extLst>
                <a:ext uri="{FF2B5EF4-FFF2-40B4-BE49-F238E27FC236}">
                  <a16:creationId xmlns:a16="http://schemas.microsoft.com/office/drawing/2014/main" id="{0B8B9C19-BB13-6449-5254-B0E4A4B58977}"/>
                </a:ext>
              </a:extLst>
            </p:cNvPr>
            <p:cNvSpPr/>
            <p:nvPr/>
          </p:nvSpPr>
          <p:spPr>
            <a:xfrm>
              <a:off x="2948861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7" name="Elipse 5316">
              <a:extLst>
                <a:ext uri="{FF2B5EF4-FFF2-40B4-BE49-F238E27FC236}">
                  <a16:creationId xmlns:a16="http://schemas.microsoft.com/office/drawing/2014/main" id="{25FC56E9-611C-A35A-A954-F348E589A401}"/>
                </a:ext>
              </a:extLst>
            </p:cNvPr>
            <p:cNvSpPr/>
            <p:nvPr/>
          </p:nvSpPr>
          <p:spPr>
            <a:xfrm>
              <a:off x="2545139" y="284101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8" name="Elipse 5317">
              <a:extLst>
                <a:ext uri="{FF2B5EF4-FFF2-40B4-BE49-F238E27FC236}">
                  <a16:creationId xmlns:a16="http://schemas.microsoft.com/office/drawing/2014/main" id="{A8E88CC2-93C7-6439-DC89-9913CE2EF20B}"/>
                </a:ext>
              </a:extLst>
            </p:cNvPr>
            <p:cNvSpPr/>
            <p:nvPr/>
          </p:nvSpPr>
          <p:spPr>
            <a:xfrm>
              <a:off x="2344469" y="28453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9" name="Elipse 5318">
              <a:extLst>
                <a:ext uri="{FF2B5EF4-FFF2-40B4-BE49-F238E27FC236}">
                  <a16:creationId xmlns:a16="http://schemas.microsoft.com/office/drawing/2014/main" id="{4B662A34-D778-776D-E4FC-78C353850F4C}"/>
                </a:ext>
              </a:extLst>
            </p:cNvPr>
            <p:cNvSpPr/>
            <p:nvPr/>
          </p:nvSpPr>
          <p:spPr>
            <a:xfrm>
              <a:off x="2177545" y="294798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0" name="Elipse 5319">
              <a:extLst>
                <a:ext uri="{FF2B5EF4-FFF2-40B4-BE49-F238E27FC236}">
                  <a16:creationId xmlns:a16="http://schemas.microsoft.com/office/drawing/2014/main" id="{037E8016-61F2-EE2D-C4DC-CFEE35CABBB1}"/>
                </a:ext>
              </a:extLst>
            </p:cNvPr>
            <p:cNvSpPr/>
            <p:nvPr/>
          </p:nvSpPr>
          <p:spPr>
            <a:xfrm>
              <a:off x="2065626" y="31228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1" name="Elipse 5320">
              <a:extLst>
                <a:ext uri="{FF2B5EF4-FFF2-40B4-BE49-F238E27FC236}">
                  <a16:creationId xmlns:a16="http://schemas.microsoft.com/office/drawing/2014/main" id="{8C544699-672E-8806-E030-FEACCD195AAF}"/>
                </a:ext>
              </a:extLst>
            </p:cNvPr>
            <p:cNvSpPr/>
            <p:nvPr/>
          </p:nvSpPr>
          <p:spPr>
            <a:xfrm>
              <a:off x="2275509" y="312757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2" name="Elipse 5321">
              <a:extLst>
                <a:ext uri="{FF2B5EF4-FFF2-40B4-BE49-F238E27FC236}">
                  <a16:creationId xmlns:a16="http://schemas.microsoft.com/office/drawing/2014/main" id="{BF7A746E-74B8-B814-D39A-452360BB18CF}"/>
                </a:ext>
              </a:extLst>
            </p:cNvPr>
            <p:cNvSpPr/>
            <p:nvPr/>
          </p:nvSpPr>
          <p:spPr>
            <a:xfrm>
              <a:off x="2457376" y="30239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3" name="Elipse 5322">
              <a:extLst>
                <a:ext uri="{FF2B5EF4-FFF2-40B4-BE49-F238E27FC236}">
                  <a16:creationId xmlns:a16="http://schemas.microsoft.com/office/drawing/2014/main" id="{F2B8ED77-7EE6-D9B2-968C-437F1884519A}"/>
                </a:ext>
              </a:extLst>
            </p:cNvPr>
            <p:cNvSpPr/>
            <p:nvPr/>
          </p:nvSpPr>
          <p:spPr>
            <a:xfrm>
              <a:off x="2639276" y="30722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4" name="Elipse 5323">
              <a:extLst>
                <a:ext uri="{FF2B5EF4-FFF2-40B4-BE49-F238E27FC236}">
                  <a16:creationId xmlns:a16="http://schemas.microsoft.com/office/drawing/2014/main" id="{FD77C84E-679D-1987-09F6-E5FCEEDEF49C}"/>
                </a:ext>
              </a:extLst>
            </p:cNvPr>
            <p:cNvSpPr/>
            <p:nvPr/>
          </p:nvSpPr>
          <p:spPr>
            <a:xfrm>
              <a:off x="2805884" y="29368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5" name="Elipse 5324">
              <a:extLst>
                <a:ext uri="{FF2B5EF4-FFF2-40B4-BE49-F238E27FC236}">
                  <a16:creationId xmlns:a16="http://schemas.microsoft.com/office/drawing/2014/main" id="{D264E229-0FCB-FE37-4B8D-DCF16D8231E9}"/>
                </a:ext>
              </a:extLst>
            </p:cNvPr>
            <p:cNvSpPr/>
            <p:nvPr/>
          </p:nvSpPr>
          <p:spPr>
            <a:xfrm>
              <a:off x="3003043" y="296637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6" name="Elipse 5325">
              <a:extLst>
                <a:ext uri="{FF2B5EF4-FFF2-40B4-BE49-F238E27FC236}">
                  <a16:creationId xmlns:a16="http://schemas.microsoft.com/office/drawing/2014/main" id="{3052D9B6-4E81-11C8-44AB-655E7929D4AF}"/>
                </a:ext>
              </a:extLst>
            </p:cNvPr>
            <p:cNvSpPr/>
            <p:nvPr/>
          </p:nvSpPr>
          <p:spPr>
            <a:xfrm>
              <a:off x="3154392" y="28332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7" name="Elipse 5326">
              <a:extLst>
                <a:ext uri="{FF2B5EF4-FFF2-40B4-BE49-F238E27FC236}">
                  <a16:creationId xmlns:a16="http://schemas.microsoft.com/office/drawing/2014/main" id="{89FE0419-3E2D-416D-4984-F3CEFBA178B1}"/>
                </a:ext>
              </a:extLst>
            </p:cNvPr>
            <p:cNvSpPr/>
            <p:nvPr/>
          </p:nvSpPr>
          <p:spPr>
            <a:xfrm>
              <a:off x="3328459" y="29150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8" name="Elipse 5327">
              <a:extLst>
                <a:ext uri="{FF2B5EF4-FFF2-40B4-BE49-F238E27FC236}">
                  <a16:creationId xmlns:a16="http://schemas.microsoft.com/office/drawing/2014/main" id="{270A42E0-BFBD-5796-EE70-2712AC2F8285}"/>
                </a:ext>
              </a:extLst>
            </p:cNvPr>
            <p:cNvSpPr/>
            <p:nvPr/>
          </p:nvSpPr>
          <p:spPr>
            <a:xfrm>
              <a:off x="3180957" y="30476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9" name="Elipse 5328">
              <a:extLst>
                <a:ext uri="{FF2B5EF4-FFF2-40B4-BE49-F238E27FC236}">
                  <a16:creationId xmlns:a16="http://schemas.microsoft.com/office/drawing/2014/main" id="{8893D4A6-A5ED-30E3-E140-3E85E2854B94}"/>
                </a:ext>
              </a:extLst>
            </p:cNvPr>
            <p:cNvSpPr/>
            <p:nvPr/>
          </p:nvSpPr>
          <p:spPr>
            <a:xfrm>
              <a:off x="2841194" y="31347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0" name="Elipse 5329">
              <a:extLst>
                <a:ext uri="{FF2B5EF4-FFF2-40B4-BE49-F238E27FC236}">
                  <a16:creationId xmlns:a16="http://schemas.microsoft.com/office/drawing/2014/main" id="{53B30287-6A6E-B0DF-F052-0A49F677B753}"/>
                </a:ext>
              </a:extLst>
            </p:cNvPr>
            <p:cNvSpPr/>
            <p:nvPr/>
          </p:nvSpPr>
          <p:spPr>
            <a:xfrm>
              <a:off x="3037301" y="31880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1" name="Elipse 5330">
              <a:extLst>
                <a:ext uri="{FF2B5EF4-FFF2-40B4-BE49-F238E27FC236}">
                  <a16:creationId xmlns:a16="http://schemas.microsoft.com/office/drawing/2014/main" id="{9FA7AFE5-37C5-CE98-CD2E-333A6AFFA112}"/>
                </a:ext>
              </a:extLst>
            </p:cNvPr>
            <p:cNvSpPr/>
            <p:nvPr/>
          </p:nvSpPr>
          <p:spPr>
            <a:xfrm>
              <a:off x="3369353" y="31109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2" name="Elipse 5331">
              <a:extLst>
                <a:ext uri="{FF2B5EF4-FFF2-40B4-BE49-F238E27FC236}">
                  <a16:creationId xmlns:a16="http://schemas.microsoft.com/office/drawing/2014/main" id="{235DA29E-DD3F-62D4-B5BD-72BE944804EC}"/>
                </a:ext>
              </a:extLst>
            </p:cNvPr>
            <p:cNvSpPr/>
            <p:nvPr/>
          </p:nvSpPr>
          <p:spPr>
            <a:xfrm>
              <a:off x="3569303" y="313956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3" name="Elipse 5332">
              <a:extLst>
                <a:ext uri="{FF2B5EF4-FFF2-40B4-BE49-F238E27FC236}">
                  <a16:creationId xmlns:a16="http://schemas.microsoft.com/office/drawing/2014/main" id="{7A9D026C-ECDB-1B2F-184D-ACD113DDE654}"/>
                </a:ext>
              </a:extLst>
            </p:cNvPr>
            <p:cNvSpPr/>
            <p:nvPr/>
          </p:nvSpPr>
          <p:spPr>
            <a:xfrm>
              <a:off x="3419280" y="331403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4" name="Elipse 5333">
              <a:extLst>
                <a:ext uri="{FF2B5EF4-FFF2-40B4-BE49-F238E27FC236}">
                  <a16:creationId xmlns:a16="http://schemas.microsoft.com/office/drawing/2014/main" id="{51901EB2-D8A0-216F-E814-385F07478866}"/>
                </a:ext>
              </a:extLst>
            </p:cNvPr>
            <p:cNvSpPr/>
            <p:nvPr/>
          </p:nvSpPr>
          <p:spPr>
            <a:xfrm>
              <a:off x="3233408" y="325169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5" name="Elipse 5334">
              <a:extLst>
                <a:ext uri="{FF2B5EF4-FFF2-40B4-BE49-F238E27FC236}">
                  <a16:creationId xmlns:a16="http://schemas.microsoft.com/office/drawing/2014/main" id="{8A5DFA2B-B768-9414-8C6D-A19FECE9579F}"/>
                </a:ext>
              </a:extLst>
            </p:cNvPr>
            <p:cNvSpPr/>
            <p:nvPr/>
          </p:nvSpPr>
          <p:spPr>
            <a:xfrm>
              <a:off x="2697931" y="326309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6" name="Elipse 5335">
              <a:extLst>
                <a:ext uri="{FF2B5EF4-FFF2-40B4-BE49-F238E27FC236}">
                  <a16:creationId xmlns:a16="http://schemas.microsoft.com/office/drawing/2014/main" id="{C65E0FA7-F695-617A-8321-94EA711F1685}"/>
                </a:ext>
              </a:extLst>
            </p:cNvPr>
            <p:cNvSpPr/>
            <p:nvPr/>
          </p:nvSpPr>
          <p:spPr>
            <a:xfrm>
              <a:off x="2512197" y="32109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7" name="Elipse 5336">
              <a:extLst>
                <a:ext uri="{FF2B5EF4-FFF2-40B4-BE49-F238E27FC236}">
                  <a16:creationId xmlns:a16="http://schemas.microsoft.com/office/drawing/2014/main" id="{75AD5281-6BA3-A821-8955-8D16485FFD08}"/>
                </a:ext>
              </a:extLst>
            </p:cNvPr>
            <p:cNvSpPr/>
            <p:nvPr/>
          </p:nvSpPr>
          <p:spPr>
            <a:xfrm>
              <a:off x="2362036" y="334903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8" name="Elipse 5337">
              <a:extLst>
                <a:ext uri="{FF2B5EF4-FFF2-40B4-BE49-F238E27FC236}">
                  <a16:creationId xmlns:a16="http://schemas.microsoft.com/office/drawing/2014/main" id="{428291E8-ADDC-8EC1-472E-7A080A998F7D}"/>
                </a:ext>
              </a:extLst>
            </p:cNvPr>
            <p:cNvSpPr/>
            <p:nvPr/>
          </p:nvSpPr>
          <p:spPr>
            <a:xfrm>
              <a:off x="2166061" y="328883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9" name="Elipse 5338">
              <a:extLst>
                <a:ext uri="{FF2B5EF4-FFF2-40B4-BE49-F238E27FC236}">
                  <a16:creationId xmlns:a16="http://schemas.microsoft.com/office/drawing/2014/main" id="{6A6C6864-6320-0D27-1A55-6687A9F58947}"/>
                </a:ext>
              </a:extLst>
            </p:cNvPr>
            <p:cNvSpPr/>
            <p:nvPr/>
          </p:nvSpPr>
          <p:spPr>
            <a:xfrm>
              <a:off x="1913204" y="323656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0" name="Elipse 5339">
              <a:extLst>
                <a:ext uri="{FF2B5EF4-FFF2-40B4-BE49-F238E27FC236}">
                  <a16:creationId xmlns:a16="http://schemas.microsoft.com/office/drawing/2014/main" id="{26457119-CFEC-58C4-E8FC-47B8548E253F}"/>
                </a:ext>
              </a:extLst>
            </p:cNvPr>
            <p:cNvSpPr/>
            <p:nvPr/>
          </p:nvSpPr>
          <p:spPr>
            <a:xfrm>
              <a:off x="1826691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1" name="Elipse 5340">
              <a:extLst>
                <a:ext uri="{FF2B5EF4-FFF2-40B4-BE49-F238E27FC236}">
                  <a16:creationId xmlns:a16="http://schemas.microsoft.com/office/drawing/2014/main" id="{30B4455B-6E98-AB2F-33B3-EBF81EF38FEA}"/>
                </a:ext>
              </a:extLst>
            </p:cNvPr>
            <p:cNvSpPr/>
            <p:nvPr/>
          </p:nvSpPr>
          <p:spPr>
            <a:xfrm>
              <a:off x="2030116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2" name="Elipse 5341">
              <a:extLst>
                <a:ext uri="{FF2B5EF4-FFF2-40B4-BE49-F238E27FC236}">
                  <a16:creationId xmlns:a16="http://schemas.microsoft.com/office/drawing/2014/main" id="{42C82AED-044D-173F-FDF1-FD10B5A06A16}"/>
                </a:ext>
              </a:extLst>
            </p:cNvPr>
            <p:cNvSpPr/>
            <p:nvPr/>
          </p:nvSpPr>
          <p:spPr>
            <a:xfrm>
              <a:off x="2217307" y="348880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3" name="Elipse 5342">
              <a:extLst>
                <a:ext uri="{FF2B5EF4-FFF2-40B4-BE49-F238E27FC236}">
                  <a16:creationId xmlns:a16="http://schemas.microsoft.com/office/drawing/2014/main" id="{B50F3039-8DA4-F97F-52F4-5FE173C9E5C8}"/>
                </a:ext>
              </a:extLst>
            </p:cNvPr>
            <p:cNvSpPr/>
            <p:nvPr/>
          </p:nvSpPr>
          <p:spPr>
            <a:xfrm>
              <a:off x="2413192" y="35442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4" name="Elipse 5343">
              <a:extLst>
                <a:ext uri="{FF2B5EF4-FFF2-40B4-BE49-F238E27FC236}">
                  <a16:creationId xmlns:a16="http://schemas.microsoft.com/office/drawing/2014/main" id="{B3751CEC-16F8-825F-DD65-69C57F2183DD}"/>
                </a:ext>
              </a:extLst>
            </p:cNvPr>
            <p:cNvSpPr/>
            <p:nvPr/>
          </p:nvSpPr>
          <p:spPr>
            <a:xfrm>
              <a:off x="2551363" y="3409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5" name="Elipse 5344">
              <a:extLst>
                <a:ext uri="{FF2B5EF4-FFF2-40B4-BE49-F238E27FC236}">
                  <a16:creationId xmlns:a16="http://schemas.microsoft.com/office/drawing/2014/main" id="{B1323C95-1FCA-031E-A47E-A1604EC1816B}"/>
                </a:ext>
              </a:extLst>
            </p:cNvPr>
            <p:cNvSpPr/>
            <p:nvPr/>
          </p:nvSpPr>
          <p:spPr>
            <a:xfrm>
              <a:off x="2748730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6" name="Elipse 5345">
              <a:extLst>
                <a:ext uri="{FF2B5EF4-FFF2-40B4-BE49-F238E27FC236}">
                  <a16:creationId xmlns:a16="http://schemas.microsoft.com/office/drawing/2014/main" id="{B3C6731A-9180-5B29-3477-AED6DDE256B6}"/>
                </a:ext>
              </a:extLst>
            </p:cNvPr>
            <p:cNvSpPr/>
            <p:nvPr/>
          </p:nvSpPr>
          <p:spPr>
            <a:xfrm>
              <a:off x="3077356" y="33862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7" name="Elipse 5346">
              <a:extLst>
                <a:ext uri="{FF2B5EF4-FFF2-40B4-BE49-F238E27FC236}">
                  <a16:creationId xmlns:a16="http://schemas.microsoft.com/office/drawing/2014/main" id="{8F805BB4-A1EF-4EB2-4D46-DABB00D9A561}"/>
                </a:ext>
              </a:extLst>
            </p:cNvPr>
            <p:cNvSpPr/>
            <p:nvPr/>
          </p:nvSpPr>
          <p:spPr>
            <a:xfrm>
              <a:off x="3276151" y="34422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8" name="Elipse 5347">
              <a:extLst>
                <a:ext uri="{FF2B5EF4-FFF2-40B4-BE49-F238E27FC236}">
                  <a16:creationId xmlns:a16="http://schemas.microsoft.com/office/drawing/2014/main" id="{84FB30B4-C31C-DA8E-F71F-1E609A4258E2}"/>
                </a:ext>
              </a:extLst>
            </p:cNvPr>
            <p:cNvSpPr/>
            <p:nvPr/>
          </p:nvSpPr>
          <p:spPr>
            <a:xfrm>
              <a:off x="3541176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9" name="Elipse 5348">
              <a:extLst>
                <a:ext uri="{FF2B5EF4-FFF2-40B4-BE49-F238E27FC236}">
                  <a16:creationId xmlns:a16="http://schemas.microsoft.com/office/drawing/2014/main" id="{12995050-16A8-F274-DCDF-1931B07F5247}"/>
                </a:ext>
              </a:extLst>
            </p:cNvPr>
            <p:cNvSpPr/>
            <p:nvPr/>
          </p:nvSpPr>
          <p:spPr>
            <a:xfrm>
              <a:off x="3676051" y="330423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0" name="Elipse 5349">
              <a:extLst>
                <a:ext uri="{FF2B5EF4-FFF2-40B4-BE49-F238E27FC236}">
                  <a16:creationId xmlns:a16="http://schemas.microsoft.com/office/drawing/2014/main" id="{548473B6-CF34-41A8-507D-1973D7ABC323}"/>
                </a:ext>
              </a:extLst>
            </p:cNvPr>
            <p:cNvSpPr/>
            <p:nvPr/>
          </p:nvSpPr>
          <p:spPr>
            <a:xfrm>
              <a:off x="3748564" y="35120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1" name="Elipse 5350">
              <a:extLst>
                <a:ext uri="{FF2B5EF4-FFF2-40B4-BE49-F238E27FC236}">
                  <a16:creationId xmlns:a16="http://schemas.microsoft.com/office/drawing/2014/main" id="{0E5157FC-D1C3-5C77-FED5-3FD0A95C6B50}"/>
                </a:ext>
              </a:extLst>
            </p:cNvPr>
            <p:cNvSpPr/>
            <p:nvPr/>
          </p:nvSpPr>
          <p:spPr>
            <a:xfrm>
              <a:off x="3396777" y="360004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2" name="Elipse 5351">
              <a:extLst>
                <a:ext uri="{FF2B5EF4-FFF2-40B4-BE49-F238E27FC236}">
                  <a16:creationId xmlns:a16="http://schemas.microsoft.com/office/drawing/2014/main" id="{D896646B-CF21-6B30-0EF2-30A672260FC5}"/>
                </a:ext>
              </a:extLst>
            </p:cNvPr>
            <p:cNvSpPr/>
            <p:nvPr/>
          </p:nvSpPr>
          <p:spPr>
            <a:xfrm>
              <a:off x="3122810" y="357315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3" name="Elipse 5352">
              <a:extLst>
                <a:ext uri="{FF2B5EF4-FFF2-40B4-BE49-F238E27FC236}">
                  <a16:creationId xmlns:a16="http://schemas.microsoft.com/office/drawing/2014/main" id="{36ED3344-95BD-B480-6334-B565DF89D78E}"/>
                </a:ext>
              </a:extLst>
            </p:cNvPr>
            <p:cNvSpPr/>
            <p:nvPr/>
          </p:nvSpPr>
          <p:spPr>
            <a:xfrm>
              <a:off x="2788671" y="365748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4" name="Elipse 5353">
              <a:extLst>
                <a:ext uri="{FF2B5EF4-FFF2-40B4-BE49-F238E27FC236}">
                  <a16:creationId xmlns:a16="http://schemas.microsoft.com/office/drawing/2014/main" id="{968A083D-5527-6DD6-9032-723777D6A960}"/>
                </a:ext>
              </a:extLst>
            </p:cNvPr>
            <p:cNvSpPr/>
            <p:nvPr/>
          </p:nvSpPr>
          <p:spPr>
            <a:xfrm>
              <a:off x="2598061" y="35988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5" name="Elipse 5354">
              <a:extLst>
                <a:ext uri="{FF2B5EF4-FFF2-40B4-BE49-F238E27FC236}">
                  <a16:creationId xmlns:a16="http://schemas.microsoft.com/office/drawing/2014/main" id="{DCB8E57B-454C-EA9A-5B44-20F3939F24C6}"/>
                </a:ext>
              </a:extLst>
            </p:cNvPr>
            <p:cNvSpPr/>
            <p:nvPr/>
          </p:nvSpPr>
          <p:spPr>
            <a:xfrm>
              <a:off x="1777562" y="36215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6" name="Elipse 5355">
              <a:extLst>
                <a:ext uri="{FF2B5EF4-FFF2-40B4-BE49-F238E27FC236}">
                  <a16:creationId xmlns:a16="http://schemas.microsoft.com/office/drawing/2014/main" id="{CB46288E-EBE4-29A2-9050-A5FB6050AE65}"/>
                </a:ext>
              </a:extLst>
            </p:cNvPr>
            <p:cNvSpPr/>
            <p:nvPr/>
          </p:nvSpPr>
          <p:spPr>
            <a:xfrm>
              <a:off x="2069054" y="36173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7" name="Elipse 5356">
              <a:extLst>
                <a:ext uri="{FF2B5EF4-FFF2-40B4-BE49-F238E27FC236}">
                  <a16:creationId xmlns:a16="http://schemas.microsoft.com/office/drawing/2014/main" id="{A7919727-4E5D-F0C8-489C-75E1962D4A38}"/>
                </a:ext>
              </a:extLst>
            </p:cNvPr>
            <p:cNvSpPr/>
            <p:nvPr/>
          </p:nvSpPr>
          <p:spPr>
            <a:xfrm>
              <a:off x="1931059" y="375068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8" name="Elipse 5357">
              <a:extLst>
                <a:ext uri="{FF2B5EF4-FFF2-40B4-BE49-F238E27FC236}">
                  <a16:creationId xmlns:a16="http://schemas.microsoft.com/office/drawing/2014/main" id="{0FE41401-1E5D-E29D-4231-A895FFCF580B}"/>
                </a:ext>
              </a:extLst>
            </p:cNvPr>
            <p:cNvSpPr/>
            <p:nvPr/>
          </p:nvSpPr>
          <p:spPr>
            <a:xfrm>
              <a:off x="1782324" y="388727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9" name="Elipse 5358">
              <a:extLst>
                <a:ext uri="{FF2B5EF4-FFF2-40B4-BE49-F238E27FC236}">
                  <a16:creationId xmlns:a16="http://schemas.microsoft.com/office/drawing/2014/main" id="{9F6BB8DA-51D0-D864-BAFF-2D2C2E612B86}"/>
                </a:ext>
              </a:extLst>
            </p:cNvPr>
            <p:cNvSpPr/>
            <p:nvPr/>
          </p:nvSpPr>
          <p:spPr>
            <a:xfrm>
              <a:off x="2259263" y="3679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0" name="Elipse 5359">
              <a:extLst>
                <a:ext uri="{FF2B5EF4-FFF2-40B4-BE49-F238E27FC236}">
                  <a16:creationId xmlns:a16="http://schemas.microsoft.com/office/drawing/2014/main" id="{46F0D7F2-A7CA-F510-1903-71230FE580E3}"/>
                </a:ext>
              </a:extLst>
            </p:cNvPr>
            <p:cNvSpPr/>
            <p:nvPr/>
          </p:nvSpPr>
          <p:spPr>
            <a:xfrm>
              <a:off x="2444720" y="373065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1" name="Elipse 5360">
              <a:extLst>
                <a:ext uri="{FF2B5EF4-FFF2-40B4-BE49-F238E27FC236}">
                  <a16:creationId xmlns:a16="http://schemas.microsoft.com/office/drawing/2014/main" id="{984A0C69-8975-6D27-D27C-9577C09A2973}"/>
                </a:ext>
              </a:extLst>
            </p:cNvPr>
            <p:cNvSpPr/>
            <p:nvPr/>
          </p:nvSpPr>
          <p:spPr>
            <a:xfrm>
              <a:off x="2639180" y="378769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2" name="Elipse 5361">
              <a:extLst>
                <a:ext uri="{FF2B5EF4-FFF2-40B4-BE49-F238E27FC236}">
                  <a16:creationId xmlns:a16="http://schemas.microsoft.com/office/drawing/2014/main" id="{4B24E8CC-E4DD-AB8F-5733-6184F4B2E181}"/>
                </a:ext>
              </a:extLst>
            </p:cNvPr>
            <p:cNvSpPr/>
            <p:nvPr/>
          </p:nvSpPr>
          <p:spPr>
            <a:xfrm>
              <a:off x="2836789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3" name="Elipse 5362">
              <a:extLst>
                <a:ext uri="{FF2B5EF4-FFF2-40B4-BE49-F238E27FC236}">
                  <a16:creationId xmlns:a16="http://schemas.microsoft.com/office/drawing/2014/main" id="{FE1ABB60-7F8C-859B-B549-6F1848C37592}"/>
                </a:ext>
              </a:extLst>
            </p:cNvPr>
            <p:cNvSpPr/>
            <p:nvPr/>
          </p:nvSpPr>
          <p:spPr>
            <a:xfrm>
              <a:off x="2977483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4" name="Elipse 5363">
              <a:extLst>
                <a:ext uri="{FF2B5EF4-FFF2-40B4-BE49-F238E27FC236}">
                  <a16:creationId xmlns:a16="http://schemas.microsoft.com/office/drawing/2014/main" id="{7E3FA3C2-1D27-FF72-4C95-AD629742CB41}"/>
                </a:ext>
              </a:extLst>
            </p:cNvPr>
            <p:cNvSpPr/>
            <p:nvPr/>
          </p:nvSpPr>
          <p:spPr>
            <a:xfrm>
              <a:off x="3170558" y="37728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5" name="Elipse 5364">
              <a:extLst>
                <a:ext uri="{FF2B5EF4-FFF2-40B4-BE49-F238E27FC236}">
                  <a16:creationId xmlns:a16="http://schemas.microsoft.com/office/drawing/2014/main" id="{7F9BCA5D-1006-ABD1-EEA5-FD758DAC7016}"/>
                </a:ext>
              </a:extLst>
            </p:cNvPr>
            <p:cNvSpPr/>
            <p:nvPr/>
          </p:nvSpPr>
          <p:spPr>
            <a:xfrm>
              <a:off x="3365954" y="3791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6" name="Elipse 5365">
              <a:extLst>
                <a:ext uri="{FF2B5EF4-FFF2-40B4-BE49-F238E27FC236}">
                  <a16:creationId xmlns:a16="http://schemas.microsoft.com/office/drawing/2014/main" id="{DB672AF0-709E-AF17-3386-5B901785C34B}"/>
                </a:ext>
              </a:extLst>
            </p:cNvPr>
            <p:cNvSpPr/>
            <p:nvPr/>
          </p:nvSpPr>
          <p:spPr>
            <a:xfrm>
              <a:off x="3589852" y="36529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7" name="Elipse 5366">
              <a:extLst>
                <a:ext uri="{FF2B5EF4-FFF2-40B4-BE49-F238E27FC236}">
                  <a16:creationId xmlns:a16="http://schemas.microsoft.com/office/drawing/2014/main" id="{B18EAC8C-563B-50BF-DA92-B279AB7BEDF4}"/>
                </a:ext>
              </a:extLst>
            </p:cNvPr>
            <p:cNvSpPr/>
            <p:nvPr/>
          </p:nvSpPr>
          <p:spPr>
            <a:xfrm>
              <a:off x="3777021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8" name="Elipse 5367">
              <a:extLst>
                <a:ext uri="{FF2B5EF4-FFF2-40B4-BE49-F238E27FC236}">
                  <a16:creationId xmlns:a16="http://schemas.microsoft.com/office/drawing/2014/main" id="{E425A00C-461A-5067-D491-A34E4A69ED3F}"/>
                </a:ext>
              </a:extLst>
            </p:cNvPr>
            <p:cNvSpPr/>
            <p:nvPr/>
          </p:nvSpPr>
          <p:spPr>
            <a:xfrm>
              <a:off x="3767163" y="391322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9" name="Elipse 5368">
              <a:extLst>
                <a:ext uri="{FF2B5EF4-FFF2-40B4-BE49-F238E27FC236}">
                  <a16:creationId xmlns:a16="http://schemas.microsoft.com/office/drawing/2014/main" id="{EB3DA264-562D-1C26-20D5-0C0F5FEC650D}"/>
                </a:ext>
              </a:extLst>
            </p:cNvPr>
            <p:cNvSpPr/>
            <p:nvPr/>
          </p:nvSpPr>
          <p:spPr>
            <a:xfrm>
              <a:off x="3561350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0" name="Elipse 5369">
              <a:extLst>
                <a:ext uri="{FF2B5EF4-FFF2-40B4-BE49-F238E27FC236}">
                  <a16:creationId xmlns:a16="http://schemas.microsoft.com/office/drawing/2014/main" id="{FA261027-5618-4BC7-1627-62FD33945C9D}"/>
                </a:ext>
              </a:extLst>
            </p:cNvPr>
            <p:cNvSpPr/>
            <p:nvPr/>
          </p:nvSpPr>
          <p:spPr>
            <a:xfrm>
              <a:off x="3419280" y="3988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1" name="Elipse 5370">
              <a:extLst>
                <a:ext uri="{FF2B5EF4-FFF2-40B4-BE49-F238E27FC236}">
                  <a16:creationId xmlns:a16="http://schemas.microsoft.com/office/drawing/2014/main" id="{2C04C127-7851-0DEF-417A-88FE1EBB41E9}"/>
                </a:ext>
              </a:extLst>
            </p:cNvPr>
            <p:cNvSpPr/>
            <p:nvPr/>
          </p:nvSpPr>
          <p:spPr>
            <a:xfrm>
              <a:off x="3610446" y="404319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2" name="Elipse 5371">
              <a:extLst>
                <a:ext uri="{FF2B5EF4-FFF2-40B4-BE49-F238E27FC236}">
                  <a16:creationId xmlns:a16="http://schemas.microsoft.com/office/drawing/2014/main" id="{4AEF687C-495E-2C79-8920-5217C122C5B0}"/>
                </a:ext>
              </a:extLst>
            </p:cNvPr>
            <p:cNvSpPr/>
            <p:nvPr/>
          </p:nvSpPr>
          <p:spPr>
            <a:xfrm>
              <a:off x="3660124" y="4235201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3" name="Elipse 5372">
              <a:extLst>
                <a:ext uri="{FF2B5EF4-FFF2-40B4-BE49-F238E27FC236}">
                  <a16:creationId xmlns:a16="http://schemas.microsoft.com/office/drawing/2014/main" id="{94EFC423-2EA2-7D9E-0230-B6DE7488C009}"/>
                </a:ext>
              </a:extLst>
            </p:cNvPr>
            <p:cNvSpPr/>
            <p:nvPr/>
          </p:nvSpPr>
          <p:spPr>
            <a:xfrm>
              <a:off x="3469881" y="41798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4" name="Elipse 5373">
              <a:extLst>
                <a:ext uri="{FF2B5EF4-FFF2-40B4-BE49-F238E27FC236}">
                  <a16:creationId xmlns:a16="http://schemas.microsoft.com/office/drawing/2014/main" id="{CDAD69FA-43C2-EFEE-8AC8-EA6638E942BF}"/>
                </a:ext>
              </a:extLst>
            </p:cNvPr>
            <p:cNvSpPr/>
            <p:nvPr/>
          </p:nvSpPr>
          <p:spPr>
            <a:xfrm>
              <a:off x="3266109" y="41672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5" name="Elipse 5374">
              <a:extLst>
                <a:ext uri="{FF2B5EF4-FFF2-40B4-BE49-F238E27FC236}">
                  <a16:creationId xmlns:a16="http://schemas.microsoft.com/office/drawing/2014/main" id="{8182FF03-151D-FD2F-76E1-A84637CADC68}"/>
                </a:ext>
              </a:extLst>
            </p:cNvPr>
            <p:cNvSpPr/>
            <p:nvPr/>
          </p:nvSpPr>
          <p:spPr>
            <a:xfrm>
              <a:off x="3068946" y="40978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6" name="Elipse 5375">
              <a:extLst>
                <a:ext uri="{FF2B5EF4-FFF2-40B4-BE49-F238E27FC236}">
                  <a16:creationId xmlns:a16="http://schemas.microsoft.com/office/drawing/2014/main" id="{C8456E30-9541-EE3C-08FC-66EF9493206B}"/>
                </a:ext>
              </a:extLst>
            </p:cNvPr>
            <p:cNvSpPr/>
            <p:nvPr/>
          </p:nvSpPr>
          <p:spPr>
            <a:xfrm>
              <a:off x="3219346" y="396939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7" name="Elipse 5376">
              <a:extLst>
                <a:ext uri="{FF2B5EF4-FFF2-40B4-BE49-F238E27FC236}">
                  <a16:creationId xmlns:a16="http://schemas.microsoft.com/office/drawing/2014/main" id="{41C57AA4-C606-B43F-196C-8436C97B2CEC}"/>
                </a:ext>
              </a:extLst>
            </p:cNvPr>
            <p:cNvSpPr/>
            <p:nvPr/>
          </p:nvSpPr>
          <p:spPr>
            <a:xfrm>
              <a:off x="3020857" y="390753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8" name="Elipse 5377">
              <a:extLst>
                <a:ext uri="{FF2B5EF4-FFF2-40B4-BE49-F238E27FC236}">
                  <a16:creationId xmlns:a16="http://schemas.microsoft.com/office/drawing/2014/main" id="{92048D2A-4A27-A9FB-89B5-8D68AF51AE16}"/>
                </a:ext>
              </a:extLst>
            </p:cNvPr>
            <p:cNvSpPr/>
            <p:nvPr/>
          </p:nvSpPr>
          <p:spPr>
            <a:xfrm>
              <a:off x="2879519" y="404265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9" name="Elipse 5378">
              <a:extLst>
                <a:ext uri="{FF2B5EF4-FFF2-40B4-BE49-F238E27FC236}">
                  <a16:creationId xmlns:a16="http://schemas.microsoft.com/office/drawing/2014/main" id="{8E4FEA97-E77C-F64C-4634-400D856854ED}"/>
                </a:ext>
              </a:extLst>
            </p:cNvPr>
            <p:cNvSpPr/>
            <p:nvPr/>
          </p:nvSpPr>
          <p:spPr>
            <a:xfrm>
              <a:off x="2685121" y="3985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0" name="Elipse 5379">
              <a:extLst>
                <a:ext uri="{FF2B5EF4-FFF2-40B4-BE49-F238E27FC236}">
                  <a16:creationId xmlns:a16="http://schemas.microsoft.com/office/drawing/2014/main" id="{801A6586-37E7-10C6-0D98-E8AF16544033}"/>
                </a:ext>
              </a:extLst>
            </p:cNvPr>
            <p:cNvSpPr/>
            <p:nvPr/>
          </p:nvSpPr>
          <p:spPr>
            <a:xfrm>
              <a:off x="2504859" y="392743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1" name="Elipse 5380">
              <a:extLst>
                <a:ext uri="{FF2B5EF4-FFF2-40B4-BE49-F238E27FC236}">
                  <a16:creationId xmlns:a16="http://schemas.microsoft.com/office/drawing/2014/main" id="{055FE059-5271-05EC-9C9E-09F62308E2E7}"/>
                </a:ext>
              </a:extLst>
            </p:cNvPr>
            <p:cNvSpPr/>
            <p:nvPr/>
          </p:nvSpPr>
          <p:spPr>
            <a:xfrm>
              <a:off x="2306143" y="386779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2" name="Elipse 5381">
              <a:extLst>
                <a:ext uri="{FF2B5EF4-FFF2-40B4-BE49-F238E27FC236}">
                  <a16:creationId xmlns:a16="http://schemas.microsoft.com/office/drawing/2014/main" id="{C063D310-246B-6E01-576E-7E442F83C1F4}"/>
                </a:ext>
              </a:extLst>
            </p:cNvPr>
            <p:cNvSpPr/>
            <p:nvPr/>
          </p:nvSpPr>
          <p:spPr>
            <a:xfrm>
              <a:off x="2114206" y="38167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3" name="Elipse 5382">
              <a:extLst>
                <a:ext uri="{FF2B5EF4-FFF2-40B4-BE49-F238E27FC236}">
                  <a16:creationId xmlns:a16="http://schemas.microsoft.com/office/drawing/2014/main" id="{E9171A26-4606-A68B-7D56-613416476841}"/>
                </a:ext>
              </a:extLst>
            </p:cNvPr>
            <p:cNvSpPr/>
            <p:nvPr/>
          </p:nvSpPr>
          <p:spPr>
            <a:xfrm>
              <a:off x="2156976" y="401348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4" name="Elipse 5383">
              <a:extLst>
                <a:ext uri="{FF2B5EF4-FFF2-40B4-BE49-F238E27FC236}">
                  <a16:creationId xmlns:a16="http://schemas.microsoft.com/office/drawing/2014/main" id="{BA71F7A6-6612-C26C-9013-68933CA3949A}"/>
                </a:ext>
              </a:extLst>
            </p:cNvPr>
            <p:cNvSpPr/>
            <p:nvPr/>
          </p:nvSpPr>
          <p:spPr>
            <a:xfrm>
              <a:off x="1968586" y="3948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5" name="Elipse 5384">
              <a:extLst>
                <a:ext uri="{FF2B5EF4-FFF2-40B4-BE49-F238E27FC236}">
                  <a16:creationId xmlns:a16="http://schemas.microsoft.com/office/drawing/2014/main" id="{98A3D8E2-C822-8BB1-B2D0-15589DD85B54}"/>
                </a:ext>
              </a:extLst>
            </p:cNvPr>
            <p:cNvSpPr/>
            <p:nvPr/>
          </p:nvSpPr>
          <p:spPr>
            <a:xfrm>
              <a:off x="1828723" y="408352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6" name="Elipse 5385">
              <a:extLst>
                <a:ext uri="{FF2B5EF4-FFF2-40B4-BE49-F238E27FC236}">
                  <a16:creationId xmlns:a16="http://schemas.microsoft.com/office/drawing/2014/main" id="{102378E9-F3F1-9CFE-695E-27F632DD901D}"/>
                </a:ext>
              </a:extLst>
            </p:cNvPr>
            <p:cNvSpPr/>
            <p:nvPr/>
          </p:nvSpPr>
          <p:spPr>
            <a:xfrm>
              <a:off x="3547596" y="440151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7" name="Elipse 5386">
              <a:extLst>
                <a:ext uri="{FF2B5EF4-FFF2-40B4-BE49-F238E27FC236}">
                  <a16:creationId xmlns:a16="http://schemas.microsoft.com/office/drawing/2014/main" id="{F19DD239-ED5A-5263-E394-0A723A66A177}"/>
                </a:ext>
              </a:extLst>
            </p:cNvPr>
            <p:cNvSpPr/>
            <p:nvPr/>
          </p:nvSpPr>
          <p:spPr>
            <a:xfrm>
              <a:off x="3356962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8" name="Elipse 5387">
              <a:extLst>
                <a:ext uri="{FF2B5EF4-FFF2-40B4-BE49-F238E27FC236}">
                  <a16:creationId xmlns:a16="http://schemas.microsoft.com/office/drawing/2014/main" id="{9B9684C6-6DEC-36BD-5C9A-28137CE42701}"/>
                </a:ext>
              </a:extLst>
            </p:cNvPr>
            <p:cNvSpPr/>
            <p:nvPr/>
          </p:nvSpPr>
          <p:spPr>
            <a:xfrm>
              <a:off x="3114528" y="429815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9" name="Elipse 5388">
              <a:extLst>
                <a:ext uri="{FF2B5EF4-FFF2-40B4-BE49-F238E27FC236}">
                  <a16:creationId xmlns:a16="http://schemas.microsoft.com/office/drawing/2014/main" id="{353FCB6A-2D01-A616-7DE3-F31B67CA1D4D}"/>
                </a:ext>
              </a:extLst>
            </p:cNvPr>
            <p:cNvSpPr/>
            <p:nvPr/>
          </p:nvSpPr>
          <p:spPr>
            <a:xfrm>
              <a:off x="2922159" y="42395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0" name="Elipse 5389">
              <a:extLst>
                <a:ext uri="{FF2B5EF4-FFF2-40B4-BE49-F238E27FC236}">
                  <a16:creationId xmlns:a16="http://schemas.microsoft.com/office/drawing/2014/main" id="{E5D01D1B-1EFF-B27B-ABEC-2CB8337C561C}"/>
                </a:ext>
              </a:extLst>
            </p:cNvPr>
            <p:cNvSpPr/>
            <p:nvPr/>
          </p:nvSpPr>
          <p:spPr>
            <a:xfrm>
              <a:off x="2733924" y="41863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1" name="Elipse 5390">
              <a:extLst>
                <a:ext uri="{FF2B5EF4-FFF2-40B4-BE49-F238E27FC236}">
                  <a16:creationId xmlns:a16="http://schemas.microsoft.com/office/drawing/2014/main" id="{7AD7BCFF-166B-F7C6-49BE-D646D1E3D92A}"/>
                </a:ext>
              </a:extLst>
            </p:cNvPr>
            <p:cNvSpPr/>
            <p:nvPr/>
          </p:nvSpPr>
          <p:spPr>
            <a:xfrm>
              <a:off x="2540670" y="412722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2" name="Elipse 5391">
              <a:extLst>
                <a:ext uri="{FF2B5EF4-FFF2-40B4-BE49-F238E27FC236}">
                  <a16:creationId xmlns:a16="http://schemas.microsoft.com/office/drawing/2014/main" id="{1292D0FD-B732-EED3-A3E7-0F66C0A0515A}"/>
                </a:ext>
              </a:extLst>
            </p:cNvPr>
            <p:cNvSpPr/>
            <p:nvPr/>
          </p:nvSpPr>
          <p:spPr>
            <a:xfrm>
              <a:off x="2350741" y="406735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3" name="Elipse 5392">
              <a:extLst>
                <a:ext uri="{FF2B5EF4-FFF2-40B4-BE49-F238E27FC236}">
                  <a16:creationId xmlns:a16="http://schemas.microsoft.com/office/drawing/2014/main" id="{AB1B5CB8-8D37-B3E7-DCD0-85EF834B78B5}"/>
                </a:ext>
              </a:extLst>
            </p:cNvPr>
            <p:cNvSpPr/>
            <p:nvPr/>
          </p:nvSpPr>
          <p:spPr>
            <a:xfrm>
              <a:off x="2014737" y="414499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4" name="Elipse 5393">
              <a:extLst>
                <a:ext uri="{FF2B5EF4-FFF2-40B4-BE49-F238E27FC236}">
                  <a16:creationId xmlns:a16="http://schemas.microsoft.com/office/drawing/2014/main" id="{E74EB43F-368E-8252-C0F4-7253F6C580CF}"/>
                </a:ext>
              </a:extLst>
            </p:cNvPr>
            <p:cNvSpPr/>
            <p:nvPr/>
          </p:nvSpPr>
          <p:spPr>
            <a:xfrm>
              <a:off x="1949550" y="432840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5" name="Elipse 5394">
              <a:extLst>
                <a:ext uri="{FF2B5EF4-FFF2-40B4-BE49-F238E27FC236}">
                  <a16:creationId xmlns:a16="http://schemas.microsoft.com/office/drawing/2014/main" id="{157C7BC2-FAE7-7482-D6F5-7966DB5BDDAE}"/>
                </a:ext>
              </a:extLst>
            </p:cNvPr>
            <p:cNvSpPr/>
            <p:nvPr/>
          </p:nvSpPr>
          <p:spPr>
            <a:xfrm>
              <a:off x="2197917" y="422204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6" name="Elipse 5395">
              <a:extLst>
                <a:ext uri="{FF2B5EF4-FFF2-40B4-BE49-F238E27FC236}">
                  <a16:creationId xmlns:a16="http://schemas.microsoft.com/office/drawing/2014/main" id="{AD6540B0-B05C-73E7-8F8E-B1C9D09E3627}"/>
                </a:ext>
              </a:extLst>
            </p:cNvPr>
            <p:cNvSpPr/>
            <p:nvPr/>
          </p:nvSpPr>
          <p:spPr>
            <a:xfrm>
              <a:off x="2399345" y="426049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7" name="Elipse 5396">
              <a:extLst>
                <a:ext uri="{FF2B5EF4-FFF2-40B4-BE49-F238E27FC236}">
                  <a16:creationId xmlns:a16="http://schemas.microsoft.com/office/drawing/2014/main" id="{F6718665-69F1-80D1-3D3E-DD2F6A666244}"/>
                </a:ext>
              </a:extLst>
            </p:cNvPr>
            <p:cNvSpPr/>
            <p:nvPr/>
          </p:nvSpPr>
          <p:spPr>
            <a:xfrm>
              <a:off x="2566570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8" name="Elipse 5397">
              <a:extLst>
                <a:ext uri="{FF2B5EF4-FFF2-40B4-BE49-F238E27FC236}">
                  <a16:creationId xmlns:a16="http://schemas.microsoft.com/office/drawing/2014/main" id="{DAC6AAE5-FA3E-535D-A519-5007872830AA}"/>
                </a:ext>
              </a:extLst>
            </p:cNvPr>
            <p:cNvSpPr/>
            <p:nvPr/>
          </p:nvSpPr>
          <p:spPr>
            <a:xfrm>
              <a:off x="2772300" y="438117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9" name="Elipse 5398">
              <a:extLst>
                <a:ext uri="{FF2B5EF4-FFF2-40B4-BE49-F238E27FC236}">
                  <a16:creationId xmlns:a16="http://schemas.microsoft.com/office/drawing/2014/main" id="{D9552D16-13AD-BDC2-49F7-862E1B7CD8D4}"/>
                </a:ext>
              </a:extLst>
            </p:cNvPr>
            <p:cNvSpPr/>
            <p:nvPr/>
          </p:nvSpPr>
          <p:spPr>
            <a:xfrm>
              <a:off x="3005095" y="44617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0" name="Elipse 5399">
              <a:extLst>
                <a:ext uri="{FF2B5EF4-FFF2-40B4-BE49-F238E27FC236}">
                  <a16:creationId xmlns:a16="http://schemas.microsoft.com/office/drawing/2014/main" id="{2E37AB19-2CC3-944A-4E4D-1A81258A9523}"/>
                </a:ext>
              </a:extLst>
            </p:cNvPr>
            <p:cNvSpPr/>
            <p:nvPr/>
          </p:nvSpPr>
          <p:spPr>
            <a:xfrm>
              <a:off x="3206642" y="447437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1" name="Elipse 5400">
              <a:extLst>
                <a:ext uri="{FF2B5EF4-FFF2-40B4-BE49-F238E27FC236}">
                  <a16:creationId xmlns:a16="http://schemas.microsoft.com/office/drawing/2014/main" id="{146EAC21-53C5-CEAF-3DA7-22AADFF5254D}"/>
                </a:ext>
              </a:extLst>
            </p:cNvPr>
            <p:cNvSpPr/>
            <p:nvPr/>
          </p:nvSpPr>
          <p:spPr>
            <a:xfrm>
              <a:off x="3392040" y="45528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2" name="Elipse 5401">
              <a:extLst>
                <a:ext uri="{FF2B5EF4-FFF2-40B4-BE49-F238E27FC236}">
                  <a16:creationId xmlns:a16="http://schemas.microsoft.com/office/drawing/2014/main" id="{BB2DBAA1-EB12-2793-9F0D-F29E2C6C4CC9}"/>
                </a:ext>
              </a:extLst>
            </p:cNvPr>
            <p:cNvSpPr/>
            <p:nvPr/>
          </p:nvSpPr>
          <p:spPr>
            <a:xfrm>
              <a:off x="3194348" y="467191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3" name="Elipse 5402">
              <a:extLst>
                <a:ext uri="{FF2B5EF4-FFF2-40B4-BE49-F238E27FC236}">
                  <a16:creationId xmlns:a16="http://schemas.microsoft.com/office/drawing/2014/main" id="{E113ACE3-07B7-933E-CC16-DDDA53DBFDE2}"/>
                </a:ext>
              </a:extLst>
            </p:cNvPr>
            <p:cNvSpPr/>
            <p:nvPr/>
          </p:nvSpPr>
          <p:spPr>
            <a:xfrm>
              <a:off x="2985989" y="46952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4" name="Elipse 5403">
              <a:extLst>
                <a:ext uri="{FF2B5EF4-FFF2-40B4-BE49-F238E27FC236}">
                  <a16:creationId xmlns:a16="http://schemas.microsoft.com/office/drawing/2014/main" id="{8769A438-4F3C-5AC6-2D15-5E67BB4ACDAD}"/>
                </a:ext>
              </a:extLst>
            </p:cNvPr>
            <p:cNvSpPr/>
            <p:nvPr/>
          </p:nvSpPr>
          <p:spPr>
            <a:xfrm>
              <a:off x="2830433" y="45668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5" name="Elipse 5404">
              <a:extLst>
                <a:ext uri="{FF2B5EF4-FFF2-40B4-BE49-F238E27FC236}">
                  <a16:creationId xmlns:a16="http://schemas.microsoft.com/office/drawing/2014/main" id="{D5FAC56A-C732-725E-3670-D10813EE6C1D}"/>
                </a:ext>
              </a:extLst>
            </p:cNvPr>
            <p:cNvSpPr/>
            <p:nvPr/>
          </p:nvSpPr>
          <p:spPr>
            <a:xfrm>
              <a:off x="2638341" y="4547585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6" name="Elipse 5405">
              <a:extLst>
                <a:ext uri="{FF2B5EF4-FFF2-40B4-BE49-F238E27FC236}">
                  <a16:creationId xmlns:a16="http://schemas.microsoft.com/office/drawing/2014/main" id="{BA2C83B9-8BC0-8B5C-83E6-F6B948B84432}"/>
                </a:ext>
              </a:extLst>
            </p:cNvPr>
            <p:cNvSpPr/>
            <p:nvPr/>
          </p:nvSpPr>
          <p:spPr>
            <a:xfrm>
              <a:off x="2446422" y="449471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7" name="Elipse 5406">
              <a:extLst>
                <a:ext uri="{FF2B5EF4-FFF2-40B4-BE49-F238E27FC236}">
                  <a16:creationId xmlns:a16="http://schemas.microsoft.com/office/drawing/2014/main" id="{45C07828-C833-FC41-E78C-82D1C539E03B}"/>
                </a:ext>
              </a:extLst>
            </p:cNvPr>
            <p:cNvSpPr/>
            <p:nvPr/>
          </p:nvSpPr>
          <p:spPr>
            <a:xfrm>
              <a:off x="2268271" y="44084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8" name="Elipse 5407">
              <a:extLst>
                <a:ext uri="{FF2B5EF4-FFF2-40B4-BE49-F238E27FC236}">
                  <a16:creationId xmlns:a16="http://schemas.microsoft.com/office/drawing/2014/main" id="{7DE0EE26-FC88-567B-DB7E-4BFF5E674E62}"/>
                </a:ext>
              </a:extLst>
            </p:cNvPr>
            <p:cNvSpPr/>
            <p:nvPr/>
          </p:nvSpPr>
          <p:spPr>
            <a:xfrm>
              <a:off x="2078466" y="448455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9" name="Elipse 5408">
              <a:extLst>
                <a:ext uri="{FF2B5EF4-FFF2-40B4-BE49-F238E27FC236}">
                  <a16:creationId xmlns:a16="http://schemas.microsoft.com/office/drawing/2014/main" id="{76FD1427-90AE-6F3F-5B26-03812477E728}"/>
                </a:ext>
              </a:extLst>
            </p:cNvPr>
            <p:cNvSpPr/>
            <p:nvPr/>
          </p:nvSpPr>
          <p:spPr>
            <a:xfrm>
              <a:off x="2238648" y="460404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0" name="Elipse 5409">
              <a:extLst>
                <a:ext uri="{FF2B5EF4-FFF2-40B4-BE49-F238E27FC236}">
                  <a16:creationId xmlns:a16="http://schemas.microsoft.com/office/drawing/2014/main" id="{9CA86208-DC00-C9A2-3BF4-E736DC89C412}"/>
                </a:ext>
              </a:extLst>
            </p:cNvPr>
            <p:cNvSpPr/>
            <p:nvPr/>
          </p:nvSpPr>
          <p:spPr>
            <a:xfrm>
              <a:off x="2416771" y="469431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1" name="Elipse 5410">
              <a:extLst>
                <a:ext uri="{FF2B5EF4-FFF2-40B4-BE49-F238E27FC236}">
                  <a16:creationId xmlns:a16="http://schemas.microsoft.com/office/drawing/2014/main" id="{A9CCD4AB-4ABD-87AE-89A5-1E55311CB3F7}"/>
                </a:ext>
              </a:extLst>
            </p:cNvPr>
            <p:cNvSpPr/>
            <p:nvPr/>
          </p:nvSpPr>
          <p:spPr>
            <a:xfrm>
              <a:off x="2604875" y="475155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2" name="Elipse 5411">
              <a:extLst>
                <a:ext uri="{FF2B5EF4-FFF2-40B4-BE49-F238E27FC236}">
                  <a16:creationId xmlns:a16="http://schemas.microsoft.com/office/drawing/2014/main" id="{4F970A4A-4AAA-0191-A606-74414C9A49BE}"/>
                </a:ext>
              </a:extLst>
            </p:cNvPr>
            <p:cNvSpPr/>
            <p:nvPr/>
          </p:nvSpPr>
          <p:spPr>
            <a:xfrm>
              <a:off x="2799270" y="475968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309" name="TextBox 24">
            <a:extLst>
              <a:ext uri="{FF2B5EF4-FFF2-40B4-BE49-F238E27FC236}">
                <a16:creationId xmlns:a16="http://schemas.microsoft.com/office/drawing/2014/main" id="{6F3CAB09-592D-5B2B-835F-6AD29BEB309A}"/>
              </a:ext>
            </a:extLst>
          </p:cNvPr>
          <p:cNvSpPr txBox="1"/>
          <p:nvPr/>
        </p:nvSpPr>
        <p:spPr>
          <a:xfrm>
            <a:off x="4649579" y="241102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10" name="TextBox 24">
            <a:extLst>
              <a:ext uri="{FF2B5EF4-FFF2-40B4-BE49-F238E27FC236}">
                <a16:creationId xmlns:a16="http://schemas.microsoft.com/office/drawing/2014/main" id="{BD398196-4B8C-9C0A-10F5-6373692A9642}"/>
              </a:ext>
            </a:extLst>
          </p:cNvPr>
          <p:cNvSpPr txBox="1"/>
          <p:nvPr/>
        </p:nvSpPr>
        <p:spPr>
          <a:xfrm>
            <a:off x="4649579" y="207671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11" name="TextBox 24">
            <a:extLst>
              <a:ext uri="{FF2B5EF4-FFF2-40B4-BE49-F238E27FC236}">
                <a16:creationId xmlns:a16="http://schemas.microsoft.com/office/drawing/2014/main" id="{78641DF8-84B3-BDDB-C803-66CE12725326}"/>
              </a:ext>
            </a:extLst>
          </p:cNvPr>
          <p:cNvSpPr txBox="1"/>
          <p:nvPr/>
        </p:nvSpPr>
        <p:spPr>
          <a:xfrm>
            <a:off x="4649579" y="1510262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12" name="TextBox 24">
            <a:extLst>
              <a:ext uri="{FF2B5EF4-FFF2-40B4-BE49-F238E27FC236}">
                <a16:creationId xmlns:a16="http://schemas.microsoft.com/office/drawing/2014/main" id="{CAE05614-9051-66C7-2B44-06CB21595B5A}"/>
              </a:ext>
            </a:extLst>
          </p:cNvPr>
          <p:cNvSpPr txBox="1"/>
          <p:nvPr/>
        </p:nvSpPr>
        <p:spPr>
          <a:xfrm>
            <a:off x="4649579" y="5252068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414" name="Grupo 5413">
            <a:extLst>
              <a:ext uri="{FF2B5EF4-FFF2-40B4-BE49-F238E27FC236}">
                <a16:creationId xmlns:a16="http://schemas.microsoft.com/office/drawing/2014/main" id="{946027C4-2735-C2D5-72AC-79CDDE017EA9}"/>
              </a:ext>
            </a:extLst>
          </p:cNvPr>
          <p:cNvGrpSpPr/>
          <p:nvPr/>
        </p:nvGrpSpPr>
        <p:grpSpPr>
          <a:xfrm>
            <a:off x="8208916" y="2759200"/>
            <a:ext cx="2185863" cy="2186887"/>
            <a:chOff x="1777562" y="2759200"/>
            <a:chExt cx="2185863" cy="2186887"/>
          </a:xfrm>
        </p:grpSpPr>
        <p:sp>
          <p:nvSpPr>
            <p:cNvPr id="5419" name="Elipse 5418">
              <a:extLst>
                <a:ext uri="{FF2B5EF4-FFF2-40B4-BE49-F238E27FC236}">
                  <a16:creationId xmlns:a16="http://schemas.microsoft.com/office/drawing/2014/main" id="{FAD9107C-4D2C-61C3-0C78-D92BEE652F1C}"/>
                </a:ext>
              </a:extLst>
            </p:cNvPr>
            <p:cNvSpPr/>
            <p:nvPr/>
          </p:nvSpPr>
          <p:spPr>
            <a:xfrm>
              <a:off x="2933991" y="352186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0" name="Elipse 5419">
              <a:extLst>
                <a:ext uri="{FF2B5EF4-FFF2-40B4-BE49-F238E27FC236}">
                  <a16:creationId xmlns:a16="http://schemas.microsoft.com/office/drawing/2014/main" id="{4AA8BFDB-2DD7-C04D-94F5-89BF8F1C0372}"/>
                </a:ext>
              </a:extLst>
            </p:cNvPr>
            <p:cNvSpPr/>
            <p:nvPr/>
          </p:nvSpPr>
          <p:spPr>
            <a:xfrm>
              <a:off x="2891129" y="33259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1" name="Elipse 5420">
              <a:extLst>
                <a:ext uri="{FF2B5EF4-FFF2-40B4-BE49-F238E27FC236}">
                  <a16:creationId xmlns:a16="http://schemas.microsoft.com/office/drawing/2014/main" id="{25AAE75E-9D0B-2035-989B-15725FD28A30}"/>
                </a:ext>
              </a:extLst>
            </p:cNvPr>
            <p:cNvSpPr/>
            <p:nvPr/>
          </p:nvSpPr>
          <p:spPr>
            <a:xfrm>
              <a:off x="2729162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2" name="Elipse 5421">
              <a:extLst>
                <a:ext uri="{FF2B5EF4-FFF2-40B4-BE49-F238E27FC236}">
                  <a16:creationId xmlns:a16="http://schemas.microsoft.com/office/drawing/2014/main" id="{B7035741-4EC6-E034-9240-12ECEAA1A5E9}"/>
                </a:ext>
              </a:extLst>
            </p:cNvPr>
            <p:cNvSpPr/>
            <p:nvPr/>
          </p:nvSpPr>
          <p:spPr>
            <a:xfrm>
              <a:off x="2948861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3" name="Elipse 5422">
              <a:extLst>
                <a:ext uri="{FF2B5EF4-FFF2-40B4-BE49-F238E27FC236}">
                  <a16:creationId xmlns:a16="http://schemas.microsoft.com/office/drawing/2014/main" id="{3895937A-5F22-25D0-0842-A88983805375}"/>
                </a:ext>
              </a:extLst>
            </p:cNvPr>
            <p:cNvSpPr/>
            <p:nvPr/>
          </p:nvSpPr>
          <p:spPr>
            <a:xfrm>
              <a:off x="2545139" y="284101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4" name="Elipse 5423">
              <a:extLst>
                <a:ext uri="{FF2B5EF4-FFF2-40B4-BE49-F238E27FC236}">
                  <a16:creationId xmlns:a16="http://schemas.microsoft.com/office/drawing/2014/main" id="{6FCD9101-13D1-36C6-1AED-7C7805C29B39}"/>
                </a:ext>
              </a:extLst>
            </p:cNvPr>
            <p:cNvSpPr/>
            <p:nvPr/>
          </p:nvSpPr>
          <p:spPr>
            <a:xfrm>
              <a:off x="2344469" y="28453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5" name="Elipse 5424">
              <a:extLst>
                <a:ext uri="{FF2B5EF4-FFF2-40B4-BE49-F238E27FC236}">
                  <a16:creationId xmlns:a16="http://schemas.microsoft.com/office/drawing/2014/main" id="{29C699D6-7BB3-12E5-C97F-7DB50EA0CC9B}"/>
                </a:ext>
              </a:extLst>
            </p:cNvPr>
            <p:cNvSpPr/>
            <p:nvPr/>
          </p:nvSpPr>
          <p:spPr>
            <a:xfrm>
              <a:off x="2177545" y="294798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6" name="Elipse 5425">
              <a:extLst>
                <a:ext uri="{FF2B5EF4-FFF2-40B4-BE49-F238E27FC236}">
                  <a16:creationId xmlns:a16="http://schemas.microsoft.com/office/drawing/2014/main" id="{AEFA1069-130D-BF0B-D138-4BC3E29C49AB}"/>
                </a:ext>
              </a:extLst>
            </p:cNvPr>
            <p:cNvSpPr/>
            <p:nvPr/>
          </p:nvSpPr>
          <p:spPr>
            <a:xfrm>
              <a:off x="2065626" y="31228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7" name="Elipse 5426">
              <a:extLst>
                <a:ext uri="{FF2B5EF4-FFF2-40B4-BE49-F238E27FC236}">
                  <a16:creationId xmlns:a16="http://schemas.microsoft.com/office/drawing/2014/main" id="{86CC3B86-247D-F913-38AD-943307CF242F}"/>
                </a:ext>
              </a:extLst>
            </p:cNvPr>
            <p:cNvSpPr/>
            <p:nvPr/>
          </p:nvSpPr>
          <p:spPr>
            <a:xfrm>
              <a:off x="2275509" y="312757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8" name="Elipse 5427">
              <a:extLst>
                <a:ext uri="{FF2B5EF4-FFF2-40B4-BE49-F238E27FC236}">
                  <a16:creationId xmlns:a16="http://schemas.microsoft.com/office/drawing/2014/main" id="{39116428-363D-1A9E-7BAB-7A52EA68C139}"/>
                </a:ext>
              </a:extLst>
            </p:cNvPr>
            <p:cNvSpPr/>
            <p:nvPr/>
          </p:nvSpPr>
          <p:spPr>
            <a:xfrm>
              <a:off x="2457376" y="30239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9" name="Elipse 5428">
              <a:extLst>
                <a:ext uri="{FF2B5EF4-FFF2-40B4-BE49-F238E27FC236}">
                  <a16:creationId xmlns:a16="http://schemas.microsoft.com/office/drawing/2014/main" id="{3E17386A-35FB-5F00-95D4-3AE3C355A4BD}"/>
                </a:ext>
              </a:extLst>
            </p:cNvPr>
            <p:cNvSpPr/>
            <p:nvPr/>
          </p:nvSpPr>
          <p:spPr>
            <a:xfrm>
              <a:off x="2639276" y="30722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0" name="Elipse 5429">
              <a:extLst>
                <a:ext uri="{FF2B5EF4-FFF2-40B4-BE49-F238E27FC236}">
                  <a16:creationId xmlns:a16="http://schemas.microsoft.com/office/drawing/2014/main" id="{2A42C3AD-B223-7521-9781-B027576B09E2}"/>
                </a:ext>
              </a:extLst>
            </p:cNvPr>
            <p:cNvSpPr/>
            <p:nvPr/>
          </p:nvSpPr>
          <p:spPr>
            <a:xfrm>
              <a:off x="2805884" y="29368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1" name="Elipse 5430">
              <a:extLst>
                <a:ext uri="{FF2B5EF4-FFF2-40B4-BE49-F238E27FC236}">
                  <a16:creationId xmlns:a16="http://schemas.microsoft.com/office/drawing/2014/main" id="{4D042C27-5FD0-D81C-DEB8-34175DB1ACE8}"/>
                </a:ext>
              </a:extLst>
            </p:cNvPr>
            <p:cNvSpPr/>
            <p:nvPr/>
          </p:nvSpPr>
          <p:spPr>
            <a:xfrm>
              <a:off x="3003043" y="296637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2" name="Elipse 5431">
              <a:extLst>
                <a:ext uri="{FF2B5EF4-FFF2-40B4-BE49-F238E27FC236}">
                  <a16:creationId xmlns:a16="http://schemas.microsoft.com/office/drawing/2014/main" id="{160E7C58-BD4D-43D7-6713-75F53D94AEDD}"/>
                </a:ext>
              </a:extLst>
            </p:cNvPr>
            <p:cNvSpPr/>
            <p:nvPr/>
          </p:nvSpPr>
          <p:spPr>
            <a:xfrm>
              <a:off x="3154392" y="28332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3" name="Elipse 5432">
              <a:extLst>
                <a:ext uri="{FF2B5EF4-FFF2-40B4-BE49-F238E27FC236}">
                  <a16:creationId xmlns:a16="http://schemas.microsoft.com/office/drawing/2014/main" id="{5D715063-6985-B2E0-FF75-6E43DDE2E3C5}"/>
                </a:ext>
              </a:extLst>
            </p:cNvPr>
            <p:cNvSpPr/>
            <p:nvPr/>
          </p:nvSpPr>
          <p:spPr>
            <a:xfrm>
              <a:off x="3328459" y="29150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4" name="Elipse 5433">
              <a:extLst>
                <a:ext uri="{FF2B5EF4-FFF2-40B4-BE49-F238E27FC236}">
                  <a16:creationId xmlns:a16="http://schemas.microsoft.com/office/drawing/2014/main" id="{56F19CC9-FA76-9E0D-7563-4FBEC10D637B}"/>
                </a:ext>
              </a:extLst>
            </p:cNvPr>
            <p:cNvSpPr/>
            <p:nvPr/>
          </p:nvSpPr>
          <p:spPr>
            <a:xfrm>
              <a:off x="3180957" y="30476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5" name="Elipse 5434">
              <a:extLst>
                <a:ext uri="{FF2B5EF4-FFF2-40B4-BE49-F238E27FC236}">
                  <a16:creationId xmlns:a16="http://schemas.microsoft.com/office/drawing/2014/main" id="{30F3B6B9-4388-9C26-0AA9-3BD4CFF38B3D}"/>
                </a:ext>
              </a:extLst>
            </p:cNvPr>
            <p:cNvSpPr/>
            <p:nvPr/>
          </p:nvSpPr>
          <p:spPr>
            <a:xfrm>
              <a:off x="2841194" y="31347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6" name="Elipse 5435">
              <a:extLst>
                <a:ext uri="{FF2B5EF4-FFF2-40B4-BE49-F238E27FC236}">
                  <a16:creationId xmlns:a16="http://schemas.microsoft.com/office/drawing/2014/main" id="{CE7A29E0-3FD1-07E4-E319-E28A6D8D1ACE}"/>
                </a:ext>
              </a:extLst>
            </p:cNvPr>
            <p:cNvSpPr/>
            <p:nvPr/>
          </p:nvSpPr>
          <p:spPr>
            <a:xfrm>
              <a:off x="3037301" y="31880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7" name="Elipse 5436">
              <a:extLst>
                <a:ext uri="{FF2B5EF4-FFF2-40B4-BE49-F238E27FC236}">
                  <a16:creationId xmlns:a16="http://schemas.microsoft.com/office/drawing/2014/main" id="{A529D527-A6B2-05AC-CB31-0BC45F2E8D05}"/>
                </a:ext>
              </a:extLst>
            </p:cNvPr>
            <p:cNvSpPr/>
            <p:nvPr/>
          </p:nvSpPr>
          <p:spPr>
            <a:xfrm>
              <a:off x="3369353" y="31109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8" name="Elipse 5437">
              <a:extLst>
                <a:ext uri="{FF2B5EF4-FFF2-40B4-BE49-F238E27FC236}">
                  <a16:creationId xmlns:a16="http://schemas.microsoft.com/office/drawing/2014/main" id="{57E84807-D3F1-0125-85A2-0C97E74AFBEC}"/>
                </a:ext>
              </a:extLst>
            </p:cNvPr>
            <p:cNvSpPr/>
            <p:nvPr/>
          </p:nvSpPr>
          <p:spPr>
            <a:xfrm>
              <a:off x="3569303" y="313956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9" name="Elipse 5438">
              <a:extLst>
                <a:ext uri="{FF2B5EF4-FFF2-40B4-BE49-F238E27FC236}">
                  <a16:creationId xmlns:a16="http://schemas.microsoft.com/office/drawing/2014/main" id="{AF5A5891-A7C8-5B29-AD2F-18ACECD60003}"/>
                </a:ext>
              </a:extLst>
            </p:cNvPr>
            <p:cNvSpPr/>
            <p:nvPr/>
          </p:nvSpPr>
          <p:spPr>
            <a:xfrm>
              <a:off x="3419280" y="331403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0" name="Elipse 5439">
              <a:extLst>
                <a:ext uri="{FF2B5EF4-FFF2-40B4-BE49-F238E27FC236}">
                  <a16:creationId xmlns:a16="http://schemas.microsoft.com/office/drawing/2014/main" id="{A6DF44BC-2904-A3D7-263F-188B266982DF}"/>
                </a:ext>
              </a:extLst>
            </p:cNvPr>
            <p:cNvSpPr/>
            <p:nvPr/>
          </p:nvSpPr>
          <p:spPr>
            <a:xfrm>
              <a:off x="3233408" y="325169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1" name="Elipse 5440">
              <a:extLst>
                <a:ext uri="{FF2B5EF4-FFF2-40B4-BE49-F238E27FC236}">
                  <a16:creationId xmlns:a16="http://schemas.microsoft.com/office/drawing/2014/main" id="{F9D53B38-7547-AE2B-644A-0DC7878F245A}"/>
                </a:ext>
              </a:extLst>
            </p:cNvPr>
            <p:cNvSpPr/>
            <p:nvPr/>
          </p:nvSpPr>
          <p:spPr>
            <a:xfrm>
              <a:off x="2697931" y="326309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2" name="Elipse 5441">
              <a:extLst>
                <a:ext uri="{FF2B5EF4-FFF2-40B4-BE49-F238E27FC236}">
                  <a16:creationId xmlns:a16="http://schemas.microsoft.com/office/drawing/2014/main" id="{675654F0-4346-934C-CB0A-1D5EFBA7DE7F}"/>
                </a:ext>
              </a:extLst>
            </p:cNvPr>
            <p:cNvSpPr/>
            <p:nvPr/>
          </p:nvSpPr>
          <p:spPr>
            <a:xfrm>
              <a:off x="2512197" y="32109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3" name="Elipse 5442">
              <a:extLst>
                <a:ext uri="{FF2B5EF4-FFF2-40B4-BE49-F238E27FC236}">
                  <a16:creationId xmlns:a16="http://schemas.microsoft.com/office/drawing/2014/main" id="{50A3B125-6B0C-5784-F0D0-44BB0CF98700}"/>
                </a:ext>
              </a:extLst>
            </p:cNvPr>
            <p:cNvSpPr/>
            <p:nvPr/>
          </p:nvSpPr>
          <p:spPr>
            <a:xfrm>
              <a:off x="2362036" y="334903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4" name="Elipse 5443">
              <a:extLst>
                <a:ext uri="{FF2B5EF4-FFF2-40B4-BE49-F238E27FC236}">
                  <a16:creationId xmlns:a16="http://schemas.microsoft.com/office/drawing/2014/main" id="{8473F447-0B08-9938-C366-7BF0F27A9819}"/>
                </a:ext>
              </a:extLst>
            </p:cNvPr>
            <p:cNvSpPr/>
            <p:nvPr/>
          </p:nvSpPr>
          <p:spPr>
            <a:xfrm>
              <a:off x="2166061" y="328883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5" name="Elipse 5444">
              <a:extLst>
                <a:ext uri="{FF2B5EF4-FFF2-40B4-BE49-F238E27FC236}">
                  <a16:creationId xmlns:a16="http://schemas.microsoft.com/office/drawing/2014/main" id="{4EBBAB0E-4FDB-A9FF-52B8-8518F629C4D7}"/>
                </a:ext>
              </a:extLst>
            </p:cNvPr>
            <p:cNvSpPr/>
            <p:nvPr/>
          </p:nvSpPr>
          <p:spPr>
            <a:xfrm>
              <a:off x="1913204" y="323656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6" name="Elipse 5445">
              <a:extLst>
                <a:ext uri="{FF2B5EF4-FFF2-40B4-BE49-F238E27FC236}">
                  <a16:creationId xmlns:a16="http://schemas.microsoft.com/office/drawing/2014/main" id="{00F18B97-E711-847F-BD98-A5CB62E60AFC}"/>
                </a:ext>
              </a:extLst>
            </p:cNvPr>
            <p:cNvSpPr/>
            <p:nvPr/>
          </p:nvSpPr>
          <p:spPr>
            <a:xfrm>
              <a:off x="1826691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7" name="Elipse 5446">
              <a:extLst>
                <a:ext uri="{FF2B5EF4-FFF2-40B4-BE49-F238E27FC236}">
                  <a16:creationId xmlns:a16="http://schemas.microsoft.com/office/drawing/2014/main" id="{305B40FF-8E91-C454-99DC-9569E1E0900C}"/>
                </a:ext>
              </a:extLst>
            </p:cNvPr>
            <p:cNvSpPr/>
            <p:nvPr/>
          </p:nvSpPr>
          <p:spPr>
            <a:xfrm>
              <a:off x="2030116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8" name="Elipse 5447">
              <a:extLst>
                <a:ext uri="{FF2B5EF4-FFF2-40B4-BE49-F238E27FC236}">
                  <a16:creationId xmlns:a16="http://schemas.microsoft.com/office/drawing/2014/main" id="{3932C1B5-FE73-FA0A-5DFA-D641D91ACFCD}"/>
                </a:ext>
              </a:extLst>
            </p:cNvPr>
            <p:cNvSpPr/>
            <p:nvPr/>
          </p:nvSpPr>
          <p:spPr>
            <a:xfrm>
              <a:off x="2217307" y="348880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9" name="Elipse 5448">
              <a:extLst>
                <a:ext uri="{FF2B5EF4-FFF2-40B4-BE49-F238E27FC236}">
                  <a16:creationId xmlns:a16="http://schemas.microsoft.com/office/drawing/2014/main" id="{1FDA3B44-4087-03CA-CEB6-20DC082DCADD}"/>
                </a:ext>
              </a:extLst>
            </p:cNvPr>
            <p:cNvSpPr/>
            <p:nvPr/>
          </p:nvSpPr>
          <p:spPr>
            <a:xfrm>
              <a:off x="2413192" y="35442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0" name="Elipse 5449">
              <a:extLst>
                <a:ext uri="{FF2B5EF4-FFF2-40B4-BE49-F238E27FC236}">
                  <a16:creationId xmlns:a16="http://schemas.microsoft.com/office/drawing/2014/main" id="{D203EC69-9686-7BA6-B17E-0C7619A2B9BD}"/>
                </a:ext>
              </a:extLst>
            </p:cNvPr>
            <p:cNvSpPr/>
            <p:nvPr/>
          </p:nvSpPr>
          <p:spPr>
            <a:xfrm>
              <a:off x="2551363" y="3409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1" name="Elipse 5450">
              <a:extLst>
                <a:ext uri="{FF2B5EF4-FFF2-40B4-BE49-F238E27FC236}">
                  <a16:creationId xmlns:a16="http://schemas.microsoft.com/office/drawing/2014/main" id="{78F54ADA-82A8-4F13-D43C-11A7F76D7629}"/>
                </a:ext>
              </a:extLst>
            </p:cNvPr>
            <p:cNvSpPr/>
            <p:nvPr/>
          </p:nvSpPr>
          <p:spPr>
            <a:xfrm>
              <a:off x="2748730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2" name="Elipse 5451">
              <a:extLst>
                <a:ext uri="{FF2B5EF4-FFF2-40B4-BE49-F238E27FC236}">
                  <a16:creationId xmlns:a16="http://schemas.microsoft.com/office/drawing/2014/main" id="{2FEC851D-39EB-BA3D-7661-A8397561F320}"/>
                </a:ext>
              </a:extLst>
            </p:cNvPr>
            <p:cNvSpPr/>
            <p:nvPr/>
          </p:nvSpPr>
          <p:spPr>
            <a:xfrm>
              <a:off x="3077356" y="33862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3" name="Elipse 5452">
              <a:extLst>
                <a:ext uri="{FF2B5EF4-FFF2-40B4-BE49-F238E27FC236}">
                  <a16:creationId xmlns:a16="http://schemas.microsoft.com/office/drawing/2014/main" id="{143B15F0-D978-D1C2-9DAC-E0D853DE3757}"/>
                </a:ext>
              </a:extLst>
            </p:cNvPr>
            <p:cNvSpPr/>
            <p:nvPr/>
          </p:nvSpPr>
          <p:spPr>
            <a:xfrm>
              <a:off x="3276151" y="34422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4" name="Elipse 5453">
              <a:extLst>
                <a:ext uri="{FF2B5EF4-FFF2-40B4-BE49-F238E27FC236}">
                  <a16:creationId xmlns:a16="http://schemas.microsoft.com/office/drawing/2014/main" id="{12E9D800-9D14-8831-A391-B4426601BF41}"/>
                </a:ext>
              </a:extLst>
            </p:cNvPr>
            <p:cNvSpPr/>
            <p:nvPr/>
          </p:nvSpPr>
          <p:spPr>
            <a:xfrm>
              <a:off x="3541176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5" name="Elipse 5454">
              <a:extLst>
                <a:ext uri="{FF2B5EF4-FFF2-40B4-BE49-F238E27FC236}">
                  <a16:creationId xmlns:a16="http://schemas.microsoft.com/office/drawing/2014/main" id="{44BA5A7D-310E-1F7B-E4D8-30853DFAE65C}"/>
                </a:ext>
              </a:extLst>
            </p:cNvPr>
            <p:cNvSpPr/>
            <p:nvPr/>
          </p:nvSpPr>
          <p:spPr>
            <a:xfrm>
              <a:off x="3676051" y="330423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6" name="Elipse 5455">
              <a:extLst>
                <a:ext uri="{FF2B5EF4-FFF2-40B4-BE49-F238E27FC236}">
                  <a16:creationId xmlns:a16="http://schemas.microsoft.com/office/drawing/2014/main" id="{8BE86666-2BE8-4F62-625D-BFFBA31A6E75}"/>
                </a:ext>
              </a:extLst>
            </p:cNvPr>
            <p:cNvSpPr/>
            <p:nvPr/>
          </p:nvSpPr>
          <p:spPr>
            <a:xfrm>
              <a:off x="3748564" y="35120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7" name="Elipse 5456">
              <a:extLst>
                <a:ext uri="{FF2B5EF4-FFF2-40B4-BE49-F238E27FC236}">
                  <a16:creationId xmlns:a16="http://schemas.microsoft.com/office/drawing/2014/main" id="{544EECBA-A4AD-643C-EE05-0B1D89C3550B}"/>
                </a:ext>
              </a:extLst>
            </p:cNvPr>
            <p:cNvSpPr/>
            <p:nvPr/>
          </p:nvSpPr>
          <p:spPr>
            <a:xfrm>
              <a:off x="3396777" y="360004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8" name="Elipse 5457">
              <a:extLst>
                <a:ext uri="{FF2B5EF4-FFF2-40B4-BE49-F238E27FC236}">
                  <a16:creationId xmlns:a16="http://schemas.microsoft.com/office/drawing/2014/main" id="{D1C20E58-D5FF-FFF1-41D2-C1CC5CE7FFA1}"/>
                </a:ext>
              </a:extLst>
            </p:cNvPr>
            <p:cNvSpPr/>
            <p:nvPr/>
          </p:nvSpPr>
          <p:spPr>
            <a:xfrm>
              <a:off x="3122810" y="357315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9" name="Elipse 5458">
              <a:extLst>
                <a:ext uri="{FF2B5EF4-FFF2-40B4-BE49-F238E27FC236}">
                  <a16:creationId xmlns:a16="http://schemas.microsoft.com/office/drawing/2014/main" id="{D0741A62-64A2-9F66-51E5-16CA3A2FA395}"/>
                </a:ext>
              </a:extLst>
            </p:cNvPr>
            <p:cNvSpPr/>
            <p:nvPr/>
          </p:nvSpPr>
          <p:spPr>
            <a:xfrm>
              <a:off x="2788671" y="365748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0" name="Elipse 5459">
              <a:extLst>
                <a:ext uri="{FF2B5EF4-FFF2-40B4-BE49-F238E27FC236}">
                  <a16:creationId xmlns:a16="http://schemas.microsoft.com/office/drawing/2014/main" id="{C3C1F53A-A08F-705F-FF6A-EB27870C12C6}"/>
                </a:ext>
              </a:extLst>
            </p:cNvPr>
            <p:cNvSpPr/>
            <p:nvPr/>
          </p:nvSpPr>
          <p:spPr>
            <a:xfrm>
              <a:off x="2598061" y="35988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1" name="Elipse 5460">
              <a:extLst>
                <a:ext uri="{FF2B5EF4-FFF2-40B4-BE49-F238E27FC236}">
                  <a16:creationId xmlns:a16="http://schemas.microsoft.com/office/drawing/2014/main" id="{FE56F38B-CB14-619D-9F93-64F5C7C857C3}"/>
                </a:ext>
              </a:extLst>
            </p:cNvPr>
            <p:cNvSpPr/>
            <p:nvPr/>
          </p:nvSpPr>
          <p:spPr>
            <a:xfrm>
              <a:off x="1777562" y="36215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2" name="Elipse 5461">
              <a:extLst>
                <a:ext uri="{FF2B5EF4-FFF2-40B4-BE49-F238E27FC236}">
                  <a16:creationId xmlns:a16="http://schemas.microsoft.com/office/drawing/2014/main" id="{706519A5-7BF5-368B-DCF0-7050F89F00EA}"/>
                </a:ext>
              </a:extLst>
            </p:cNvPr>
            <p:cNvSpPr/>
            <p:nvPr/>
          </p:nvSpPr>
          <p:spPr>
            <a:xfrm>
              <a:off x="2069054" y="36173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3" name="Elipse 5462">
              <a:extLst>
                <a:ext uri="{FF2B5EF4-FFF2-40B4-BE49-F238E27FC236}">
                  <a16:creationId xmlns:a16="http://schemas.microsoft.com/office/drawing/2014/main" id="{30A1D227-2821-2FB2-EBF2-BCF637262C47}"/>
                </a:ext>
              </a:extLst>
            </p:cNvPr>
            <p:cNvSpPr/>
            <p:nvPr/>
          </p:nvSpPr>
          <p:spPr>
            <a:xfrm>
              <a:off x="1931059" y="375068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4" name="Elipse 5463">
              <a:extLst>
                <a:ext uri="{FF2B5EF4-FFF2-40B4-BE49-F238E27FC236}">
                  <a16:creationId xmlns:a16="http://schemas.microsoft.com/office/drawing/2014/main" id="{B106E4F3-DF31-8040-6540-BEC49DE41523}"/>
                </a:ext>
              </a:extLst>
            </p:cNvPr>
            <p:cNvSpPr/>
            <p:nvPr/>
          </p:nvSpPr>
          <p:spPr>
            <a:xfrm>
              <a:off x="1782324" y="388727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5" name="Elipse 5464">
              <a:extLst>
                <a:ext uri="{FF2B5EF4-FFF2-40B4-BE49-F238E27FC236}">
                  <a16:creationId xmlns:a16="http://schemas.microsoft.com/office/drawing/2014/main" id="{A8C1B825-7076-4FBD-6027-379AD174191B}"/>
                </a:ext>
              </a:extLst>
            </p:cNvPr>
            <p:cNvSpPr/>
            <p:nvPr/>
          </p:nvSpPr>
          <p:spPr>
            <a:xfrm>
              <a:off x="2259263" y="3679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6" name="Elipse 5465">
              <a:extLst>
                <a:ext uri="{FF2B5EF4-FFF2-40B4-BE49-F238E27FC236}">
                  <a16:creationId xmlns:a16="http://schemas.microsoft.com/office/drawing/2014/main" id="{36791F43-280A-6825-3DA7-71B963E028DE}"/>
                </a:ext>
              </a:extLst>
            </p:cNvPr>
            <p:cNvSpPr/>
            <p:nvPr/>
          </p:nvSpPr>
          <p:spPr>
            <a:xfrm>
              <a:off x="2444720" y="373065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7" name="Elipse 5466">
              <a:extLst>
                <a:ext uri="{FF2B5EF4-FFF2-40B4-BE49-F238E27FC236}">
                  <a16:creationId xmlns:a16="http://schemas.microsoft.com/office/drawing/2014/main" id="{5ACB02EE-389C-7852-FE2F-0568F709C6F9}"/>
                </a:ext>
              </a:extLst>
            </p:cNvPr>
            <p:cNvSpPr/>
            <p:nvPr/>
          </p:nvSpPr>
          <p:spPr>
            <a:xfrm>
              <a:off x="2639180" y="378769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8" name="Elipse 5467">
              <a:extLst>
                <a:ext uri="{FF2B5EF4-FFF2-40B4-BE49-F238E27FC236}">
                  <a16:creationId xmlns:a16="http://schemas.microsoft.com/office/drawing/2014/main" id="{10359BC1-46EA-6933-8ABF-F8A00E64625E}"/>
                </a:ext>
              </a:extLst>
            </p:cNvPr>
            <p:cNvSpPr/>
            <p:nvPr/>
          </p:nvSpPr>
          <p:spPr>
            <a:xfrm>
              <a:off x="2836789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9" name="Elipse 5468">
              <a:extLst>
                <a:ext uri="{FF2B5EF4-FFF2-40B4-BE49-F238E27FC236}">
                  <a16:creationId xmlns:a16="http://schemas.microsoft.com/office/drawing/2014/main" id="{4EC24343-28DF-18E4-6380-740DAB97F778}"/>
                </a:ext>
              </a:extLst>
            </p:cNvPr>
            <p:cNvSpPr/>
            <p:nvPr/>
          </p:nvSpPr>
          <p:spPr>
            <a:xfrm>
              <a:off x="2977483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0" name="Elipse 5469">
              <a:extLst>
                <a:ext uri="{FF2B5EF4-FFF2-40B4-BE49-F238E27FC236}">
                  <a16:creationId xmlns:a16="http://schemas.microsoft.com/office/drawing/2014/main" id="{919AEB61-320D-03F5-F8CF-44551F35D530}"/>
                </a:ext>
              </a:extLst>
            </p:cNvPr>
            <p:cNvSpPr/>
            <p:nvPr/>
          </p:nvSpPr>
          <p:spPr>
            <a:xfrm>
              <a:off x="3170558" y="37728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1" name="Elipse 5470">
              <a:extLst>
                <a:ext uri="{FF2B5EF4-FFF2-40B4-BE49-F238E27FC236}">
                  <a16:creationId xmlns:a16="http://schemas.microsoft.com/office/drawing/2014/main" id="{6EB97D8B-FD4F-AD90-6870-742E77B176D9}"/>
                </a:ext>
              </a:extLst>
            </p:cNvPr>
            <p:cNvSpPr/>
            <p:nvPr/>
          </p:nvSpPr>
          <p:spPr>
            <a:xfrm>
              <a:off x="3365954" y="3791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2" name="Elipse 5471">
              <a:extLst>
                <a:ext uri="{FF2B5EF4-FFF2-40B4-BE49-F238E27FC236}">
                  <a16:creationId xmlns:a16="http://schemas.microsoft.com/office/drawing/2014/main" id="{B948C255-E137-CF1D-50D1-76B5877FCEE3}"/>
                </a:ext>
              </a:extLst>
            </p:cNvPr>
            <p:cNvSpPr/>
            <p:nvPr/>
          </p:nvSpPr>
          <p:spPr>
            <a:xfrm>
              <a:off x="3589852" y="36529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3" name="Elipse 5472">
              <a:extLst>
                <a:ext uri="{FF2B5EF4-FFF2-40B4-BE49-F238E27FC236}">
                  <a16:creationId xmlns:a16="http://schemas.microsoft.com/office/drawing/2014/main" id="{5A981ECB-3636-CAC1-54A9-1259CCFAE44B}"/>
                </a:ext>
              </a:extLst>
            </p:cNvPr>
            <p:cNvSpPr/>
            <p:nvPr/>
          </p:nvSpPr>
          <p:spPr>
            <a:xfrm>
              <a:off x="3777021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4" name="Elipse 5473">
              <a:extLst>
                <a:ext uri="{FF2B5EF4-FFF2-40B4-BE49-F238E27FC236}">
                  <a16:creationId xmlns:a16="http://schemas.microsoft.com/office/drawing/2014/main" id="{4737F831-261B-CA1B-E5A8-57342899A807}"/>
                </a:ext>
              </a:extLst>
            </p:cNvPr>
            <p:cNvSpPr/>
            <p:nvPr/>
          </p:nvSpPr>
          <p:spPr>
            <a:xfrm>
              <a:off x="3767163" y="391322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5" name="Elipse 5474">
              <a:extLst>
                <a:ext uri="{FF2B5EF4-FFF2-40B4-BE49-F238E27FC236}">
                  <a16:creationId xmlns:a16="http://schemas.microsoft.com/office/drawing/2014/main" id="{722A29DA-DAE6-0189-6FE3-C6DBE8554271}"/>
                </a:ext>
              </a:extLst>
            </p:cNvPr>
            <p:cNvSpPr/>
            <p:nvPr/>
          </p:nvSpPr>
          <p:spPr>
            <a:xfrm>
              <a:off x="3561350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6" name="Elipse 5475">
              <a:extLst>
                <a:ext uri="{FF2B5EF4-FFF2-40B4-BE49-F238E27FC236}">
                  <a16:creationId xmlns:a16="http://schemas.microsoft.com/office/drawing/2014/main" id="{29BE994B-A57B-7444-3419-FB40F94B1AE8}"/>
                </a:ext>
              </a:extLst>
            </p:cNvPr>
            <p:cNvSpPr/>
            <p:nvPr/>
          </p:nvSpPr>
          <p:spPr>
            <a:xfrm>
              <a:off x="3419280" y="3988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7" name="Elipse 5476">
              <a:extLst>
                <a:ext uri="{FF2B5EF4-FFF2-40B4-BE49-F238E27FC236}">
                  <a16:creationId xmlns:a16="http://schemas.microsoft.com/office/drawing/2014/main" id="{F3F1654D-8A17-5C5C-7FDB-255FE4D75559}"/>
                </a:ext>
              </a:extLst>
            </p:cNvPr>
            <p:cNvSpPr/>
            <p:nvPr/>
          </p:nvSpPr>
          <p:spPr>
            <a:xfrm>
              <a:off x="3610446" y="404319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8" name="Elipse 5477">
              <a:extLst>
                <a:ext uri="{FF2B5EF4-FFF2-40B4-BE49-F238E27FC236}">
                  <a16:creationId xmlns:a16="http://schemas.microsoft.com/office/drawing/2014/main" id="{A7AAC196-8FCE-9D40-DAE4-171CB900CC20}"/>
                </a:ext>
              </a:extLst>
            </p:cNvPr>
            <p:cNvSpPr/>
            <p:nvPr/>
          </p:nvSpPr>
          <p:spPr>
            <a:xfrm>
              <a:off x="3660124" y="4235201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9" name="Elipse 5478">
              <a:extLst>
                <a:ext uri="{FF2B5EF4-FFF2-40B4-BE49-F238E27FC236}">
                  <a16:creationId xmlns:a16="http://schemas.microsoft.com/office/drawing/2014/main" id="{73468B93-F8C6-A51A-5D08-A2CF91A75510}"/>
                </a:ext>
              </a:extLst>
            </p:cNvPr>
            <p:cNvSpPr/>
            <p:nvPr/>
          </p:nvSpPr>
          <p:spPr>
            <a:xfrm>
              <a:off x="3469881" y="41798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0" name="Elipse 5479">
              <a:extLst>
                <a:ext uri="{FF2B5EF4-FFF2-40B4-BE49-F238E27FC236}">
                  <a16:creationId xmlns:a16="http://schemas.microsoft.com/office/drawing/2014/main" id="{CEC0DBF1-37A7-A064-9B5C-D5E14B30BB75}"/>
                </a:ext>
              </a:extLst>
            </p:cNvPr>
            <p:cNvSpPr/>
            <p:nvPr/>
          </p:nvSpPr>
          <p:spPr>
            <a:xfrm>
              <a:off x="3266109" y="41672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1" name="Elipse 5480">
              <a:extLst>
                <a:ext uri="{FF2B5EF4-FFF2-40B4-BE49-F238E27FC236}">
                  <a16:creationId xmlns:a16="http://schemas.microsoft.com/office/drawing/2014/main" id="{9513550E-2665-12EA-7D61-18B694ABC102}"/>
                </a:ext>
              </a:extLst>
            </p:cNvPr>
            <p:cNvSpPr/>
            <p:nvPr/>
          </p:nvSpPr>
          <p:spPr>
            <a:xfrm>
              <a:off x="3068946" y="40978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2" name="Elipse 5481">
              <a:extLst>
                <a:ext uri="{FF2B5EF4-FFF2-40B4-BE49-F238E27FC236}">
                  <a16:creationId xmlns:a16="http://schemas.microsoft.com/office/drawing/2014/main" id="{6E43A52C-56BF-0D8B-EB5B-8BD8A42F3C89}"/>
                </a:ext>
              </a:extLst>
            </p:cNvPr>
            <p:cNvSpPr/>
            <p:nvPr/>
          </p:nvSpPr>
          <p:spPr>
            <a:xfrm>
              <a:off x="3219346" y="396939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3" name="Elipse 5482">
              <a:extLst>
                <a:ext uri="{FF2B5EF4-FFF2-40B4-BE49-F238E27FC236}">
                  <a16:creationId xmlns:a16="http://schemas.microsoft.com/office/drawing/2014/main" id="{6837587C-A6D5-6B07-D0B7-BD10C35DCF12}"/>
                </a:ext>
              </a:extLst>
            </p:cNvPr>
            <p:cNvSpPr/>
            <p:nvPr/>
          </p:nvSpPr>
          <p:spPr>
            <a:xfrm>
              <a:off x="3020857" y="390753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4" name="Elipse 5483">
              <a:extLst>
                <a:ext uri="{FF2B5EF4-FFF2-40B4-BE49-F238E27FC236}">
                  <a16:creationId xmlns:a16="http://schemas.microsoft.com/office/drawing/2014/main" id="{DF410BE8-D233-DA9C-41FC-DFA22EA68A0C}"/>
                </a:ext>
              </a:extLst>
            </p:cNvPr>
            <p:cNvSpPr/>
            <p:nvPr/>
          </p:nvSpPr>
          <p:spPr>
            <a:xfrm>
              <a:off x="2879519" y="404265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5" name="Elipse 5484">
              <a:extLst>
                <a:ext uri="{FF2B5EF4-FFF2-40B4-BE49-F238E27FC236}">
                  <a16:creationId xmlns:a16="http://schemas.microsoft.com/office/drawing/2014/main" id="{DCD8DF72-EE68-15D3-ED64-81418E3D814A}"/>
                </a:ext>
              </a:extLst>
            </p:cNvPr>
            <p:cNvSpPr/>
            <p:nvPr/>
          </p:nvSpPr>
          <p:spPr>
            <a:xfrm>
              <a:off x="2685121" y="3985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6" name="Elipse 5485">
              <a:extLst>
                <a:ext uri="{FF2B5EF4-FFF2-40B4-BE49-F238E27FC236}">
                  <a16:creationId xmlns:a16="http://schemas.microsoft.com/office/drawing/2014/main" id="{BBBB52F3-A627-BB62-DDFE-CD280726BEE0}"/>
                </a:ext>
              </a:extLst>
            </p:cNvPr>
            <p:cNvSpPr/>
            <p:nvPr/>
          </p:nvSpPr>
          <p:spPr>
            <a:xfrm>
              <a:off x="2504859" y="392743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7" name="Elipse 5486">
              <a:extLst>
                <a:ext uri="{FF2B5EF4-FFF2-40B4-BE49-F238E27FC236}">
                  <a16:creationId xmlns:a16="http://schemas.microsoft.com/office/drawing/2014/main" id="{4F6E273C-1594-9478-E7C5-3DBA95B408AA}"/>
                </a:ext>
              </a:extLst>
            </p:cNvPr>
            <p:cNvSpPr/>
            <p:nvPr/>
          </p:nvSpPr>
          <p:spPr>
            <a:xfrm>
              <a:off x="2306143" y="386779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8" name="Elipse 5487">
              <a:extLst>
                <a:ext uri="{FF2B5EF4-FFF2-40B4-BE49-F238E27FC236}">
                  <a16:creationId xmlns:a16="http://schemas.microsoft.com/office/drawing/2014/main" id="{72F4B932-0C52-F96A-AFDF-E3E23859DA30}"/>
                </a:ext>
              </a:extLst>
            </p:cNvPr>
            <p:cNvSpPr/>
            <p:nvPr/>
          </p:nvSpPr>
          <p:spPr>
            <a:xfrm>
              <a:off x="2114206" y="38167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9" name="Elipse 5488">
              <a:extLst>
                <a:ext uri="{FF2B5EF4-FFF2-40B4-BE49-F238E27FC236}">
                  <a16:creationId xmlns:a16="http://schemas.microsoft.com/office/drawing/2014/main" id="{769EF3D1-2917-840A-42EB-6E2E91A8DC3B}"/>
                </a:ext>
              </a:extLst>
            </p:cNvPr>
            <p:cNvSpPr/>
            <p:nvPr/>
          </p:nvSpPr>
          <p:spPr>
            <a:xfrm>
              <a:off x="2156976" y="401348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0" name="Elipse 5489">
              <a:extLst>
                <a:ext uri="{FF2B5EF4-FFF2-40B4-BE49-F238E27FC236}">
                  <a16:creationId xmlns:a16="http://schemas.microsoft.com/office/drawing/2014/main" id="{1A28C9F2-E558-E7EA-1515-86B4742F7CD9}"/>
                </a:ext>
              </a:extLst>
            </p:cNvPr>
            <p:cNvSpPr/>
            <p:nvPr/>
          </p:nvSpPr>
          <p:spPr>
            <a:xfrm>
              <a:off x="1968586" y="3948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1" name="Elipse 5490">
              <a:extLst>
                <a:ext uri="{FF2B5EF4-FFF2-40B4-BE49-F238E27FC236}">
                  <a16:creationId xmlns:a16="http://schemas.microsoft.com/office/drawing/2014/main" id="{88C7A5D8-224A-0587-F9A4-B746936488AA}"/>
                </a:ext>
              </a:extLst>
            </p:cNvPr>
            <p:cNvSpPr/>
            <p:nvPr/>
          </p:nvSpPr>
          <p:spPr>
            <a:xfrm>
              <a:off x="1828723" y="408352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2" name="Elipse 5491">
              <a:extLst>
                <a:ext uri="{FF2B5EF4-FFF2-40B4-BE49-F238E27FC236}">
                  <a16:creationId xmlns:a16="http://schemas.microsoft.com/office/drawing/2014/main" id="{9255AED7-E581-3593-BC7A-E8E37FD03A32}"/>
                </a:ext>
              </a:extLst>
            </p:cNvPr>
            <p:cNvSpPr/>
            <p:nvPr/>
          </p:nvSpPr>
          <p:spPr>
            <a:xfrm>
              <a:off x="3547596" y="440151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3" name="Elipse 5492">
              <a:extLst>
                <a:ext uri="{FF2B5EF4-FFF2-40B4-BE49-F238E27FC236}">
                  <a16:creationId xmlns:a16="http://schemas.microsoft.com/office/drawing/2014/main" id="{47BFF3A1-5890-5138-C73E-FDACF628D7C7}"/>
                </a:ext>
              </a:extLst>
            </p:cNvPr>
            <p:cNvSpPr/>
            <p:nvPr/>
          </p:nvSpPr>
          <p:spPr>
            <a:xfrm>
              <a:off x="3356962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4" name="Elipse 5493">
              <a:extLst>
                <a:ext uri="{FF2B5EF4-FFF2-40B4-BE49-F238E27FC236}">
                  <a16:creationId xmlns:a16="http://schemas.microsoft.com/office/drawing/2014/main" id="{6BF641A2-2710-1DB9-8CF4-A3D896A29F1E}"/>
                </a:ext>
              </a:extLst>
            </p:cNvPr>
            <p:cNvSpPr/>
            <p:nvPr/>
          </p:nvSpPr>
          <p:spPr>
            <a:xfrm>
              <a:off x="3114528" y="429815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5" name="Elipse 5494">
              <a:extLst>
                <a:ext uri="{FF2B5EF4-FFF2-40B4-BE49-F238E27FC236}">
                  <a16:creationId xmlns:a16="http://schemas.microsoft.com/office/drawing/2014/main" id="{0DFB811C-B507-E6B1-E7F4-4CFB068A1F21}"/>
                </a:ext>
              </a:extLst>
            </p:cNvPr>
            <p:cNvSpPr/>
            <p:nvPr/>
          </p:nvSpPr>
          <p:spPr>
            <a:xfrm>
              <a:off x="2922159" y="42395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6" name="Elipse 5495">
              <a:extLst>
                <a:ext uri="{FF2B5EF4-FFF2-40B4-BE49-F238E27FC236}">
                  <a16:creationId xmlns:a16="http://schemas.microsoft.com/office/drawing/2014/main" id="{CE05731F-70A4-B9B6-8BFF-C8980832E388}"/>
                </a:ext>
              </a:extLst>
            </p:cNvPr>
            <p:cNvSpPr/>
            <p:nvPr/>
          </p:nvSpPr>
          <p:spPr>
            <a:xfrm>
              <a:off x="2733924" y="41863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7" name="Elipse 5496">
              <a:extLst>
                <a:ext uri="{FF2B5EF4-FFF2-40B4-BE49-F238E27FC236}">
                  <a16:creationId xmlns:a16="http://schemas.microsoft.com/office/drawing/2014/main" id="{088DA4AB-87B1-B071-AD52-CD6079C4E4FD}"/>
                </a:ext>
              </a:extLst>
            </p:cNvPr>
            <p:cNvSpPr/>
            <p:nvPr/>
          </p:nvSpPr>
          <p:spPr>
            <a:xfrm>
              <a:off x="2540670" y="412722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8" name="Elipse 5497">
              <a:extLst>
                <a:ext uri="{FF2B5EF4-FFF2-40B4-BE49-F238E27FC236}">
                  <a16:creationId xmlns:a16="http://schemas.microsoft.com/office/drawing/2014/main" id="{6FEB89CE-C255-4312-BB65-CD4CE4902E8E}"/>
                </a:ext>
              </a:extLst>
            </p:cNvPr>
            <p:cNvSpPr/>
            <p:nvPr/>
          </p:nvSpPr>
          <p:spPr>
            <a:xfrm>
              <a:off x="2350741" y="406735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9" name="Elipse 5498">
              <a:extLst>
                <a:ext uri="{FF2B5EF4-FFF2-40B4-BE49-F238E27FC236}">
                  <a16:creationId xmlns:a16="http://schemas.microsoft.com/office/drawing/2014/main" id="{71724986-D272-AB34-A288-E5294CFF1816}"/>
                </a:ext>
              </a:extLst>
            </p:cNvPr>
            <p:cNvSpPr/>
            <p:nvPr/>
          </p:nvSpPr>
          <p:spPr>
            <a:xfrm>
              <a:off x="2014737" y="414499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0" name="Elipse 5499">
              <a:extLst>
                <a:ext uri="{FF2B5EF4-FFF2-40B4-BE49-F238E27FC236}">
                  <a16:creationId xmlns:a16="http://schemas.microsoft.com/office/drawing/2014/main" id="{68051B42-736A-AFAC-CDCD-69858D6C3D8D}"/>
                </a:ext>
              </a:extLst>
            </p:cNvPr>
            <p:cNvSpPr/>
            <p:nvPr/>
          </p:nvSpPr>
          <p:spPr>
            <a:xfrm>
              <a:off x="1949550" y="432840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1" name="Elipse 5500">
              <a:extLst>
                <a:ext uri="{FF2B5EF4-FFF2-40B4-BE49-F238E27FC236}">
                  <a16:creationId xmlns:a16="http://schemas.microsoft.com/office/drawing/2014/main" id="{75354A8D-C5A7-E2F1-A346-7A6B28AEE921}"/>
                </a:ext>
              </a:extLst>
            </p:cNvPr>
            <p:cNvSpPr/>
            <p:nvPr/>
          </p:nvSpPr>
          <p:spPr>
            <a:xfrm>
              <a:off x="2197917" y="422204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2" name="Elipse 5501">
              <a:extLst>
                <a:ext uri="{FF2B5EF4-FFF2-40B4-BE49-F238E27FC236}">
                  <a16:creationId xmlns:a16="http://schemas.microsoft.com/office/drawing/2014/main" id="{7E51F51A-ACCF-7FE8-663A-BBAAFC60A314}"/>
                </a:ext>
              </a:extLst>
            </p:cNvPr>
            <p:cNvSpPr/>
            <p:nvPr/>
          </p:nvSpPr>
          <p:spPr>
            <a:xfrm>
              <a:off x="2399345" y="426049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3" name="Elipse 5502">
              <a:extLst>
                <a:ext uri="{FF2B5EF4-FFF2-40B4-BE49-F238E27FC236}">
                  <a16:creationId xmlns:a16="http://schemas.microsoft.com/office/drawing/2014/main" id="{5B951682-FF6B-C26D-0444-5F4CA664A6F8}"/>
                </a:ext>
              </a:extLst>
            </p:cNvPr>
            <p:cNvSpPr/>
            <p:nvPr/>
          </p:nvSpPr>
          <p:spPr>
            <a:xfrm>
              <a:off x="2566570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4" name="Elipse 5503">
              <a:extLst>
                <a:ext uri="{FF2B5EF4-FFF2-40B4-BE49-F238E27FC236}">
                  <a16:creationId xmlns:a16="http://schemas.microsoft.com/office/drawing/2014/main" id="{2AC310ED-955F-808A-C8CB-C3D7BA6CABB4}"/>
                </a:ext>
              </a:extLst>
            </p:cNvPr>
            <p:cNvSpPr/>
            <p:nvPr/>
          </p:nvSpPr>
          <p:spPr>
            <a:xfrm>
              <a:off x="2772300" y="438117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5" name="Elipse 5504">
              <a:extLst>
                <a:ext uri="{FF2B5EF4-FFF2-40B4-BE49-F238E27FC236}">
                  <a16:creationId xmlns:a16="http://schemas.microsoft.com/office/drawing/2014/main" id="{425AFD4E-6B4D-A749-D10C-2333A9995BDC}"/>
                </a:ext>
              </a:extLst>
            </p:cNvPr>
            <p:cNvSpPr/>
            <p:nvPr/>
          </p:nvSpPr>
          <p:spPr>
            <a:xfrm>
              <a:off x="3005095" y="44617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6" name="Elipse 5505">
              <a:extLst>
                <a:ext uri="{FF2B5EF4-FFF2-40B4-BE49-F238E27FC236}">
                  <a16:creationId xmlns:a16="http://schemas.microsoft.com/office/drawing/2014/main" id="{A2826779-FF54-092D-0640-5B73F0165771}"/>
                </a:ext>
              </a:extLst>
            </p:cNvPr>
            <p:cNvSpPr/>
            <p:nvPr/>
          </p:nvSpPr>
          <p:spPr>
            <a:xfrm>
              <a:off x="3206642" y="447437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7" name="Elipse 5506">
              <a:extLst>
                <a:ext uri="{FF2B5EF4-FFF2-40B4-BE49-F238E27FC236}">
                  <a16:creationId xmlns:a16="http://schemas.microsoft.com/office/drawing/2014/main" id="{634BE939-C42A-E839-AF91-45B30E97B5CA}"/>
                </a:ext>
              </a:extLst>
            </p:cNvPr>
            <p:cNvSpPr/>
            <p:nvPr/>
          </p:nvSpPr>
          <p:spPr>
            <a:xfrm>
              <a:off x="3392040" y="45528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8" name="Elipse 5507">
              <a:extLst>
                <a:ext uri="{FF2B5EF4-FFF2-40B4-BE49-F238E27FC236}">
                  <a16:creationId xmlns:a16="http://schemas.microsoft.com/office/drawing/2014/main" id="{F1E3DF2A-A91B-086F-650E-C3F7DEBEF5BC}"/>
                </a:ext>
              </a:extLst>
            </p:cNvPr>
            <p:cNvSpPr/>
            <p:nvPr/>
          </p:nvSpPr>
          <p:spPr>
            <a:xfrm>
              <a:off x="3194348" y="467191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9" name="Elipse 5508">
              <a:extLst>
                <a:ext uri="{FF2B5EF4-FFF2-40B4-BE49-F238E27FC236}">
                  <a16:creationId xmlns:a16="http://schemas.microsoft.com/office/drawing/2014/main" id="{90340A74-7617-5850-854B-DC8CC8653149}"/>
                </a:ext>
              </a:extLst>
            </p:cNvPr>
            <p:cNvSpPr/>
            <p:nvPr/>
          </p:nvSpPr>
          <p:spPr>
            <a:xfrm>
              <a:off x="2985989" y="46952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0" name="Elipse 5509">
              <a:extLst>
                <a:ext uri="{FF2B5EF4-FFF2-40B4-BE49-F238E27FC236}">
                  <a16:creationId xmlns:a16="http://schemas.microsoft.com/office/drawing/2014/main" id="{E30876CF-9252-4B3C-7050-F7E9CB4330C6}"/>
                </a:ext>
              </a:extLst>
            </p:cNvPr>
            <p:cNvSpPr/>
            <p:nvPr/>
          </p:nvSpPr>
          <p:spPr>
            <a:xfrm>
              <a:off x="2830433" y="45668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1" name="Elipse 5510">
              <a:extLst>
                <a:ext uri="{FF2B5EF4-FFF2-40B4-BE49-F238E27FC236}">
                  <a16:creationId xmlns:a16="http://schemas.microsoft.com/office/drawing/2014/main" id="{E4379789-758C-6A30-344F-172841288921}"/>
                </a:ext>
              </a:extLst>
            </p:cNvPr>
            <p:cNvSpPr/>
            <p:nvPr/>
          </p:nvSpPr>
          <p:spPr>
            <a:xfrm>
              <a:off x="2638341" y="4547585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2" name="Elipse 5511">
              <a:extLst>
                <a:ext uri="{FF2B5EF4-FFF2-40B4-BE49-F238E27FC236}">
                  <a16:creationId xmlns:a16="http://schemas.microsoft.com/office/drawing/2014/main" id="{5100993D-18F6-6222-D058-82F116BB04AF}"/>
                </a:ext>
              </a:extLst>
            </p:cNvPr>
            <p:cNvSpPr/>
            <p:nvPr/>
          </p:nvSpPr>
          <p:spPr>
            <a:xfrm>
              <a:off x="2446422" y="449471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3" name="Elipse 5512">
              <a:extLst>
                <a:ext uri="{FF2B5EF4-FFF2-40B4-BE49-F238E27FC236}">
                  <a16:creationId xmlns:a16="http://schemas.microsoft.com/office/drawing/2014/main" id="{51E8DE9C-EBF5-2983-B244-2E3FCE633D2D}"/>
                </a:ext>
              </a:extLst>
            </p:cNvPr>
            <p:cNvSpPr/>
            <p:nvPr/>
          </p:nvSpPr>
          <p:spPr>
            <a:xfrm>
              <a:off x="2268271" y="44084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4" name="Elipse 5513">
              <a:extLst>
                <a:ext uri="{FF2B5EF4-FFF2-40B4-BE49-F238E27FC236}">
                  <a16:creationId xmlns:a16="http://schemas.microsoft.com/office/drawing/2014/main" id="{B51182CD-D7F7-2AD4-B383-916C444FE34D}"/>
                </a:ext>
              </a:extLst>
            </p:cNvPr>
            <p:cNvSpPr/>
            <p:nvPr/>
          </p:nvSpPr>
          <p:spPr>
            <a:xfrm>
              <a:off x="2078466" y="448455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5" name="Elipse 5514">
              <a:extLst>
                <a:ext uri="{FF2B5EF4-FFF2-40B4-BE49-F238E27FC236}">
                  <a16:creationId xmlns:a16="http://schemas.microsoft.com/office/drawing/2014/main" id="{C7716647-BCC2-B374-3142-8BC268BC09C9}"/>
                </a:ext>
              </a:extLst>
            </p:cNvPr>
            <p:cNvSpPr/>
            <p:nvPr/>
          </p:nvSpPr>
          <p:spPr>
            <a:xfrm>
              <a:off x="2238648" y="460404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6" name="Elipse 5515">
              <a:extLst>
                <a:ext uri="{FF2B5EF4-FFF2-40B4-BE49-F238E27FC236}">
                  <a16:creationId xmlns:a16="http://schemas.microsoft.com/office/drawing/2014/main" id="{2A839F89-ACF6-ABA4-008B-CE8359D8E3CE}"/>
                </a:ext>
              </a:extLst>
            </p:cNvPr>
            <p:cNvSpPr/>
            <p:nvPr/>
          </p:nvSpPr>
          <p:spPr>
            <a:xfrm>
              <a:off x="2416771" y="469431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7" name="Elipse 5516">
              <a:extLst>
                <a:ext uri="{FF2B5EF4-FFF2-40B4-BE49-F238E27FC236}">
                  <a16:creationId xmlns:a16="http://schemas.microsoft.com/office/drawing/2014/main" id="{97932BFF-CE91-5A47-BEE7-C740097468A4}"/>
                </a:ext>
              </a:extLst>
            </p:cNvPr>
            <p:cNvSpPr/>
            <p:nvPr/>
          </p:nvSpPr>
          <p:spPr>
            <a:xfrm>
              <a:off x="2604875" y="475155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8" name="Elipse 5517">
              <a:extLst>
                <a:ext uri="{FF2B5EF4-FFF2-40B4-BE49-F238E27FC236}">
                  <a16:creationId xmlns:a16="http://schemas.microsoft.com/office/drawing/2014/main" id="{90868989-42DE-5212-3039-8587F645B250}"/>
                </a:ext>
              </a:extLst>
            </p:cNvPr>
            <p:cNvSpPr/>
            <p:nvPr/>
          </p:nvSpPr>
          <p:spPr>
            <a:xfrm>
              <a:off x="2799270" y="475968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415" name="TextBox 24">
            <a:extLst>
              <a:ext uri="{FF2B5EF4-FFF2-40B4-BE49-F238E27FC236}">
                <a16:creationId xmlns:a16="http://schemas.microsoft.com/office/drawing/2014/main" id="{A9EF144D-36A8-AD0C-602B-DE1F30594EAF}"/>
              </a:ext>
            </a:extLst>
          </p:cNvPr>
          <p:cNvSpPr txBox="1"/>
          <p:nvPr/>
        </p:nvSpPr>
        <p:spPr>
          <a:xfrm>
            <a:off x="7857016" y="241102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16" name="TextBox 24">
            <a:extLst>
              <a:ext uri="{FF2B5EF4-FFF2-40B4-BE49-F238E27FC236}">
                <a16:creationId xmlns:a16="http://schemas.microsoft.com/office/drawing/2014/main" id="{F2100790-DCD2-F9FE-50EA-14BE5D9B4DB4}"/>
              </a:ext>
            </a:extLst>
          </p:cNvPr>
          <p:cNvSpPr txBox="1"/>
          <p:nvPr/>
        </p:nvSpPr>
        <p:spPr>
          <a:xfrm>
            <a:off x="7857016" y="207671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17" name="TextBox 24">
            <a:extLst>
              <a:ext uri="{FF2B5EF4-FFF2-40B4-BE49-F238E27FC236}">
                <a16:creationId xmlns:a16="http://schemas.microsoft.com/office/drawing/2014/main" id="{C3A37252-42A6-3DE5-43E4-96597D3E17A4}"/>
              </a:ext>
            </a:extLst>
          </p:cNvPr>
          <p:cNvSpPr txBox="1"/>
          <p:nvPr/>
        </p:nvSpPr>
        <p:spPr>
          <a:xfrm>
            <a:off x="7857016" y="1510262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18" name="TextBox 24">
            <a:extLst>
              <a:ext uri="{FF2B5EF4-FFF2-40B4-BE49-F238E27FC236}">
                <a16:creationId xmlns:a16="http://schemas.microsoft.com/office/drawing/2014/main" id="{A98B2B58-564D-6020-9360-3BB29FBFDC73}"/>
              </a:ext>
            </a:extLst>
          </p:cNvPr>
          <p:cNvSpPr txBox="1"/>
          <p:nvPr/>
        </p:nvSpPr>
        <p:spPr>
          <a:xfrm>
            <a:off x="7857016" y="5252068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1936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47B874B-E4EA-6EB1-03CA-9DE005DE6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82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47B874B-E4EA-6EB1-03CA-9DE005DE6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0524823-5FD3-394C-A8A5-23154C7D2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A331C77-EBCB-B687-D9B9-89E668F51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— Executive Summary 1</a:t>
            </a:r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EF2157A9-32B7-5B22-7885-7D2C8C035DD0}"/>
              </a:ext>
            </a:extLst>
          </p:cNvPr>
          <p:cNvSpPr/>
          <p:nvPr/>
        </p:nvSpPr>
        <p:spPr>
          <a:xfrm>
            <a:off x="4400556" y="1520825"/>
            <a:ext cx="7419974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762C9988-A578-E709-10F0-3154C1781335}"/>
              </a:ext>
            </a:extLst>
          </p:cNvPr>
          <p:cNvSpPr txBox="1"/>
          <p:nvPr/>
        </p:nvSpPr>
        <p:spPr>
          <a:xfrm>
            <a:off x="4561490" y="1530219"/>
            <a:ext cx="7041931" cy="4787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357582-00E3-67F6-DBF4-C3B7EC488644}"/>
              </a:ext>
            </a:extLst>
          </p:cNvPr>
          <p:cNvSpPr/>
          <p:nvPr/>
        </p:nvSpPr>
        <p:spPr>
          <a:xfrm>
            <a:off x="0" y="1520825"/>
            <a:ext cx="4183447" cy="4787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GB" dirty="0"/>
              <a:t>Image</a:t>
            </a:r>
          </a:p>
        </p:txBody>
      </p:sp>
      <p:sp>
        <p:nvSpPr>
          <p:cNvPr id="7" name="Rectangle 104">
            <a:extLst>
              <a:ext uri="{FF2B5EF4-FFF2-40B4-BE49-F238E27FC236}">
                <a16:creationId xmlns:a16="http://schemas.microsoft.com/office/drawing/2014/main" id="{3812068E-16E2-F4DD-08EE-FE8CACA8B961}"/>
              </a:ext>
            </a:extLst>
          </p:cNvPr>
          <p:cNvSpPr/>
          <p:nvPr/>
        </p:nvSpPr>
        <p:spPr>
          <a:xfrm>
            <a:off x="0" y="3337738"/>
            <a:ext cx="97104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055030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Pictogram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574" name="Grupo 6573">
            <a:extLst>
              <a:ext uri="{FF2B5EF4-FFF2-40B4-BE49-F238E27FC236}">
                <a16:creationId xmlns:a16="http://schemas.microsoft.com/office/drawing/2014/main" id="{9FE85FA2-D62C-5319-CD0C-35EA8B539836}"/>
              </a:ext>
            </a:extLst>
          </p:cNvPr>
          <p:cNvGrpSpPr/>
          <p:nvPr/>
        </p:nvGrpSpPr>
        <p:grpSpPr>
          <a:xfrm>
            <a:off x="2574661" y="2033716"/>
            <a:ext cx="2668427" cy="3695281"/>
            <a:chOff x="1846045" y="1957516"/>
            <a:chExt cx="2668427" cy="3695281"/>
          </a:xfrm>
          <a:solidFill>
            <a:schemeClr val="bg2"/>
          </a:solidFill>
        </p:grpSpPr>
        <p:grpSp>
          <p:nvGrpSpPr>
            <p:cNvPr id="7" name="Group 177">
              <a:extLst>
                <a:ext uri="{FF2B5EF4-FFF2-40B4-BE49-F238E27FC236}">
                  <a16:creationId xmlns:a16="http://schemas.microsoft.com/office/drawing/2014/main" id="{25F60A96-5734-0C57-75AB-88216E2CB23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8" name="Freeform 178">
                <a:extLst>
                  <a:ext uri="{FF2B5EF4-FFF2-40B4-BE49-F238E27FC236}">
                    <a16:creationId xmlns:a16="http://schemas.microsoft.com/office/drawing/2014/main" id="{1C3BEDF1-844F-5366-FD2C-104706B82A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" name="Freeform 179">
                <a:extLst>
                  <a:ext uri="{FF2B5EF4-FFF2-40B4-BE49-F238E27FC236}">
                    <a16:creationId xmlns:a16="http://schemas.microsoft.com/office/drawing/2014/main" id="{E2934C40-FC27-84C4-C6F7-E39DA96BDA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177">
              <a:extLst>
                <a:ext uri="{FF2B5EF4-FFF2-40B4-BE49-F238E27FC236}">
                  <a16:creationId xmlns:a16="http://schemas.microsoft.com/office/drawing/2014/main" id="{AD1FFDDE-EF29-56C6-91BE-F96CEBC6F73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11" name="Freeform 178">
                <a:extLst>
                  <a:ext uri="{FF2B5EF4-FFF2-40B4-BE49-F238E27FC236}">
                    <a16:creationId xmlns:a16="http://schemas.microsoft.com/office/drawing/2014/main" id="{480BB1D9-74A3-870A-F5EE-6DC1997E9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179">
                <a:extLst>
                  <a:ext uri="{FF2B5EF4-FFF2-40B4-BE49-F238E27FC236}">
                    <a16:creationId xmlns:a16="http://schemas.microsoft.com/office/drawing/2014/main" id="{03392DF2-DC6A-E755-D41B-0B6144BC0B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77">
              <a:extLst>
                <a:ext uri="{FF2B5EF4-FFF2-40B4-BE49-F238E27FC236}">
                  <a16:creationId xmlns:a16="http://schemas.microsoft.com/office/drawing/2014/main" id="{8A1BFC18-104A-FFA6-C485-320B18FB8F1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14" name="Freeform 178">
                <a:extLst>
                  <a:ext uri="{FF2B5EF4-FFF2-40B4-BE49-F238E27FC236}">
                    <a16:creationId xmlns:a16="http://schemas.microsoft.com/office/drawing/2014/main" id="{553A4E1A-621C-1E6B-5415-B65D459BA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179">
                <a:extLst>
                  <a:ext uri="{FF2B5EF4-FFF2-40B4-BE49-F238E27FC236}">
                    <a16:creationId xmlns:a16="http://schemas.microsoft.com/office/drawing/2014/main" id="{83F9AFC8-58A0-76B7-6A25-91FD14DAC9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77">
              <a:extLst>
                <a:ext uri="{FF2B5EF4-FFF2-40B4-BE49-F238E27FC236}">
                  <a16:creationId xmlns:a16="http://schemas.microsoft.com/office/drawing/2014/main" id="{6AC0915B-9858-490F-742F-CA958165B47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17" name="Freeform 178">
                <a:extLst>
                  <a:ext uri="{FF2B5EF4-FFF2-40B4-BE49-F238E27FC236}">
                    <a16:creationId xmlns:a16="http://schemas.microsoft.com/office/drawing/2014/main" id="{CE947DA2-0FD8-6E4D-BD3E-AA922E1CC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179">
                <a:extLst>
                  <a:ext uri="{FF2B5EF4-FFF2-40B4-BE49-F238E27FC236}">
                    <a16:creationId xmlns:a16="http://schemas.microsoft.com/office/drawing/2014/main" id="{58017952-8AC7-F4FD-AC3B-5DDB71BF56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77">
              <a:extLst>
                <a:ext uri="{FF2B5EF4-FFF2-40B4-BE49-F238E27FC236}">
                  <a16:creationId xmlns:a16="http://schemas.microsoft.com/office/drawing/2014/main" id="{5F750629-5AE7-5D7E-F5FE-1608B5D897C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0" name="Freeform 178">
                <a:extLst>
                  <a:ext uri="{FF2B5EF4-FFF2-40B4-BE49-F238E27FC236}">
                    <a16:creationId xmlns:a16="http://schemas.microsoft.com/office/drawing/2014/main" id="{8FE60CA3-CA1F-D5B1-BA19-89B5033A28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" name="Freeform 179">
                <a:extLst>
                  <a:ext uri="{FF2B5EF4-FFF2-40B4-BE49-F238E27FC236}">
                    <a16:creationId xmlns:a16="http://schemas.microsoft.com/office/drawing/2014/main" id="{D6C145E6-76C0-F453-094F-D6C859E14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177">
              <a:extLst>
                <a:ext uri="{FF2B5EF4-FFF2-40B4-BE49-F238E27FC236}">
                  <a16:creationId xmlns:a16="http://schemas.microsoft.com/office/drawing/2014/main" id="{315B3036-29D1-2EAA-68A0-B7984061E84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3" name="Freeform 178">
                <a:extLst>
                  <a:ext uri="{FF2B5EF4-FFF2-40B4-BE49-F238E27FC236}">
                    <a16:creationId xmlns:a16="http://schemas.microsoft.com/office/drawing/2014/main" id="{0D88633A-C384-2E04-1F15-5245EC5226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Freeform 179">
                <a:extLst>
                  <a:ext uri="{FF2B5EF4-FFF2-40B4-BE49-F238E27FC236}">
                    <a16:creationId xmlns:a16="http://schemas.microsoft.com/office/drawing/2014/main" id="{22B01927-7393-3BD5-CBA1-21AEB6550D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Group 177">
              <a:extLst>
                <a:ext uri="{FF2B5EF4-FFF2-40B4-BE49-F238E27FC236}">
                  <a16:creationId xmlns:a16="http://schemas.microsoft.com/office/drawing/2014/main" id="{5BBE930E-008A-B224-66E1-EBDB3D14CC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6" name="Freeform 178">
                <a:extLst>
                  <a:ext uri="{FF2B5EF4-FFF2-40B4-BE49-F238E27FC236}">
                    <a16:creationId xmlns:a16="http://schemas.microsoft.com/office/drawing/2014/main" id="{E76CC086-7D4D-C2D7-8E97-2B35CAF97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Freeform 179">
                <a:extLst>
                  <a:ext uri="{FF2B5EF4-FFF2-40B4-BE49-F238E27FC236}">
                    <a16:creationId xmlns:a16="http://schemas.microsoft.com/office/drawing/2014/main" id="{61ED2B60-CD91-F443-8D70-E278FFB95A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177">
              <a:extLst>
                <a:ext uri="{FF2B5EF4-FFF2-40B4-BE49-F238E27FC236}">
                  <a16:creationId xmlns:a16="http://schemas.microsoft.com/office/drawing/2014/main" id="{028163C7-1504-7B51-9080-B5577B1D154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9" name="Freeform 178">
                <a:extLst>
                  <a:ext uri="{FF2B5EF4-FFF2-40B4-BE49-F238E27FC236}">
                    <a16:creationId xmlns:a16="http://schemas.microsoft.com/office/drawing/2014/main" id="{1D7EF6E3-73CE-EA61-CAAF-D12A23A88B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" name="Freeform 179">
                <a:extLst>
                  <a:ext uri="{FF2B5EF4-FFF2-40B4-BE49-F238E27FC236}">
                    <a16:creationId xmlns:a16="http://schemas.microsoft.com/office/drawing/2014/main" id="{9F16D9CE-E960-4C64-6031-517A33F47A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5" name="Group 177">
              <a:extLst>
                <a:ext uri="{FF2B5EF4-FFF2-40B4-BE49-F238E27FC236}">
                  <a16:creationId xmlns:a16="http://schemas.microsoft.com/office/drawing/2014/main" id="{37633A33-E6FF-6D77-85A2-064C155414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8" name="Freeform 178">
                <a:extLst>
                  <a:ext uri="{FF2B5EF4-FFF2-40B4-BE49-F238E27FC236}">
                    <a16:creationId xmlns:a16="http://schemas.microsoft.com/office/drawing/2014/main" id="{AC80B725-FA49-62BD-C1F8-C5806B7C22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9" name="Freeform 179">
                <a:extLst>
                  <a:ext uri="{FF2B5EF4-FFF2-40B4-BE49-F238E27FC236}">
                    <a16:creationId xmlns:a16="http://schemas.microsoft.com/office/drawing/2014/main" id="{9E299C62-47A3-83FE-5842-CC39E086F4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7" name="Group 177">
              <a:extLst>
                <a:ext uri="{FF2B5EF4-FFF2-40B4-BE49-F238E27FC236}">
                  <a16:creationId xmlns:a16="http://schemas.microsoft.com/office/drawing/2014/main" id="{BD220396-A1B1-CD85-A812-AF9D709FC92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6" name="Freeform 178">
                <a:extLst>
                  <a:ext uri="{FF2B5EF4-FFF2-40B4-BE49-F238E27FC236}">
                    <a16:creationId xmlns:a16="http://schemas.microsoft.com/office/drawing/2014/main" id="{7E762134-A61B-765F-C9A7-FDC958099F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7" name="Freeform 179">
                <a:extLst>
                  <a:ext uri="{FF2B5EF4-FFF2-40B4-BE49-F238E27FC236}">
                    <a16:creationId xmlns:a16="http://schemas.microsoft.com/office/drawing/2014/main" id="{E98CD0B7-3E1A-C91E-B42A-5C8CD87971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8" name="Group 177">
              <a:extLst>
                <a:ext uri="{FF2B5EF4-FFF2-40B4-BE49-F238E27FC236}">
                  <a16:creationId xmlns:a16="http://schemas.microsoft.com/office/drawing/2014/main" id="{875931DC-8DE0-E3A2-2DF2-A27717A27F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4" name="Freeform 178">
                <a:extLst>
                  <a:ext uri="{FF2B5EF4-FFF2-40B4-BE49-F238E27FC236}">
                    <a16:creationId xmlns:a16="http://schemas.microsoft.com/office/drawing/2014/main" id="{211832AF-460A-6FB1-21D5-B85D709DE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5" name="Freeform 179">
                <a:extLst>
                  <a:ext uri="{FF2B5EF4-FFF2-40B4-BE49-F238E27FC236}">
                    <a16:creationId xmlns:a16="http://schemas.microsoft.com/office/drawing/2014/main" id="{8417ED39-A4F3-F9FE-CA0F-4CD4A9E850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9" name="Group 177">
              <a:extLst>
                <a:ext uri="{FF2B5EF4-FFF2-40B4-BE49-F238E27FC236}">
                  <a16:creationId xmlns:a16="http://schemas.microsoft.com/office/drawing/2014/main" id="{E94A3834-C4B1-F859-4DEB-51F6420719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2" name="Freeform 178">
                <a:extLst>
                  <a:ext uri="{FF2B5EF4-FFF2-40B4-BE49-F238E27FC236}">
                    <a16:creationId xmlns:a16="http://schemas.microsoft.com/office/drawing/2014/main" id="{8F6CA347-270B-75C7-4580-96CD09E36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3" name="Freeform 179">
                <a:extLst>
                  <a:ext uri="{FF2B5EF4-FFF2-40B4-BE49-F238E27FC236}">
                    <a16:creationId xmlns:a16="http://schemas.microsoft.com/office/drawing/2014/main" id="{9AF72DA4-79BA-61C0-9178-BC7A0266E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50" name="Group 177">
              <a:extLst>
                <a:ext uri="{FF2B5EF4-FFF2-40B4-BE49-F238E27FC236}">
                  <a16:creationId xmlns:a16="http://schemas.microsoft.com/office/drawing/2014/main" id="{A73FD7C8-BD9A-9076-0615-1173DC7ABD5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0" name="Freeform 178">
                <a:extLst>
                  <a:ext uri="{FF2B5EF4-FFF2-40B4-BE49-F238E27FC236}">
                    <a16:creationId xmlns:a16="http://schemas.microsoft.com/office/drawing/2014/main" id="{809E80EA-CB5A-9A27-0AF6-BF49D2230A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1" name="Freeform 179">
                <a:extLst>
                  <a:ext uri="{FF2B5EF4-FFF2-40B4-BE49-F238E27FC236}">
                    <a16:creationId xmlns:a16="http://schemas.microsoft.com/office/drawing/2014/main" id="{68BE69F5-BA58-8CFF-C673-BB921B4236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51" name="Group 177">
              <a:extLst>
                <a:ext uri="{FF2B5EF4-FFF2-40B4-BE49-F238E27FC236}">
                  <a16:creationId xmlns:a16="http://schemas.microsoft.com/office/drawing/2014/main" id="{E9BC1AEA-79C2-A9C5-1179-68ECA68D32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58" name="Freeform 178">
                <a:extLst>
                  <a:ext uri="{FF2B5EF4-FFF2-40B4-BE49-F238E27FC236}">
                    <a16:creationId xmlns:a16="http://schemas.microsoft.com/office/drawing/2014/main" id="{1B9A84CD-A0C2-AAB4-6074-17259D63F3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59" name="Freeform 179">
                <a:extLst>
                  <a:ext uri="{FF2B5EF4-FFF2-40B4-BE49-F238E27FC236}">
                    <a16:creationId xmlns:a16="http://schemas.microsoft.com/office/drawing/2014/main" id="{6138F21D-31B3-C3F6-30C2-D95D5FEE9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1" name="Group 177">
              <a:extLst>
                <a:ext uri="{FF2B5EF4-FFF2-40B4-BE49-F238E27FC236}">
                  <a16:creationId xmlns:a16="http://schemas.microsoft.com/office/drawing/2014/main" id="{DDCC917A-F3DD-FA8E-9892-BAEE6CC449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93" name="Freeform 178">
                <a:extLst>
                  <a:ext uri="{FF2B5EF4-FFF2-40B4-BE49-F238E27FC236}">
                    <a16:creationId xmlns:a16="http://schemas.microsoft.com/office/drawing/2014/main" id="{52FD4A92-72DD-F744-3D7C-6842F242C2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94" name="Freeform 179">
                <a:extLst>
                  <a:ext uri="{FF2B5EF4-FFF2-40B4-BE49-F238E27FC236}">
                    <a16:creationId xmlns:a16="http://schemas.microsoft.com/office/drawing/2014/main" id="{9344D0AC-70F1-FB97-62CE-61145F29E5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2" name="Group 177">
              <a:extLst>
                <a:ext uri="{FF2B5EF4-FFF2-40B4-BE49-F238E27FC236}">
                  <a16:creationId xmlns:a16="http://schemas.microsoft.com/office/drawing/2014/main" id="{B2CF4C55-2AB6-1DB9-AF5D-65941F10C22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91" name="Freeform 178">
                <a:extLst>
                  <a:ext uri="{FF2B5EF4-FFF2-40B4-BE49-F238E27FC236}">
                    <a16:creationId xmlns:a16="http://schemas.microsoft.com/office/drawing/2014/main" id="{5C2E9B9B-D834-DACF-9718-B128563024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92" name="Freeform 179">
                <a:extLst>
                  <a:ext uri="{FF2B5EF4-FFF2-40B4-BE49-F238E27FC236}">
                    <a16:creationId xmlns:a16="http://schemas.microsoft.com/office/drawing/2014/main" id="{16F70D32-88ED-3196-02E4-852D91B7D9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3" name="Group 177">
              <a:extLst>
                <a:ext uri="{FF2B5EF4-FFF2-40B4-BE49-F238E27FC236}">
                  <a16:creationId xmlns:a16="http://schemas.microsoft.com/office/drawing/2014/main" id="{9A116FC9-F21B-B2EB-483B-9C6FE9FDDE3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89" name="Freeform 178">
                <a:extLst>
                  <a:ext uri="{FF2B5EF4-FFF2-40B4-BE49-F238E27FC236}">
                    <a16:creationId xmlns:a16="http://schemas.microsoft.com/office/drawing/2014/main" id="{6124461B-72AC-8787-8700-91D1105E2E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90" name="Freeform 179">
                <a:extLst>
                  <a:ext uri="{FF2B5EF4-FFF2-40B4-BE49-F238E27FC236}">
                    <a16:creationId xmlns:a16="http://schemas.microsoft.com/office/drawing/2014/main" id="{819888CB-5623-5A7F-06B4-67CEC42EA5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4" name="Group 177">
              <a:extLst>
                <a:ext uri="{FF2B5EF4-FFF2-40B4-BE49-F238E27FC236}">
                  <a16:creationId xmlns:a16="http://schemas.microsoft.com/office/drawing/2014/main" id="{EBC2E7BE-41A0-FF1D-31B5-3418C3A767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87" name="Freeform 178">
                <a:extLst>
                  <a:ext uri="{FF2B5EF4-FFF2-40B4-BE49-F238E27FC236}">
                    <a16:creationId xmlns:a16="http://schemas.microsoft.com/office/drawing/2014/main" id="{A2107141-8E71-1F0A-5BB4-3EAACB04A5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88" name="Freeform 179">
                <a:extLst>
                  <a:ext uri="{FF2B5EF4-FFF2-40B4-BE49-F238E27FC236}">
                    <a16:creationId xmlns:a16="http://schemas.microsoft.com/office/drawing/2014/main" id="{8F21B0C7-11AA-C3B7-4111-B95EBC44BD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5" name="Group 177">
              <a:extLst>
                <a:ext uri="{FF2B5EF4-FFF2-40B4-BE49-F238E27FC236}">
                  <a16:creationId xmlns:a16="http://schemas.microsoft.com/office/drawing/2014/main" id="{91605CEF-9068-AAF7-B735-F884CA44639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85" name="Freeform 178">
                <a:extLst>
                  <a:ext uri="{FF2B5EF4-FFF2-40B4-BE49-F238E27FC236}">
                    <a16:creationId xmlns:a16="http://schemas.microsoft.com/office/drawing/2014/main" id="{7E14E952-CBA2-4E3C-1E0F-81095DC2DC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86" name="Freeform 179">
                <a:extLst>
                  <a:ext uri="{FF2B5EF4-FFF2-40B4-BE49-F238E27FC236}">
                    <a16:creationId xmlns:a16="http://schemas.microsoft.com/office/drawing/2014/main" id="{172283FE-10CC-21BC-8AF5-BDAB69941C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6" name="Group 177">
              <a:extLst>
                <a:ext uri="{FF2B5EF4-FFF2-40B4-BE49-F238E27FC236}">
                  <a16:creationId xmlns:a16="http://schemas.microsoft.com/office/drawing/2014/main" id="{B3EBF814-6DBA-9BAF-CBBE-5043D929C6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8" name="Freeform 178">
                <a:extLst>
                  <a:ext uri="{FF2B5EF4-FFF2-40B4-BE49-F238E27FC236}">
                    <a16:creationId xmlns:a16="http://schemas.microsoft.com/office/drawing/2014/main" id="{99CE9D73-1A32-1CF3-0E9B-49A26D3A56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9" name="Freeform 179">
                <a:extLst>
                  <a:ext uri="{FF2B5EF4-FFF2-40B4-BE49-F238E27FC236}">
                    <a16:creationId xmlns:a16="http://schemas.microsoft.com/office/drawing/2014/main" id="{38F43830-476F-271A-9CB2-EE5B70EA1A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7" name="Group 177">
              <a:extLst>
                <a:ext uri="{FF2B5EF4-FFF2-40B4-BE49-F238E27FC236}">
                  <a16:creationId xmlns:a16="http://schemas.microsoft.com/office/drawing/2014/main" id="{3EBCFF66-0B93-9B39-4574-1C86A429AC3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6" name="Freeform 178">
                <a:extLst>
                  <a:ext uri="{FF2B5EF4-FFF2-40B4-BE49-F238E27FC236}">
                    <a16:creationId xmlns:a16="http://schemas.microsoft.com/office/drawing/2014/main" id="{58ED669C-A258-868E-98BB-A6AA04D8F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7" name="Freeform 179">
                <a:extLst>
                  <a:ext uri="{FF2B5EF4-FFF2-40B4-BE49-F238E27FC236}">
                    <a16:creationId xmlns:a16="http://schemas.microsoft.com/office/drawing/2014/main" id="{B17FF1BC-907D-B085-2DB1-EC0E6B2611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8" name="Group 177">
              <a:extLst>
                <a:ext uri="{FF2B5EF4-FFF2-40B4-BE49-F238E27FC236}">
                  <a16:creationId xmlns:a16="http://schemas.microsoft.com/office/drawing/2014/main" id="{4161D514-2F85-FCDC-3822-B55E04518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4" name="Freeform 178">
                <a:extLst>
                  <a:ext uri="{FF2B5EF4-FFF2-40B4-BE49-F238E27FC236}">
                    <a16:creationId xmlns:a16="http://schemas.microsoft.com/office/drawing/2014/main" id="{3879F87A-6B4E-5FCB-4164-72A25F3993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5" name="Freeform 179">
                <a:extLst>
                  <a:ext uri="{FF2B5EF4-FFF2-40B4-BE49-F238E27FC236}">
                    <a16:creationId xmlns:a16="http://schemas.microsoft.com/office/drawing/2014/main" id="{071D7CFF-1452-DCE6-6ECD-263788EECC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9" name="Group 177">
              <a:extLst>
                <a:ext uri="{FF2B5EF4-FFF2-40B4-BE49-F238E27FC236}">
                  <a16:creationId xmlns:a16="http://schemas.microsoft.com/office/drawing/2014/main" id="{34D59E20-0F3F-080B-73F5-FAAE0B9F310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2" name="Freeform 178">
                <a:extLst>
                  <a:ext uri="{FF2B5EF4-FFF2-40B4-BE49-F238E27FC236}">
                    <a16:creationId xmlns:a16="http://schemas.microsoft.com/office/drawing/2014/main" id="{527528A4-8C65-DAA6-0B1E-3120530052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3" name="Freeform 179">
                <a:extLst>
                  <a:ext uri="{FF2B5EF4-FFF2-40B4-BE49-F238E27FC236}">
                    <a16:creationId xmlns:a16="http://schemas.microsoft.com/office/drawing/2014/main" id="{C5E87064-4656-E93B-82C8-EBF07FAA8C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00" name="Group 177">
              <a:extLst>
                <a:ext uri="{FF2B5EF4-FFF2-40B4-BE49-F238E27FC236}">
                  <a16:creationId xmlns:a16="http://schemas.microsoft.com/office/drawing/2014/main" id="{4C6596E0-F9A4-FDFB-FE3B-C6C7B66C9D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0" name="Freeform 178">
                <a:extLst>
                  <a:ext uri="{FF2B5EF4-FFF2-40B4-BE49-F238E27FC236}">
                    <a16:creationId xmlns:a16="http://schemas.microsoft.com/office/drawing/2014/main" id="{330AF2BA-800B-1B7E-082C-80F4D58F53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1" name="Freeform 179">
                <a:extLst>
                  <a:ext uri="{FF2B5EF4-FFF2-40B4-BE49-F238E27FC236}">
                    <a16:creationId xmlns:a16="http://schemas.microsoft.com/office/drawing/2014/main" id="{0567B4CA-C7F7-20FE-6DB7-2F2B93F53F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1" name="Group 177">
              <a:extLst>
                <a:ext uri="{FF2B5EF4-FFF2-40B4-BE49-F238E27FC236}">
                  <a16:creationId xmlns:a16="http://schemas.microsoft.com/office/drawing/2014/main" id="{6D1E1D31-3335-33B0-E6CC-202DA523C8A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43" name="Freeform 178">
                <a:extLst>
                  <a:ext uri="{FF2B5EF4-FFF2-40B4-BE49-F238E27FC236}">
                    <a16:creationId xmlns:a16="http://schemas.microsoft.com/office/drawing/2014/main" id="{AA877623-81E2-9447-B6DC-714B26D697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44" name="Freeform 179">
                <a:extLst>
                  <a:ext uri="{FF2B5EF4-FFF2-40B4-BE49-F238E27FC236}">
                    <a16:creationId xmlns:a16="http://schemas.microsoft.com/office/drawing/2014/main" id="{DEB5DF19-96D3-FBD6-0713-B3279392BC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2" name="Group 177">
              <a:extLst>
                <a:ext uri="{FF2B5EF4-FFF2-40B4-BE49-F238E27FC236}">
                  <a16:creationId xmlns:a16="http://schemas.microsoft.com/office/drawing/2014/main" id="{49E8F6E9-6AEC-8DAA-AFA1-EFDD6FD9656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41" name="Freeform 178">
                <a:extLst>
                  <a:ext uri="{FF2B5EF4-FFF2-40B4-BE49-F238E27FC236}">
                    <a16:creationId xmlns:a16="http://schemas.microsoft.com/office/drawing/2014/main" id="{C3490BD8-3EB5-F2AB-341C-64B61C8AE0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42" name="Freeform 179">
                <a:extLst>
                  <a:ext uri="{FF2B5EF4-FFF2-40B4-BE49-F238E27FC236}">
                    <a16:creationId xmlns:a16="http://schemas.microsoft.com/office/drawing/2014/main" id="{71258D59-6BCC-84F1-DFCD-860B7CB4D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3" name="Group 177">
              <a:extLst>
                <a:ext uri="{FF2B5EF4-FFF2-40B4-BE49-F238E27FC236}">
                  <a16:creationId xmlns:a16="http://schemas.microsoft.com/office/drawing/2014/main" id="{2A18C87A-2451-BDF4-3C2F-A755048ACD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9" name="Freeform 178">
                <a:extLst>
                  <a:ext uri="{FF2B5EF4-FFF2-40B4-BE49-F238E27FC236}">
                    <a16:creationId xmlns:a16="http://schemas.microsoft.com/office/drawing/2014/main" id="{18688006-4604-616E-E1FE-D394488694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40" name="Freeform 179">
                <a:extLst>
                  <a:ext uri="{FF2B5EF4-FFF2-40B4-BE49-F238E27FC236}">
                    <a16:creationId xmlns:a16="http://schemas.microsoft.com/office/drawing/2014/main" id="{4B7A973E-BF76-4AD2-40C1-1BB90DB30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4" name="Group 177">
              <a:extLst>
                <a:ext uri="{FF2B5EF4-FFF2-40B4-BE49-F238E27FC236}">
                  <a16:creationId xmlns:a16="http://schemas.microsoft.com/office/drawing/2014/main" id="{E726430E-4693-EB46-8483-7A82215188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7" name="Freeform 178">
                <a:extLst>
                  <a:ext uri="{FF2B5EF4-FFF2-40B4-BE49-F238E27FC236}">
                    <a16:creationId xmlns:a16="http://schemas.microsoft.com/office/drawing/2014/main" id="{B8694934-181C-1804-DF7F-40FBBB3B80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38" name="Freeform 179">
                <a:extLst>
                  <a:ext uri="{FF2B5EF4-FFF2-40B4-BE49-F238E27FC236}">
                    <a16:creationId xmlns:a16="http://schemas.microsoft.com/office/drawing/2014/main" id="{3071DE65-5C02-968F-99C3-4AAE443BC9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5" name="Group 177">
              <a:extLst>
                <a:ext uri="{FF2B5EF4-FFF2-40B4-BE49-F238E27FC236}">
                  <a16:creationId xmlns:a16="http://schemas.microsoft.com/office/drawing/2014/main" id="{F891676F-C1B0-7A75-F74E-65F75A1922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5" name="Freeform 178">
                <a:extLst>
                  <a:ext uri="{FF2B5EF4-FFF2-40B4-BE49-F238E27FC236}">
                    <a16:creationId xmlns:a16="http://schemas.microsoft.com/office/drawing/2014/main" id="{52AFB98C-EA27-F61F-DDA2-D7D6B999A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36" name="Freeform 179">
                <a:extLst>
                  <a:ext uri="{FF2B5EF4-FFF2-40B4-BE49-F238E27FC236}">
                    <a16:creationId xmlns:a16="http://schemas.microsoft.com/office/drawing/2014/main" id="{33D8A0D3-37FD-3595-B5EA-D88F03ED6D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6" name="Group 177">
              <a:extLst>
                <a:ext uri="{FF2B5EF4-FFF2-40B4-BE49-F238E27FC236}">
                  <a16:creationId xmlns:a16="http://schemas.microsoft.com/office/drawing/2014/main" id="{DC2274A2-C5E0-8869-FBC0-49D6333AED8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3" name="Freeform 178">
                <a:extLst>
                  <a:ext uri="{FF2B5EF4-FFF2-40B4-BE49-F238E27FC236}">
                    <a16:creationId xmlns:a16="http://schemas.microsoft.com/office/drawing/2014/main" id="{84F2DDD4-704E-D814-DF67-43209F00C4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34" name="Freeform 179">
                <a:extLst>
                  <a:ext uri="{FF2B5EF4-FFF2-40B4-BE49-F238E27FC236}">
                    <a16:creationId xmlns:a16="http://schemas.microsoft.com/office/drawing/2014/main" id="{DDAFD40E-E7AC-708F-280C-4A42BC0EE7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6" name="Group 177">
              <a:extLst>
                <a:ext uri="{FF2B5EF4-FFF2-40B4-BE49-F238E27FC236}">
                  <a16:creationId xmlns:a16="http://schemas.microsoft.com/office/drawing/2014/main" id="{18EB3ACE-2831-60AC-0704-E97397B3C8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8" name="Freeform 178">
                <a:extLst>
                  <a:ext uri="{FF2B5EF4-FFF2-40B4-BE49-F238E27FC236}">
                    <a16:creationId xmlns:a16="http://schemas.microsoft.com/office/drawing/2014/main" id="{B6B0DB12-4297-219E-5DBC-C94152D9E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9" name="Freeform 179">
                <a:extLst>
                  <a:ext uri="{FF2B5EF4-FFF2-40B4-BE49-F238E27FC236}">
                    <a16:creationId xmlns:a16="http://schemas.microsoft.com/office/drawing/2014/main" id="{1075A3AE-DD2B-2F9D-91BB-2A50776C08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7" name="Group 177">
              <a:extLst>
                <a:ext uri="{FF2B5EF4-FFF2-40B4-BE49-F238E27FC236}">
                  <a16:creationId xmlns:a16="http://schemas.microsoft.com/office/drawing/2014/main" id="{CBC9DC97-DA79-0F45-E0E5-E8DF55E8836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6" name="Freeform 178">
                <a:extLst>
                  <a:ext uri="{FF2B5EF4-FFF2-40B4-BE49-F238E27FC236}">
                    <a16:creationId xmlns:a16="http://schemas.microsoft.com/office/drawing/2014/main" id="{9D6916FC-4356-A682-85B9-32963BB511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7" name="Freeform 179">
                <a:extLst>
                  <a:ext uri="{FF2B5EF4-FFF2-40B4-BE49-F238E27FC236}">
                    <a16:creationId xmlns:a16="http://schemas.microsoft.com/office/drawing/2014/main" id="{1028B66B-801A-B615-C95D-9AAB24C44D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8" name="Group 177">
              <a:extLst>
                <a:ext uri="{FF2B5EF4-FFF2-40B4-BE49-F238E27FC236}">
                  <a16:creationId xmlns:a16="http://schemas.microsoft.com/office/drawing/2014/main" id="{613D7C41-8699-7EB4-0688-519530E0BE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4" name="Freeform 178">
                <a:extLst>
                  <a:ext uri="{FF2B5EF4-FFF2-40B4-BE49-F238E27FC236}">
                    <a16:creationId xmlns:a16="http://schemas.microsoft.com/office/drawing/2014/main" id="{4F6BACF4-0F74-B082-FF9C-84B7BCAA68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5" name="Freeform 179">
                <a:extLst>
                  <a:ext uri="{FF2B5EF4-FFF2-40B4-BE49-F238E27FC236}">
                    <a16:creationId xmlns:a16="http://schemas.microsoft.com/office/drawing/2014/main" id="{AF8ED1AB-A490-CFB3-8B25-DF422C54C3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9" name="Group 177">
              <a:extLst>
                <a:ext uri="{FF2B5EF4-FFF2-40B4-BE49-F238E27FC236}">
                  <a16:creationId xmlns:a16="http://schemas.microsoft.com/office/drawing/2014/main" id="{A80D4CD2-6559-7649-C2DA-F97E881513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2" name="Freeform 178">
                <a:extLst>
                  <a:ext uri="{FF2B5EF4-FFF2-40B4-BE49-F238E27FC236}">
                    <a16:creationId xmlns:a16="http://schemas.microsoft.com/office/drawing/2014/main" id="{560B35FB-5AC2-E4BF-692E-8E34E368BD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3" name="Freeform 179">
                <a:extLst>
                  <a:ext uri="{FF2B5EF4-FFF2-40B4-BE49-F238E27FC236}">
                    <a16:creationId xmlns:a16="http://schemas.microsoft.com/office/drawing/2014/main" id="{F0E0354B-26B9-BD20-D341-597450B6E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0" name="Group 177">
              <a:extLst>
                <a:ext uri="{FF2B5EF4-FFF2-40B4-BE49-F238E27FC236}">
                  <a16:creationId xmlns:a16="http://schemas.microsoft.com/office/drawing/2014/main" id="{CADFC141-4AC2-40EB-E148-C2853D38E8E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0" name="Freeform 178">
                <a:extLst>
                  <a:ext uri="{FF2B5EF4-FFF2-40B4-BE49-F238E27FC236}">
                    <a16:creationId xmlns:a16="http://schemas.microsoft.com/office/drawing/2014/main" id="{C9A84370-64D5-A91A-001F-68BAA94D6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1" name="Freeform 179">
                <a:extLst>
                  <a:ext uri="{FF2B5EF4-FFF2-40B4-BE49-F238E27FC236}">
                    <a16:creationId xmlns:a16="http://schemas.microsoft.com/office/drawing/2014/main" id="{4738C243-B023-0FCD-CED2-D61417336B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1" name="Group 177">
              <a:extLst>
                <a:ext uri="{FF2B5EF4-FFF2-40B4-BE49-F238E27FC236}">
                  <a16:creationId xmlns:a16="http://schemas.microsoft.com/office/drawing/2014/main" id="{DC54825D-2D85-B82A-C350-9136CA02624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58" name="Freeform 178">
                <a:extLst>
                  <a:ext uri="{FF2B5EF4-FFF2-40B4-BE49-F238E27FC236}">
                    <a16:creationId xmlns:a16="http://schemas.microsoft.com/office/drawing/2014/main" id="{5166C0F6-C218-885F-45D3-E7136357FE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59" name="Freeform 179">
                <a:extLst>
                  <a:ext uri="{FF2B5EF4-FFF2-40B4-BE49-F238E27FC236}">
                    <a16:creationId xmlns:a16="http://schemas.microsoft.com/office/drawing/2014/main" id="{CFC9232B-9B26-788E-0EB6-A1D983405F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2" name="Group 177">
              <a:extLst>
                <a:ext uri="{FF2B5EF4-FFF2-40B4-BE49-F238E27FC236}">
                  <a16:creationId xmlns:a16="http://schemas.microsoft.com/office/drawing/2014/main" id="{A4EA01CE-A6FC-54C6-34A1-5C961AD75B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56" name="Freeform 178">
                <a:extLst>
                  <a:ext uri="{FF2B5EF4-FFF2-40B4-BE49-F238E27FC236}">
                    <a16:creationId xmlns:a16="http://schemas.microsoft.com/office/drawing/2014/main" id="{736725F4-ADC6-3175-D002-AA756F8B50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57" name="Freeform 179">
                <a:extLst>
                  <a:ext uri="{FF2B5EF4-FFF2-40B4-BE49-F238E27FC236}">
                    <a16:creationId xmlns:a16="http://schemas.microsoft.com/office/drawing/2014/main" id="{25C618F9-58B8-061C-8362-99DC750D2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3" name="Group 177">
              <a:extLst>
                <a:ext uri="{FF2B5EF4-FFF2-40B4-BE49-F238E27FC236}">
                  <a16:creationId xmlns:a16="http://schemas.microsoft.com/office/drawing/2014/main" id="{41401C65-2436-2FCE-064B-C154B13AB6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54" name="Freeform 178">
                <a:extLst>
                  <a:ext uri="{FF2B5EF4-FFF2-40B4-BE49-F238E27FC236}">
                    <a16:creationId xmlns:a16="http://schemas.microsoft.com/office/drawing/2014/main" id="{E0011A28-1BC2-C9BC-9E12-2DCDB90A1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55" name="Freeform 179">
                <a:extLst>
                  <a:ext uri="{FF2B5EF4-FFF2-40B4-BE49-F238E27FC236}">
                    <a16:creationId xmlns:a16="http://schemas.microsoft.com/office/drawing/2014/main" id="{7E1129FD-3E00-105C-D56B-EBAC46FFCF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75" name="Grupo 6574">
            <a:extLst>
              <a:ext uri="{FF2B5EF4-FFF2-40B4-BE49-F238E27FC236}">
                <a16:creationId xmlns:a16="http://schemas.microsoft.com/office/drawing/2014/main" id="{106176C3-CCBE-9872-1791-9AC77AA9C904}"/>
              </a:ext>
            </a:extLst>
          </p:cNvPr>
          <p:cNvGrpSpPr/>
          <p:nvPr/>
        </p:nvGrpSpPr>
        <p:grpSpPr>
          <a:xfrm>
            <a:off x="4760197" y="2033716"/>
            <a:ext cx="2668427" cy="3695281"/>
            <a:chOff x="4919925" y="1957516"/>
            <a:chExt cx="2668427" cy="3695281"/>
          </a:xfrm>
          <a:solidFill>
            <a:schemeClr val="accent3"/>
          </a:solidFill>
        </p:grpSpPr>
        <p:grpSp>
          <p:nvGrpSpPr>
            <p:cNvPr id="6401" name="Group 177">
              <a:extLst>
                <a:ext uri="{FF2B5EF4-FFF2-40B4-BE49-F238E27FC236}">
                  <a16:creationId xmlns:a16="http://schemas.microsoft.com/office/drawing/2014/main" id="{FD902956-7C25-980D-FF74-EC3765128B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414" name="Freeform 178">
                <a:extLst>
                  <a:ext uri="{FF2B5EF4-FFF2-40B4-BE49-F238E27FC236}">
                    <a16:creationId xmlns:a16="http://schemas.microsoft.com/office/drawing/2014/main" id="{409078DA-F791-DCB0-B3AA-9F3E039595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5" name="Freeform 179">
                <a:extLst>
                  <a:ext uri="{FF2B5EF4-FFF2-40B4-BE49-F238E27FC236}">
                    <a16:creationId xmlns:a16="http://schemas.microsoft.com/office/drawing/2014/main" id="{7A39C8D9-811D-7794-26B0-457CB86107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402" name="Group 177">
              <a:extLst>
                <a:ext uri="{FF2B5EF4-FFF2-40B4-BE49-F238E27FC236}">
                  <a16:creationId xmlns:a16="http://schemas.microsoft.com/office/drawing/2014/main" id="{1D5D92EB-A847-E427-0505-398B892294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412" name="Freeform 178">
                <a:extLst>
                  <a:ext uri="{FF2B5EF4-FFF2-40B4-BE49-F238E27FC236}">
                    <a16:creationId xmlns:a16="http://schemas.microsoft.com/office/drawing/2014/main" id="{7A5F82F8-3ACB-6E25-9E84-6FE6687F55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3" name="Freeform 179">
                <a:extLst>
                  <a:ext uri="{FF2B5EF4-FFF2-40B4-BE49-F238E27FC236}">
                    <a16:creationId xmlns:a16="http://schemas.microsoft.com/office/drawing/2014/main" id="{00360E1C-C1FE-0350-BF0A-FFC7A7125E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6" name="Group 177">
              <a:extLst>
                <a:ext uri="{FF2B5EF4-FFF2-40B4-BE49-F238E27FC236}">
                  <a16:creationId xmlns:a16="http://schemas.microsoft.com/office/drawing/2014/main" id="{F1C01EAD-8426-2966-20D2-F57F69BBB1C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92" name="Freeform 178">
                <a:extLst>
                  <a:ext uri="{FF2B5EF4-FFF2-40B4-BE49-F238E27FC236}">
                    <a16:creationId xmlns:a16="http://schemas.microsoft.com/office/drawing/2014/main" id="{692F1C54-E03F-3506-DA37-D134BCB6C7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3" name="Freeform 179">
                <a:extLst>
                  <a:ext uri="{FF2B5EF4-FFF2-40B4-BE49-F238E27FC236}">
                    <a16:creationId xmlns:a16="http://schemas.microsoft.com/office/drawing/2014/main" id="{41DA9E36-8409-4C06-A10A-4161A5B0A2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7" name="Group 177">
              <a:extLst>
                <a:ext uri="{FF2B5EF4-FFF2-40B4-BE49-F238E27FC236}">
                  <a16:creationId xmlns:a16="http://schemas.microsoft.com/office/drawing/2014/main" id="{47CD91D5-F02A-C042-1D71-FD2E4C9CD6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90" name="Freeform 178">
                <a:extLst>
                  <a:ext uri="{FF2B5EF4-FFF2-40B4-BE49-F238E27FC236}">
                    <a16:creationId xmlns:a16="http://schemas.microsoft.com/office/drawing/2014/main" id="{3E1C43C9-E9D0-2F81-42CF-CAD69E572B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1" name="Freeform 179">
                <a:extLst>
                  <a:ext uri="{FF2B5EF4-FFF2-40B4-BE49-F238E27FC236}">
                    <a16:creationId xmlns:a16="http://schemas.microsoft.com/office/drawing/2014/main" id="{7EE9CE7A-0AB4-317F-7F9C-D92FDE49A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8" name="Group 177">
              <a:extLst>
                <a:ext uri="{FF2B5EF4-FFF2-40B4-BE49-F238E27FC236}">
                  <a16:creationId xmlns:a16="http://schemas.microsoft.com/office/drawing/2014/main" id="{C5D56761-98EF-D22D-54B6-6BCCAF0E99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88" name="Freeform 178">
                <a:extLst>
                  <a:ext uri="{FF2B5EF4-FFF2-40B4-BE49-F238E27FC236}">
                    <a16:creationId xmlns:a16="http://schemas.microsoft.com/office/drawing/2014/main" id="{8A06DCD0-5BD1-5D0C-3A84-FE7C42E703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9" name="Freeform 179">
                <a:extLst>
                  <a:ext uri="{FF2B5EF4-FFF2-40B4-BE49-F238E27FC236}">
                    <a16:creationId xmlns:a16="http://schemas.microsoft.com/office/drawing/2014/main" id="{AABE3808-090F-E6F8-CADC-D7C560E18F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9" name="Group 177">
              <a:extLst>
                <a:ext uri="{FF2B5EF4-FFF2-40B4-BE49-F238E27FC236}">
                  <a16:creationId xmlns:a16="http://schemas.microsoft.com/office/drawing/2014/main" id="{5C81695B-5979-2DA8-CFAC-A6D9F81373F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86" name="Freeform 178">
                <a:extLst>
                  <a:ext uri="{FF2B5EF4-FFF2-40B4-BE49-F238E27FC236}">
                    <a16:creationId xmlns:a16="http://schemas.microsoft.com/office/drawing/2014/main" id="{10F18FA5-D141-9D27-C2FD-96F7E32698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7" name="Freeform 179">
                <a:extLst>
                  <a:ext uri="{FF2B5EF4-FFF2-40B4-BE49-F238E27FC236}">
                    <a16:creationId xmlns:a16="http://schemas.microsoft.com/office/drawing/2014/main" id="{3A23056D-324A-70B2-CA3F-2FFE893C01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0" name="Group 177">
              <a:extLst>
                <a:ext uri="{FF2B5EF4-FFF2-40B4-BE49-F238E27FC236}">
                  <a16:creationId xmlns:a16="http://schemas.microsoft.com/office/drawing/2014/main" id="{BC82FDED-DB1E-A198-81BA-734F6950F1A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19925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72" name="Freeform 178">
                <a:extLst>
                  <a:ext uri="{FF2B5EF4-FFF2-40B4-BE49-F238E27FC236}">
                    <a16:creationId xmlns:a16="http://schemas.microsoft.com/office/drawing/2014/main" id="{41A8C3F0-A883-24C6-4C8F-33D09CEBBA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3" name="Freeform 179">
                <a:extLst>
                  <a:ext uri="{FF2B5EF4-FFF2-40B4-BE49-F238E27FC236}">
                    <a16:creationId xmlns:a16="http://schemas.microsoft.com/office/drawing/2014/main" id="{9668CBC8-9645-6068-E7E7-2341ABEA03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1" name="Group 177">
              <a:extLst>
                <a:ext uri="{FF2B5EF4-FFF2-40B4-BE49-F238E27FC236}">
                  <a16:creationId xmlns:a16="http://schemas.microsoft.com/office/drawing/2014/main" id="{CD0319D7-7F0A-6117-170A-489644867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1464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70" name="Freeform 178">
                <a:extLst>
                  <a:ext uri="{FF2B5EF4-FFF2-40B4-BE49-F238E27FC236}">
                    <a16:creationId xmlns:a16="http://schemas.microsoft.com/office/drawing/2014/main" id="{174619FB-9E7E-CBCE-A536-A4393A1178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1" name="Freeform 179">
                <a:extLst>
                  <a:ext uri="{FF2B5EF4-FFF2-40B4-BE49-F238E27FC236}">
                    <a16:creationId xmlns:a16="http://schemas.microsoft.com/office/drawing/2014/main" id="{6F81C7F9-F049-E4C8-D8E5-0B2E23CCEB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2" name="Group 177">
              <a:extLst>
                <a:ext uri="{FF2B5EF4-FFF2-40B4-BE49-F238E27FC236}">
                  <a16:creationId xmlns:a16="http://schemas.microsoft.com/office/drawing/2014/main" id="{CE19D48A-FB5C-E5A3-A9CA-E5380464D9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8" name="Freeform 178">
                <a:extLst>
                  <a:ext uri="{FF2B5EF4-FFF2-40B4-BE49-F238E27FC236}">
                    <a16:creationId xmlns:a16="http://schemas.microsoft.com/office/drawing/2014/main" id="{7363D1A9-A3ED-F3DE-736A-3C4D1C775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9" name="Freeform 179">
                <a:extLst>
                  <a:ext uri="{FF2B5EF4-FFF2-40B4-BE49-F238E27FC236}">
                    <a16:creationId xmlns:a16="http://schemas.microsoft.com/office/drawing/2014/main" id="{D800469E-E257-64E0-5A79-D214C325C0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3" name="Group 177">
              <a:extLst>
                <a:ext uri="{FF2B5EF4-FFF2-40B4-BE49-F238E27FC236}">
                  <a16:creationId xmlns:a16="http://schemas.microsoft.com/office/drawing/2014/main" id="{D7743F89-A62D-DBEF-18B1-66D63427473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6" name="Freeform 178">
                <a:extLst>
                  <a:ext uri="{FF2B5EF4-FFF2-40B4-BE49-F238E27FC236}">
                    <a16:creationId xmlns:a16="http://schemas.microsoft.com/office/drawing/2014/main" id="{4B1735DC-507D-7EDA-58E0-0AD36EBE4B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7" name="Freeform 179">
                <a:extLst>
                  <a:ext uri="{FF2B5EF4-FFF2-40B4-BE49-F238E27FC236}">
                    <a16:creationId xmlns:a16="http://schemas.microsoft.com/office/drawing/2014/main" id="{07D5A81C-A318-A704-3BE7-813EAA2B4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4" name="Group 177">
              <a:extLst>
                <a:ext uri="{FF2B5EF4-FFF2-40B4-BE49-F238E27FC236}">
                  <a16:creationId xmlns:a16="http://schemas.microsoft.com/office/drawing/2014/main" id="{03C36275-C566-B981-90A3-182E7BCE30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4" name="Freeform 178">
                <a:extLst>
                  <a:ext uri="{FF2B5EF4-FFF2-40B4-BE49-F238E27FC236}">
                    <a16:creationId xmlns:a16="http://schemas.microsoft.com/office/drawing/2014/main" id="{1E8F6FA7-49D8-E360-7D60-C05145550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5" name="Freeform 179">
                <a:extLst>
                  <a:ext uri="{FF2B5EF4-FFF2-40B4-BE49-F238E27FC236}">
                    <a16:creationId xmlns:a16="http://schemas.microsoft.com/office/drawing/2014/main" id="{761441ED-268E-FDBF-77BA-B8BECCA2A8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5" name="Group 177">
              <a:extLst>
                <a:ext uri="{FF2B5EF4-FFF2-40B4-BE49-F238E27FC236}">
                  <a16:creationId xmlns:a16="http://schemas.microsoft.com/office/drawing/2014/main" id="{6FE082D9-CBDE-7013-C196-32540F4CF35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2" name="Freeform 178">
                <a:extLst>
                  <a:ext uri="{FF2B5EF4-FFF2-40B4-BE49-F238E27FC236}">
                    <a16:creationId xmlns:a16="http://schemas.microsoft.com/office/drawing/2014/main" id="{5A29E3B4-B759-2AE5-CBE6-64B9749103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3" name="Freeform 179">
                <a:extLst>
                  <a:ext uri="{FF2B5EF4-FFF2-40B4-BE49-F238E27FC236}">
                    <a16:creationId xmlns:a16="http://schemas.microsoft.com/office/drawing/2014/main" id="{AAF0221D-34D2-3893-04AB-3419DA89E4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6" name="Group 177">
              <a:extLst>
                <a:ext uri="{FF2B5EF4-FFF2-40B4-BE49-F238E27FC236}">
                  <a16:creationId xmlns:a16="http://schemas.microsoft.com/office/drawing/2014/main" id="{4FF35D46-4AA0-8D80-A7F3-B55213AEE91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9159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0" name="Freeform 178">
                <a:extLst>
                  <a:ext uri="{FF2B5EF4-FFF2-40B4-BE49-F238E27FC236}">
                    <a16:creationId xmlns:a16="http://schemas.microsoft.com/office/drawing/2014/main" id="{8DB0A1BA-3E66-70EC-D143-A75082E4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1" name="Freeform 179">
                <a:extLst>
                  <a:ext uri="{FF2B5EF4-FFF2-40B4-BE49-F238E27FC236}">
                    <a16:creationId xmlns:a16="http://schemas.microsoft.com/office/drawing/2014/main" id="{0ECC8817-A5EA-078A-820C-E3580207DC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7" name="Group 177">
              <a:extLst>
                <a:ext uri="{FF2B5EF4-FFF2-40B4-BE49-F238E27FC236}">
                  <a16:creationId xmlns:a16="http://schemas.microsoft.com/office/drawing/2014/main" id="{478FF711-D616-5BA3-23EA-D7EFF90CA1B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10700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58" name="Freeform 178">
                <a:extLst>
                  <a:ext uri="{FF2B5EF4-FFF2-40B4-BE49-F238E27FC236}">
                    <a16:creationId xmlns:a16="http://schemas.microsoft.com/office/drawing/2014/main" id="{8A85D506-90A9-EFF1-83DA-C775FFCC0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9" name="Freeform 179">
                <a:extLst>
                  <a:ext uri="{FF2B5EF4-FFF2-40B4-BE49-F238E27FC236}">
                    <a16:creationId xmlns:a16="http://schemas.microsoft.com/office/drawing/2014/main" id="{0E511D71-8590-06E7-FCB2-23BD585448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6" name="Group 177">
              <a:extLst>
                <a:ext uri="{FF2B5EF4-FFF2-40B4-BE49-F238E27FC236}">
                  <a16:creationId xmlns:a16="http://schemas.microsoft.com/office/drawing/2014/main" id="{E5C416C1-818D-AD55-DFCE-F5523784FFE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19925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8" name="Freeform 178">
                <a:extLst>
                  <a:ext uri="{FF2B5EF4-FFF2-40B4-BE49-F238E27FC236}">
                    <a16:creationId xmlns:a16="http://schemas.microsoft.com/office/drawing/2014/main" id="{EDAA99A0-B746-323C-E50E-7E32566DFE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9" name="Freeform 179">
                <a:extLst>
                  <a:ext uri="{FF2B5EF4-FFF2-40B4-BE49-F238E27FC236}">
                    <a16:creationId xmlns:a16="http://schemas.microsoft.com/office/drawing/2014/main" id="{BFC66AAE-243D-1EB6-5968-9404AEC9A5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7" name="Group 177">
              <a:extLst>
                <a:ext uri="{FF2B5EF4-FFF2-40B4-BE49-F238E27FC236}">
                  <a16:creationId xmlns:a16="http://schemas.microsoft.com/office/drawing/2014/main" id="{A81651E2-4513-8752-C51D-9E2903206D2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1464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6" name="Freeform 178">
                <a:extLst>
                  <a:ext uri="{FF2B5EF4-FFF2-40B4-BE49-F238E27FC236}">
                    <a16:creationId xmlns:a16="http://schemas.microsoft.com/office/drawing/2014/main" id="{15CDA007-C10B-63DC-E5ED-32D03D76C9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7" name="Freeform 179">
                <a:extLst>
                  <a:ext uri="{FF2B5EF4-FFF2-40B4-BE49-F238E27FC236}">
                    <a16:creationId xmlns:a16="http://schemas.microsoft.com/office/drawing/2014/main" id="{CF7DDAE3-ABDC-49CA-17FA-2A40C8EEEA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8" name="Group 177">
              <a:extLst>
                <a:ext uri="{FF2B5EF4-FFF2-40B4-BE49-F238E27FC236}">
                  <a16:creationId xmlns:a16="http://schemas.microsoft.com/office/drawing/2014/main" id="{192CAD40-32CD-FDF6-478E-4C0600CFF64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4" name="Freeform 178">
                <a:extLst>
                  <a:ext uri="{FF2B5EF4-FFF2-40B4-BE49-F238E27FC236}">
                    <a16:creationId xmlns:a16="http://schemas.microsoft.com/office/drawing/2014/main" id="{D1082FCE-DA4D-A40D-C677-C1FB5D51CE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5" name="Freeform 179">
                <a:extLst>
                  <a:ext uri="{FF2B5EF4-FFF2-40B4-BE49-F238E27FC236}">
                    <a16:creationId xmlns:a16="http://schemas.microsoft.com/office/drawing/2014/main" id="{A9B346B1-4ECC-38C9-C1FD-CC78C779C2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9" name="Group 177">
              <a:extLst>
                <a:ext uri="{FF2B5EF4-FFF2-40B4-BE49-F238E27FC236}">
                  <a16:creationId xmlns:a16="http://schemas.microsoft.com/office/drawing/2014/main" id="{D4112A96-D7FE-FE99-047E-1BC7494082B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2" name="Freeform 178">
                <a:extLst>
                  <a:ext uri="{FF2B5EF4-FFF2-40B4-BE49-F238E27FC236}">
                    <a16:creationId xmlns:a16="http://schemas.microsoft.com/office/drawing/2014/main" id="{896E411E-4925-C3CA-E4F7-4D6D5AE692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3" name="Freeform 179">
                <a:extLst>
                  <a:ext uri="{FF2B5EF4-FFF2-40B4-BE49-F238E27FC236}">
                    <a16:creationId xmlns:a16="http://schemas.microsoft.com/office/drawing/2014/main" id="{F97EAEDF-999C-97DE-201C-E5213AFC4C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0" name="Group 177">
              <a:extLst>
                <a:ext uri="{FF2B5EF4-FFF2-40B4-BE49-F238E27FC236}">
                  <a16:creationId xmlns:a16="http://schemas.microsoft.com/office/drawing/2014/main" id="{7278674D-53D1-D7AB-562E-5CD17A7C790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0" name="Freeform 178">
                <a:extLst>
                  <a:ext uri="{FF2B5EF4-FFF2-40B4-BE49-F238E27FC236}">
                    <a16:creationId xmlns:a16="http://schemas.microsoft.com/office/drawing/2014/main" id="{A8E7C9B2-662D-120B-CEBC-C615630D0A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1" name="Freeform 179">
                <a:extLst>
                  <a:ext uri="{FF2B5EF4-FFF2-40B4-BE49-F238E27FC236}">
                    <a16:creationId xmlns:a16="http://schemas.microsoft.com/office/drawing/2014/main" id="{AA122615-C0A8-D6F3-0811-4197BF6303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1" name="Group 177">
              <a:extLst>
                <a:ext uri="{FF2B5EF4-FFF2-40B4-BE49-F238E27FC236}">
                  <a16:creationId xmlns:a16="http://schemas.microsoft.com/office/drawing/2014/main" id="{62FC969E-F13B-841C-C965-7F4CB0EDB7A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38" name="Freeform 178">
                <a:extLst>
                  <a:ext uri="{FF2B5EF4-FFF2-40B4-BE49-F238E27FC236}">
                    <a16:creationId xmlns:a16="http://schemas.microsoft.com/office/drawing/2014/main" id="{31BA6D42-7347-3DFD-EDDA-C292A619BF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9" name="Freeform 179">
                <a:extLst>
                  <a:ext uri="{FF2B5EF4-FFF2-40B4-BE49-F238E27FC236}">
                    <a16:creationId xmlns:a16="http://schemas.microsoft.com/office/drawing/2014/main" id="{43D71D78-55E2-81CA-4CEE-9E48F8087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2" name="Group 177">
              <a:extLst>
                <a:ext uri="{FF2B5EF4-FFF2-40B4-BE49-F238E27FC236}">
                  <a16:creationId xmlns:a16="http://schemas.microsoft.com/office/drawing/2014/main" id="{BF4610CE-D611-4ED2-03AE-69840C0F9FF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9159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36" name="Freeform 178">
                <a:extLst>
                  <a:ext uri="{FF2B5EF4-FFF2-40B4-BE49-F238E27FC236}">
                    <a16:creationId xmlns:a16="http://schemas.microsoft.com/office/drawing/2014/main" id="{539EF02D-254B-2A49-E13F-668E7925A6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7" name="Freeform 179">
                <a:extLst>
                  <a:ext uri="{FF2B5EF4-FFF2-40B4-BE49-F238E27FC236}">
                    <a16:creationId xmlns:a16="http://schemas.microsoft.com/office/drawing/2014/main" id="{6C71137D-E4E3-B60C-B652-130A590D6A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3" name="Group 177">
              <a:extLst>
                <a:ext uri="{FF2B5EF4-FFF2-40B4-BE49-F238E27FC236}">
                  <a16:creationId xmlns:a16="http://schemas.microsoft.com/office/drawing/2014/main" id="{93F35301-2914-7DB0-9B23-9A4267955F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10700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34" name="Freeform 178">
                <a:extLst>
                  <a:ext uri="{FF2B5EF4-FFF2-40B4-BE49-F238E27FC236}">
                    <a16:creationId xmlns:a16="http://schemas.microsoft.com/office/drawing/2014/main" id="{95A7C07B-AEC9-8159-B5E4-7EC55AFDCF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5" name="Freeform 179">
                <a:extLst>
                  <a:ext uri="{FF2B5EF4-FFF2-40B4-BE49-F238E27FC236}">
                    <a16:creationId xmlns:a16="http://schemas.microsoft.com/office/drawing/2014/main" id="{EDE954E0-8EAF-6C7E-006A-E35E0C3C4E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4" name="Group 177">
              <a:extLst>
                <a:ext uri="{FF2B5EF4-FFF2-40B4-BE49-F238E27FC236}">
                  <a16:creationId xmlns:a16="http://schemas.microsoft.com/office/drawing/2014/main" id="{F5CBC017-67E5-E7F9-4999-9A0A9C3B94B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20" name="Freeform 178">
                <a:extLst>
                  <a:ext uri="{FF2B5EF4-FFF2-40B4-BE49-F238E27FC236}">
                    <a16:creationId xmlns:a16="http://schemas.microsoft.com/office/drawing/2014/main" id="{A2AEEF28-538B-3FFF-4ABF-B764E87FE0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1" name="Freeform 179">
                <a:extLst>
                  <a:ext uri="{FF2B5EF4-FFF2-40B4-BE49-F238E27FC236}">
                    <a16:creationId xmlns:a16="http://schemas.microsoft.com/office/drawing/2014/main" id="{F52AC8F0-681A-FD0F-5665-EAC1F8EF42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5" name="Group 177">
              <a:extLst>
                <a:ext uri="{FF2B5EF4-FFF2-40B4-BE49-F238E27FC236}">
                  <a16:creationId xmlns:a16="http://schemas.microsoft.com/office/drawing/2014/main" id="{53915162-5000-1B3E-1FE4-818368C66E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18" name="Freeform 178">
                <a:extLst>
                  <a:ext uri="{FF2B5EF4-FFF2-40B4-BE49-F238E27FC236}">
                    <a16:creationId xmlns:a16="http://schemas.microsoft.com/office/drawing/2014/main" id="{999C36AA-047C-BB35-E6E8-7FBA0BFAAD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19" name="Freeform 179">
                <a:extLst>
                  <a:ext uri="{FF2B5EF4-FFF2-40B4-BE49-F238E27FC236}">
                    <a16:creationId xmlns:a16="http://schemas.microsoft.com/office/drawing/2014/main" id="{DD53884D-84DB-EAE8-74BF-6715FB5C02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6" name="Group 177">
              <a:extLst>
                <a:ext uri="{FF2B5EF4-FFF2-40B4-BE49-F238E27FC236}">
                  <a16:creationId xmlns:a16="http://schemas.microsoft.com/office/drawing/2014/main" id="{55D1679D-0F8E-ABDE-0C76-D5A4A181DC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16" name="Freeform 178">
                <a:extLst>
                  <a:ext uri="{FF2B5EF4-FFF2-40B4-BE49-F238E27FC236}">
                    <a16:creationId xmlns:a16="http://schemas.microsoft.com/office/drawing/2014/main" id="{61D85D82-446D-4BA0-D843-73186A20B4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17" name="Freeform 179">
                <a:extLst>
                  <a:ext uri="{FF2B5EF4-FFF2-40B4-BE49-F238E27FC236}">
                    <a16:creationId xmlns:a16="http://schemas.microsoft.com/office/drawing/2014/main" id="{0BCFB873-18BF-DBB6-A3AD-AFA3B92480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7" name="Group 177">
              <a:extLst>
                <a:ext uri="{FF2B5EF4-FFF2-40B4-BE49-F238E27FC236}">
                  <a16:creationId xmlns:a16="http://schemas.microsoft.com/office/drawing/2014/main" id="{2EE86B3C-FF03-BF89-ED8C-4F5C688BAD3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14" name="Freeform 178">
                <a:extLst>
                  <a:ext uri="{FF2B5EF4-FFF2-40B4-BE49-F238E27FC236}">
                    <a16:creationId xmlns:a16="http://schemas.microsoft.com/office/drawing/2014/main" id="{8B991C32-27F6-E971-BAC0-5528AEC459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15" name="Freeform 179">
                <a:extLst>
                  <a:ext uri="{FF2B5EF4-FFF2-40B4-BE49-F238E27FC236}">
                    <a16:creationId xmlns:a16="http://schemas.microsoft.com/office/drawing/2014/main" id="{E8365D81-2EEB-7715-FC6A-0C6639641E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81" name="Group 177">
              <a:extLst>
                <a:ext uri="{FF2B5EF4-FFF2-40B4-BE49-F238E27FC236}">
                  <a16:creationId xmlns:a16="http://schemas.microsoft.com/office/drawing/2014/main" id="{C3B36D78-B60A-3D14-1FCA-639C889BD3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94" name="Freeform 178">
                <a:extLst>
                  <a:ext uri="{FF2B5EF4-FFF2-40B4-BE49-F238E27FC236}">
                    <a16:creationId xmlns:a16="http://schemas.microsoft.com/office/drawing/2014/main" id="{CD354109-5652-9FA3-1431-21C4ED0645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95" name="Freeform 179">
                <a:extLst>
                  <a:ext uri="{FF2B5EF4-FFF2-40B4-BE49-F238E27FC236}">
                    <a16:creationId xmlns:a16="http://schemas.microsoft.com/office/drawing/2014/main" id="{16D40ABA-CAF8-734D-FC39-6DF16C5C05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82" name="Group 177">
              <a:extLst>
                <a:ext uri="{FF2B5EF4-FFF2-40B4-BE49-F238E27FC236}">
                  <a16:creationId xmlns:a16="http://schemas.microsoft.com/office/drawing/2014/main" id="{17DD4978-F16E-491E-0136-9B32DEBC47C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92" name="Freeform 178">
                <a:extLst>
                  <a:ext uri="{FF2B5EF4-FFF2-40B4-BE49-F238E27FC236}">
                    <a16:creationId xmlns:a16="http://schemas.microsoft.com/office/drawing/2014/main" id="{D736106C-0F5F-9329-3156-BCF1518358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93" name="Freeform 179">
                <a:extLst>
                  <a:ext uri="{FF2B5EF4-FFF2-40B4-BE49-F238E27FC236}">
                    <a16:creationId xmlns:a16="http://schemas.microsoft.com/office/drawing/2014/main" id="{910DB09F-7E6A-86A7-9C15-3E146B874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76" name="Grupo 6575">
            <a:extLst>
              <a:ext uri="{FF2B5EF4-FFF2-40B4-BE49-F238E27FC236}">
                <a16:creationId xmlns:a16="http://schemas.microsoft.com/office/drawing/2014/main" id="{5E9BDEC9-BEA5-ED0F-89C3-8F9EE70F3E25}"/>
              </a:ext>
            </a:extLst>
          </p:cNvPr>
          <p:cNvGrpSpPr/>
          <p:nvPr/>
        </p:nvGrpSpPr>
        <p:grpSpPr>
          <a:xfrm flipH="1">
            <a:off x="6926684" y="2033716"/>
            <a:ext cx="2668427" cy="3695281"/>
            <a:chOff x="1846045" y="1957516"/>
            <a:chExt cx="2668427" cy="3695281"/>
          </a:xfrm>
          <a:solidFill>
            <a:schemeClr val="bg2"/>
          </a:solidFill>
        </p:grpSpPr>
        <p:grpSp>
          <p:nvGrpSpPr>
            <p:cNvPr id="6577" name="Group 177">
              <a:extLst>
                <a:ext uri="{FF2B5EF4-FFF2-40B4-BE49-F238E27FC236}">
                  <a16:creationId xmlns:a16="http://schemas.microsoft.com/office/drawing/2014/main" id="{54EE54EC-90B6-DFA7-0C1D-828CBA7D97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9" name="Freeform 178">
                <a:extLst>
                  <a:ext uri="{FF2B5EF4-FFF2-40B4-BE49-F238E27FC236}">
                    <a16:creationId xmlns:a16="http://schemas.microsoft.com/office/drawing/2014/main" id="{C5884F3B-A754-C799-F2B8-7042723306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90" name="Freeform 179">
                <a:extLst>
                  <a:ext uri="{FF2B5EF4-FFF2-40B4-BE49-F238E27FC236}">
                    <a16:creationId xmlns:a16="http://schemas.microsoft.com/office/drawing/2014/main" id="{8ED7B1D2-FDC5-D73E-5CC9-B02DA170FE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78" name="Group 177">
              <a:extLst>
                <a:ext uri="{FF2B5EF4-FFF2-40B4-BE49-F238E27FC236}">
                  <a16:creationId xmlns:a16="http://schemas.microsoft.com/office/drawing/2014/main" id="{F429FFD9-5732-C5AA-4A67-5343BA8D7C5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7" name="Freeform 178">
                <a:extLst>
                  <a:ext uri="{FF2B5EF4-FFF2-40B4-BE49-F238E27FC236}">
                    <a16:creationId xmlns:a16="http://schemas.microsoft.com/office/drawing/2014/main" id="{F43FD1BE-6C8A-7214-3CEE-0C30F892E4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8" name="Freeform 179">
                <a:extLst>
                  <a:ext uri="{FF2B5EF4-FFF2-40B4-BE49-F238E27FC236}">
                    <a16:creationId xmlns:a16="http://schemas.microsoft.com/office/drawing/2014/main" id="{0B0765FF-147E-62DD-5D7B-C8E3C34C91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79" name="Group 177">
              <a:extLst>
                <a:ext uri="{FF2B5EF4-FFF2-40B4-BE49-F238E27FC236}">
                  <a16:creationId xmlns:a16="http://schemas.microsoft.com/office/drawing/2014/main" id="{9149997E-157F-10A2-E5C2-CC73645158A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5" name="Freeform 178">
                <a:extLst>
                  <a:ext uri="{FF2B5EF4-FFF2-40B4-BE49-F238E27FC236}">
                    <a16:creationId xmlns:a16="http://schemas.microsoft.com/office/drawing/2014/main" id="{0C9D3CDA-DF79-B177-AC45-36717A2B49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6" name="Freeform 179">
                <a:extLst>
                  <a:ext uri="{FF2B5EF4-FFF2-40B4-BE49-F238E27FC236}">
                    <a16:creationId xmlns:a16="http://schemas.microsoft.com/office/drawing/2014/main" id="{F0C46149-382B-E85F-2FFA-4F4C3997E0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0" name="Group 177">
              <a:extLst>
                <a:ext uri="{FF2B5EF4-FFF2-40B4-BE49-F238E27FC236}">
                  <a16:creationId xmlns:a16="http://schemas.microsoft.com/office/drawing/2014/main" id="{7E1318F6-32A7-74C7-4503-A9120A1F49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3" name="Freeform 178">
                <a:extLst>
                  <a:ext uri="{FF2B5EF4-FFF2-40B4-BE49-F238E27FC236}">
                    <a16:creationId xmlns:a16="http://schemas.microsoft.com/office/drawing/2014/main" id="{A51CF616-F3E1-47BB-FC7F-FDD887D793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4" name="Freeform 179">
                <a:extLst>
                  <a:ext uri="{FF2B5EF4-FFF2-40B4-BE49-F238E27FC236}">
                    <a16:creationId xmlns:a16="http://schemas.microsoft.com/office/drawing/2014/main" id="{EBEC0447-7528-D302-7B51-BF05DF5F8A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1" name="Group 177">
              <a:extLst>
                <a:ext uri="{FF2B5EF4-FFF2-40B4-BE49-F238E27FC236}">
                  <a16:creationId xmlns:a16="http://schemas.microsoft.com/office/drawing/2014/main" id="{934D1278-824A-FD10-C561-03ED8548FF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1" name="Freeform 178">
                <a:extLst>
                  <a:ext uri="{FF2B5EF4-FFF2-40B4-BE49-F238E27FC236}">
                    <a16:creationId xmlns:a16="http://schemas.microsoft.com/office/drawing/2014/main" id="{AAA323FC-3FD2-5267-6B12-AE2478C684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2" name="Freeform 179">
                <a:extLst>
                  <a:ext uri="{FF2B5EF4-FFF2-40B4-BE49-F238E27FC236}">
                    <a16:creationId xmlns:a16="http://schemas.microsoft.com/office/drawing/2014/main" id="{B9E04A5E-41D2-3D37-79E9-DE3B033EF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2" name="Group 177">
              <a:extLst>
                <a:ext uri="{FF2B5EF4-FFF2-40B4-BE49-F238E27FC236}">
                  <a16:creationId xmlns:a16="http://schemas.microsoft.com/office/drawing/2014/main" id="{4843A7D8-8160-0F5D-A2D3-DC09419B266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79" name="Freeform 178">
                <a:extLst>
                  <a:ext uri="{FF2B5EF4-FFF2-40B4-BE49-F238E27FC236}">
                    <a16:creationId xmlns:a16="http://schemas.microsoft.com/office/drawing/2014/main" id="{E84B8C38-4D0F-2F6D-B1B5-6641948BA8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0" name="Freeform 179">
                <a:extLst>
                  <a:ext uri="{FF2B5EF4-FFF2-40B4-BE49-F238E27FC236}">
                    <a16:creationId xmlns:a16="http://schemas.microsoft.com/office/drawing/2014/main" id="{464F28CE-7770-BC50-BF20-01E8CA95C1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3" name="Group 177">
              <a:extLst>
                <a:ext uri="{FF2B5EF4-FFF2-40B4-BE49-F238E27FC236}">
                  <a16:creationId xmlns:a16="http://schemas.microsoft.com/office/drawing/2014/main" id="{1F0237E2-FB6E-831C-7CAC-E1D10DE804E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77" name="Freeform 178">
                <a:extLst>
                  <a:ext uri="{FF2B5EF4-FFF2-40B4-BE49-F238E27FC236}">
                    <a16:creationId xmlns:a16="http://schemas.microsoft.com/office/drawing/2014/main" id="{49226BDE-DBF0-E5D1-EC41-FD706F88E2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8" name="Freeform 179">
                <a:extLst>
                  <a:ext uri="{FF2B5EF4-FFF2-40B4-BE49-F238E27FC236}">
                    <a16:creationId xmlns:a16="http://schemas.microsoft.com/office/drawing/2014/main" id="{2E9771CF-2D96-1064-4D71-962AD9F57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4" name="Group 177">
              <a:extLst>
                <a:ext uri="{FF2B5EF4-FFF2-40B4-BE49-F238E27FC236}">
                  <a16:creationId xmlns:a16="http://schemas.microsoft.com/office/drawing/2014/main" id="{6EC2291A-B979-F593-9D50-4BD13D51CC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75" name="Freeform 178">
                <a:extLst>
                  <a:ext uri="{FF2B5EF4-FFF2-40B4-BE49-F238E27FC236}">
                    <a16:creationId xmlns:a16="http://schemas.microsoft.com/office/drawing/2014/main" id="{8BE71D1D-C92F-02CB-964B-EB30C4B7B6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6" name="Freeform 179">
                <a:extLst>
                  <a:ext uri="{FF2B5EF4-FFF2-40B4-BE49-F238E27FC236}">
                    <a16:creationId xmlns:a16="http://schemas.microsoft.com/office/drawing/2014/main" id="{A4A326DA-A822-5C77-4486-5614D89D53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5" name="Group 177">
              <a:extLst>
                <a:ext uri="{FF2B5EF4-FFF2-40B4-BE49-F238E27FC236}">
                  <a16:creationId xmlns:a16="http://schemas.microsoft.com/office/drawing/2014/main" id="{B7F4663F-7A72-296C-BC86-C9439F991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73" name="Freeform 178">
                <a:extLst>
                  <a:ext uri="{FF2B5EF4-FFF2-40B4-BE49-F238E27FC236}">
                    <a16:creationId xmlns:a16="http://schemas.microsoft.com/office/drawing/2014/main" id="{8CEB8360-25BA-4D92-C8D6-E1961EEF64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4" name="Freeform 179">
                <a:extLst>
                  <a:ext uri="{FF2B5EF4-FFF2-40B4-BE49-F238E27FC236}">
                    <a16:creationId xmlns:a16="http://schemas.microsoft.com/office/drawing/2014/main" id="{E8438A75-F6A1-45CB-1A78-633ADBA119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6" name="Group 177">
              <a:extLst>
                <a:ext uri="{FF2B5EF4-FFF2-40B4-BE49-F238E27FC236}">
                  <a16:creationId xmlns:a16="http://schemas.microsoft.com/office/drawing/2014/main" id="{B89FE143-DFED-01EC-2ABF-552168396D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71" name="Freeform 178">
                <a:extLst>
                  <a:ext uri="{FF2B5EF4-FFF2-40B4-BE49-F238E27FC236}">
                    <a16:creationId xmlns:a16="http://schemas.microsoft.com/office/drawing/2014/main" id="{87705268-8539-F7E6-AF2B-938E855A3B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2" name="Freeform 179">
                <a:extLst>
                  <a:ext uri="{FF2B5EF4-FFF2-40B4-BE49-F238E27FC236}">
                    <a16:creationId xmlns:a16="http://schemas.microsoft.com/office/drawing/2014/main" id="{3D30168E-80B3-14CA-95A2-D7A7445553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7" name="Group 177">
              <a:extLst>
                <a:ext uri="{FF2B5EF4-FFF2-40B4-BE49-F238E27FC236}">
                  <a16:creationId xmlns:a16="http://schemas.microsoft.com/office/drawing/2014/main" id="{03789EA2-C213-37B3-C9CB-0DD3A560BE7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9" name="Freeform 178">
                <a:extLst>
                  <a:ext uri="{FF2B5EF4-FFF2-40B4-BE49-F238E27FC236}">
                    <a16:creationId xmlns:a16="http://schemas.microsoft.com/office/drawing/2014/main" id="{28C79917-8192-C222-3125-9F04ACC16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0" name="Freeform 179">
                <a:extLst>
                  <a:ext uri="{FF2B5EF4-FFF2-40B4-BE49-F238E27FC236}">
                    <a16:creationId xmlns:a16="http://schemas.microsoft.com/office/drawing/2014/main" id="{88FA079D-4815-97E4-5E39-E7AB341A3D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8" name="Group 177">
              <a:extLst>
                <a:ext uri="{FF2B5EF4-FFF2-40B4-BE49-F238E27FC236}">
                  <a16:creationId xmlns:a16="http://schemas.microsoft.com/office/drawing/2014/main" id="{CE6AFF48-6025-897A-3C27-AA33041EC2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7" name="Freeform 178">
                <a:extLst>
                  <a:ext uri="{FF2B5EF4-FFF2-40B4-BE49-F238E27FC236}">
                    <a16:creationId xmlns:a16="http://schemas.microsoft.com/office/drawing/2014/main" id="{8B807E58-0B9A-4BE0-3AB3-69CD93C0B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8" name="Freeform 179">
                <a:extLst>
                  <a:ext uri="{FF2B5EF4-FFF2-40B4-BE49-F238E27FC236}">
                    <a16:creationId xmlns:a16="http://schemas.microsoft.com/office/drawing/2014/main" id="{7BDD7CE7-8CFE-E7B9-D151-E6E93001BD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9" name="Group 177">
              <a:extLst>
                <a:ext uri="{FF2B5EF4-FFF2-40B4-BE49-F238E27FC236}">
                  <a16:creationId xmlns:a16="http://schemas.microsoft.com/office/drawing/2014/main" id="{21CB9D95-E910-EC73-719D-183A4A1F96F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5" name="Freeform 178">
                <a:extLst>
                  <a:ext uri="{FF2B5EF4-FFF2-40B4-BE49-F238E27FC236}">
                    <a16:creationId xmlns:a16="http://schemas.microsoft.com/office/drawing/2014/main" id="{B2806DB8-DB62-8977-6B26-F5FF06C5D3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6" name="Freeform 179">
                <a:extLst>
                  <a:ext uri="{FF2B5EF4-FFF2-40B4-BE49-F238E27FC236}">
                    <a16:creationId xmlns:a16="http://schemas.microsoft.com/office/drawing/2014/main" id="{62E2ED09-04D8-F537-D665-AD37F71105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0" name="Group 177">
              <a:extLst>
                <a:ext uri="{FF2B5EF4-FFF2-40B4-BE49-F238E27FC236}">
                  <a16:creationId xmlns:a16="http://schemas.microsoft.com/office/drawing/2014/main" id="{46D9C3AA-583A-ABC3-13D9-65B5D8C1EDC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3" name="Freeform 178">
                <a:extLst>
                  <a:ext uri="{FF2B5EF4-FFF2-40B4-BE49-F238E27FC236}">
                    <a16:creationId xmlns:a16="http://schemas.microsoft.com/office/drawing/2014/main" id="{A97AE13D-4B49-296D-CAD0-E8E386288E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4" name="Freeform 179">
                <a:extLst>
                  <a:ext uri="{FF2B5EF4-FFF2-40B4-BE49-F238E27FC236}">
                    <a16:creationId xmlns:a16="http://schemas.microsoft.com/office/drawing/2014/main" id="{6A2B6C5D-7717-81EC-2247-F68EF34A2B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1" name="Group 177">
              <a:extLst>
                <a:ext uri="{FF2B5EF4-FFF2-40B4-BE49-F238E27FC236}">
                  <a16:creationId xmlns:a16="http://schemas.microsoft.com/office/drawing/2014/main" id="{102013D9-9A4E-8FD9-DC80-090D68DDBD5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61" name="Freeform 178">
                <a:extLst>
                  <a:ext uri="{FF2B5EF4-FFF2-40B4-BE49-F238E27FC236}">
                    <a16:creationId xmlns:a16="http://schemas.microsoft.com/office/drawing/2014/main" id="{E6C9BF54-38C4-BA5B-B10F-2A7161A5DC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2" name="Freeform 179">
                <a:extLst>
                  <a:ext uri="{FF2B5EF4-FFF2-40B4-BE49-F238E27FC236}">
                    <a16:creationId xmlns:a16="http://schemas.microsoft.com/office/drawing/2014/main" id="{0089BEDB-1027-47BA-7FFE-90E025B128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2" name="Group 177">
              <a:extLst>
                <a:ext uri="{FF2B5EF4-FFF2-40B4-BE49-F238E27FC236}">
                  <a16:creationId xmlns:a16="http://schemas.microsoft.com/office/drawing/2014/main" id="{AAA91195-ACA2-4A9F-8E81-A342DFD15ED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9" name="Freeform 178">
                <a:extLst>
                  <a:ext uri="{FF2B5EF4-FFF2-40B4-BE49-F238E27FC236}">
                    <a16:creationId xmlns:a16="http://schemas.microsoft.com/office/drawing/2014/main" id="{DA75BBB5-6BD5-9566-2B21-78600EEE3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0" name="Freeform 179">
                <a:extLst>
                  <a:ext uri="{FF2B5EF4-FFF2-40B4-BE49-F238E27FC236}">
                    <a16:creationId xmlns:a16="http://schemas.microsoft.com/office/drawing/2014/main" id="{5B918EF1-5892-B8FB-B159-137974F1A0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3" name="Group 177">
              <a:extLst>
                <a:ext uri="{FF2B5EF4-FFF2-40B4-BE49-F238E27FC236}">
                  <a16:creationId xmlns:a16="http://schemas.microsoft.com/office/drawing/2014/main" id="{EAF238E1-49E9-F2B0-BBDF-72A95697775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7" name="Freeform 178">
                <a:extLst>
                  <a:ext uri="{FF2B5EF4-FFF2-40B4-BE49-F238E27FC236}">
                    <a16:creationId xmlns:a16="http://schemas.microsoft.com/office/drawing/2014/main" id="{5CAFB24E-23B6-2B03-E785-1FF4B32D3C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8" name="Freeform 179">
                <a:extLst>
                  <a:ext uri="{FF2B5EF4-FFF2-40B4-BE49-F238E27FC236}">
                    <a16:creationId xmlns:a16="http://schemas.microsoft.com/office/drawing/2014/main" id="{24A46151-2B69-93F6-C5FB-E06850AD1D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4" name="Group 177">
              <a:extLst>
                <a:ext uri="{FF2B5EF4-FFF2-40B4-BE49-F238E27FC236}">
                  <a16:creationId xmlns:a16="http://schemas.microsoft.com/office/drawing/2014/main" id="{5D01C193-6A89-4885-57D5-6908200D632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5" name="Freeform 178">
                <a:extLst>
                  <a:ext uri="{FF2B5EF4-FFF2-40B4-BE49-F238E27FC236}">
                    <a16:creationId xmlns:a16="http://schemas.microsoft.com/office/drawing/2014/main" id="{C41AB7AF-7BC9-C4DD-3CD8-69C8776717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6" name="Freeform 179">
                <a:extLst>
                  <a:ext uri="{FF2B5EF4-FFF2-40B4-BE49-F238E27FC236}">
                    <a16:creationId xmlns:a16="http://schemas.microsoft.com/office/drawing/2014/main" id="{1DEC5A56-65F0-234A-AABC-70BAEBEC68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5" name="Group 177">
              <a:extLst>
                <a:ext uri="{FF2B5EF4-FFF2-40B4-BE49-F238E27FC236}">
                  <a16:creationId xmlns:a16="http://schemas.microsoft.com/office/drawing/2014/main" id="{DB85DC3A-31DC-89EF-B8A6-117E504469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3" name="Freeform 178">
                <a:extLst>
                  <a:ext uri="{FF2B5EF4-FFF2-40B4-BE49-F238E27FC236}">
                    <a16:creationId xmlns:a16="http://schemas.microsoft.com/office/drawing/2014/main" id="{38ED5BA2-20B3-1E69-5C98-CC5BC3C69F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4" name="Freeform 179">
                <a:extLst>
                  <a:ext uri="{FF2B5EF4-FFF2-40B4-BE49-F238E27FC236}">
                    <a16:creationId xmlns:a16="http://schemas.microsoft.com/office/drawing/2014/main" id="{1511999D-AAA7-B472-688F-8DCB5782C5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6" name="Group 177">
              <a:extLst>
                <a:ext uri="{FF2B5EF4-FFF2-40B4-BE49-F238E27FC236}">
                  <a16:creationId xmlns:a16="http://schemas.microsoft.com/office/drawing/2014/main" id="{74CACE97-3EF7-21AC-8BFB-11FE7AE71BD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51" name="Freeform 178">
                <a:extLst>
                  <a:ext uri="{FF2B5EF4-FFF2-40B4-BE49-F238E27FC236}">
                    <a16:creationId xmlns:a16="http://schemas.microsoft.com/office/drawing/2014/main" id="{82ECD70E-AB9A-D2C9-46CA-7C0ADBC38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2" name="Freeform 179">
                <a:extLst>
                  <a:ext uri="{FF2B5EF4-FFF2-40B4-BE49-F238E27FC236}">
                    <a16:creationId xmlns:a16="http://schemas.microsoft.com/office/drawing/2014/main" id="{220C59C0-00C8-7165-08AA-EB213DB8C7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7" name="Group 177">
              <a:extLst>
                <a:ext uri="{FF2B5EF4-FFF2-40B4-BE49-F238E27FC236}">
                  <a16:creationId xmlns:a16="http://schemas.microsoft.com/office/drawing/2014/main" id="{0AEF32CF-C122-3AE7-4841-94D19BA39B0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9" name="Freeform 178">
                <a:extLst>
                  <a:ext uri="{FF2B5EF4-FFF2-40B4-BE49-F238E27FC236}">
                    <a16:creationId xmlns:a16="http://schemas.microsoft.com/office/drawing/2014/main" id="{071D14C5-D0E4-C307-5717-840F4D07E9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0" name="Freeform 179">
                <a:extLst>
                  <a:ext uri="{FF2B5EF4-FFF2-40B4-BE49-F238E27FC236}">
                    <a16:creationId xmlns:a16="http://schemas.microsoft.com/office/drawing/2014/main" id="{F67D09A2-73AB-6F46-BCAB-94908CC272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8" name="Group 177">
              <a:extLst>
                <a:ext uri="{FF2B5EF4-FFF2-40B4-BE49-F238E27FC236}">
                  <a16:creationId xmlns:a16="http://schemas.microsoft.com/office/drawing/2014/main" id="{9E5F69F6-B2E1-0E82-768C-FF32B1B612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7" name="Freeform 178">
                <a:extLst>
                  <a:ext uri="{FF2B5EF4-FFF2-40B4-BE49-F238E27FC236}">
                    <a16:creationId xmlns:a16="http://schemas.microsoft.com/office/drawing/2014/main" id="{C64C08ED-6B5B-35FC-B210-31A1A42AB0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8" name="Freeform 179">
                <a:extLst>
                  <a:ext uri="{FF2B5EF4-FFF2-40B4-BE49-F238E27FC236}">
                    <a16:creationId xmlns:a16="http://schemas.microsoft.com/office/drawing/2014/main" id="{466A89F5-5F9C-92B1-F275-9EDC633913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9" name="Group 177">
              <a:extLst>
                <a:ext uri="{FF2B5EF4-FFF2-40B4-BE49-F238E27FC236}">
                  <a16:creationId xmlns:a16="http://schemas.microsoft.com/office/drawing/2014/main" id="{4958D37D-3B6B-9D49-8A9C-94914FF489E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5" name="Freeform 178">
                <a:extLst>
                  <a:ext uri="{FF2B5EF4-FFF2-40B4-BE49-F238E27FC236}">
                    <a16:creationId xmlns:a16="http://schemas.microsoft.com/office/drawing/2014/main" id="{FEAE9F78-B169-5625-B66C-ECF6A2DCE8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6" name="Freeform 179">
                <a:extLst>
                  <a:ext uri="{FF2B5EF4-FFF2-40B4-BE49-F238E27FC236}">
                    <a16:creationId xmlns:a16="http://schemas.microsoft.com/office/drawing/2014/main" id="{D67514D3-2892-16E1-249C-72AFC3A74D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0" name="Group 177">
              <a:extLst>
                <a:ext uri="{FF2B5EF4-FFF2-40B4-BE49-F238E27FC236}">
                  <a16:creationId xmlns:a16="http://schemas.microsoft.com/office/drawing/2014/main" id="{FAB6B2BF-AFB0-26A9-2166-0B02448A69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3" name="Freeform 178">
                <a:extLst>
                  <a:ext uri="{FF2B5EF4-FFF2-40B4-BE49-F238E27FC236}">
                    <a16:creationId xmlns:a16="http://schemas.microsoft.com/office/drawing/2014/main" id="{2543F277-93EB-74DE-AFF8-C6B3F5EAC9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4" name="Freeform 179">
                <a:extLst>
                  <a:ext uri="{FF2B5EF4-FFF2-40B4-BE49-F238E27FC236}">
                    <a16:creationId xmlns:a16="http://schemas.microsoft.com/office/drawing/2014/main" id="{2A1B0C5D-D0B8-1AC4-22B9-9304BF1C8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1" name="Group 177">
              <a:extLst>
                <a:ext uri="{FF2B5EF4-FFF2-40B4-BE49-F238E27FC236}">
                  <a16:creationId xmlns:a16="http://schemas.microsoft.com/office/drawing/2014/main" id="{42FB43ED-9BE8-CED5-B7EB-4549151389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41" name="Freeform 178">
                <a:extLst>
                  <a:ext uri="{FF2B5EF4-FFF2-40B4-BE49-F238E27FC236}">
                    <a16:creationId xmlns:a16="http://schemas.microsoft.com/office/drawing/2014/main" id="{61310C0D-F4B9-DD56-48B4-DCB6896137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2" name="Freeform 179">
                <a:extLst>
                  <a:ext uri="{FF2B5EF4-FFF2-40B4-BE49-F238E27FC236}">
                    <a16:creationId xmlns:a16="http://schemas.microsoft.com/office/drawing/2014/main" id="{83AE1744-82D0-FCAE-0A70-210601D856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2" name="Group 177">
              <a:extLst>
                <a:ext uri="{FF2B5EF4-FFF2-40B4-BE49-F238E27FC236}">
                  <a16:creationId xmlns:a16="http://schemas.microsoft.com/office/drawing/2014/main" id="{BB54FD1A-42A3-C2A6-E6A8-E60B1DB1CE7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9" name="Freeform 178">
                <a:extLst>
                  <a:ext uri="{FF2B5EF4-FFF2-40B4-BE49-F238E27FC236}">
                    <a16:creationId xmlns:a16="http://schemas.microsoft.com/office/drawing/2014/main" id="{29E47EAA-55FB-502D-6A25-8C0E88B3E0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0" name="Freeform 179">
                <a:extLst>
                  <a:ext uri="{FF2B5EF4-FFF2-40B4-BE49-F238E27FC236}">
                    <a16:creationId xmlns:a16="http://schemas.microsoft.com/office/drawing/2014/main" id="{586D5DA8-A49D-51D3-3C80-8C87A59A4C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3" name="Group 177">
              <a:extLst>
                <a:ext uri="{FF2B5EF4-FFF2-40B4-BE49-F238E27FC236}">
                  <a16:creationId xmlns:a16="http://schemas.microsoft.com/office/drawing/2014/main" id="{92303E3E-9423-F012-4137-B3F00ECB3C3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7" name="Freeform 178">
                <a:extLst>
                  <a:ext uri="{FF2B5EF4-FFF2-40B4-BE49-F238E27FC236}">
                    <a16:creationId xmlns:a16="http://schemas.microsoft.com/office/drawing/2014/main" id="{43C7ECE2-6EBC-7BCE-0FC1-1130080290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8" name="Freeform 179">
                <a:extLst>
                  <a:ext uri="{FF2B5EF4-FFF2-40B4-BE49-F238E27FC236}">
                    <a16:creationId xmlns:a16="http://schemas.microsoft.com/office/drawing/2014/main" id="{0F73ADB3-5B7A-0F04-B986-818DB6A2F3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4" name="Group 177">
              <a:extLst>
                <a:ext uri="{FF2B5EF4-FFF2-40B4-BE49-F238E27FC236}">
                  <a16:creationId xmlns:a16="http://schemas.microsoft.com/office/drawing/2014/main" id="{AEE10AD9-E4CE-EAC0-A917-D72DBE12BB4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5" name="Freeform 178">
                <a:extLst>
                  <a:ext uri="{FF2B5EF4-FFF2-40B4-BE49-F238E27FC236}">
                    <a16:creationId xmlns:a16="http://schemas.microsoft.com/office/drawing/2014/main" id="{4ACA0C20-F5D7-4242-FD69-192C26B07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6" name="Freeform 179">
                <a:extLst>
                  <a:ext uri="{FF2B5EF4-FFF2-40B4-BE49-F238E27FC236}">
                    <a16:creationId xmlns:a16="http://schemas.microsoft.com/office/drawing/2014/main" id="{F632FDD1-99BB-1CCF-64FB-81755A59D6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5" name="Group 177">
              <a:extLst>
                <a:ext uri="{FF2B5EF4-FFF2-40B4-BE49-F238E27FC236}">
                  <a16:creationId xmlns:a16="http://schemas.microsoft.com/office/drawing/2014/main" id="{E03CFF04-C17A-95F5-7062-043A6E2E408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3" name="Freeform 178">
                <a:extLst>
                  <a:ext uri="{FF2B5EF4-FFF2-40B4-BE49-F238E27FC236}">
                    <a16:creationId xmlns:a16="http://schemas.microsoft.com/office/drawing/2014/main" id="{D413DB02-2667-E185-0D67-712D7E44D7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4" name="Freeform 179">
                <a:extLst>
                  <a:ext uri="{FF2B5EF4-FFF2-40B4-BE49-F238E27FC236}">
                    <a16:creationId xmlns:a16="http://schemas.microsoft.com/office/drawing/2014/main" id="{4656BF6C-C942-96ED-B021-B6951F49F4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6" name="Group 177">
              <a:extLst>
                <a:ext uri="{FF2B5EF4-FFF2-40B4-BE49-F238E27FC236}">
                  <a16:creationId xmlns:a16="http://schemas.microsoft.com/office/drawing/2014/main" id="{885C0D4F-6A06-EE42-46E0-73DEE90CC39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1" name="Freeform 178">
                <a:extLst>
                  <a:ext uri="{FF2B5EF4-FFF2-40B4-BE49-F238E27FC236}">
                    <a16:creationId xmlns:a16="http://schemas.microsoft.com/office/drawing/2014/main" id="{D10D9DB3-D2AA-9DFF-0F96-F880CA2D0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2" name="Freeform 179">
                <a:extLst>
                  <a:ext uri="{FF2B5EF4-FFF2-40B4-BE49-F238E27FC236}">
                    <a16:creationId xmlns:a16="http://schemas.microsoft.com/office/drawing/2014/main" id="{ED4C57A5-6A5D-A530-D369-3BA8C64052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7" name="Group 177">
              <a:extLst>
                <a:ext uri="{FF2B5EF4-FFF2-40B4-BE49-F238E27FC236}">
                  <a16:creationId xmlns:a16="http://schemas.microsoft.com/office/drawing/2014/main" id="{1400D19F-A481-7EE6-84B7-C951B5D6E02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9" name="Freeform 178">
                <a:extLst>
                  <a:ext uri="{FF2B5EF4-FFF2-40B4-BE49-F238E27FC236}">
                    <a16:creationId xmlns:a16="http://schemas.microsoft.com/office/drawing/2014/main" id="{CB7983EF-E575-37A4-0469-F5A970A78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0" name="Freeform 179">
                <a:extLst>
                  <a:ext uri="{FF2B5EF4-FFF2-40B4-BE49-F238E27FC236}">
                    <a16:creationId xmlns:a16="http://schemas.microsoft.com/office/drawing/2014/main" id="{B66983E0-4B91-B352-EFF3-20A5991F27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8" name="Group 177">
              <a:extLst>
                <a:ext uri="{FF2B5EF4-FFF2-40B4-BE49-F238E27FC236}">
                  <a16:creationId xmlns:a16="http://schemas.microsoft.com/office/drawing/2014/main" id="{1E6BF799-FA3E-9D1A-3AD8-F8C715EBD32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7" name="Freeform 178">
                <a:extLst>
                  <a:ext uri="{FF2B5EF4-FFF2-40B4-BE49-F238E27FC236}">
                    <a16:creationId xmlns:a16="http://schemas.microsoft.com/office/drawing/2014/main" id="{8E2727B5-468F-6CC5-1AD6-DB060B1AF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8" name="Freeform 179">
                <a:extLst>
                  <a:ext uri="{FF2B5EF4-FFF2-40B4-BE49-F238E27FC236}">
                    <a16:creationId xmlns:a16="http://schemas.microsoft.com/office/drawing/2014/main" id="{A4534841-F3A0-F73E-5D76-B3AA6EEA7E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9" name="Group 177">
              <a:extLst>
                <a:ext uri="{FF2B5EF4-FFF2-40B4-BE49-F238E27FC236}">
                  <a16:creationId xmlns:a16="http://schemas.microsoft.com/office/drawing/2014/main" id="{52D38674-1DE8-9DD0-1CD7-57A8A69241F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5" name="Freeform 178">
                <a:extLst>
                  <a:ext uri="{FF2B5EF4-FFF2-40B4-BE49-F238E27FC236}">
                    <a16:creationId xmlns:a16="http://schemas.microsoft.com/office/drawing/2014/main" id="{6C8B89A8-62E2-9F57-C4D7-9E187CF078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6" name="Freeform 179">
                <a:extLst>
                  <a:ext uri="{FF2B5EF4-FFF2-40B4-BE49-F238E27FC236}">
                    <a16:creationId xmlns:a16="http://schemas.microsoft.com/office/drawing/2014/main" id="{8ABCBCF8-6892-AF90-F5C7-2B6516F9ED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0" name="Group 177">
              <a:extLst>
                <a:ext uri="{FF2B5EF4-FFF2-40B4-BE49-F238E27FC236}">
                  <a16:creationId xmlns:a16="http://schemas.microsoft.com/office/drawing/2014/main" id="{EDB5CC83-5EB2-8158-4760-635AC66C606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3" name="Freeform 178">
                <a:extLst>
                  <a:ext uri="{FF2B5EF4-FFF2-40B4-BE49-F238E27FC236}">
                    <a16:creationId xmlns:a16="http://schemas.microsoft.com/office/drawing/2014/main" id="{4F6BDA7A-47E5-B4E1-88C9-940C46F3D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4" name="Freeform 179">
                <a:extLst>
                  <a:ext uri="{FF2B5EF4-FFF2-40B4-BE49-F238E27FC236}">
                    <a16:creationId xmlns:a16="http://schemas.microsoft.com/office/drawing/2014/main" id="{AF8B381D-DAAE-D1B6-3911-F97C80D283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1" name="Group 177">
              <a:extLst>
                <a:ext uri="{FF2B5EF4-FFF2-40B4-BE49-F238E27FC236}">
                  <a16:creationId xmlns:a16="http://schemas.microsoft.com/office/drawing/2014/main" id="{3E42EF33-B311-EBBA-8879-49416F2354F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1" name="Freeform 178">
                <a:extLst>
                  <a:ext uri="{FF2B5EF4-FFF2-40B4-BE49-F238E27FC236}">
                    <a16:creationId xmlns:a16="http://schemas.microsoft.com/office/drawing/2014/main" id="{FAE998EF-5BE6-090D-88A9-B6CE3EAD7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2" name="Freeform 179">
                <a:extLst>
                  <a:ext uri="{FF2B5EF4-FFF2-40B4-BE49-F238E27FC236}">
                    <a16:creationId xmlns:a16="http://schemas.microsoft.com/office/drawing/2014/main" id="{E9FD759F-6F41-63FF-84EF-B921BA34E3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2" name="Group 177">
              <a:extLst>
                <a:ext uri="{FF2B5EF4-FFF2-40B4-BE49-F238E27FC236}">
                  <a16:creationId xmlns:a16="http://schemas.microsoft.com/office/drawing/2014/main" id="{F92B4E4B-1E16-DC79-E862-9B0B6E5D33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19" name="Freeform 178">
                <a:extLst>
                  <a:ext uri="{FF2B5EF4-FFF2-40B4-BE49-F238E27FC236}">
                    <a16:creationId xmlns:a16="http://schemas.microsoft.com/office/drawing/2014/main" id="{B782A4F8-E722-4AEB-D138-0D5CC7B8B4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0" name="Freeform 179">
                <a:extLst>
                  <a:ext uri="{FF2B5EF4-FFF2-40B4-BE49-F238E27FC236}">
                    <a16:creationId xmlns:a16="http://schemas.microsoft.com/office/drawing/2014/main" id="{D4D1BED6-BD2F-155E-A5E0-4ADAA4AEEC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3" name="Group 177">
              <a:extLst>
                <a:ext uri="{FF2B5EF4-FFF2-40B4-BE49-F238E27FC236}">
                  <a16:creationId xmlns:a16="http://schemas.microsoft.com/office/drawing/2014/main" id="{6823CA9E-E778-844C-520F-08F837DC665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17" name="Freeform 178">
                <a:extLst>
                  <a:ext uri="{FF2B5EF4-FFF2-40B4-BE49-F238E27FC236}">
                    <a16:creationId xmlns:a16="http://schemas.microsoft.com/office/drawing/2014/main" id="{0DDC935D-0935-6131-BE08-4544D00CC6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18" name="Freeform 179">
                <a:extLst>
                  <a:ext uri="{FF2B5EF4-FFF2-40B4-BE49-F238E27FC236}">
                    <a16:creationId xmlns:a16="http://schemas.microsoft.com/office/drawing/2014/main" id="{E5C38939-FD6D-70FF-2375-7FFC216842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4" name="Group 177">
              <a:extLst>
                <a:ext uri="{FF2B5EF4-FFF2-40B4-BE49-F238E27FC236}">
                  <a16:creationId xmlns:a16="http://schemas.microsoft.com/office/drawing/2014/main" id="{52BE3132-E54B-E18B-C958-7F19A302CBB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15" name="Freeform 178">
                <a:extLst>
                  <a:ext uri="{FF2B5EF4-FFF2-40B4-BE49-F238E27FC236}">
                    <a16:creationId xmlns:a16="http://schemas.microsoft.com/office/drawing/2014/main" id="{AB5CD5EB-3B3D-146F-D3BA-C45054188F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16" name="Freeform 179">
                <a:extLst>
                  <a:ext uri="{FF2B5EF4-FFF2-40B4-BE49-F238E27FC236}">
                    <a16:creationId xmlns:a16="http://schemas.microsoft.com/office/drawing/2014/main" id="{92D556A1-A7E0-7B54-97C1-83209B957F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6692" name="TextBox 24">
            <a:extLst>
              <a:ext uri="{FF2B5EF4-FFF2-40B4-BE49-F238E27FC236}">
                <a16:creationId xmlns:a16="http://schemas.microsoft.com/office/drawing/2014/main" id="{B8D18966-80A7-3F6A-5308-D59DFEAF5DBC}"/>
              </a:ext>
            </a:extLst>
          </p:cNvPr>
          <p:cNvSpPr txBox="1"/>
          <p:nvPr/>
        </p:nvSpPr>
        <p:spPr>
          <a:xfrm>
            <a:off x="371476" y="3773634"/>
            <a:ext cx="206988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93" name="TextBox 24">
            <a:extLst>
              <a:ext uri="{FF2B5EF4-FFF2-40B4-BE49-F238E27FC236}">
                <a16:creationId xmlns:a16="http://schemas.microsoft.com/office/drawing/2014/main" id="{073E39C9-D22D-5B8B-6D3D-37AB9D544CAE}"/>
              </a:ext>
            </a:extLst>
          </p:cNvPr>
          <p:cNvSpPr txBox="1"/>
          <p:nvPr/>
        </p:nvSpPr>
        <p:spPr>
          <a:xfrm>
            <a:off x="9750640" y="3773634"/>
            <a:ext cx="206988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94" name="TextBox 24">
            <a:extLst>
              <a:ext uri="{FF2B5EF4-FFF2-40B4-BE49-F238E27FC236}">
                <a16:creationId xmlns:a16="http://schemas.microsoft.com/office/drawing/2014/main" id="{D1D30DEC-E751-D7C1-D986-71BD826F1E3F}"/>
              </a:ext>
            </a:extLst>
          </p:cNvPr>
          <p:cNvSpPr txBox="1"/>
          <p:nvPr/>
        </p:nvSpPr>
        <p:spPr>
          <a:xfrm>
            <a:off x="3143487" y="1521411"/>
            <a:ext cx="59018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96" name="TextBox 24">
            <a:extLst>
              <a:ext uri="{FF2B5EF4-FFF2-40B4-BE49-F238E27FC236}">
                <a16:creationId xmlns:a16="http://schemas.microsoft.com/office/drawing/2014/main" id="{DB4C6018-F36D-CF17-7DCC-B3C596BE7FE7}"/>
              </a:ext>
            </a:extLst>
          </p:cNvPr>
          <p:cNvSpPr txBox="1"/>
          <p:nvPr/>
        </p:nvSpPr>
        <p:spPr>
          <a:xfrm>
            <a:off x="3143487" y="5932318"/>
            <a:ext cx="59018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7968643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A3B3D6-1D8F-D2D2-AC82-6F0AF5E83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0341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A3B3D6-1D8F-D2D2-AC82-6F0AF5E83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AB98466-5DC8-6B8C-0C82-C71AC176CC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Rectangle 89">
            <a:extLst>
              <a:ext uri="{FF2B5EF4-FFF2-40B4-BE49-F238E27FC236}">
                <a16:creationId xmlns:a16="http://schemas.microsoft.com/office/drawing/2014/main" id="{6A2C76AF-48DD-70B0-C9E4-B5D8A9BAE3E7}"/>
              </a:ext>
            </a:extLst>
          </p:cNvPr>
          <p:cNvSpPr/>
          <p:nvPr/>
        </p:nvSpPr>
        <p:spPr>
          <a:xfrm>
            <a:off x="371473" y="3255989"/>
            <a:ext cx="11449052" cy="305273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23062713-04D1-67C8-388E-860B5F682D73}"/>
              </a:ext>
            </a:extLst>
          </p:cNvPr>
          <p:cNvSpPr/>
          <p:nvPr/>
        </p:nvSpPr>
        <p:spPr>
          <a:xfrm>
            <a:off x="371473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1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8230CEEE-EC39-CD44-8F35-F659EEFF8B11}"/>
              </a:ext>
            </a:extLst>
          </p:cNvPr>
          <p:cNvSpPr txBox="1"/>
          <p:nvPr/>
        </p:nvSpPr>
        <p:spPr>
          <a:xfrm>
            <a:off x="371473" y="268332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D2E717C7-7748-D661-A75B-5ACB8B5DFABD}"/>
              </a:ext>
            </a:extLst>
          </p:cNvPr>
          <p:cNvSpPr txBox="1"/>
          <p:nvPr/>
        </p:nvSpPr>
        <p:spPr>
          <a:xfrm>
            <a:off x="567395" y="3429001"/>
            <a:ext cx="11078505" cy="2413000"/>
          </a:xfrm>
          <a:prstGeom prst="rect">
            <a:avLst/>
          </a:prstGeom>
          <a:noFill/>
        </p:spPr>
        <p:txBody>
          <a:bodyPr wrap="square" lIns="0" tIns="0" rIns="0" bIns="0" numCol="2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D2C77F58-CE6D-1DB6-A655-44A98549D8DA}"/>
              </a:ext>
            </a:extLst>
          </p:cNvPr>
          <p:cNvCxnSpPr>
            <a:cxnSpLocks/>
          </p:cNvCxnSpPr>
          <p:nvPr/>
        </p:nvCxnSpPr>
        <p:spPr>
          <a:xfrm>
            <a:off x="361640" y="3123542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8">
            <a:extLst>
              <a:ext uri="{FF2B5EF4-FFF2-40B4-BE49-F238E27FC236}">
                <a16:creationId xmlns:a16="http://schemas.microsoft.com/office/drawing/2014/main" id="{2DBB2947-C0CB-284D-52B7-DC23EA342328}"/>
              </a:ext>
            </a:extLst>
          </p:cNvPr>
          <p:cNvSpPr/>
          <p:nvPr/>
        </p:nvSpPr>
        <p:spPr>
          <a:xfrm>
            <a:off x="3333749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2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21DC05F9-CB95-1FBB-8261-892AB4387313}"/>
              </a:ext>
            </a:extLst>
          </p:cNvPr>
          <p:cNvSpPr/>
          <p:nvPr/>
        </p:nvSpPr>
        <p:spPr>
          <a:xfrm>
            <a:off x="6296025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3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18BDBE29-E4DD-C465-0276-0DD7BF2D078C}"/>
              </a:ext>
            </a:extLst>
          </p:cNvPr>
          <p:cNvSpPr/>
          <p:nvPr/>
        </p:nvSpPr>
        <p:spPr>
          <a:xfrm>
            <a:off x="9258302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4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ítulo 10">
            <a:extLst>
              <a:ext uri="{FF2B5EF4-FFF2-40B4-BE49-F238E27FC236}">
                <a16:creationId xmlns:a16="http://schemas.microsoft.com/office/drawing/2014/main" id="{B21BF61F-ADF4-413A-47B2-D7C72EB03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Executive Summary 2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73254B-0DAA-E0C8-A3B6-0A82398BDB23}"/>
              </a:ext>
            </a:extLst>
          </p:cNvPr>
          <p:cNvSpPr txBox="1"/>
          <p:nvPr/>
        </p:nvSpPr>
        <p:spPr>
          <a:xfrm>
            <a:off x="6146800" y="508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74493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261C19-0EEE-29D7-9907-3E5B6D8B6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261C19-0EEE-29D7-9907-3E5B6D8B6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141A6C-D481-E2E3-F802-87BDA4F5EF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C43679-4471-3CA1-DBA1-8D6F983D8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— Executive Summary 3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AA2A0DB9-A5BA-9673-0213-A3677E703F59}"/>
              </a:ext>
            </a:extLst>
          </p:cNvPr>
          <p:cNvSpPr txBox="1"/>
          <p:nvPr/>
        </p:nvSpPr>
        <p:spPr>
          <a:xfrm>
            <a:off x="1061770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B65B45EF-5540-68AF-FDC1-9DF3C80A5C25}"/>
              </a:ext>
            </a:extLst>
          </p:cNvPr>
          <p:cNvSpPr txBox="1"/>
          <p:nvPr/>
        </p:nvSpPr>
        <p:spPr>
          <a:xfrm>
            <a:off x="1061769" y="206453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6" name="Conector recto 9">
            <a:extLst>
              <a:ext uri="{FF2B5EF4-FFF2-40B4-BE49-F238E27FC236}">
                <a16:creationId xmlns:a16="http://schemas.microsoft.com/office/drawing/2014/main" id="{D58CDD45-88B5-C015-27BC-B1B26C70EAE1}"/>
              </a:ext>
            </a:extLst>
          </p:cNvPr>
          <p:cNvCxnSpPr>
            <a:cxnSpLocks/>
          </p:cNvCxnSpPr>
          <p:nvPr/>
        </p:nvCxnSpPr>
        <p:spPr>
          <a:xfrm>
            <a:off x="1051937" y="196443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4">
            <a:extLst>
              <a:ext uri="{FF2B5EF4-FFF2-40B4-BE49-F238E27FC236}">
                <a16:creationId xmlns:a16="http://schemas.microsoft.com/office/drawing/2014/main" id="{2AA8529D-5AC0-E063-5640-47400012C5D5}"/>
              </a:ext>
            </a:extLst>
          </p:cNvPr>
          <p:cNvSpPr txBox="1"/>
          <p:nvPr/>
        </p:nvSpPr>
        <p:spPr>
          <a:xfrm>
            <a:off x="1061770" y="27884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71845D1F-126B-EDB3-E271-DACA4686D36F}"/>
              </a:ext>
            </a:extLst>
          </p:cNvPr>
          <p:cNvSpPr txBox="1"/>
          <p:nvPr/>
        </p:nvSpPr>
        <p:spPr>
          <a:xfrm>
            <a:off x="1061769" y="327050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23" name="Conector recto 9">
            <a:extLst>
              <a:ext uri="{FF2B5EF4-FFF2-40B4-BE49-F238E27FC236}">
                <a16:creationId xmlns:a16="http://schemas.microsoft.com/office/drawing/2014/main" id="{53673C72-2F9D-08B9-C735-E27B165BA0A9}"/>
              </a:ext>
            </a:extLst>
          </p:cNvPr>
          <p:cNvCxnSpPr>
            <a:cxnSpLocks/>
          </p:cNvCxnSpPr>
          <p:nvPr/>
        </p:nvCxnSpPr>
        <p:spPr>
          <a:xfrm>
            <a:off x="1051937" y="317040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4">
            <a:extLst>
              <a:ext uri="{FF2B5EF4-FFF2-40B4-BE49-F238E27FC236}">
                <a16:creationId xmlns:a16="http://schemas.microsoft.com/office/drawing/2014/main" id="{53B461E2-AF06-0053-CFAD-514426486FA3}"/>
              </a:ext>
            </a:extLst>
          </p:cNvPr>
          <p:cNvSpPr txBox="1"/>
          <p:nvPr/>
        </p:nvSpPr>
        <p:spPr>
          <a:xfrm>
            <a:off x="1061770" y="399442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5">
            <a:extLst>
              <a:ext uri="{FF2B5EF4-FFF2-40B4-BE49-F238E27FC236}">
                <a16:creationId xmlns:a16="http://schemas.microsoft.com/office/drawing/2014/main" id="{DB459604-C28F-167D-D806-20C4B3499588}"/>
              </a:ext>
            </a:extLst>
          </p:cNvPr>
          <p:cNvSpPr txBox="1"/>
          <p:nvPr/>
        </p:nvSpPr>
        <p:spPr>
          <a:xfrm>
            <a:off x="1061769" y="447647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29" name="Conector recto 9">
            <a:extLst>
              <a:ext uri="{FF2B5EF4-FFF2-40B4-BE49-F238E27FC236}">
                <a16:creationId xmlns:a16="http://schemas.microsoft.com/office/drawing/2014/main" id="{AE6C4D98-B019-7D09-F346-FC77C0A4CB11}"/>
              </a:ext>
            </a:extLst>
          </p:cNvPr>
          <p:cNvCxnSpPr>
            <a:cxnSpLocks/>
          </p:cNvCxnSpPr>
          <p:nvPr/>
        </p:nvCxnSpPr>
        <p:spPr>
          <a:xfrm>
            <a:off x="1051937" y="437637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24">
            <a:extLst>
              <a:ext uri="{FF2B5EF4-FFF2-40B4-BE49-F238E27FC236}">
                <a16:creationId xmlns:a16="http://schemas.microsoft.com/office/drawing/2014/main" id="{EEF6279A-7437-C429-176A-D7A0835FC213}"/>
              </a:ext>
            </a:extLst>
          </p:cNvPr>
          <p:cNvSpPr txBox="1"/>
          <p:nvPr/>
        </p:nvSpPr>
        <p:spPr>
          <a:xfrm>
            <a:off x="1061770" y="520039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69B2E94-A6D3-D7A7-55E4-C69C24947B6C}"/>
              </a:ext>
            </a:extLst>
          </p:cNvPr>
          <p:cNvSpPr txBox="1"/>
          <p:nvPr/>
        </p:nvSpPr>
        <p:spPr>
          <a:xfrm>
            <a:off x="1061769" y="5682439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36" name="Conector recto 9">
            <a:extLst>
              <a:ext uri="{FF2B5EF4-FFF2-40B4-BE49-F238E27FC236}">
                <a16:creationId xmlns:a16="http://schemas.microsoft.com/office/drawing/2014/main" id="{9C5209CC-1AA2-FF4E-7AC4-DBBEC3745BE8}"/>
              </a:ext>
            </a:extLst>
          </p:cNvPr>
          <p:cNvCxnSpPr>
            <a:cxnSpLocks/>
          </p:cNvCxnSpPr>
          <p:nvPr/>
        </p:nvCxnSpPr>
        <p:spPr>
          <a:xfrm>
            <a:off x="1051937" y="5582347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2769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Executive Summary 4</a:t>
            </a:r>
            <a:endParaRPr lang="en-GB" dirty="0"/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AD4FA1F-B787-C356-0BD1-A946F494A00A}"/>
              </a:ext>
            </a:extLst>
          </p:cNvPr>
          <p:cNvSpPr txBox="1"/>
          <p:nvPr/>
        </p:nvSpPr>
        <p:spPr>
          <a:xfrm>
            <a:off x="1061770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097A9E86-B4BC-9E7A-F773-C641F93CAB06}"/>
              </a:ext>
            </a:extLst>
          </p:cNvPr>
          <p:cNvSpPr txBox="1"/>
          <p:nvPr/>
        </p:nvSpPr>
        <p:spPr>
          <a:xfrm>
            <a:off x="1061769" y="2064530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193A1B39-D1D0-2355-FF7F-C9F08113C79A}"/>
              </a:ext>
            </a:extLst>
          </p:cNvPr>
          <p:cNvCxnSpPr>
            <a:cxnSpLocks/>
          </p:cNvCxnSpPr>
          <p:nvPr/>
        </p:nvCxnSpPr>
        <p:spPr>
          <a:xfrm>
            <a:off x="1051937" y="1964438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24">
            <a:extLst>
              <a:ext uri="{FF2B5EF4-FFF2-40B4-BE49-F238E27FC236}">
                <a16:creationId xmlns:a16="http://schemas.microsoft.com/office/drawing/2014/main" id="{5454573F-9AB8-B64F-8BC7-521737716AB0}"/>
              </a:ext>
            </a:extLst>
          </p:cNvPr>
          <p:cNvSpPr txBox="1"/>
          <p:nvPr/>
        </p:nvSpPr>
        <p:spPr>
          <a:xfrm>
            <a:off x="1061770" y="2748084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5C3D5A02-A152-1546-C457-0671B56274CA}"/>
              </a:ext>
            </a:extLst>
          </p:cNvPr>
          <p:cNvSpPr txBox="1"/>
          <p:nvPr/>
        </p:nvSpPr>
        <p:spPr>
          <a:xfrm>
            <a:off x="1061769" y="3230132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8" name="Conector recto 9">
            <a:extLst>
              <a:ext uri="{FF2B5EF4-FFF2-40B4-BE49-F238E27FC236}">
                <a16:creationId xmlns:a16="http://schemas.microsoft.com/office/drawing/2014/main" id="{0846D802-23A0-5FCC-5C4C-497C26931722}"/>
              </a:ext>
            </a:extLst>
          </p:cNvPr>
          <p:cNvCxnSpPr>
            <a:cxnSpLocks/>
          </p:cNvCxnSpPr>
          <p:nvPr/>
        </p:nvCxnSpPr>
        <p:spPr>
          <a:xfrm>
            <a:off x="1051937" y="3130040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4">
            <a:extLst>
              <a:ext uri="{FF2B5EF4-FFF2-40B4-BE49-F238E27FC236}">
                <a16:creationId xmlns:a16="http://schemas.microsoft.com/office/drawing/2014/main" id="{ED138D36-5FAE-8253-54D5-25E150683270}"/>
              </a:ext>
            </a:extLst>
          </p:cNvPr>
          <p:cNvSpPr txBox="1"/>
          <p:nvPr/>
        </p:nvSpPr>
        <p:spPr>
          <a:xfrm>
            <a:off x="1061770" y="3913686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A099203F-53C5-D44A-6354-B3DB9884AED9}"/>
              </a:ext>
            </a:extLst>
          </p:cNvPr>
          <p:cNvSpPr txBox="1"/>
          <p:nvPr/>
        </p:nvSpPr>
        <p:spPr>
          <a:xfrm>
            <a:off x="1061769" y="4395734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F5ED6360-01A8-25C6-4757-EBA0928E68A5}"/>
              </a:ext>
            </a:extLst>
          </p:cNvPr>
          <p:cNvCxnSpPr>
            <a:cxnSpLocks/>
          </p:cNvCxnSpPr>
          <p:nvPr/>
        </p:nvCxnSpPr>
        <p:spPr>
          <a:xfrm>
            <a:off x="1051937" y="4295642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4">
            <a:extLst>
              <a:ext uri="{FF2B5EF4-FFF2-40B4-BE49-F238E27FC236}">
                <a16:creationId xmlns:a16="http://schemas.microsoft.com/office/drawing/2014/main" id="{CF5C912F-91B1-CBDD-281B-B211B3F30D16}"/>
              </a:ext>
            </a:extLst>
          </p:cNvPr>
          <p:cNvSpPr txBox="1"/>
          <p:nvPr/>
        </p:nvSpPr>
        <p:spPr>
          <a:xfrm>
            <a:off x="1061770" y="5079289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1C97C8A5-EFCE-762E-0F77-8A6CE2B2388D}"/>
              </a:ext>
            </a:extLst>
          </p:cNvPr>
          <p:cNvSpPr txBox="1"/>
          <p:nvPr/>
        </p:nvSpPr>
        <p:spPr>
          <a:xfrm>
            <a:off x="1061769" y="5561337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32" name="Conector recto 9">
            <a:extLst>
              <a:ext uri="{FF2B5EF4-FFF2-40B4-BE49-F238E27FC236}">
                <a16:creationId xmlns:a16="http://schemas.microsoft.com/office/drawing/2014/main" id="{6D060B97-98B7-1C93-B39D-1EFC4380304C}"/>
              </a:ext>
            </a:extLst>
          </p:cNvPr>
          <p:cNvCxnSpPr>
            <a:cxnSpLocks/>
          </p:cNvCxnSpPr>
          <p:nvPr/>
        </p:nvCxnSpPr>
        <p:spPr>
          <a:xfrm>
            <a:off x="1051937" y="5461245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24">
            <a:extLst>
              <a:ext uri="{FF2B5EF4-FFF2-40B4-BE49-F238E27FC236}">
                <a16:creationId xmlns:a16="http://schemas.microsoft.com/office/drawing/2014/main" id="{21E9AEF7-29BD-E9E3-E68C-7A664A6775F3}"/>
              </a:ext>
            </a:extLst>
          </p:cNvPr>
          <p:cNvSpPr txBox="1"/>
          <p:nvPr/>
        </p:nvSpPr>
        <p:spPr>
          <a:xfrm>
            <a:off x="6862229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8" name="TextBox 25">
            <a:extLst>
              <a:ext uri="{FF2B5EF4-FFF2-40B4-BE49-F238E27FC236}">
                <a16:creationId xmlns:a16="http://schemas.microsoft.com/office/drawing/2014/main" id="{C1469294-0F4D-3A22-CAB5-B7262FECC674}"/>
              </a:ext>
            </a:extLst>
          </p:cNvPr>
          <p:cNvSpPr txBox="1"/>
          <p:nvPr/>
        </p:nvSpPr>
        <p:spPr>
          <a:xfrm>
            <a:off x="6862228" y="2064530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39" name="Conector recto 9">
            <a:extLst>
              <a:ext uri="{FF2B5EF4-FFF2-40B4-BE49-F238E27FC236}">
                <a16:creationId xmlns:a16="http://schemas.microsoft.com/office/drawing/2014/main" id="{9BF98034-0DAD-4EAB-6A93-0099E37121E8}"/>
              </a:ext>
            </a:extLst>
          </p:cNvPr>
          <p:cNvCxnSpPr>
            <a:cxnSpLocks/>
          </p:cNvCxnSpPr>
          <p:nvPr/>
        </p:nvCxnSpPr>
        <p:spPr>
          <a:xfrm>
            <a:off x="6852396" y="1964438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24">
            <a:extLst>
              <a:ext uri="{FF2B5EF4-FFF2-40B4-BE49-F238E27FC236}">
                <a16:creationId xmlns:a16="http://schemas.microsoft.com/office/drawing/2014/main" id="{C41C5419-C2A3-F39D-E6ED-B036952F6035}"/>
              </a:ext>
            </a:extLst>
          </p:cNvPr>
          <p:cNvSpPr txBox="1"/>
          <p:nvPr/>
        </p:nvSpPr>
        <p:spPr>
          <a:xfrm>
            <a:off x="6862229" y="2748084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5" name="TextBox 25">
            <a:extLst>
              <a:ext uri="{FF2B5EF4-FFF2-40B4-BE49-F238E27FC236}">
                <a16:creationId xmlns:a16="http://schemas.microsoft.com/office/drawing/2014/main" id="{0F8C1547-93A6-CADF-E51D-0CC265D8D2D0}"/>
              </a:ext>
            </a:extLst>
          </p:cNvPr>
          <p:cNvSpPr txBox="1"/>
          <p:nvPr/>
        </p:nvSpPr>
        <p:spPr>
          <a:xfrm>
            <a:off x="6862228" y="3230132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46" name="Conector recto 9">
            <a:extLst>
              <a:ext uri="{FF2B5EF4-FFF2-40B4-BE49-F238E27FC236}">
                <a16:creationId xmlns:a16="http://schemas.microsoft.com/office/drawing/2014/main" id="{850B1151-CCC0-ACE6-E3F2-83BCCE5DB87A}"/>
              </a:ext>
            </a:extLst>
          </p:cNvPr>
          <p:cNvCxnSpPr>
            <a:cxnSpLocks/>
          </p:cNvCxnSpPr>
          <p:nvPr/>
        </p:nvCxnSpPr>
        <p:spPr>
          <a:xfrm>
            <a:off x="6852396" y="3130040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24">
            <a:extLst>
              <a:ext uri="{FF2B5EF4-FFF2-40B4-BE49-F238E27FC236}">
                <a16:creationId xmlns:a16="http://schemas.microsoft.com/office/drawing/2014/main" id="{E7F6676E-2543-47EC-A993-8560595CA3BA}"/>
              </a:ext>
            </a:extLst>
          </p:cNvPr>
          <p:cNvSpPr txBox="1"/>
          <p:nvPr/>
        </p:nvSpPr>
        <p:spPr>
          <a:xfrm>
            <a:off x="6862229" y="3913686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2" name="TextBox 25">
            <a:extLst>
              <a:ext uri="{FF2B5EF4-FFF2-40B4-BE49-F238E27FC236}">
                <a16:creationId xmlns:a16="http://schemas.microsoft.com/office/drawing/2014/main" id="{235B4250-9281-1A6D-3EC5-D932FA3A68C7}"/>
              </a:ext>
            </a:extLst>
          </p:cNvPr>
          <p:cNvSpPr txBox="1"/>
          <p:nvPr/>
        </p:nvSpPr>
        <p:spPr>
          <a:xfrm>
            <a:off x="6862228" y="4395734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53" name="Conector recto 9">
            <a:extLst>
              <a:ext uri="{FF2B5EF4-FFF2-40B4-BE49-F238E27FC236}">
                <a16:creationId xmlns:a16="http://schemas.microsoft.com/office/drawing/2014/main" id="{83E0508B-0CE9-2564-B588-714B1BA0B187}"/>
              </a:ext>
            </a:extLst>
          </p:cNvPr>
          <p:cNvCxnSpPr>
            <a:cxnSpLocks/>
          </p:cNvCxnSpPr>
          <p:nvPr/>
        </p:nvCxnSpPr>
        <p:spPr>
          <a:xfrm>
            <a:off x="6852396" y="4295642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85647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10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Executive Summary 5</a:t>
            </a:r>
            <a:endParaRPr lang="en-GB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1A9E1E5-E816-A98E-9ED3-A87FEFF801BF}"/>
              </a:ext>
            </a:extLst>
          </p:cNvPr>
          <p:cNvSpPr txBox="1"/>
          <p:nvPr/>
        </p:nvSpPr>
        <p:spPr>
          <a:xfrm>
            <a:off x="371475" y="1520825"/>
            <a:ext cx="11449050" cy="48115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94521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Executive Summary 6</a:t>
            </a:r>
            <a:endParaRPr lang="en-GB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1A9E1E5-E816-A98E-9ED3-A87FEFF801BF}"/>
              </a:ext>
            </a:extLst>
          </p:cNvPr>
          <p:cNvSpPr txBox="1"/>
          <p:nvPr/>
        </p:nvSpPr>
        <p:spPr>
          <a:xfrm>
            <a:off x="552768" y="1520825"/>
            <a:ext cx="11267756" cy="48115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FDF8F8D-9E97-4185-8F4A-C54EDAF4C9B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5337175"/>
            <a:ext cx="214343" cy="16681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7178A244-7E32-47F2-AA54-26D7FFB6BF5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4063082"/>
            <a:ext cx="214343" cy="16681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DE9F447-64A8-40B2-9258-E82FCD1CF35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2794918"/>
            <a:ext cx="214343" cy="16681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904E1B-9094-4DB1-A490-FD89C1317ED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1520825"/>
            <a:ext cx="214343" cy="166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6697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Executive Summary 7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1A9E1E5-E816-A98E-9ED3-A87FEFF801BF}"/>
              </a:ext>
            </a:extLst>
          </p:cNvPr>
          <p:cNvSpPr txBox="1"/>
          <p:nvPr/>
        </p:nvSpPr>
        <p:spPr>
          <a:xfrm>
            <a:off x="371475" y="1520825"/>
            <a:ext cx="11449050" cy="37600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[Situation – lay out the facts of the current state]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[Complication – what has changed or will change, and what will be the impact]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[Resolution – what should we do]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931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CFA0E9F1-CBF7-EDDA-15DE-15FFC50FFB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CFA0E9F1-CBF7-EDDA-15DE-15FFC50FF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7CC9C6B-C882-6647-3313-7C1946EC1B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EC89403-8299-5EDE-ACD4-41A2AA50B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change the color scheme in this template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B59E687-A24C-CB66-3ABC-D7A60C9438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2F07931-6BB2-61BB-A58D-86D789CE66A7}"/>
              </a:ext>
            </a:extLst>
          </p:cNvPr>
          <p:cNvSpPr txBox="1"/>
          <p:nvPr/>
        </p:nvSpPr>
        <p:spPr>
          <a:xfrm>
            <a:off x="911792" y="2757420"/>
            <a:ext cx="2720495" cy="243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ew &gt; Slide Master</a:t>
            </a: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E541D692-E997-AE35-2EA5-3A78DE96C9D7}"/>
              </a:ext>
            </a:extLst>
          </p:cNvPr>
          <p:cNvSpPr/>
          <p:nvPr/>
        </p:nvSpPr>
        <p:spPr>
          <a:xfrm>
            <a:off x="383111" y="16157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4" name="Oval 22">
            <a:extLst>
              <a:ext uri="{FF2B5EF4-FFF2-40B4-BE49-F238E27FC236}">
                <a16:creationId xmlns:a16="http://schemas.microsoft.com/office/drawing/2014/main" id="{D2885A0C-D724-84CA-8DAC-77A5B4B5AA7B}"/>
              </a:ext>
            </a:extLst>
          </p:cNvPr>
          <p:cNvSpPr/>
          <p:nvPr/>
        </p:nvSpPr>
        <p:spPr>
          <a:xfrm>
            <a:off x="383111" y="353752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2F4E6B-E24E-8CC3-4B70-E023E21B34D7}"/>
              </a:ext>
            </a:extLst>
          </p:cNvPr>
          <p:cNvSpPr txBox="1"/>
          <p:nvPr/>
        </p:nvSpPr>
        <p:spPr>
          <a:xfrm>
            <a:off x="1005168" y="5214328"/>
            <a:ext cx="609824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defTabSz="228600">
              <a:spcAft>
                <a:spcPts val="1200"/>
              </a:spcAft>
              <a:defRPr sz="1200"/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n Colors &gt; Customize colo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120E8F-4E68-648E-6354-7C356AC5BF7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77" y="3429000"/>
            <a:ext cx="2235200" cy="1473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817AE2-2D81-1E4A-0311-EFAF7A039A5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004" y="1640031"/>
            <a:ext cx="2836141" cy="89968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242493B-A992-11CA-57EB-BDF18A81C40F}"/>
              </a:ext>
            </a:extLst>
          </p:cNvPr>
          <p:cNvSpPr/>
          <p:nvPr/>
        </p:nvSpPr>
        <p:spPr>
          <a:xfrm>
            <a:off x="2798619" y="1856511"/>
            <a:ext cx="734289" cy="73428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43E31AD-2EBD-2213-455E-5191927688F9}"/>
              </a:ext>
            </a:extLst>
          </p:cNvPr>
          <p:cNvSpPr/>
          <p:nvPr/>
        </p:nvSpPr>
        <p:spPr>
          <a:xfrm>
            <a:off x="2036619" y="3429000"/>
            <a:ext cx="1042757" cy="104275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Oval 22">
            <a:extLst>
              <a:ext uri="{FF2B5EF4-FFF2-40B4-BE49-F238E27FC236}">
                <a16:creationId xmlns:a16="http://schemas.microsoft.com/office/drawing/2014/main" id="{10ADDD29-D16F-A28E-04B6-B2BD37BAA6C6}"/>
              </a:ext>
            </a:extLst>
          </p:cNvPr>
          <p:cNvSpPr/>
          <p:nvPr/>
        </p:nvSpPr>
        <p:spPr>
          <a:xfrm>
            <a:off x="4556182" y="16157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5" name="Oval 22">
            <a:extLst>
              <a:ext uri="{FF2B5EF4-FFF2-40B4-BE49-F238E27FC236}">
                <a16:creationId xmlns:a16="http://schemas.microsoft.com/office/drawing/2014/main" id="{9A63766F-A53C-FA8B-48AF-E4AE1156FBF1}"/>
              </a:ext>
            </a:extLst>
          </p:cNvPr>
          <p:cNvSpPr/>
          <p:nvPr/>
        </p:nvSpPr>
        <p:spPr>
          <a:xfrm>
            <a:off x="8509618" y="16157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6F73A82-6C07-2C62-D937-13201FEAC7C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624" y="5520017"/>
            <a:ext cx="2471270" cy="538099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3E4F1FF5-6AF9-7465-917B-0D3BC62C884F}"/>
              </a:ext>
            </a:extLst>
          </p:cNvPr>
          <p:cNvSpPr/>
          <p:nvPr/>
        </p:nvSpPr>
        <p:spPr>
          <a:xfrm>
            <a:off x="1059466" y="5405717"/>
            <a:ext cx="1414793" cy="56683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D9F28C5-8C61-E33F-CB2C-871C264ED13C}"/>
              </a:ext>
            </a:extLst>
          </p:cNvPr>
          <p:cNvSpPr txBox="1"/>
          <p:nvPr/>
        </p:nvSpPr>
        <p:spPr>
          <a:xfrm>
            <a:off x="5230907" y="4788461"/>
            <a:ext cx="2622176" cy="415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defTabSz="228600">
              <a:spcAft>
                <a:spcPts val="1200"/>
              </a:spcAft>
              <a:defRPr sz="1200"/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nge each one of the color slots as explained in the video</a:t>
            </a:r>
          </a:p>
        </p:txBody>
      </p:sp>
      <p:sp>
        <p:nvSpPr>
          <p:cNvPr id="24" name="Rectangle: Rounded Corners 27">
            <a:extLst>
              <a:ext uri="{FF2B5EF4-FFF2-40B4-BE49-F238E27FC236}">
                <a16:creationId xmlns:a16="http://schemas.microsoft.com/office/drawing/2014/main" id="{4B7D335A-A51A-2438-6CF8-0FDD8A80466D}"/>
              </a:ext>
            </a:extLst>
          </p:cNvPr>
          <p:cNvSpPr/>
          <p:nvPr/>
        </p:nvSpPr>
        <p:spPr>
          <a:xfrm>
            <a:off x="8552329" y="4961966"/>
            <a:ext cx="3268196" cy="134676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atch video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change the color palet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7370F25-37B4-6F7D-6E06-7DE82EF7D61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7714" y="1641848"/>
            <a:ext cx="2712600" cy="2943599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0225290D-BA33-E68D-B487-1D875A3FFE53}"/>
              </a:ext>
            </a:extLst>
          </p:cNvPr>
          <p:cNvSpPr/>
          <p:nvPr/>
        </p:nvSpPr>
        <p:spPr>
          <a:xfrm rot="5400000">
            <a:off x="4103089" y="2734129"/>
            <a:ext cx="2678605" cy="56683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7578727-84B7-9FC9-51F8-CC588309E625}"/>
              </a:ext>
            </a:extLst>
          </p:cNvPr>
          <p:cNvSpPr txBox="1"/>
          <p:nvPr/>
        </p:nvSpPr>
        <p:spPr>
          <a:xfrm>
            <a:off x="9243171" y="3536576"/>
            <a:ext cx="2577353" cy="461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defTabSz="228600">
              <a:spcAft>
                <a:spcPts val="1200"/>
              </a:spcAft>
              <a:defRPr sz="1200"/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 RBG / HEV color values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 just use the color eyedrop to replace the existing color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3F86C52-4A3D-1265-9003-D027D4D1B7E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9095" y="1628401"/>
            <a:ext cx="2621429" cy="1771770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5D567A14-0096-D455-EA0B-932E468B98E3}"/>
              </a:ext>
            </a:extLst>
          </p:cNvPr>
          <p:cNvSpPr/>
          <p:nvPr/>
        </p:nvSpPr>
        <p:spPr>
          <a:xfrm>
            <a:off x="9177009" y="2910678"/>
            <a:ext cx="518322" cy="51832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4018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546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570271" y="1896533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454755" y="1896534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8E74036C-1AAE-B8FF-F3F3-2DBC4F8248EE}"/>
              </a:ext>
            </a:extLst>
          </p:cNvPr>
          <p:cNvSpPr/>
          <p:nvPr/>
        </p:nvSpPr>
        <p:spPr>
          <a:xfrm>
            <a:off x="384174" y="2095005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570271" y="2802461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454755" y="2802462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C02E0D0F-4683-8C72-14AA-43862EF352B2}"/>
              </a:ext>
            </a:extLst>
          </p:cNvPr>
          <p:cNvSpPr/>
          <p:nvPr/>
        </p:nvSpPr>
        <p:spPr>
          <a:xfrm>
            <a:off x="384174" y="3000933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570271" y="3708389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454755" y="3708390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9FDCA434-8357-5C87-D52C-A4A57C848E9E}"/>
              </a:ext>
            </a:extLst>
          </p:cNvPr>
          <p:cNvSpPr/>
          <p:nvPr/>
        </p:nvSpPr>
        <p:spPr>
          <a:xfrm>
            <a:off x="384174" y="3906861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570271" y="4616116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454755" y="4616117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528F102-273D-3542-29C6-FD85D6F2E102}"/>
              </a:ext>
            </a:extLst>
          </p:cNvPr>
          <p:cNvSpPr/>
          <p:nvPr/>
        </p:nvSpPr>
        <p:spPr>
          <a:xfrm>
            <a:off x="384174" y="4814588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570271" y="5525642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454755" y="5525643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37FC1529-36B9-5AC4-6D7C-EA7FEDF3BDAF}"/>
              </a:ext>
            </a:extLst>
          </p:cNvPr>
          <p:cNvSpPr/>
          <p:nvPr/>
        </p:nvSpPr>
        <p:spPr>
          <a:xfrm>
            <a:off x="384174" y="5724114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174683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454755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444922" y="1740699"/>
            <a:ext cx="9375603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495BD-F381-031A-543C-6D2BA217F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9336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374014" y="1896533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258498" y="1896534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374014" y="2802461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258498" y="2802462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374014" y="3708389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258498" y="3708390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374014" y="4616116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258498" y="4616117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374014" y="5525642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258498" y="5525643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374014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364181" y="1732070"/>
            <a:ext cx="174683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258498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248665" y="1740699"/>
            <a:ext cx="955598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495BD-F381-031A-543C-6D2BA217F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022117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F05140-2B4C-DFDB-782F-1D3D4DCE3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251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F05140-2B4C-DFDB-782F-1D3D4DCE3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A69708D-737F-CA2F-29B4-6C734339B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5DAAD5F-096D-2472-3A5F-A080CB64B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127">
            <a:extLst>
              <a:ext uri="{FF2B5EF4-FFF2-40B4-BE49-F238E27FC236}">
                <a16:creationId xmlns:a16="http://schemas.microsoft.com/office/drawing/2014/main" id="{F4C5F133-3FA0-1718-CCB2-B0CBC9F7CCF6}"/>
              </a:ext>
            </a:extLst>
          </p:cNvPr>
          <p:cNvSpPr txBox="1"/>
          <p:nvPr/>
        </p:nvSpPr>
        <p:spPr>
          <a:xfrm>
            <a:off x="795545" y="5540118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TextBox 54">
            <a:extLst>
              <a:ext uri="{FF2B5EF4-FFF2-40B4-BE49-F238E27FC236}">
                <a16:creationId xmlns:a16="http://schemas.microsoft.com/office/drawing/2014/main" id="{58B361DE-31E5-794C-154E-AEB2F60076E2}"/>
              </a:ext>
            </a:extLst>
          </p:cNvPr>
          <p:cNvSpPr txBox="1"/>
          <p:nvPr/>
        </p:nvSpPr>
        <p:spPr>
          <a:xfrm>
            <a:off x="4831963" y="5839918"/>
            <a:ext cx="6618507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TextBox 53">
            <a:extLst>
              <a:ext uri="{FF2B5EF4-FFF2-40B4-BE49-F238E27FC236}">
                <a16:creationId xmlns:a16="http://schemas.microsoft.com/office/drawing/2014/main" id="{44D30F00-F7B0-9EFC-5D85-A9623699C549}"/>
              </a:ext>
            </a:extLst>
          </p:cNvPr>
          <p:cNvSpPr txBox="1"/>
          <p:nvPr/>
        </p:nvSpPr>
        <p:spPr>
          <a:xfrm>
            <a:off x="1203830" y="5763951"/>
            <a:ext cx="2757619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8" name="Rectangle 80">
            <a:extLst>
              <a:ext uri="{FF2B5EF4-FFF2-40B4-BE49-F238E27FC236}">
                <a16:creationId xmlns:a16="http://schemas.microsoft.com/office/drawing/2014/main" id="{E298F2A5-712F-7703-8009-29190DA57701}"/>
              </a:ext>
            </a:extLst>
          </p:cNvPr>
          <p:cNvSpPr/>
          <p:nvPr/>
        </p:nvSpPr>
        <p:spPr>
          <a:xfrm>
            <a:off x="536903" y="5713020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9" name="Rectangle 81">
            <a:extLst>
              <a:ext uri="{FF2B5EF4-FFF2-40B4-BE49-F238E27FC236}">
                <a16:creationId xmlns:a16="http://schemas.microsoft.com/office/drawing/2014/main" id="{DA37C026-6084-7F39-FBCB-ECABAB8D2F39}"/>
              </a:ext>
            </a:extLst>
          </p:cNvPr>
          <p:cNvSpPr/>
          <p:nvPr/>
        </p:nvSpPr>
        <p:spPr>
          <a:xfrm>
            <a:off x="380012" y="553614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5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127">
            <a:extLst>
              <a:ext uri="{FF2B5EF4-FFF2-40B4-BE49-F238E27FC236}">
                <a16:creationId xmlns:a16="http://schemas.microsoft.com/office/drawing/2014/main" id="{4D80778B-E0C1-D965-145E-9CE7D9EE4715}"/>
              </a:ext>
            </a:extLst>
          </p:cNvPr>
          <p:cNvSpPr txBox="1"/>
          <p:nvPr/>
        </p:nvSpPr>
        <p:spPr>
          <a:xfrm>
            <a:off x="795545" y="1968946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53">
            <a:extLst>
              <a:ext uri="{FF2B5EF4-FFF2-40B4-BE49-F238E27FC236}">
                <a16:creationId xmlns:a16="http://schemas.microsoft.com/office/drawing/2014/main" id="{1AE642F4-8936-2326-25D2-2573BA99F551}"/>
              </a:ext>
            </a:extLst>
          </p:cNvPr>
          <p:cNvSpPr txBox="1"/>
          <p:nvPr/>
        </p:nvSpPr>
        <p:spPr>
          <a:xfrm>
            <a:off x="1203830" y="2188037"/>
            <a:ext cx="2617292" cy="322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sz="12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" name="TextBox 54">
            <a:extLst>
              <a:ext uri="{FF2B5EF4-FFF2-40B4-BE49-F238E27FC236}">
                <a16:creationId xmlns:a16="http://schemas.microsoft.com/office/drawing/2014/main" id="{6AED9F42-E532-6CC6-B6C8-DF1EEA68AC96}"/>
              </a:ext>
            </a:extLst>
          </p:cNvPr>
          <p:cNvSpPr txBox="1"/>
          <p:nvPr/>
        </p:nvSpPr>
        <p:spPr>
          <a:xfrm>
            <a:off x="4821698" y="2283022"/>
            <a:ext cx="6523790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0157288E-B09D-0B3F-357B-D3C15BB0A1C9}"/>
              </a:ext>
            </a:extLst>
          </p:cNvPr>
          <p:cNvSpPr/>
          <p:nvPr/>
        </p:nvSpPr>
        <p:spPr>
          <a:xfrm>
            <a:off x="526571" y="2141145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Rectangle 55">
            <a:extLst>
              <a:ext uri="{FF2B5EF4-FFF2-40B4-BE49-F238E27FC236}">
                <a16:creationId xmlns:a16="http://schemas.microsoft.com/office/drawing/2014/main" id="{51435BB2-A154-7A7A-61F9-22F914626F6B}"/>
              </a:ext>
            </a:extLst>
          </p:cNvPr>
          <p:cNvSpPr/>
          <p:nvPr/>
        </p:nvSpPr>
        <p:spPr>
          <a:xfrm>
            <a:off x="369680" y="1964267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1" name="Grupo 42">
            <a:extLst>
              <a:ext uri="{FF2B5EF4-FFF2-40B4-BE49-F238E27FC236}">
                <a16:creationId xmlns:a16="http://schemas.microsoft.com/office/drawing/2014/main" id="{E1E26842-4702-6662-4C93-2A76D97A6D01}"/>
              </a:ext>
            </a:extLst>
          </p:cNvPr>
          <p:cNvGrpSpPr/>
          <p:nvPr/>
        </p:nvGrpSpPr>
        <p:grpSpPr>
          <a:xfrm rot="10800000" flipH="1">
            <a:off x="4260312" y="2220945"/>
            <a:ext cx="261754" cy="280370"/>
            <a:chOff x="3657318" y="2960019"/>
            <a:chExt cx="428407" cy="506598"/>
          </a:xfrm>
        </p:grpSpPr>
        <p:grpSp>
          <p:nvGrpSpPr>
            <p:cNvPr id="52" name="Grupo 43">
              <a:extLst>
                <a:ext uri="{FF2B5EF4-FFF2-40B4-BE49-F238E27FC236}">
                  <a16:creationId xmlns:a16="http://schemas.microsoft.com/office/drawing/2014/main" id="{8642B8DA-CBB2-EA67-28E8-B2D5719F19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4" name="Conector recto 45">
                <a:extLst>
                  <a:ext uri="{FF2B5EF4-FFF2-40B4-BE49-F238E27FC236}">
                    <a16:creationId xmlns:a16="http://schemas.microsoft.com/office/drawing/2014/main" id="{CC6E4D88-B40C-B897-6EA7-D228142E0E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ector recto 46">
                <a:extLst>
                  <a:ext uri="{FF2B5EF4-FFF2-40B4-BE49-F238E27FC236}">
                    <a16:creationId xmlns:a16="http://schemas.microsoft.com/office/drawing/2014/main" id="{25B12FED-B70F-BC37-4AF3-57538EBDFE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Conector recto 44">
              <a:extLst>
                <a:ext uri="{FF2B5EF4-FFF2-40B4-BE49-F238E27FC236}">
                  <a16:creationId xmlns:a16="http://schemas.microsoft.com/office/drawing/2014/main" id="{FB8A55DF-8512-6E05-5DAD-7AC77CA8EB6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7">
            <a:extLst>
              <a:ext uri="{FF2B5EF4-FFF2-40B4-BE49-F238E27FC236}">
                <a16:creationId xmlns:a16="http://schemas.microsoft.com/office/drawing/2014/main" id="{06CD2015-F3BF-29A5-F7DD-7F1D2D16A78E}"/>
              </a:ext>
            </a:extLst>
          </p:cNvPr>
          <p:cNvSpPr txBox="1"/>
          <p:nvPr/>
        </p:nvSpPr>
        <p:spPr>
          <a:xfrm>
            <a:off x="795545" y="2861810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Box 53">
            <a:extLst>
              <a:ext uri="{FF2B5EF4-FFF2-40B4-BE49-F238E27FC236}">
                <a16:creationId xmlns:a16="http://schemas.microsoft.com/office/drawing/2014/main" id="{4DE0FCDE-6424-FD63-D33E-0B84271393BD}"/>
              </a:ext>
            </a:extLst>
          </p:cNvPr>
          <p:cNvSpPr txBox="1"/>
          <p:nvPr/>
        </p:nvSpPr>
        <p:spPr>
          <a:xfrm>
            <a:off x="1203830" y="3092184"/>
            <a:ext cx="2962873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accent2"/>
                </a:solidFill>
                <a:latin typeface="Franklin Gothic Medium" panose="020B0603020102020204" pitchFamily="34" charset="0"/>
                <a:cs typeface="Poppins SemiBold" panose="02000000000000000000" pitchFamily="2" charset="0"/>
              </a:defRPr>
            </a:lvl1pPr>
          </a:lstStyle>
          <a:p>
            <a:r>
              <a:rPr lang="en-GB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2" name="Rectangle 71">
            <a:extLst>
              <a:ext uri="{FF2B5EF4-FFF2-40B4-BE49-F238E27FC236}">
                <a16:creationId xmlns:a16="http://schemas.microsoft.com/office/drawing/2014/main" id="{15753948-2C85-1334-8273-E4DD8B243E11}"/>
              </a:ext>
            </a:extLst>
          </p:cNvPr>
          <p:cNvSpPr/>
          <p:nvPr/>
        </p:nvSpPr>
        <p:spPr>
          <a:xfrm>
            <a:off x="534600" y="3035239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Rectangle 72">
            <a:extLst>
              <a:ext uri="{FF2B5EF4-FFF2-40B4-BE49-F238E27FC236}">
                <a16:creationId xmlns:a16="http://schemas.microsoft.com/office/drawing/2014/main" id="{5A3523F6-C060-E9B4-F209-DBC96B053C51}"/>
              </a:ext>
            </a:extLst>
          </p:cNvPr>
          <p:cNvSpPr/>
          <p:nvPr/>
        </p:nvSpPr>
        <p:spPr>
          <a:xfrm>
            <a:off x="377709" y="2858360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FC694D92-1B84-05AA-20AB-B0026A1C3D4E}"/>
              </a:ext>
            </a:extLst>
          </p:cNvPr>
          <p:cNvSpPr txBox="1"/>
          <p:nvPr/>
        </p:nvSpPr>
        <p:spPr>
          <a:xfrm>
            <a:off x="4821698" y="3178166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6" name="Grupo 42">
            <a:extLst>
              <a:ext uri="{FF2B5EF4-FFF2-40B4-BE49-F238E27FC236}">
                <a16:creationId xmlns:a16="http://schemas.microsoft.com/office/drawing/2014/main" id="{F3B77E5D-AD3A-F731-3AFA-34D78070163F}"/>
              </a:ext>
            </a:extLst>
          </p:cNvPr>
          <p:cNvGrpSpPr/>
          <p:nvPr/>
        </p:nvGrpSpPr>
        <p:grpSpPr>
          <a:xfrm rot="10800000" flipH="1">
            <a:off x="4260312" y="3112719"/>
            <a:ext cx="261754" cy="280370"/>
            <a:chOff x="3657318" y="2960019"/>
            <a:chExt cx="428407" cy="506598"/>
          </a:xfrm>
        </p:grpSpPr>
        <p:grpSp>
          <p:nvGrpSpPr>
            <p:cNvPr id="57" name="Grupo 43">
              <a:extLst>
                <a:ext uri="{FF2B5EF4-FFF2-40B4-BE49-F238E27FC236}">
                  <a16:creationId xmlns:a16="http://schemas.microsoft.com/office/drawing/2014/main" id="{75715A81-FEF6-67B9-663A-63CDE900ED5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9" name="Conector recto 45">
                <a:extLst>
                  <a:ext uri="{FF2B5EF4-FFF2-40B4-BE49-F238E27FC236}">
                    <a16:creationId xmlns:a16="http://schemas.microsoft.com/office/drawing/2014/main" id="{86C25853-62B9-131F-69A3-5D214395465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cto 46">
                <a:extLst>
                  <a:ext uri="{FF2B5EF4-FFF2-40B4-BE49-F238E27FC236}">
                    <a16:creationId xmlns:a16="http://schemas.microsoft.com/office/drawing/2014/main" id="{02E3D6FB-1DB1-6F8A-3EB8-0692AD5BF1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" name="Conector recto 44">
              <a:extLst>
                <a:ext uri="{FF2B5EF4-FFF2-40B4-BE49-F238E27FC236}">
                  <a16:creationId xmlns:a16="http://schemas.microsoft.com/office/drawing/2014/main" id="{9ED97EDA-D68F-F4AE-39D9-9BCDD0A45558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127">
            <a:extLst>
              <a:ext uri="{FF2B5EF4-FFF2-40B4-BE49-F238E27FC236}">
                <a16:creationId xmlns:a16="http://schemas.microsoft.com/office/drawing/2014/main" id="{9997D038-B041-4689-8000-BCC8DAACCF72}"/>
              </a:ext>
            </a:extLst>
          </p:cNvPr>
          <p:cNvSpPr txBox="1"/>
          <p:nvPr/>
        </p:nvSpPr>
        <p:spPr>
          <a:xfrm>
            <a:off x="795545" y="3754768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TextBox 53">
            <a:extLst>
              <a:ext uri="{FF2B5EF4-FFF2-40B4-BE49-F238E27FC236}">
                <a16:creationId xmlns:a16="http://schemas.microsoft.com/office/drawing/2014/main" id="{B43915DD-5038-2D08-1957-84763585DD61}"/>
              </a:ext>
            </a:extLst>
          </p:cNvPr>
          <p:cNvSpPr txBox="1"/>
          <p:nvPr/>
        </p:nvSpPr>
        <p:spPr>
          <a:xfrm>
            <a:off x="1203830" y="3983989"/>
            <a:ext cx="3024438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7" name="Rectangle 74">
            <a:extLst>
              <a:ext uri="{FF2B5EF4-FFF2-40B4-BE49-F238E27FC236}">
                <a16:creationId xmlns:a16="http://schemas.microsoft.com/office/drawing/2014/main" id="{64785726-6485-7274-E159-1E4DADDFC60B}"/>
              </a:ext>
            </a:extLst>
          </p:cNvPr>
          <p:cNvSpPr/>
          <p:nvPr/>
        </p:nvSpPr>
        <p:spPr>
          <a:xfrm>
            <a:off x="541645" y="3928103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8" name="Rectangle 75">
            <a:extLst>
              <a:ext uri="{FF2B5EF4-FFF2-40B4-BE49-F238E27FC236}">
                <a16:creationId xmlns:a16="http://schemas.microsoft.com/office/drawing/2014/main" id="{65A6ED33-F8B9-EC3C-4A0A-5D4AB459B808}"/>
              </a:ext>
            </a:extLst>
          </p:cNvPr>
          <p:cNvSpPr/>
          <p:nvPr/>
        </p:nvSpPr>
        <p:spPr>
          <a:xfrm>
            <a:off x="384754" y="3751224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9" name="TextBox 54">
            <a:extLst>
              <a:ext uri="{FF2B5EF4-FFF2-40B4-BE49-F238E27FC236}">
                <a16:creationId xmlns:a16="http://schemas.microsoft.com/office/drawing/2014/main" id="{13A470E0-AF3A-AC6E-19FC-76B86A1A3E46}"/>
              </a:ext>
            </a:extLst>
          </p:cNvPr>
          <p:cNvSpPr txBox="1"/>
          <p:nvPr/>
        </p:nvSpPr>
        <p:spPr>
          <a:xfrm>
            <a:off x="4821698" y="4069971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1" name="Grupo 42">
            <a:extLst>
              <a:ext uri="{FF2B5EF4-FFF2-40B4-BE49-F238E27FC236}">
                <a16:creationId xmlns:a16="http://schemas.microsoft.com/office/drawing/2014/main" id="{89A72311-71CA-3B90-185D-942EFCF8C647}"/>
              </a:ext>
            </a:extLst>
          </p:cNvPr>
          <p:cNvGrpSpPr/>
          <p:nvPr/>
        </p:nvGrpSpPr>
        <p:grpSpPr>
          <a:xfrm rot="10800000" flipH="1">
            <a:off x="4260312" y="4004588"/>
            <a:ext cx="261754" cy="280370"/>
            <a:chOff x="3657318" y="2960019"/>
            <a:chExt cx="428407" cy="506598"/>
          </a:xfrm>
        </p:grpSpPr>
        <p:grpSp>
          <p:nvGrpSpPr>
            <p:cNvPr id="62" name="Grupo 43">
              <a:extLst>
                <a:ext uri="{FF2B5EF4-FFF2-40B4-BE49-F238E27FC236}">
                  <a16:creationId xmlns:a16="http://schemas.microsoft.com/office/drawing/2014/main" id="{F168540A-2DE4-B581-5121-F8BE83E02E9C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4" name="Conector recto 45">
                <a:extLst>
                  <a:ext uri="{FF2B5EF4-FFF2-40B4-BE49-F238E27FC236}">
                    <a16:creationId xmlns:a16="http://schemas.microsoft.com/office/drawing/2014/main" id="{6583039A-6CB7-36EB-1F89-8D9B452AE52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Conector recto 46">
                <a:extLst>
                  <a:ext uri="{FF2B5EF4-FFF2-40B4-BE49-F238E27FC236}">
                    <a16:creationId xmlns:a16="http://schemas.microsoft.com/office/drawing/2014/main" id="{9B6FF801-DAF7-9267-C9DF-1821DD2637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3" name="Conector recto 44">
              <a:extLst>
                <a:ext uri="{FF2B5EF4-FFF2-40B4-BE49-F238E27FC236}">
                  <a16:creationId xmlns:a16="http://schemas.microsoft.com/office/drawing/2014/main" id="{203DFAAB-15A3-ABF4-C111-9E329A4428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127">
            <a:extLst>
              <a:ext uri="{FF2B5EF4-FFF2-40B4-BE49-F238E27FC236}">
                <a16:creationId xmlns:a16="http://schemas.microsoft.com/office/drawing/2014/main" id="{5A979EB2-6D4C-51E9-7C7F-50B9F354B021}"/>
              </a:ext>
            </a:extLst>
          </p:cNvPr>
          <p:cNvSpPr txBox="1"/>
          <p:nvPr/>
        </p:nvSpPr>
        <p:spPr>
          <a:xfrm>
            <a:off x="795545" y="4650705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1" name="TextBox 53">
            <a:extLst>
              <a:ext uri="{FF2B5EF4-FFF2-40B4-BE49-F238E27FC236}">
                <a16:creationId xmlns:a16="http://schemas.microsoft.com/office/drawing/2014/main" id="{12B7456C-5DA7-251A-C7D5-19ACF69496AF}"/>
              </a:ext>
            </a:extLst>
          </p:cNvPr>
          <p:cNvSpPr txBox="1"/>
          <p:nvPr/>
        </p:nvSpPr>
        <p:spPr>
          <a:xfrm>
            <a:off x="1203830" y="4879879"/>
            <a:ext cx="2956221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2" name="Rectangle 77">
            <a:extLst>
              <a:ext uri="{FF2B5EF4-FFF2-40B4-BE49-F238E27FC236}">
                <a16:creationId xmlns:a16="http://schemas.microsoft.com/office/drawing/2014/main" id="{65986945-2067-01A9-F636-5211C0104CE0}"/>
              </a:ext>
            </a:extLst>
          </p:cNvPr>
          <p:cNvSpPr/>
          <p:nvPr/>
        </p:nvSpPr>
        <p:spPr>
          <a:xfrm>
            <a:off x="532494" y="4821060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Rectangle 78">
            <a:extLst>
              <a:ext uri="{FF2B5EF4-FFF2-40B4-BE49-F238E27FC236}">
                <a16:creationId xmlns:a16="http://schemas.microsoft.com/office/drawing/2014/main" id="{4313BE18-6038-9B8B-7472-A579B0F2A46C}"/>
              </a:ext>
            </a:extLst>
          </p:cNvPr>
          <p:cNvSpPr/>
          <p:nvPr/>
        </p:nvSpPr>
        <p:spPr>
          <a:xfrm>
            <a:off x="375603" y="464418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TextBox 54">
            <a:extLst>
              <a:ext uri="{FF2B5EF4-FFF2-40B4-BE49-F238E27FC236}">
                <a16:creationId xmlns:a16="http://schemas.microsoft.com/office/drawing/2014/main" id="{EE7CFA92-9BE5-63A2-6A99-495B76B496DF}"/>
              </a:ext>
            </a:extLst>
          </p:cNvPr>
          <p:cNvSpPr txBox="1"/>
          <p:nvPr/>
        </p:nvSpPr>
        <p:spPr>
          <a:xfrm>
            <a:off x="4827428" y="4965861"/>
            <a:ext cx="6623042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6" name="Grupo 42">
            <a:extLst>
              <a:ext uri="{FF2B5EF4-FFF2-40B4-BE49-F238E27FC236}">
                <a16:creationId xmlns:a16="http://schemas.microsoft.com/office/drawing/2014/main" id="{0108B9B9-C03E-AC87-916D-9E0EFCCCF72B}"/>
              </a:ext>
            </a:extLst>
          </p:cNvPr>
          <p:cNvGrpSpPr/>
          <p:nvPr/>
        </p:nvGrpSpPr>
        <p:grpSpPr>
          <a:xfrm rot="10800000" flipH="1">
            <a:off x="4260312" y="4899434"/>
            <a:ext cx="261754" cy="280370"/>
            <a:chOff x="3657318" y="2960019"/>
            <a:chExt cx="428407" cy="506598"/>
          </a:xfrm>
        </p:grpSpPr>
        <p:grpSp>
          <p:nvGrpSpPr>
            <p:cNvPr id="67" name="Grupo 43">
              <a:extLst>
                <a:ext uri="{FF2B5EF4-FFF2-40B4-BE49-F238E27FC236}">
                  <a16:creationId xmlns:a16="http://schemas.microsoft.com/office/drawing/2014/main" id="{7C52AB68-452E-C870-02BA-8CCC4E7D20F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9" name="Conector recto 45">
                <a:extLst>
                  <a:ext uri="{FF2B5EF4-FFF2-40B4-BE49-F238E27FC236}">
                    <a16:creationId xmlns:a16="http://schemas.microsoft.com/office/drawing/2014/main" id="{A4957C08-3B27-73D1-B244-E8FA710A4CE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cto 46">
                <a:extLst>
                  <a:ext uri="{FF2B5EF4-FFF2-40B4-BE49-F238E27FC236}">
                    <a16:creationId xmlns:a16="http://schemas.microsoft.com/office/drawing/2014/main" id="{2166B261-935C-5BC9-9294-230CEE6835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8" name="Conector recto 44">
              <a:extLst>
                <a:ext uri="{FF2B5EF4-FFF2-40B4-BE49-F238E27FC236}">
                  <a16:creationId xmlns:a16="http://schemas.microsoft.com/office/drawing/2014/main" id="{151311A3-333E-21A1-C0FD-F5A79943223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43">
            <a:extLst>
              <a:ext uri="{FF2B5EF4-FFF2-40B4-BE49-F238E27FC236}">
                <a16:creationId xmlns:a16="http://schemas.microsoft.com/office/drawing/2014/main" id="{A6FAD745-08ED-FDB3-AC8C-35EFBAE7CA90}"/>
              </a:ext>
            </a:extLst>
          </p:cNvPr>
          <p:cNvGrpSpPr/>
          <p:nvPr/>
        </p:nvGrpSpPr>
        <p:grpSpPr>
          <a:xfrm rot="10800000" flipH="1">
            <a:off x="4364967" y="5787756"/>
            <a:ext cx="157099" cy="280370"/>
            <a:chOff x="2468880" y="3319199"/>
            <a:chExt cx="257121" cy="506598"/>
          </a:xfrm>
        </p:grpSpPr>
        <p:cxnSp>
          <p:nvCxnSpPr>
            <p:cNvPr id="74" name="Conector recto 45">
              <a:extLst>
                <a:ext uri="{FF2B5EF4-FFF2-40B4-BE49-F238E27FC236}">
                  <a16:creationId xmlns:a16="http://schemas.microsoft.com/office/drawing/2014/main" id="{876933E7-CC21-3A21-233F-AA67D558E858}"/>
                </a:ext>
              </a:extLst>
            </p:cNvPr>
            <p:cNvCxnSpPr/>
            <p:nvPr/>
          </p:nvCxnSpPr>
          <p:spPr>
            <a:xfrm>
              <a:off x="2468880" y="3319199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cto 46">
              <a:extLst>
                <a:ext uri="{FF2B5EF4-FFF2-40B4-BE49-F238E27FC236}">
                  <a16:creationId xmlns:a16="http://schemas.microsoft.com/office/drawing/2014/main" id="{89FCC356-9533-8002-FF4E-DB8DB223B2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880" y="3568676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Conector recto 44">
            <a:extLst>
              <a:ext uri="{FF2B5EF4-FFF2-40B4-BE49-F238E27FC236}">
                <a16:creationId xmlns:a16="http://schemas.microsoft.com/office/drawing/2014/main" id="{F0B78446-ADA9-AB56-CD53-0054B518BC96}"/>
              </a:ext>
            </a:extLst>
          </p:cNvPr>
          <p:cNvCxnSpPr>
            <a:cxnSpLocks/>
          </p:cNvCxnSpPr>
          <p:nvPr/>
        </p:nvCxnSpPr>
        <p:spPr>
          <a:xfrm rot="10800000" flipH="1">
            <a:off x="4260312" y="5927947"/>
            <a:ext cx="25344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4">
            <a:extLst>
              <a:ext uri="{FF2B5EF4-FFF2-40B4-BE49-F238E27FC236}">
                <a16:creationId xmlns:a16="http://schemas.microsoft.com/office/drawing/2014/main" id="{C0940F2B-D06A-3775-922B-5C7CDFF47D72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9" name="Conector recto 9">
            <a:extLst>
              <a:ext uri="{FF2B5EF4-FFF2-40B4-BE49-F238E27FC236}">
                <a16:creationId xmlns:a16="http://schemas.microsoft.com/office/drawing/2014/main" id="{9C4FD6F0-638E-7493-D2E4-968903D00C3E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348662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4">
            <a:extLst>
              <a:ext uri="{FF2B5EF4-FFF2-40B4-BE49-F238E27FC236}">
                <a16:creationId xmlns:a16="http://schemas.microsoft.com/office/drawing/2014/main" id="{7B10FB18-DE69-93A8-3998-8FD233725CCA}"/>
              </a:ext>
            </a:extLst>
          </p:cNvPr>
          <p:cNvSpPr txBox="1"/>
          <p:nvPr/>
        </p:nvSpPr>
        <p:spPr>
          <a:xfrm>
            <a:off x="4260309" y="1398252"/>
            <a:ext cx="7560215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B876B9DB-CA3C-3329-835A-223637118B9B}"/>
              </a:ext>
            </a:extLst>
          </p:cNvPr>
          <p:cNvCxnSpPr>
            <a:cxnSpLocks/>
          </p:cNvCxnSpPr>
          <p:nvPr/>
        </p:nvCxnSpPr>
        <p:spPr>
          <a:xfrm>
            <a:off x="4260311" y="1740699"/>
            <a:ext cx="756021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45AC4F-0E38-E905-F9EE-133DEE3835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1663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F05140-2B4C-DFDB-782F-1D3D4DCE3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F05140-2B4C-DFDB-782F-1D3D4DCE3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A69708D-737F-CA2F-29B4-6C734339B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5DAAD5F-096D-2472-3A5F-A080CB64B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TextBox 54">
            <a:extLst>
              <a:ext uri="{FF2B5EF4-FFF2-40B4-BE49-F238E27FC236}">
                <a16:creationId xmlns:a16="http://schemas.microsoft.com/office/drawing/2014/main" id="{58B361DE-31E5-794C-154E-AEB2F60076E2}"/>
              </a:ext>
            </a:extLst>
          </p:cNvPr>
          <p:cNvSpPr txBox="1"/>
          <p:nvPr/>
        </p:nvSpPr>
        <p:spPr>
          <a:xfrm>
            <a:off x="4831963" y="5839918"/>
            <a:ext cx="6618507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TextBox 53">
            <a:extLst>
              <a:ext uri="{FF2B5EF4-FFF2-40B4-BE49-F238E27FC236}">
                <a16:creationId xmlns:a16="http://schemas.microsoft.com/office/drawing/2014/main" id="{44D30F00-F7B0-9EFC-5D85-A9623699C549}"/>
              </a:ext>
            </a:extLst>
          </p:cNvPr>
          <p:cNvSpPr txBox="1"/>
          <p:nvPr/>
        </p:nvSpPr>
        <p:spPr>
          <a:xfrm>
            <a:off x="741530" y="5763951"/>
            <a:ext cx="2757619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9" name="Rectangle 81">
            <a:extLst>
              <a:ext uri="{FF2B5EF4-FFF2-40B4-BE49-F238E27FC236}">
                <a16:creationId xmlns:a16="http://schemas.microsoft.com/office/drawing/2014/main" id="{DA37C026-6084-7F39-FBCB-ECABAB8D2F39}"/>
              </a:ext>
            </a:extLst>
          </p:cNvPr>
          <p:cNvSpPr/>
          <p:nvPr/>
        </p:nvSpPr>
        <p:spPr>
          <a:xfrm>
            <a:off x="380012" y="553614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5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53">
            <a:extLst>
              <a:ext uri="{FF2B5EF4-FFF2-40B4-BE49-F238E27FC236}">
                <a16:creationId xmlns:a16="http://schemas.microsoft.com/office/drawing/2014/main" id="{1AE642F4-8936-2326-25D2-2573BA99F551}"/>
              </a:ext>
            </a:extLst>
          </p:cNvPr>
          <p:cNvSpPr txBox="1"/>
          <p:nvPr/>
        </p:nvSpPr>
        <p:spPr>
          <a:xfrm>
            <a:off x="741530" y="2188037"/>
            <a:ext cx="2617292" cy="322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TextBox 54">
            <a:extLst>
              <a:ext uri="{FF2B5EF4-FFF2-40B4-BE49-F238E27FC236}">
                <a16:creationId xmlns:a16="http://schemas.microsoft.com/office/drawing/2014/main" id="{6AED9F42-E532-6CC6-B6C8-DF1EEA68AC96}"/>
              </a:ext>
            </a:extLst>
          </p:cNvPr>
          <p:cNvSpPr txBox="1"/>
          <p:nvPr/>
        </p:nvSpPr>
        <p:spPr>
          <a:xfrm>
            <a:off x="4821698" y="2283022"/>
            <a:ext cx="6523790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Rectangle 55">
            <a:extLst>
              <a:ext uri="{FF2B5EF4-FFF2-40B4-BE49-F238E27FC236}">
                <a16:creationId xmlns:a16="http://schemas.microsoft.com/office/drawing/2014/main" id="{51435BB2-A154-7A7A-61F9-22F914626F6B}"/>
              </a:ext>
            </a:extLst>
          </p:cNvPr>
          <p:cNvSpPr/>
          <p:nvPr/>
        </p:nvSpPr>
        <p:spPr>
          <a:xfrm>
            <a:off x="369680" y="1964267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1" name="Grupo 42">
            <a:extLst>
              <a:ext uri="{FF2B5EF4-FFF2-40B4-BE49-F238E27FC236}">
                <a16:creationId xmlns:a16="http://schemas.microsoft.com/office/drawing/2014/main" id="{E1E26842-4702-6662-4C93-2A76D97A6D01}"/>
              </a:ext>
            </a:extLst>
          </p:cNvPr>
          <p:cNvGrpSpPr/>
          <p:nvPr/>
        </p:nvGrpSpPr>
        <p:grpSpPr>
          <a:xfrm rot="10800000" flipH="1">
            <a:off x="4260312" y="2220945"/>
            <a:ext cx="261754" cy="280370"/>
            <a:chOff x="3657318" y="2960019"/>
            <a:chExt cx="428407" cy="506598"/>
          </a:xfrm>
        </p:grpSpPr>
        <p:grpSp>
          <p:nvGrpSpPr>
            <p:cNvPr id="52" name="Grupo 43">
              <a:extLst>
                <a:ext uri="{FF2B5EF4-FFF2-40B4-BE49-F238E27FC236}">
                  <a16:creationId xmlns:a16="http://schemas.microsoft.com/office/drawing/2014/main" id="{8642B8DA-CBB2-EA67-28E8-B2D5719F19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4" name="Conector recto 45">
                <a:extLst>
                  <a:ext uri="{FF2B5EF4-FFF2-40B4-BE49-F238E27FC236}">
                    <a16:creationId xmlns:a16="http://schemas.microsoft.com/office/drawing/2014/main" id="{CC6E4D88-B40C-B897-6EA7-D228142E0E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ector recto 46">
                <a:extLst>
                  <a:ext uri="{FF2B5EF4-FFF2-40B4-BE49-F238E27FC236}">
                    <a16:creationId xmlns:a16="http://schemas.microsoft.com/office/drawing/2014/main" id="{25B12FED-B70F-BC37-4AF3-57538EBDFE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Conector recto 44">
              <a:extLst>
                <a:ext uri="{FF2B5EF4-FFF2-40B4-BE49-F238E27FC236}">
                  <a16:creationId xmlns:a16="http://schemas.microsoft.com/office/drawing/2014/main" id="{FB8A55DF-8512-6E05-5DAD-7AC77CA8EB6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53">
            <a:extLst>
              <a:ext uri="{FF2B5EF4-FFF2-40B4-BE49-F238E27FC236}">
                <a16:creationId xmlns:a16="http://schemas.microsoft.com/office/drawing/2014/main" id="{4DE0FCDE-6424-FD63-D33E-0B84271393BD}"/>
              </a:ext>
            </a:extLst>
          </p:cNvPr>
          <p:cNvSpPr txBox="1"/>
          <p:nvPr/>
        </p:nvSpPr>
        <p:spPr>
          <a:xfrm>
            <a:off x="741530" y="3092184"/>
            <a:ext cx="2962873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accent2"/>
                </a:solidFill>
                <a:latin typeface="Franklin Gothic Medium" panose="020B0603020102020204" pitchFamily="34" charset="0"/>
                <a:cs typeface="Poppins SemiBold" panose="02000000000000000000" pitchFamily="2" charset="0"/>
              </a:defRPr>
            </a:lvl1pPr>
          </a:lstStyle>
          <a:p>
            <a:r>
              <a:rPr lang="en-GB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Rectangle 72">
            <a:extLst>
              <a:ext uri="{FF2B5EF4-FFF2-40B4-BE49-F238E27FC236}">
                <a16:creationId xmlns:a16="http://schemas.microsoft.com/office/drawing/2014/main" id="{5A3523F6-C060-E9B4-F209-DBC96B053C51}"/>
              </a:ext>
            </a:extLst>
          </p:cNvPr>
          <p:cNvSpPr/>
          <p:nvPr/>
        </p:nvSpPr>
        <p:spPr>
          <a:xfrm>
            <a:off x="377709" y="2858360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FC694D92-1B84-05AA-20AB-B0026A1C3D4E}"/>
              </a:ext>
            </a:extLst>
          </p:cNvPr>
          <p:cNvSpPr txBox="1"/>
          <p:nvPr/>
        </p:nvSpPr>
        <p:spPr>
          <a:xfrm>
            <a:off x="4821698" y="3178166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6" name="Grupo 42">
            <a:extLst>
              <a:ext uri="{FF2B5EF4-FFF2-40B4-BE49-F238E27FC236}">
                <a16:creationId xmlns:a16="http://schemas.microsoft.com/office/drawing/2014/main" id="{F3B77E5D-AD3A-F731-3AFA-34D78070163F}"/>
              </a:ext>
            </a:extLst>
          </p:cNvPr>
          <p:cNvGrpSpPr/>
          <p:nvPr/>
        </p:nvGrpSpPr>
        <p:grpSpPr>
          <a:xfrm rot="10800000" flipH="1">
            <a:off x="4260312" y="3112719"/>
            <a:ext cx="261754" cy="280370"/>
            <a:chOff x="3657318" y="2960019"/>
            <a:chExt cx="428407" cy="506598"/>
          </a:xfrm>
        </p:grpSpPr>
        <p:grpSp>
          <p:nvGrpSpPr>
            <p:cNvPr id="57" name="Grupo 43">
              <a:extLst>
                <a:ext uri="{FF2B5EF4-FFF2-40B4-BE49-F238E27FC236}">
                  <a16:creationId xmlns:a16="http://schemas.microsoft.com/office/drawing/2014/main" id="{75715A81-FEF6-67B9-663A-63CDE900ED5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9" name="Conector recto 45">
                <a:extLst>
                  <a:ext uri="{FF2B5EF4-FFF2-40B4-BE49-F238E27FC236}">
                    <a16:creationId xmlns:a16="http://schemas.microsoft.com/office/drawing/2014/main" id="{86C25853-62B9-131F-69A3-5D214395465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cto 46">
                <a:extLst>
                  <a:ext uri="{FF2B5EF4-FFF2-40B4-BE49-F238E27FC236}">
                    <a16:creationId xmlns:a16="http://schemas.microsoft.com/office/drawing/2014/main" id="{02E3D6FB-1DB1-6F8A-3EB8-0692AD5BF1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" name="Conector recto 44">
              <a:extLst>
                <a:ext uri="{FF2B5EF4-FFF2-40B4-BE49-F238E27FC236}">
                  <a16:creationId xmlns:a16="http://schemas.microsoft.com/office/drawing/2014/main" id="{9ED97EDA-D68F-F4AE-39D9-9BCDD0A45558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53">
            <a:extLst>
              <a:ext uri="{FF2B5EF4-FFF2-40B4-BE49-F238E27FC236}">
                <a16:creationId xmlns:a16="http://schemas.microsoft.com/office/drawing/2014/main" id="{B43915DD-5038-2D08-1957-84763585DD61}"/>
              </a:ext>
            </a:extLst>
          </p:cNvPr>
          <p:cNvSpPr txBox="1"/>
          <p:nvPr/>
        </p:nvSpPr>
        <p:spPr>
          <a:xfrm>
            <a:off x="741530" y="3983989"/>
            <a:ext cx="3024438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8" name="Rectangle 75">
            <a:extLst>
              <a:ext uri="{FF2B5EF4-FFF2-40B4-BE49-F238E27FC236}">
                <a16:creationId xmlns:a16="http://schemas.microsoft.com/office/drawing/2014/main" id="{65A6ED33-F8B9-EC3C-4A0A-5D4AB459B808}"/>
              </a:ext>
            </a:extLst>
          </p:cNvPr>
          <p:cNvSpPr/>
          <p:nvPr/>
        </p:nvSpPr>
        <p:spPr>
          <a:xfrm>
            <a:off x="384754" y="3751224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9" name="TextBox 54">
            <a:extLst>
              <a:ext uri="{FF2B5EF4-FFF2-40B4-BE49-F238E27FC236}">
                <a16:creationId xmlns:a16="http://schemas.microsoft.com/office/drawing/2014/main" id="{13A470E0-AF3A-AC6E-19FC-76B86A1A3E46}"/>
              </a:ext>
            </a:extLst>
          </p:cNvPr>
          <p:cNvSpPr txBox="1"/>
          <p:nvPr/>
        </p:nvSpPr>
        <p:spPr>
          <a:xfrm>
            <a:off x="4821698" y="4069971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1" name="Grupo 42">
            <a:extLst>
              <a:ext uri="{FF2B5EF4-FFF2-40B4-BE49-F238E27FC236}">
                <a16:creationId xmlns:a16="http://schemas.microsoft.com/office/drawing/2014/main" id="{89A72311-71CA-3B90-185D-942EFCF8C647}"/>
              </a:ext>
            </a:extLst>
          </p:cNvPr>
          <p:cNvGrpSpPr/>
          <p:nvPr/>
        </p:nvGrpSpPr>
        <p:grpSpPr>
          <a:xfrm rot="10800000" flipH="1">
            <a:off x="4260312" y="4004588"/>
            <a:ext cx="261754" cy="280370"/>
            <a:chOff x="3657318" y="2960019"/>
            <a:chExt cx="428407" cy="506598"/>
          </a:xfrm>
        </p:grpSpPr>
        <p:grpSp>
          <p:nvGrpSpPr>
            <p:cNvPr id="62" name="Grupo 43">
              <a:extLst>
                <a:ext uri="{FF2B5EF4-FFF2-40B4-BE49-F238E27FC236}">
                  <a16:creationId xmlns:a16="http://schemas.microsoft.com/office/drawing/2014/main" id="{F168540A-2DE4-B581-5121-F8BE83E02E9C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4" name="Conector recto 45">
                <a:extLst>
                  <a:ext uri="{FF2B5EF4-FFF2-40B4-BE49-F238E27FC236}">
                    <a16:creationId xmlns:a16="http://schemas.microsoft.com/office/drawing/2014/main" id="{6583039A-6CB7-36EB-1F89-8D9B452AE52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Conector recto 46">
                <a:extLst>
                  <a:ext uri="{FF2B5EF4-FFF2-40B4-BE49-F238E27FC236}">
                    <a16:creationId xmlns:a16="http://schemas.microsoft.com/office/drawing/2014/main" id="{9B6FF801-DAF7-9267-C9DF-1821DD2637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3" name="Conector recto 44">
              <a:extLst>
                <a:ext uri="{FF2B5EF4-FFF2-40B4-BE49-F238E27FC236}">
                  <a16:creationId xmlns:a16="http://schemas.microsoft.com/office/drawing/2014/main" id="{203DFAAB-15A3-ABF4-C111-9E329A4428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53">
            <a:extLst>
              <a:ext uri="{FF2B5EF4-FFF2-40B4-BE49-F238E27FC236}">
                <a16:creationId xmlns:a16="http://schemas.microsoft.com/office/drawing/2014/main" id="{12B7456C-5DA7-251A-C7D5-19ACF69496AF}"/>
              </a:ext>
            </a:extLst>
          </p:cNvPr>
          <p:cNvSpPr txBox="1"/>
          <p:nvPr/>
        </p:nvSpPr>
        <p:spPr>
          <a:xfrm>
            <a:off x="741530" y="4879879"/>
            <a:ext cx="2956221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Rectangle 78">
            <a:extLst>
              <a:ext uri="{FF2B5EF4-FFF2-40B4-BE49-F238E27FC236}">
                <a16:creationId xmlns:a16="http://schemas.microsoft.com/office/drawing/2014/main" id="{4313BE18-6038-9B8B-7472-A579B0F2A46C}"/>
              </a:ext>
            </a:extLst>
          </p:cNvPr>
          <p:cNvSpPr/>
          <p:nvPr/>
        </p:nvSpPr>
        <p:spPr>
          <a:xfrm>
            <a:off x="375603" y="464418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TextBox 54">
            <a:extLst>
              <a:ext uri="{FF2B5EF4-FFF2-40B4-BE49-F238E27FC236}">
                <a16:creationId xmlns:a16="http://schemas.microsoft.com/office/drawing/2014/main" id="{EE7CFA92-9BE5-63A2-6A99-495B76B496DF}"/>
              </a:ext>
            </a:extLst>
          </p:cNvPr>
          <p:cNvSpPr txBox="1"/>
          <p:nvPr/>
        </p:nvSpPr>
        <p:spPr>
          <a:xfrm>
            <a:off x="4827428" y="4965861"/>
            <a:ext cx="6623042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6" name="Grupo 42">
            <a:extLst>
              <a:ext uri="{FF2B5EF4-FFF2-40B4-BE49-F238E27FC236}">
                <a16:creationId xmlns:a16="http://schemas.microsoft.com/office/drawing/2014/main" id="{0108B9B9-C03E-AC87-916D-9E0EFCCCF72B}"/>
              </a:ext>
            </a:extLst>
          </p:cNvPr>
          <p:cNvGrpSpPr/>
          <p:nvPr/>
        </p:nvGrpSpPr>
        <p:grpSpPr>
          <a:xfrm rot="10800000" flipH="1">
            <a:off x="4260312" y="4899434"/>
            <a:ext cx="261754" cy="280370"/>
            <a:chOff x="3657318" y="2960019"/>
            <a:chExt cx="428407" cy="506598"/>
          </a:xfrm>
        </p:grpSpPr>
        <p:grpSp>
          <p:nvGrpSpPr>
            <p:cNvPr id="67" name="Grupo 43">
              <a:extLst>
                <a:ext uri="{FF2B5EF4-FFF2-40B4-BE49-F238E27FC236}">
                  <a16:creationId xmlns:a16="http://schemas.microsoft.com/office/drawing/2014/main" id="{7C52AB68-452E-C870-02BA-8CCC4E7D20F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9" name="Conector recto 45">
                <a:extLst>
                  <a:ext uri="{FF2B5EF4-FFF2-40B4-BE49-F238E27FC236}">
                    <a16:creationId xmlns:a16="http://schemas.microsoft.com/office/drawing/2014/main" id="{A4957C08-3B27-73D1-B244-E8FA710A4CE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cto 46">
                <a:extLst>
                  <a:ext uri="{FF2B5EF4-FFF2-40B4-BE49-F238E27FC236}">
                    <a16:creationId xmlns:a16="http://schemas.microsoft.com/office/drawing/2014/main" id="{2166B261-935C-5BC9-9294-230CEE6835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8" name="Conector recto 44">
              <a:extLst>
                <a:ext uri="{FF2B5EF4-FFF2-40B4-BE49-F238E27FC236}">
                  <a16:creationId xmlns:a16="http://schemas.microsoft.com/office/drawing/2014/main" id="{151311A3-333E-21A1-C0FD-F5A79943223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43">
            <a:extLst>
              <a:ext uri="{FF2B5EF4-FFF2-40B4-BE49-F238E27FC236}">
                <a16:creationId xmlns:a16="http://schemas.microsoft.com/office/drawing/2014/main" id="{A6FAD745-08ED-FDB3-AC8C-35EFBAE7CA90}"/>
              </a:ext>
            </a:extLst>
          </p:cNvPr>
          <p:cNvGrpSpPr/>
          <p:nvPr/>
        </p:nvGrpSpPr>
        <p:grpSpPr>
          <a:xfrm rot="10800000" flipH="1">
            <a:off x="4364967" y="5787756"/>
            <a:ext cx="157099" cy="280370"/>
            <a:chOff x="2468880" y="3319199"/>
            <a:chExt cx="257121" cy="506598"/>
          </a:xfrm>
        </p:grpSpPr>
        <p:cxnSp>
          <p:nvCxnSpPr>
            <p:cNvPr id="74" name="Conector recto 45">
              <a:extLst>
                <a:ext uri="{FF2B5EF4-FFF2-40B4-BE49-F238E27FC236}">
                  <a16:creationId xmlns:a16="http://schemas.microsoft.com/office/drawing/2014/main" id="{876933E7-CC21-3A21-233F-AA67D558E858}"/>
                </a:ext>
              </a:extLst>
            </p:cNvPr>
            <p:cNvCxnSpPr/>
            <p:nvPr/>
          </p:nvCxnSpPr>
          <p:spPr>
            <a:xfrm>
              <a:off x="2468880" y="3319199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cto 46">
              <a:extLst>
                <a:ext uri="{FF2B5EF4-FFF2-40B4-BE49-F238E27FC236}">
                  <a16:creationId xmlns:a16="http://schemas.microsoft.com/office/drawing/2014/main" id="{89FCC356-9533-8002-FF4E-DB8DB223B2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880" y="3568676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Conector recto 44">
            <a:extLst>
              <a:ext uri="{FF2B5EF4-FFF2-40B4-BE49-F238E27FC236}">
                <a16:creationId xmlns:a16="http://schemas.microsoft.com/office/drawing/2014/main" id="{F0B78446-ADA9-AB56-CD53-0054B518BC96}"/>
              </a:ext>
            </a:extLst>
          </p:cNvPr>
          <p:cNvCxnSpPr>
            <a:cxnSpLocks/>
          </p:cNvCxnSpPr>
          <p:nvPr/>
        </p:nvCxnSpPr>
        <p:spPr>
          <a:xfrm rot="10800000" flipH="1">
            <a:off x="4260312" y="5927947"/>
            <a:ext cx="25344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4">
            <a:extLst>
              <a:ext uri="{FF2B5EF4-FFF2-40B4-BE49-F238E27FC236}">
                <a16:creationId xmlns:a16="http://schemas.microsoft.com/office/drawing/2014/main" id="{C0940F2B-D06A-3775-922B-5C7CDFF47D72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9" name="Conector recto 9">
            <a:extLst>
              <a:ext uri="{FF2B5EF4-FFF2-40B4-BE49-F238E27FC236}">
                <a16:creationId xmlns:a16="http://schemas.microsoft.com/office/drawing/2014/main" id="{9C4FD6F0-638E-7493-D2E4-968903D00C3E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348662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4">
            <a:extLst>
              <a:ext uri="{FF2B5EF4-FFF2-40B4-BE49-F238E27FC236}">
                <a16:creationId xmlns:a16="http://schemas.microsoft.com/office/drawing/2014/main" id="{7B10FB18-DE69-93A8-3998-8FD233725CCA}"/>
              </a:ext>
            </a:extLst>
          </p:cNvPr>
          <p:cNvSpPr txBox="1"/>
          <p:nvPr/>
        </p:nvSpPr>
        <p:spPr>
          <a:xfrm>
            <a:off x="4260309" y="1398252"/>
            <a:ext cx="7560215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B876B9DB-CA3C-3329-835A-223637118B9B}"/>
              </a:ext>
            </a:extLst>
          </p:cNvPr>
          <p:cNvCxnSpPr>
            <a:cxnSpLocks/>
          </p:cNvCxnSpPr>
          <p:nvPr/>
        </p:nvCxnSpPr>
        <p:spPr>
          <a:xfrm>
            <a:off x="4260311" y="1740699"/>
            <a:ext cx="756021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45AC4F-0E38-E905-F9EE-133DEE3835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656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to 61" hidden="1">
            <a:extLst>
              <a:ext uri="{FF2B5EF4-FFF2-40B4-BE49-F238E27FC236}">
                <a16:creationId xmlns:a16="http://schemas.microsoft.com/office/drawing/2014/main" id="{A4807BDE-38D9-FF94-2E0D-8E2D8FA9E5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8985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2" name="Objeto 61" hidden="1">
                        <a:extLst>
                          <a:ext uri="{FF2B5EF4-FFF2-40B4-BE49-F238E27FC236}">
                            <a16:creationId xmlns:a16="http://schemas.microsoft.com/office/drawing/2014/main" id="{A4807BDE-38D9-FF94-2E0D-8E2D8FA9E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D66ADFA-EEAA-CFC2-7D97-68EA12A058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A5788C3-3760-7226-6992-542FA1057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Description Slide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A5A72E3-19AE-CF4F-A50E-A940005C12B6}"/>
              </a:ext>
            </a:extLst>
          </p:cNvPr>
          <p:cNvSpPr/>
          <p:nvPr/>
        </p:nvSpPr>
        <p:spPr>
          <a:xfrm>
            <a:off x="371474" y="1520826"/>
            <a:ext cx="2234491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CB5A8722-C255-8343-FA57-E0252F741067}"/>
              </a:ext>
            </a:extLst>
          </p:cNvPr>
          <p:cNvSpPr txBox="1">
            <a:spLocks/>
          </p:cNvSpPr>
          <p:nvPr/>
        </p:nvSpPr>
        <p:spPr>
          <a:xfrm>
            <a:off x="512346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5" name="Rectangle 6">
            <a:extLst>
              <a:ext uri="{FF2B5EF4-FFF2-40B4-BE49-F238E27FC236}">
                <a16:creationId xmlns:a16="http://schemas.microsoft.com/office/drawing/2014/main" id="{063413C1-1A2F-5AFB-6FE0-D0B18C5B144E}"/>
              </a:ext>
            </a:extLst>
          </p:cNvPr>
          <p:cNvSpPr/>
          <p:nvPr/>
        </p:nvSpPr>
        <p:spPr>
          <a:xfrm>
            <a:off x="371476" y="5606426"/>
            <a:ext cx="2257098" cy="704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6" name="Rectangle 7">
            <a:extLst>
              <a:ext uri="{FF2B5EF4-FFF2-40B4-BE49-F238E27FC236}">
                <a16:creationId xmlns:a16="http://schemas.microsoft.com/office/drawing/2014/main" id="{A810971F-8518-D033-78DE-1765066883E1}"/>
              </a:ext>
            </a:extLst>
          </p:cNvPr>
          <p:cNvSpPr/>
          <p:nvPr/>
        </p:nvSpPr>
        <p:spPr>
          <a:xfrm>
            <a:off x="2669463" y="5606426"/>
            <a:ext cx="2257098" cy="7045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00CAFFF0-10D2-106E-D19C-62DA9648DD04}"/>
              </a:ext>
            </a:extLst>
          </p:cNvPr>
          <p:cNvSpPr/>
          <p:nvPr/>
        </p:nvSpPr>
        <p:spPr>
          <a:xfrm>
            <a:off x="4967453" y="5606426"/>
            <a:ext cx="2257098" cy="7045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0BA86717-6158-AE41-59DD-8A980FB3A52E}"/>
              </a:ext>
            </a:extLst>
          </p:cNvPr>
          <p:cNvSpPr/>
          <p:nvPr/>
        </p:nvSpPr>
        <p:spPr>
          <a:xfrm>
            <a:off x="7265442" y="5603628"/>
            <a:ext cx="2257098" cy="7045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9" name="Rectangle 10">
            <a:extLst>
              <a:ext uri="{FF2B5EF4-FFF2-40B4-BE49-F238E27FC236}">
                <a16:creationId xmlns:a16="http://schemas.microsoft.com/office/drawing/2014/main" id="{5972A1F1-4939-4D14-4CDA-FEE3BB0DDEE0}"/>
              </a:ext>
            </a:extLst>
          </p:cNvPr>
          <p:cNvSpPr/>
          <p:nvPr/>
        </p:nvSpPr>
        <p:spPr>
          <a:xfrm>
            <a:off x="9563428" y="5603628"/>
            <a:ext cx="2257098" cy="7045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0" name="TextBox 11">
            <a:extLst>
              <a:ext uri="{FF2B5EF4-FFF2-40B4-BE49-F238E27FC236}">
                <a16:creationId xmlns:a16="http://schemas.microsoft.com/office/drawing/2014/main" id="{5DC37FAA-7260-B814-1233-4C4B997FDFA5}"/>
              </a:ext>
            </a:extLst>
          </p:cNvPr>
          <p:cNvSpPr txBox="1"/>
          <p:nvPr/>
        </p:nvSpPr>
        <p:spPr>
          <a:xfrm>
            <a:off x="1046657" y="5820058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41" name="TextBox 12">
            <a:extLst>
              <a:ext uri="{FF2B5EF4-FFF2-40B4-BE49-F238E27FC236}">
                <a16:creationId xmlns:a16="http://schemas.microsoft.com/office/drawing/2014/main" id="{98373745-7558-70D6-4E13-68BC004CA2B0}"/>
              </a:ext>
            </a:extLst>
          </p:cNvPr>
          <p:cNvSpPr txBox="1"/>
          <p:nvPr/>
        </p:nvSpPr>
        <p:spPr>
          <a:xfrm>
            <a:off x="3322036" y="5820058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42" name="TextBox 13">
            <a:extLst>
              <a:ext uri="{FF2B5EF4-FFF2-40B4-BE49-F238E27FC236}">
                <a16:creationId xmlns:a16="http://schemas.microsoft.com/office/drawing/2014/main" id="{E020F665-C883-8ED4-8639-E8E5B424FA6F}"/>
              </a:ext>
            </a:extLst>
          </p:cNvPr>
          <p:cNvSpPr txBox="1"/>
          <p:nvPr/>
        </p:nvSpPr>
        <p:spPr>
          <a:xfrm>
            <a:off x="5620553" y="5820212"/>
            <a:ext cx="95090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43" name="TextBox 14">
            <a:extLst>
              <a:ext uri="{FF2B5EF4-FFF2-40B4-BE49-F238E27FC236}">
                <a16:creationId xmlns:a16="http://schemas.microsoft.com/office/drawing/2014/main" id="{CFC85A0A-900D-C5F8-4EB7-58587BF0468B}"/>
              </a:ext>
            </a:extLst>
          </p:cNvPr>
          <p:cNvSpPr txBox="1"/>
          <p:nvPr/>
        </p:nvSpPr>
        <p:spPr>
          <a:xfrm>
            <a:off x="7918542" y="5817414"/>
            <a:ext cx="95090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4</a:t>
            </a:r>
          </a:p>
        </p:txBody>
      </p:sp>
      <p:sp>
        <p:nvSpPr>
          <p:cNvPr id="44" name="TextBox 15">
            <a:extLst>
              <a:ext uri="{FF2B5EF4-FFF2-40B4-BE49-F238E27FC236}">
                <a16:creationId xmlns:a16="http://schemas.microsoft.com/office/drawing/2014/main" id="{8C520B5E-E449-B7D8-013E-DEF7D6BFCDFB}"/>
              </a:ext>
            </a:extLst>
          </p:cNvPr>
          <p:cNvSpPr txBox="1"/>
          <p:nvPr/>
        </p:nvSpPr>
        <p:spPr>
          <a:xfrm>
            <a:off x="10216000" y="5816269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5</a:t>
            </a:r>
          </a:p>
        </p:txBody>
      </p:sp>
      <p:sp>
        <p:nvSpPr>
          <p:cNvPr id="45" name="Triangle 18">
            <a:extLst>
              <a:ext uri="{FF2B5EF4-FFF2-40B4-BE49-F238E27FC236}">
                <a16:creationId xmlns:a16="http://schemas.microsoft.com/office/drawing/2014/main" id="{517E6834-6075-5F54-6BBF-24609C5F2FB8}"/>
              </a:ext>
            </a:extLst>
          </p:cNvPr>
          <p:cNvSpPr/>
          <p:nvPr/>
        </p:nvSpPr>
        <p:spPr>
          <a:xfrm>
            <a:off x="932645" y="5291233"/>
            <a:ext cx="1179975" cy="25095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6" name="Triangle 19">
            <a:extLst>
              <a:ext uri="{FF2B5EF4-FFF2-40B4-BE49-F238E27FC236}">
                <a16:creationId xmlns:a16="http://schemas.microsoft.com/office/drawing/2014/main" id="{33B5E022-A531-6E9F-96FF-98741E5398CA}"/>
              </a:ext>
            </a:extLst>
          </p:cNvPr>
          <p:cNvSpPr/>
          <p:nvPr/>
        </p:nvSpPr>
        <p:spPr>
          <a:xfrm>
            <a:off x="3208024" y="5291233"/>
            <a:ext cx="1179975" cy="25095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7" name="Triangle 20">
            <a:extLst>
              <a:ext uri="{FF2B5EF4-FFF2-40B4-BE49-F238E27FC236}">
                <a16:creationId xmlns:a16="http://schemas.microsoft.com/office/drawing/2014/main" id="{E95BB625-7566-2EC5-F1B2-8FCEA5224BAD}"/>
              </a:ext>
            </a:extLst>
          </p:cNvPr>
          <p:cNvSpPr/>
          <p:nvPr/>
        </p:nvSpPr>
        <p:spPr>
          <a:xfrm>
            <a:off x="5506013" y="5291233"/>
            <a:ext cx="1179975" cy="25095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8" name="Triangle 21">
            <a:extLst>
              <a:ext uri="{FF2B5EF4-FFF2-40B4-BE49-F238E27FC236}">
                <a16:creationId xmlns:a16="http://schemas.microsoft.com/office/drawing/2014/main" id="{C8063F64-8ADE-F84F-14B3-8B1B9B0E62C7}"/>
              </a:ext>
            </a:extLst>
          </p:cNvPr>
          <p:cNvSpPr/>
          <p:nvPr/>
        </p:nvSpPr>
        <p:spPr>
          <a:xfrm>
            <a:off x="7804005" y="5291233"/>
            <a:ext cx="1179975" cy="250952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9" name="Triangle 22">
            <a:extLst>
              <a:ext uri="{FF2B5EF4-FFF2-40B4-BE49-F238E27FC236}">
                <a16:creationId xmlns:a16="http://schemas.microsoft.com/office/drawing/2014/main" id="{01CDE0EB-637B-D9DA-0E03-63D8D865716E}"/>
              </a:ext>
            </a:extLst>
          </p:cNvPr>
          <p:cNvSpPr/>
          <p:nvPr/>
        </p:nvSpPr>
        <p:spPr>
          <a:xfrm>
            <a:off x="10101989" y="5291233"/>
            <a:ext cx="1179975" cy="250952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0" name="TextBox 23">
            <a:extLst>
              <a:ext uri="{FF2B5EF4-FFF2-40B4-BE49-F238E27FC236}">
                <a16:creationId xmlns:a16="http://schemas.microsoft.com/office/drawing/2014/main" id="{CA446EDC-BABB-F1D8-4715-C97BE9122864}"/>
              </a:ext>
            </a:extLst>
          </p:cNvPr>
          <p:cNvSpPr txBox="1"/>
          <p:nvPr/>
        </p:nvSpPr>
        <p:spPr>
          <a:xfrm>
            <a:off x="1091901" y="1539718"/>
            <a:ext cx="816249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1"/>
                </a:solidFill>
                <a:cs typeface="Poppins" pitchFamily="2" charset="77"/>
              </a:rPr>
              <a:t>A</a:t>
            </a:r>
          </a:p>
        </p:txBody>
      </p:sp>
      <p:sp>
        <p:nvSpPr>
          <p:cNvPr id="33" name="Rounded Rectangle 34">
            <a:extLst>
              <a:ext uri="{FF2B5EF4-FFF2-40B4-BE49-F238E27FC236}">
                <a16:creationId xmlns:a16="http://schemas.microsoft.com/office/drawing/2014/main" id="{D0F80806-2BD5-E8A5-F860-FCD78775DC2E}"/>
              </a:ext>
            </a:extLst>
          </p:cNvPr>
          <p:cNvSpPr/>
          <p:nvPr/>
        </p:nvSpPr>
        <p:spPr>
          <a:xfrm>
            <a:off x="2693493" y="1520826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24">
            <a:extLst>
              <a:ext uri="{FF2B5EF4-FFF2-40B4-BE49-F238E27FC236}">
                <a16:creationId xmlns:a16="http://schemas.microsoft.com/office/drawing/2014/main" id="{99FD1817-A4AC-FCE6-F7AB-E5337D5C8B06}"/>
              </a:ext>
            </a:extLst>
          </p:cNvPr>
          <p:cNvSpPr txBox="1"/>
          <p:nvPr/>
        </p:nvSpPr>
        <p:spPr>
          <a:xfrm>
            <a:off x="3389087" y="1539718"/>
            <a:ext cx="81785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tx2"/>
                </a:solidFill>
                <a:cs typeface="Poppins" pitchFamily="2" charset="77"/>
              </a:rPr>
              <a:t>B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97A01271-0828-3174-9EF8-FC232DA36AF5}"/>
              </a:ext>
            </a:extLst>
          </p:cNvPr>
          <p:cNvSpPr txBox="1">
            <a:spLocks/>
          </p:cNvSpPr>
          <p:nvPr/>
        </p:nvSpPr>
        <p:spPr>
          <a:xfrm>
            <a:off x="2810334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2" name="Rounded Rectangle 35">
            <a:extLst>
              <a:ext uri="{FF2B5EF4-FFF2-40B4-BE49-F238E27FC236}">
                <a16:creationId xmlns:a16="http://schemas.microsoft.com/office/drawing/2014/main" id="{DEB98BE6-6049-D8B4-A247-8F7BFCB95FBF}"/>
              </a:ext>
            </a:extLst>
          </p:cNvPr>
          <p:cNvSpPr/>
          <p:nvPr/>
        </p:nvSpPr>
        <p:spPr>
          <a:xfrm>
            <a:off x="4990060" y="1520826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Subtitle 2">
            <a:extLst>
              <a:ext uri="{FF2B5EF4-FFF2-40B4-BE49-F238E27FC236}">
                <a16:creationId xmlns:a16="http://schemas.microsoft.com/office/drawing/2014/main" id="{B3667EB2-A18D-47A1-AE8B-A3B2A6E2A6D8}"/>
              </a:ext>
            </a:extLst>
          </p:cNvPr>
          <p:cNvSpPr txBox="1">
            <a:spLocks/>
          </p:cNvSpPr>
          <p:nvPr/>
        </p:nvSpPr>
        <p:spPr>
          <a:xfrm>
            <a:off x="5108323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52" name="TextBox 25">
            <a:extLst>
              <a:ext uri="{FF2B5EF4-FFF2-40B4-BE49-F238E27FC236}">
                <a16:creationId xmlns:a16="http://schemas.microsoft.com/office/drawing/2014/main" id="{111C8439-A418-3E70-C7C4-13179A417922}"/>
              </a:ext>
            </a:extLst>
          </p:cNvPr>
          <p:cNvSpPr txBox="1"/>
          <p:nvPr/>
        </p:nvSpPr>
        <p:spPr>
          <a:xfrm>
            <a:off x="5681468" y="1539718"/>
            <a:ext cx="82907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2"/>
                </a:solidFill>
                <a:cs typeface="Poppins" pitchFamily="2" charset="77"/>
              </a:rPr>
              <a:t>C</a:t>
            </a:r>
          </a:p>
        </p:txBody>
      </p:sp>
      <p:sp>
        <p:nvSpPr>
          <p:cNvPr id="31" name="Rounded Rectangle 36">
            <a:extLst>
              <a:ext uri="{FF2B5EF4-FFF2-40B4-BE49-F238E27FC236}">
                <a16:creationId xmlns:a16="http://schemas.microsoft.com/office/drawing/2014/main" id="{62A65C6F-E4EA-BD06-180A-82DCA59D3541}"/>
              </a:ext>
            </a:extLst>
          </p:cNvPr>
          <p:cNvSpPr/>
          <p:nvPr/>
        </p:nvSpPr>
        <p:spPr>
          <a:xfrm>
            <a:off x="7285395" y="1520825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Box 26">
            <a:extLst>
              <a:ext uri="{FF2B5EF4-FFF2-40B4-BE49-F238E27FC236}">
                <a16:creationId xmlns:a16="http://schemas.microsoft.com/office/drawing/2014/main" id="{C6D08329-6850-4F6B-6483-3FBD40E7E6AF}"/>
              </a:ext>
            </a:extLst>
          </p:cNvPr>
          <p:cNvSpPr txBox="1"/>
          <p:nvPr/>
        </p:nvSpPr>
        <p:spPr>
          <a:xfrm>
            <a:off x="7945792" y="1539718"/>
            <a:ext cx="896399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4"/>
                </a:solidFill>
                <a:cs typeface="Poppins" pitchFamily="2" charset="77"/>
              </a:rPr>
              <a:t>D</a:t>
            </a:r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944B0FC7-32CF-594E-FF77-0455742B68C8}"/>
              </a:ext>
            </a:extLst>
          </p:cNvPr>
          <p:cNvSpPr txBox="1">
            <a:spLocks/>
          </p:cNvSpPr>
          <p:nvPr/>
        </p:nvSpPr>
        <p:spPr>
          <a:xfrm>
            <a:off x="7403657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0" name="Rounded Rectangle 37">
            <a:extLst>
              <a:ext uri="{FF2B5EF4-FFF2-40B4-BE49-F238E27FC236}">
                <a16:creationId xmlns:a16="http://schemas.microsoft.com/office/drawing/2014/main" id="{A50C51A3-C5E6-7B1D-BC04-0CD8D4C103B9}"/>
              </a:ext>
            </a:extLst>
          </p:cNvPr>
          <p:cNvSpPr/>
          <p:nvPr/>
        </p:nvSpPr>
        <p:spPr>
          <a:xfrm>
            <a:off x="9580729" y="1520825"/>
            <a:ext cx="2239796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TextBox 27">
            <a:extLst>
              <a:ext uri="{FF2B5EF4-FFF2-40B4-BE49-F238E27FC236}">
                <a16:creationId xmlns:a16="http://schemas.microsoft.com/office/drawing/2014/main" id="{DE779AEE-55DF-95E9-61B9-E8B8F0052CD5}"/>
              </a:ext>
            </a:extLst>
          </p:cNvPr>
          <p:cNvSpPr txBox="1"/>
          <p:nvPr/>
        </p:nvSpPr>
        <p:spPr>
          <a:xfrm>
            <a:off x="10307898" y="1539718"/>
            <a:ext cx="768160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3"/>
                </a:solidFill>
                <a:cs typeface="Poppins" pitchFamily="2" charset="77"/>
              </a:rPr>
              <a:t>E</a:t>
            </a:r>
          </a:p>
        </p:txBody>
      </p:sp>
      <p:sp>
        <p:nvSpPr>
          <p:cNvPr id="59" name="Subtitle 2">
            <a:extLst>
              <a:ext uri="{FF2B5EF4-FFF2-40B4-BE49-F238E27FC236}">
                <a16:creationId xmlns:a16="http://schemas.microsoft.com/office/drawing/2014/main" id="{4642680F-9D1C-2B79-848B-12520480FC99}"/>
              </a:ext>
            </a:extLst>
          </p:cNvPr>
          <p:cNvSpPr txBox="1">
            <a:spLocks/>
          </p:cNvSpPr>
          <p:nvPr/>
        </p:nvSpPr>
        <p:spPr>
          <a:xfrm>
            <a:off x="9698992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2D27EC-0EBE-8A64-B91F-44C35EE85C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5393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C641C0D0-8623-7A31-761A-53A44392A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118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C641C0D0-8623-7A31-761A-53A44392A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D8556DE-6A07-26CB-C9BA-0741432E7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512650A-D088-C54B-4E8D-4824FC14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Statement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Isosceles Triangle 2">
            <a:extLst>
              <a:ext uri="{FF2B5EF4-FFF2-40B4-BE49-F238E27FC236}">
                <a16:creationId xmlns:a16="http://schemas.microsoft.com/office/drawing/2014/main" id="{0C3C19E8-B2FA-AE6E-71F4-8205CF1DA420}"/>
              </a:ext>
            </a:extLst>
          </p:cNvPr>
          <p:cNvSpPr/>
          <p:nvPr/>
        </p:nvSpPr>
        <p:spPr>
          <a:xfrm>
            <a:off x="3317429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Freeform 52">
            <a:extLst>
              <a:ext uri="{FF2B5EF4-FFF2-40B4-BE49-F238E27FC236}">
                <a16:creationId xmlns:a16="http://schemas.microsoft.com/office/drawing/2014/main" id="{83CF8CC3-D3A8-2FDD-48CB-A8788975AE71}"/>
              </a:ext>
            </a:extLst>
          </p:cNvPr>
          <p:cNvSpPr>
            <a:spLocks noEditPoints="1"/>
          </p:cNvSpPr>
          <p:nvPr/>
        </p:nvSpPr>
        <p:spPr bwMode="auto">
          <a:xfrm>
            <a:off x="4336587" y="5128054"/>
            <a:ext cx="732379" cy="599219"/>
          </a:xfrm>
          <a:custGeom>
            <a:avLst/>
            <a:gdLst>
              <a:gd name="T0" fmla="*/ 32 w 353"/>
              <a:gd name="T1" fmla="*/ 209 h 289"/>
              <a:gd name="T2" fmla="*/ 48 w 353"/>
              <a:gd name="T3" fmla="*/ 209 h 289"/>
              <a:gd name="T4" fmla="*/ 89 w 353"/>
              <a:gd name="T5" fmla="*/ 169 h 289"/>
              <a:gd name="T6" fmla="*/ 273 w 353"/>
              <a:gd name="T7" fmla="*/ 161 h 289"/>
              <a:gd name="T8" fmla="*/ 233 w 353"/>
              <a:gd name="T9" fmla="*/ 217 h 289"/>
              <a:gd name="T10" fmla="*/ 273 w 353"/>
              <a:gd name="T11" fmla="*/ 177 h 289"/>
              <a:gd name="T12" fmla="*/ 273 w 353"/>
              <a:gd name="T13" fmla="*/ 161 h 289"/>
              <a:gd name="T14" fmla="*/ 286 w 353"/>
              <a:gd name="T15" fmla="*/ 32 h 289"/>
              <a:gd name="T16" fmla="*/ 241 w 353"/>
              <a:gd name="T17" fmla="*/ 0 h 289"/>
              <a:gd name="T18" fmla="*/ 161 w 353"/>
              <a:gd name="T19" fmla="*/ 48 h 289"/>
              <a:gd name="T20" fmla="*/ 67 w 353"/>
              <a:gd name="T21" fmla="*/ 32 h 289"/>
              <a:gd name="T22" fmla="*/ 8 w 353"/>
              <a:gd name="T23" fmla="*/ 174 h 289"/>
              <a:gd name="T24" fmla="*/ 80 w 353"/>
              <a:gd name="T25" fmla="*/ 289 h 289"/>
              <a:gd name="T26" fmla="*/ 195 w 353"/>
              <a:gd name="T27" fmla="*/ 225 h 289"/>
              <a:gd name="T28" fmla="*/ 353 w 353"/>
              <a:gd name="T29" fmla="*/ 209 h 289"/>
              <a:gd name="T30" fmla="*/ 80 w 353"/>
              <a:gd name="T31" fmla="*/ 273 h 289"/>
              <a:gd name="T32" fmla="*/ 80 w 353"/>
              <a:gd name="T33" fmla="*/ 145 h 289"/>
              <a:gd name="T34" fmla="*/ 80 w 353"/>
              <a:gd name="T35" fmla="*/ 273 h 289"/>
              <a:gd name="T36" fmla="*/ 80 w 353"/>
              <a:gd name="T37" fmla="*/ 129 h 289"/>
              <a:gd name="T38" fmla="*/ 83 w 353"/>
              <a:gd name="T39" fmla="*/ 35 h 289"/>
              <a:gd name="T40" fmla="*/ 113 w 353"/>
              <a:gd name="T41" fmla="*/ 16 h 289"/>
              <a:gd name="T42" fmla="*/ 145 w 353"/>
              <a:gd name="T43" fmla="*/ 46 h 289"/>
              <a:gd name="T44" fmla="*/ 193 w 353"/>
              <a:gd name="T45" fmla="*/ 209 h 289"/>
              <a:gd name="T46" fmla="*/ 161 w 353"/>
              <a:gd name="T47" fmla="*/ 193 h 289"/>
              <a:gd name="T48" fmla="*/ 193 w 353"/>
              <a:gd name="T49" fmla="*/ 209 h 289"/>
              <a:gd name="T50" fmla="*/ 161 w 353"/>
              <a:gd name="T51" fmla="*/ 177 h 289"/>
              <a:gd name="T52" fmla="*/ 193 w 353"/>
              <a:gd name="T53" fmla="*/ 64 h 289"/>
              <a:gd name="T54" fmla="*/ 209 w 353"/>
              <a:gd name="T55" fmla="*/ 46 h 289"/>
              <a:gd name="T56" fmla="*/ 241 w 353"/>
              <a:gd name="T57" fmla="*/ 16 h 289"/>
              <a:gd name="T58" fmla="*/ 270 w 353"/>
              <a:gd name="T59" fmla="*/ 35 h 289"/>
              <a:gd name="T60" fmla="*/ 273 w 353"/>
              <a:gd name="T61" fmla="*/ 129 h 289"/>
              <a:gd name="T62" fmla="*/ 209 w 353"/>
              <a:gd name="T63" fmla="*/ 46 h 289"/>
              <a:gd name="T64" fmla="*/ 209 w 353"/>
              <a:gd name="T65" fmla="*/ 209 h 289"/>
              <a:gd name="T66" fmla="*/ 337 w 353"/>
              <a:gd name="T67" fmla="*/ 20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289">
                <a:moveTo>
                  <a:pt x="80" y="161"/>
                </a:moveTo>
                <a:cubicBezTo>
                  <a:pt x="54" y="161"/>
                  <a:pt x="32" y="182"/>
                  <a:pt x="32" y="209"/>
                </a:cubicBezTo>
                <a:cubicBezTo>
                  <a:pt x="32" y="213"/>
                  <a:pt x="36" y="217"/>
                  <a:pt x="40" y="217"/>
                </a:cubicBezTo>
                <a:cubicBezTo>
                  <a:pt x="45" y="217"/>
                  <a:pt x="48" y="213"/>
                  <a:pt x="48" y="209"/>
                </a:cubicBezTo>
                <a:cubicBezTo>
                  <a:pt x="48" y="191"/>
                  <a:pt x="63" y="177"/>
                  <a:pt x="80" y="177"/>
                </a:cubicBezTo>
                <a:cubicBezTo>
                  <a:pt x="85" y="177"/>
                  <a:pt x="89" y="173"/>
                  <a:pt x="89" y="169"/>
                </a:cubicBezTo>
                <a:cubicBezTo>
                  <a:pt x="89" y="164"/>
                  <a:pt x="85" y="161"/>
                  <a:pt x="80" y="161"/>
                </a:cubicBezTo>
                <a:moveTo>
                  <a:pt x="273" y="161"/>
                </a:moveTo>
                <a:cubicBezTo>
                  <a:pt x="247" y="161"/>
                  <a:pt x="225" y="182"/>
                  <a:pt x="225" y="209"/>
                </a:cubicBezTo>
                <a:cubicBezTo>
                  <a:pt x="225" y="213"/>
                  <a:pt x="229" y="217"/>
                  <a:pt x="233" y="217"/>
                </a:cubicBezTo>
                <a:cubicBezTo>
                  <a:pt x="237" y="217"/>
                  <a:pt x="241" y="213"/>
                  <a:pt x="241" y="209"/>
                </a:cubicBezTo>
                <a:cubicBezTo>
                  <a:pt x="241" y="191"/>
                  <a:pt x="255" y="177"/>
                  <a:pt x="273" y="177"/>
                </a:cubicBezTo>
                <a:cubicBezTo>
                  <a:pt x="278" y="177"/>
                  <a:pt x="281" y="173"/>
                  <a:pt x="281" y="169"/>
                </a:cubicBezTo>
                <a:cubicBezTo>
                  <a:pt x="281" y="164"/>
                  <a:pt x="278" y="161"/>
                  <a:pt x="273" y="161"/>
                </a:cubicBezTo>
                <a:moveTo>
                  <a:pt x="345" y="174"/>
                </a:moveTo>
                <a:cubicBezTo>
                  <a:pt x="286" y="32"/>
                  <a:pt x="286" y="32"/>
                  <a:pt x="286" y="32"/>
                </a:cubicBezTo>
                <a:cubicBezTo>
                  <a:pt x="286" y="32"/>
                  <a:pt x="286" y="32"/>
                  <a:pt x="286" y="32"/>
                </a:cubicBezTo>
                <a:cubicBezTo>
                  <a:pt x="280" y="14"/>
                  <a:pt x="262" y="0"/>
                  <a:pt x="241" y="0"/>
                </a:cubicBezTo>
                <a:cubicBezTo>
                  <a:pt x="214" y="0"/>
                  <a:pt x="193" y="22"/>
                  <a:pt x="193" y="48"/>
                </a:cubicBezTo>
                <a:cubicBezTo>
                  <a:pt x="161" y="48"/>
                  <a:pt x="161" y="48"/>
                  <a:pt x="161" y="48"/>
                </a:cubicBezTo>
                <a:cubicBezTo>
                  <a:pt x="161" y="22"/>
                  <a:pt x="139" y="0"/>
                  <a:pt x="113" y="0"/>
                </a:cubicBezTo>
                <a:cubicBezTo>
                  <a:pt x="92" y="0"/>
                  <a:pt x="74" y="14"/>
                  <a:pt x="67" y="32"/>
                </a:cubicBezTo>
                <a:cubicBezTo>
                  <a:pt x="67" y="32"/>
                  <a:pt x="67" y="32"/>
                  <a:pt x="67" y="32"/>
                </a:cubicBezTo>
                <a:cubicBezTo>
                  <a:pt x="8" y="174"/>
                  <a:pt x="8" y="174"/>
                  <a:pt x="8" y="174"/>
                </a:cubicBezTo>
                <a:cubicBezTo>
                  <a:pt x="3" y="184"/>
                  <a:pt x="0" y="196"/>
                  <a:pt x="0" y="209"/>
                </a:cubicBezTo>
                <a:cubicBezTo>
                  <a:pt x="0" y="253"/>
                  <a:pt x="36" y="289"/>
                  <a:pt x="80" y="289"/>
                </a:cubicBezTo>
                <a:cubicBezTo>
                  <a:pt x="119" y="289"/>
                  <a:pt x="152" y="262"/>
                  <a:pt x="159" y="225"/>
                </a:cubicBezTo>
                <a:cubicBezTo>
                  <a:pt x="195" y="225"/>
                  <a:pt x="195" y="225"/>
                  <a:pt x="195" y="225"/>
                </a:cubicBezTo>
                <a:cubicBezTo>
                  <a:pt x="202" y="262"/>
                  <a:pt x="234" y="289"/>
                  <a:pt x="273" y="289"/>
                </a:cubicBezTo>
                <a:cubicBezTo>
                  <a:pt x="318" y="289"/>
                  <a:pt x="353" y="253"/>
                  <a:pt x="353" y="209"/>
                </a:cubicBezTo>
                <a:cubicBezTo>
                  <a:pt x="353" y="196"/>
                  <a:pt x="350" y="184"/>
                  <a:pt x="345" y="174"/>
                </a:cubicBezTo>
                <a:moveTo>
                  <a:pt x="80" y="273"/>
                </a:moveTo>
                <a:cubicBezTo>
                  <a:pt x="45" y="273"/>
                  <a:pt x="16" y="244"/>
                  <a:pt x="16" y="209"/>
                </a:cubicBezTo>
                <a:cubicBezTo>
                  <a:pt x="16" y="173"/>
                  <a:pt x="45" y="145"/>
                  <a:pt x="80" y="145"/>
                </a:cubicBezTo>
                <a:cubicBezTo>
                  <a:pt x="116" y="145"/>
                  <a:pt x="145" y="173"/>
                  <a:pt x="145" y="209"/>
                </a:cubicBezTo>
                <a:cubicBezTo>
                  <a:pt x="145" y="244"/>
                  <a:pt x="116" y="273"/>
                  <a:pt x="80" y="273"/>
                </a:cubicBezTo>
                <a:moveTo>
                  <a:pt x="145" y="161"/>
                </a:moveTo>
                <a:cubicBezTo>
                  <a:pt x="130" y="141"/>
                  <a:pt x="107" y="129"/>
                  <a:pt x="80" y="129"/>
                </a:cubicBezTo>
                <a:cubicBezTo>
                  <a:pt x="66" y="129"/>
                  <a:pt x="52" y="133"/>
                  <a:pt x="40" y="140"/>
                </a:cubicBezTo>
                <a:cubicBezTo>
                  <a:pt x="83" y="35"/>
                  <a:pt x="83" y="35"/>
                  <a:pt x="83" y="35"/>
                </a:cubicBezTo>
                <a:cubicBezTo>
                  <a:pt x="83" y="35"/>
                  <a:pt x="83" y="35"/>
                  <a:pt x="83" y="35"/>
                </a:cubicBezTo>
                <a:cubicBezTo>
                  <a:pt x="88" y="24"/>
                  <a:pt x="100" y="16"/>
                  <a:pt x="113" y="16"/>
                </a:cubicBezTo>
                <a:cubicBezTo>
                  <a:pt x="129" y="16"/>
                  <a:pt x="143" y="29"/>
                  <a:pt x="144" y="45"/>
                </a:cubicBezTo>
                <a:cubicBezTo>
                  <a:pt x="145" y="46"/>
                  <a:pt x="145" y="46"/>
                  <a:pt x="145" y="46"/>
                </a:cubicBezTo>
                <a:lnTo>
                  <a:pt x="145" y="161"/>
                </a:lnTo>
                <a:close/>
                <a:moveTo>
                  <a:pt x="193" y="209"/>
                </a:moveTo>
                <a:cubicBezTo>
                  <a:pt x="161" y="209"/>
                  <a:pt x="161" y="209"/>
                  <a:pt x="161" y="209"/>
                </a:cubicBezTo>
                <a:cubicBezTo>
                  <a:pt x="161" y="193"/>
                  <a:pt x="161" y="193"/>
                  <a:pt x="161" y="193"/>
                </a:cubicBezTo>
                <a:cubicBezTo>
                  <a:pt x="193" y="193"/>
                  <a:pt x="193" y="193"/>
                  <a:pt x="193" y="193"/>
                </a:cubicBezTo>
                <a:lnTo>
                  <a:pt x="193" y="209"/>
                </a:lnTo>
                <a:close/>
                <a:moveTo>
                  <a:pt x="193" y="177"/>
                </a:moveTo>
                <a:cubicBezTo>
                  <a:pt x="161" y="177"/>
                  <a:pt x="161" y="177"/>
                  <a:pt x="161" y="177"/>
                </a:cubicBezTo>
                <a:cubicBezTo>
                  <a:pt x="161" y="64"/>
                  <a:pt x="161" y="64"/>
                  <a:pt x="161" y="64"/>
                </a:cubicBezTo>
                <a:cubicBezTo>
                  <a:pt x="193" y="64"/>
                  <a:pt x="193" y="64"/>
                  <a:pt x="193" y="64"/>
                </a:cubicBezTo>
                <a:lnTo>
                  <a:pt x="193" y="177"/>
                </a:lnTo>
                <a:close/>
                <a:moveTo>
                  <a:pt x="209" y="46"/>
                </a:moveTo>
                <a:cubicBezTo>
                  <a:pt x="209" y="45"/>
                  <a:pt x="209" y="45"/>
                  <a:pt x="209" y="45"/>
                </a:cubicBezTo>
                <a:cubicBezTo>
                  <a:pt x="211" y="29"/>
                  <a:pt x="224" y="16"/>
                  <a:pt x="241" y="16"/>
                </a:cubicBezTo>
                <a:cubicBezTo>
                  <a:pt x="254" y="16"/>
                  <a:pt x="265" y="24"/>
                  <a:pt x="270" y="35"/>
                </a:cubicBezTo>
                <a:cubicBezTo>
                  <a:pt x="270" y="35"/>
                  <a:pt x="270" y="35"/>
                  <a:pt x="270" y="35"/>
                </a:cubicBezTo>
                <a:cubicBezTo>
                  <a:pt x="314" y="140"/>
                  <a:pt x="314" y="140"/>
                  <a:pt x="314" y="140"/>
                </a:cubicBezTo>
                <a:cubicBezTo>
                  <a:pt x="302" y="133"/>
                  <a:pt x="288" y="129"/>
                  <a:pt x="273" y="129"/>
                </a:cubicBezTo>
                <a:cubicBezTo>
                  <a:pt x="247" y="129"/>
                  <a:pt x="224" y="141"/>
                  <a:pt x="209" y="161"/>
                </a:cubicBezTo>
                <a:lnTo>
                  <a:pt x="209" y="46"/>
                </a:lnTo>
                <a:close/>
                <a:moveTo>
                  <a:pt x="273" y="273"/>
                </a:moveTo>
                <a:cubicBezTo>
                  <a:pt x="238" y="273"/>
                  <a:pt x="209" y="244"/>
                  <a:pt x="209" y="209"/>
                </a:cubicBezTo>
                <a:cubicBezTo>
                  <a:pt x="209" y="173"/>
                  <a:pt x="238" y="145"/>
                  <a:pt x="273" y="145"/>
                </a:cubicBezTo>
                <a:cubicBezTo>
                  <a:pt x="309" y="145"/>
                  <a:pt x="337" y="173"/>
                  <a:pt x="337" y="209"/>
                </a:cubicBezTo>
                <a:cubicBezTo>
                  <a:pt x="337" y="244"/>
                  <a:pt x="309" y="273"/>
                  <a:pt x="273" y="273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Isosceles Triangle 5">
            <a:extLst>
              <a:ext uri="{FF2B5EF4-FFF2-40B4-BE49-F238E27FC236}">
                <a16:creationId xmlns:a16="http://schemas.microsoft.com/office/drawing/2014/main" id="{319621E7-0F27-5F7D-52FC-F11B46FF44E5}"/>
              </a:ext>
            </a:extLst>
          </p:cNvPr>
          <p:cNvSpPr/>
          <p:nvPr/>
        </p:nvSpPr>
        <p:spPr>
          <a:xfrm>
            <a:off x="4705920" y="152400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Freeform 54">
            <a:extLst>
              <a:ext uri="{FF2B5EF4-FFF2-40B4-BE49-F238E27FC236}">
                <a16:creationId xmlns:a16="http://schemas.microsoft.com/office/drawing/2014/main" id="{19852185-9C72-2EC0-DE45-A475EF498B6F}"/>
              </a:ext>
            </a:extLst>
          </p:cNvPr>
          <p:cNvSpPr>
            <a:spLocks noEditPoints="1"/>
          </p:cNvSpPr>
          <p:nvPr/>
        </p:nvSpPr>
        <p:spPr bwMode="auto">
          <a:xfrm>
            <a:off x="5705329" y="2720975"/>
            <a:ext cx="751018" cy="732377"/>
          </a:xfrm>
          <a:custGeom>
            <a:avLst/>
            <a:gdLst>
              <a:gd name="T0" fmla="*/ 337 w 362"/>
              <a:gd name="T1" fmla="*/ 0 h 353"/>
              <a:gd name="T2" fmla="*/ 111 w 362"/>
              <a:gd name="T3" fmla="*/ 129 h 353"/>
              <a:gd name="T4" fmla="*/ 81 w 362"/>
              <a:gd name="T5" fmla="*/ 196 h 353"/>
              <a:gd name="T6" fmla="*/ 144 w 362"/>
              <a:gd name="T7" fmla="*/ 274 h 353"/>
              <a:gd name="T8" fmla="*/ 179 w 362"/>
              <a:gd name="T9" fmla="*/ 333 h 353"/>
              <a:gd name="T10" fmla="*/ 281 w 362"/>
              <a:gd name="T11" fmla="*/ 186 h 353"/>
              <a:gd name="T12" fmla="*/ 209 w 362"/>
              <a:gd name="T13" fmla="*/ 238 h 353"/>
              <a:gd name="T14" fmla="*/ 171 w 362"/>
              <a:gd name="T15" fmla="*/ 263 h 353"/>
              <a:gd name="T16" fmla="*/ 154 w 362"/>
              <a:gd name="T17" fmla="*/ 256 h 353"/>
              <a:gd name="T18" fmla="*/ 111 w 362"/>
              <a:gd name="T19" fmla="*/ 242 h 353"/>
              <a:gd name="T20" fmla="*/ 90 w 362"/>
              <a:gd name="T21" fmla="*/ 182 h 353"/>
              <a:gd name="T22" fmla="*/ 115 w 362"/>
              <a:gd name="T23" fmla="*/ 144 h 353"/>
              <a:gd name="T24" fmla="*/ 209 w 362"/>
              <a:gd name="T25" fmla="*/ 237 h 353"/>
              <a:gd name="T26" fmla="*/ 270 w 362"/>
              <a:gd name="T27" fmla="*/ 174 h 353"/>
              <a:gd name="T28" fmla="*/ 220 w 362"/>
              <a:gd name="T29" fmla="*/ 225 h 353"/>
              <a:gd name="T30" fmla="*/ 164 w 362"/>
              <a:gd name="T31" fmla="*/ 97 h 353"/>
              <a:gd name="T32" fmla="*/ 337 w 362"/>
              <a:gd name="T33" fmla="*/ 16 h 353"/>
              <a:gd name="T34" fmla="*/ 62 w 362"/>
              <a:gd name="T35" fmla="*/ 197 h 353"/>
              <a:gd name="T36" fmla="*/ 156 w 362"/>
              <a:gd name="T37" fmla="*/ 291 h 353"/>
              <a:gd name="T38" fmla="*/ 62 w 362"/>
              <a:gd name="T39" fmla="*/ 197 h 353"/>
              <a:gd name="T40" fmla="*/ 58 w 362"/>
              <a:gd name="T41" fmla="*/ 252 h 353"/>
              <a:gd name="T42" fmla="*/ 101 w 362"/>
              <a:gd name="T43" fmla="*/ 295 h 353"/>
              <a:gd name="T44" fmla="*/ 168 w 362"/>
              <a:gd name="T45" fmla="*/ 128 h 353"/>
              <a:gd name="T46" fmla="*/ 168 w 362"/>
              <a:gd name="T47" fmla="*/ 145 h 353"/>
              <a:gd name="T48" fmla="*/ 168 w 362"/>
              <a:gd name="T49" fmla="*/ 128 h 353"/>
              <a:gd name="T50" fmla="*/ 225 w 362"/>
              <a:gd name="T51" fmla="*/ 185 h 353"/>
              <a:gd name="T52" fmla="*/ 209 w 362"/>
              <a:gd name="T53" fmla="*/ 185 h 353"/>
              <a:gd name="T54" fmla="*/ 265 w 362"/>
              <a:gd name="T55" fmla="*/ 112 h 353"/>
              <a:gd name="T56" fmla="*/ 265 w 362"/>
              <a:gd name="T57" fmla="*/ 64 h 353"/>
              <a:gd name="T58" fmla="*/ 265 w 362"/>
              <a:gd name="T59" fmla="*/ 112 h 353"/>
              <a:gd name="T60" fmla="*/ 273 w 362"/>
              <a:gd name="T61" fmla="*/ 88 h 353"/>
              <a:gd name="T62" fmla="*/ 257 w 362"/>
              <a:gd name="T63" fmla="*/ 88 h 353"/>
              <a:gd name="T64" fmla="*/ 193 w 362"/>
              <a:gd name="T65" fmla="*/ 169 h 353"/>
              <a:gd name="T66" fmla="*/ 193 w 362"/>
              <a:gd name="T67" fmla="*/ 153 h 353"/>
              <a:gd name="T68" fmla="*/ 193 w 362"/>
              <a:gd name="T69" fmla="*/ 16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2" h="353">
                <a:moveTo>
                  <a:pt x="350" y="3"/>
                </a:moveTo>
                <a:cubicBezTo>
                  <a:pt x="348" y="1"/>
                  <a:pt x="344" y="0"/>
                  <a:pt x="337" y="0"/>
                </a:cubicBezTo>
                <a:cubicBezTo>
                  <a:pt x="304" y="0"/>
                  <a:pt x="215" y="25"/>
                  <a:pt x="168" y="72"/>
                </a:cubicBezTo>
                <a:cubicBezTo>
                  <a:pt x="156" y="83"/>
                  <a:pt x="119" y="117"/>
                  <a:pt x="111" y="129"/>
                </a:cubicBezTo>
                <a:cubicBezTo>
                  <a:pt x="83" y="136"/>
                  <a:pt x="43" y="152"/>
                  <a:pt x="20" y="174"/>
                </a:cubicBezTo>
                <a:cubicBezTo>
                  <a:pt x="20" y="174"/>
                  <a:pt x="48" y="174"/>
                  <a:pt x="81" y="196"/>
                </a:cubicBezTo>
                <a:cubicBezTo>
                  <a:pt x="76" y="216"/>
                  <a:pt x="82" y="237"/>
                  <a:pt x="99" y="254"/>
                </a:cubicBezTo>
                <a:cubicBezTo>
                  <a:pt x="113" y="267"/>
                  <a:pt x="128" y="274"/>
                  <a:pt x="144" y="274"/>
                </a:cubicBezTo>
                <a:cubicBezTo>
                  <a:pt x="149" y="274"/>
                  <a:pt x="153" y="273"/>
                  <a:pt x="157" y="272"/>
                </a:cubicBezTo>
                <a:cubicBezTo>
                  <a:pt x="179" y="306"/>
                  <a:pt x="179" y="333"/>
                  <a:pt x="179" y="333"/>
                </a:cubicBezTo>
                <a:cubicBezTo>
                  <a:pt x="202" y="311"/>
                  <a:pt x="217" y="270"/>
                  <a:pt x="224" y="242"/>
                </a:cubicBezTo>
                <a:cubicBezTo>
                  <a:pt x="236" y="234"/>
                  <a:pt x="270" y="197"/>
                  <a:pt x="281" y="186"/>
                </a:cubicBezTo>
                <a:cubicBezTo>
                  <a:pt x="338" y="129"/>
                  <a:pt x="362" y="14"/>
                  <a:pt x="350" y="3"/>
                </a:cubicBezTo>
                <a:moveTo>
                  <a:pt x="209" y="238"/>
                </a:moveTo>
                <a:cubicBezTo>
                  <a:pt x="203" y="260"/>
                  <a:pt x="195" y="279"/>
                  <a:pt x="187" y="295"/>
                </a:cubicBezTo>
                <a:cubicBezTo>
                  <a:pt x="183" y="285"/>
                  <a:pt x="178" y="275"/>
                  <a:pt x="171" y="263"/>
                </a:cubicBezTo>
                <a:cubicBezTo>
                  <a:pt x="168" y="259"/>
                  <a:pt x="163" y="256"/>
                  <a:pt x="157" y="256"/>
                </a:cubicBezTo>
                <a:cubicBezTo>
                  <a:pt x="156" y="256"/>
                  <a:pt x="155" y="256"/>
                  <a:pt x="154" y="256"/>
                </a:cubicBezTo>
                <a:cubicBezTo>
                  <a:pt x="150" y="257"/>
                  <a:pt x="147" y="258"/>
                  <a:pt x="144" y="258"/>
                </a:cubicBezTo>
                <a:cubicBezTo>
                  <a:pt x="132" y="258"/>
                  <a:pt x="121" y="252"/>
                  <a:pt x="111" y="242"/>
                </a:cubicBezTo>
                <a:cubicBezTo>
                  <a:pt x="98" y="230"/>
                  <a:pt x="93" y="214"/>
                  <a:pt x="97" y="200"/>
                </a:cubicBezTo>
                <a:cubicBezTo>
                  <a:pt x="98" y="193"/>
                  <a:pt x="96" y="186"/>
                  <a:pt x="90" y="182"/>
                </a:cubicBezTo>
                <a:cubicBezTo>
                  <a:pt x="79" y="175"/>
                  <a:pt x="68" y="170"/>
                  <a:pt x="58" y="167"/>
                </a:cubicBezTo>
                <a:cubicBezTo>
                  <a:pt x="74" y="158"/>
                  <a:pt x="94" y="150"/>
                  <a:pt x="115" y="144"/>
                </a:cubicBezTo>
                <a:cubicBezTo>
                  <a:pt x="116" y="144"/>
                  <a:pt x="116" y="144"/>
                  <a:pt x="116" y="144"/>
                </a:cubicBezTo>
                <a:cubicBezTo>
                  <a:pt x="209" y="237"/>
                  <a:pt x="209" y="237"/>
                  <a:pt x="209" y="237"/>
                </a:cubicBezTo>
                <a:cubicBezTo>
                  <a:pt x="209" y="237"/>
                  <a:pt x="209" y="238"/>
                  <a:pt x="209" y="238"/>
                </a:cubicBezTo>
                <a:moveTo>
                  <a:pt x="270" y="174"/>
                </a:moveTo>
                <a:cubicBezTo>
                  <a:pt x="267" y="177"/>
                  <a:pt x="262" y="183"/>
                  <a:pt x="256" y="189"/>
                </a:cubicBezTo>
                <a:cubicBezTo>
                  <a:pt x="245" y="200"/>
                  <a:pt x="230" y="216"/>
                  <a:pt x="220" y="225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37" y="124"/>
                  <a:pt x="154" y="108"/>
                  <a:pt x="164" y="97"/>
                </a:cubicBezTo>
                <a:cubicBezTo>
                  <a:pt x="171" y="92"/>
                  <a:pt x="176" y="87"/>
                  <a:pt x="179" y="83"/>
                </a:cubicBezTo>
                <a:cubicBezTo>
                  <a:pt x="222" y="40"/>
                  <a:pt x="306" y="16"/>
                  <a:pt x="337" y="16"/>
                </a:cubicBezTo>
                <a:cubicBezTo>
                  <a:pt x="337" y="42"/>
                  <a:pt x="315" y="129"/>
                  <a:pt x="270" y="174"/>
                </a:cubicBezTo>
                <a:moveTo>
                  <a:pt x="62" y="197"/>
                </a:moveTo>
                <a:cubicBezTo>
                  <a:pt x="0" y="353"/>
                  <a:pt x="0" y="353"/>
                  <a:pt x="0" y="353"/>
                </a:cubicBezTo>
                <a:cubicBezTo>
                  <a:pt x="156" y="291"/>
                  <a:pt x="156" y="291"/>
                  <a:pt x="156" y="291"/>
                </a:cubicBezTo>
                <a:cubicBezTo>
                  <a:pt x="153" y="291"/>
                  <a:pt x="150" y="291"/>
                  <a:pt x="148" y="291"/>
                </a:cubicBezTo>
                <a:cubicBezTo>
                  <a:pt x="100" y="291"/>
                  <a:pt x="57" y="245"/>
                  <a:pt x="62" y="197"/>
                </a:cubicBezTo>
                <a:moveTo>
                  <a:pt x="29" y="324"/>
                </a:moveTo>
                <a:cubicBezTo>
                  <a:pt x="58" y="252"/>
                  <a:pt x="58" y="252"/>
                  <a:pt x="58" y="252"/>
                </a:cubicBezTo>
                <a:cubicBezTo>
                  <a:pt x="62" y="259"/>
                  <a:pt x="67" y="266"/>
                  <a:pt x="72" y="272"/>
                </a:cubicBezTo>
                <a:cubicBezTo>
                  <a:pt x="81" y="282"/>
                  <a:pt x="91" y="290"/>
                  <a:pt x="101" y="295"/>
                </a:cubicBezTo>
                <a:lnTo>
                  <a:pt x="29" y="324"/>
                </a:lnTo>
                <a:close/>
                <a:moveTo>
                  <a:pt x="168" y="128"/>
                </a:moveTo>
                <a:cubicBezTo>
                  <a:pt x="164" y="128"/>
                  <a:pt x="160" y="132"/>
                  <a:pt x="160" y="136"/>
                </a:cubicBezTo>
                <a:cubicBezTo>
                  <a:pt x="160" y="141"/>
                  <a:pt x="164" y="145"/>
                  <a:pt x="168" y="145"/>
                </a:cubicBezTo>
                <a:cubicBezTo>
                  <a:pt x="173" y="145"/>
                  <a:pt x="176" y="141"/>
                  <a:pt x="176" y="136"/>
                </a:cubicBezTo>
                <a:cubicBezTo>
                  <a:pt x="176" y="132"/>
                  <a:pt x="173" y="128"/>
                  <a:pt x="168" y="128"/>
                </a:cubicBezTo>
                <a:moveTo>
                  <a:pt x="217" y="193"/>
                </a:moveTo>
                <a:cubicBezTo>
                  <a:pt x="221" y="193"/>
                  <a:pt x="225" y="189"/>
                  <a:pt x="225" y="185"/>
                </a:cubicBezTo>
                <a:cubicBezTo>
                  <a:pt x="225" y="180"/>
                  <a:pt x="221" y="177"/>
                  <a:pt x="217" y="177"/>
                </a:cubicBezTo>
                <a:cubicBezTo>
                  <a:pt x="212" y="177"/>
                  <a:pt x="209" y="180"/>
                  <a:pt x="209" y="185"/>
                </a:cubicBezTo>
                <a:cubicBezTo>
                  <a:pt x="209" y="189"/>
                  <a:pt x="212" y="193"/>
                  <a:pt x="217" y="193"/>
                </a:cubicBezTo>
                <a:moveTo>
                  <a:pt x="265" y="112"/>
                </a:moveTo>
                <a:cubicBezTo>
                  <a:pt x="278" y="112"/>
                  <a:pt x="289" y="102"/>
                  <a:pt x="289" y="88"/>
                </a:cubicBezTo>
                <a:cubicBezTo>
                  <a:pt x="289" y="75"/>
                  <a:pt x="278" y="64"/>
                  <a:pt x="265" y="64"/>
                </a:cubicBezTo>
                <a:cubicBezTo>
                  <a:pt x="251" y="64"/>
                  <a:pt x="241" y="75"/>
                  <a:pt x="241" y="88"/>
                </a:cubicBezTo>
                <a:cubicBezTo>
                  <a:pt x="241" y="102"/>
                  <a:pt x="251" y="112"/>
                  <a:pt x="265" y="112"/>
                </a:cubicBezTo>
                <a:moveTo>
                  <a:pt x="265" y="80"/>
                </a:moveTo>
                <a:cubicBezTo>
                  <a:pt x="269" y="80"/>
                  <a:pt x="273" y="84"/>
                  <a:pt x="273" y="88"/>
                </a:cubicBezTo>
                <a:cubicBezTo>
                  <a:pt x="273" y="93"/>
                  <a:pt x="269" y="96"/>
                  <a:pt x="265" y="96"/>
                </a:cubicBezTo>
                <a:cubicBezTo>
                  <a:pt x="260" y="96"/>
                  <a:pt x="257" y="93"/>
                  <a:pt x="257" y="88"/>
                </a:cubicBezTo>
                <a:cubicBezTo>
                  <a:pt x="257" y="84"/>
                  <a:pt x="260" y="80"/>
                  <a:pt x="265" y="80"/>
                </a:cubicBezTo>
                <a:moveTo>
                  <a:pt x="193" y="169"/>
                </a:moveTo>
                <a:cubicBezTo>
                  <a:pt x="197" y="169"/>
                  <a:pt x="201" y="165"/>
                  <a:pt x="201" y="161"/>
                </a:cubicBezTo>
                <a:cubicBezTo>
                  <a:pt x="201" y="156"/>
                  <a:pt x="197" y="153"/>
                  <a:pt x="193" y="153"/>
                </a:cubicBezTo>
                <a:cubicBezTo>
                  <a:pt x="188" y="153"/>
                  <a:pt x="185" y="156"/>
                  <a:pt x="185" y="161"/>
                </a:cubicBezTo>
                <a:cubicBezTo>
                  <a:pt x="185" y="165"/>
                  <a:pt x="188" y="169"/>
                  <a:pt x="193" y="169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Isosceles Triangle 8">
            <a:extLst>
              <a:ext uri="{FF2B5EF4-FFF2-40B4-BE49-F238E27FC236}">
                <a16:creationId xmlns:a16="http://schemas.microsoft.com/office/drawing/2014/main" id="{5E198900-8320-DC11-D24D-6650F1F87B1F}"/>
              </a:ext>
            </a:extLst>
          </p:cNvPr>
          <p:cNvSpPr/>
          <p:nvPr/>
        </p:nvSpPr>
        <p:spPr>
          <a:xfrm>
            <a:off x="6094411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reeform 13">
            <a:extLst>
              <a:ext uri="{FF2B5EF4-FFF2-40B4-BE49-F238E27FC236}">
                <a16:creationId xmlns:a16="http://schemas.microsoft.com/office/drawing/2014/main" id="{F0B44AE0-965B-53D4-4474-D38D796FC005}"/>
              </a:ext>
            </a:extLst>
          </p:cNvPr>
          <p:cNvSpPr>
            <a:spLocks noEditPoints="1"/>
          </p:cNvSpPr>
          <p:nvPr/>
        </p:nvSpPr>
        <p:spPr bwMode="auto">
          <a:xfrm>
            <a:off x="7119377" y="5067435"/>
            <a:ext cx="727050" cy="727050"/>
          </a:xfrm>
          <a:custGeom>
            <a:avLst/>
            <a:gdLst>
              <a:gd name="T0" fmla="*/ 353 w 353"/>
              <a:gd name="T1" fmla="*/ 104 h 353"/>
              <a:gd name="T2" fmla="*/ 351 w 353"/>
              <a:gd name="T3" fmla="*/ 99 h 353"/>
              <a:gd name="T4" fmla="*/ 351 w 353"/>
              <a:gd name="T5" fmla="*/ 99 h 353"/>
              <a:gd name="T6" fmla="*/ 351 w 353"/>
              <a:gd name="T7" fmla="*/ 99 h 353"/>
              <a:gd name="T8" fmla="*/ 350 w 353"/>
              <a:gd name="T9" fmla="*/ 98 h 353"/>
              <a:gd name="T10" fmla="*/ 255 w 353"/>
              <a:gd name="T11" fmla="*/ 3 h 353"/>
              <a:gd name="T12" fmla="*/ 255 w 353"/>
              <a:gd name="T13" fmla="*/ 3 h 353"/>
              <a:gd name="T14" fmla="*/ 248 w 353"/>
              <a:gd name="T15" fmla="*/ 0 h 353"/>
              <a:gd name="T16" fmla="*/ 104 w 353"/>
              <a:gd name="T17" fmla="*/ 0 h 353"/>
              <a:gd name="T18" fmla="*/ 98 w 353"/>
              <a:gd name="T19" fmla="*/ 3 h 353"/>
              <a:gd name="T20" fmla="*/ 97 w 353"/>
              <a:gd name="T21" fmla="*/ 3 h 353"/>
              <a:gd name="T22" fmla="*/ 2 w 353"/>
              <a:gd name="T23" fmla="*/ 98 h 353"/>
              <a:gd name="T24" fmla="*/ 2 w 353"/>
              <a:gd name="T25" fmla="*/ 99 h 353"/>
              <a:gd name="T26" fmla="*/ 1 w 353"/>
              <a:gd name="T27" fmla="*/ 99 h 353"/>
              <a:gd name="T28" fmla="*/ 1 w 353"/>
              <a:gd name="T29" fmla="*/ 99 h 353"/>
              <a:gd name="T30" fmla="*/ 0 w 353"/>
              <a:gd name="T31" fmla="*/ 104 h 353"/>
              <a:gd name="T32" fmla="*/ 1 w 353"/>
              <a:gd name="T33" fmla="*/ 109 h 353"/>
              <a:gd name="T34" fmla="*/ 1 w 353"/>
              <a:gd name="T35" fmla="*/ 109 h 353"/>
              <a:gd name="T36" fmla="*/ 170 w 353"/>
              <a:gd name="T37" fmla="*/ 350 h 353"/>
              <a:gd name="T38" fmla="*/ 170 w 353"/>
              <a:gd name="T39" fmla="*/ 350 h 353"/>
              <a:gd name="T40" fmla="*/ 176 w 353"/>
              <a:gd name="T41" fmla="*/ 353 h 353"/>
              <a:gd name="T42" fmla="*/ 182 w 353"/>
              <a:gd name="T43" fmla="*/ 350 h 353"/>
              <a:gd name="T44" fmla="*/ 182 w 353"/>
              <a:gd name="T45" fmla="*/ 350 h 353"/>
              <a:gd name="T46" fmla="*/ 351 w 353"/>
              <a:gd name="T47" fmla="*/ 109 h 353"/>
              <a:gd name="T48" fmla="*/ 351 w 353"/>
              <a:gd name="T49" fmla="*/ 109 h 353"/>
              <a:gd name="T50" fmla="*/ 353 w 353"/>
              <a:gd name="T51" fmla="*/ 104 h 353"/>
              <a:gd name="T52" fmla="*/ 245 w 353"/>
              <a:gd name="T53" fmla="*/ 16 h 353"/>
              <a:gd name="T54" fmla="*/ 325 w 353"/>
              <a:gd name="T55" fmla="*/ 96 h 353"/>
              <a:gd name="T56" fmla="*/ 253 w 353"/>
              <a:gd name="T57" fmla="*/ 96 h 353"/>
              <a:gd name="T58" fmla="*/ 213 w 353"/>
              <a:gd name="T59" fmla="*/ 16 h 353"/>
              <a:gd name="T60" fmla="*/ 245 w 353"/>
              <a:gd name="T61" fmla="*/ 16 h 353"/>
              <a:gd name="T62" fmla="*/ 195 w 353"/>
              <a:gd name="T63" fmla="*/ 16 h 353"/>
              <a:gd name="T64" fmla="*/ 235 w 353"/>
              <a:gd name="T65" fmla="*/ 96 h 353"/>
              <a:gd name="T66" fmla="*/ 117 w 353"/>
              <a:gd name="T67" fmla="*/ 96 h 353"/>
              <a:gd name="T68" fmla="*/ 157 w 353"/>
              <a:gd name="T69" fmla="*/ 16 h 353"/>
              <a:gd name="T70" fmla="*/ 195 w 353"/>
              <a:gd name="T71" fmla="*/ 16 h 353"/>
              <a:gd name="T72" fmla="*/ 107 w 353"/>
              <a:gd name="T73" fmla="*/ 16 h 353"/>
              <a:gd name="T74" fmla="*/ 139 w 353"/>
              <a:gd name="T75" fmla="*/ 16 h 353"/>
              <a:gd name="T76" fmla="*/ 99 w 353"/>
              <a:gd name="T77" fmla="*/ 96 h 353"/>
              <a:gd name="T78" fmla="*/ 27 w 353"/>
              <a:gd name="T79" fmla="*/ 96 h 353"/>
              <a:gd name="T80" fmla="*/ 107 w 353"/>
              <a:gd name="T81" fmla="*/ 16 h 353"/>
              <a:gd name="T82" fmla="*/ 23 w 353"/>
              <a:gd name="T83" fmla="*/ 112 h 353"/>
              <a:gd name="T84" fmla="*/ 98 w 353"/>
              <a:gd name="T85" fmla="*/ 112 h 353"/>
              <a:gd name="T86" fmla="*/ 154 w 353"/>
              <a:gd name="T87" fmla="*/ 299 h 353"/>
              <a:gd name="T88" fmla="*/ 23 w 353"/>
              <a:gd name="T89" fmla="*/ 112 h 353"/>
              <a:gd name="T90" fmla="*/ 176 w 353"/>
              <a:gd name="T91" fmla="*/ 317 h 353"/>
              <a:gd name="T92" fmla="*/ 115 w 353"/>
              <a:gd name="T93" fmla="*/ 112 h 353"/>
              <a:gd name="T94" fmla="*/ 238 w 353"/>
              <a:gd name="T95" fmla="*/ 112 h 353"/>
              <a:gd name="T96" fmla="*/ 176 w 353"/>
              <a:gd name="T97" fmla="*/ 317 h 353"/>
              <a:gd name="T98" fmla="*/ 198 w 353"/>
              <a:gd name="T99" fmla="*/ 299 h 353"/>
              <a:gd name="T100" fmla="*/ 254 w 353"/>
              <a:gd name="T101" fmla="*/ 112 h 353"/>
              <a:gd name="T102" fmla="*/ 329 w 353"/>
              <a:gd name="T103" fmla="*/ 112 h 353"/>
              <a:gd name="T104" fmla="*/ 198 w 353"/>
              <a:gd name="T105" fmla="*/ 29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353">
                <a:moveTo>
                  <a:pt x="353" y="104"/>
                </a:moveTo>
                <a:cubicBezTo>
                  <a:pt x="353" y="102"/>
                  <a:pt x="352" y="101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0" y="98"/>
                  <a:pt x="350" y="98"/>
                  <a:pt x="350" y="98"/>
                </a:cubicBezTo>
                <a:cubicBezTo>
                  <a:pt x="255" y="3"/>
                  <a:pt x="255" y="3"/>
                  <a:pt x="255" y="3"/>
                </a:cubicBezTo>
                <a:cubicBezTo>
                  <a:pt x="255" y="3"/>
                  <a:pt x="255" y="3"/>
                  <a:pt x="255" y="3"/>
                </a:cubicBezTo>
                <a:cubicBezTo>
                  <a:pt x="253" y="1"/>
                  <a:pt x="251" y="0"/>
                  <a:pt x="24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1" y="0"/>
                  <a:pt x="99" y="1"/>
                  <a:pt x="98" y="3"/>
                </a:cubicBezTo>
                <a:cubicBezTo>
                  <a:pt x="97" y="3"/>
                  <a:pt x="97" y="3"/>
                  <a:pt x="97" y="3"/>
                </a:cubicBezTo>
                <a:cubicBezTo>
                  <a:pt x="2" y="98"/>
                  <a:pt x="2" y="98"/>
                  <a:pt x="2" y="98"/>
                </a:cubicBezTo>
                <a:cubicBezTo>
                  <a:pt x="2" y="98"/>
                  <a:pt x="2" y="98"/>
                  <a:pt x="2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0" y="101"/>
                  <a:pt x="0" y="102"/>
                  <a:pt x="0" y="104"/>
                </a:cubicBezTo>
                <a:cubicBezTo>
                  <a:pt x="0" y="106"/>
                  <a:pt x="0" y="108"/>
                  <a:pt x="1" y="109"/>
                </a:cubicBezTo>
                <a:cubicBezTo>
                  <a:pt x="1" y="109"/>
                  <a:pt x="1" y="109"/>
                  <a:pt x="1" y="109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1" y="352"/>
                  <a:pt x="174" y="353"/>
                  <a:pt x="176" y="353"/>
                </a:cubicBezTo>
                <a:cubicBezTo>
                  <a:pt x="179" y="353"/>
                  <a:pt x="181" y="352"/>
                  <a:pt x="182" y="350"/>
                </a:cubicBezTo>
                <a:cubicBezTo>
                  <a:pt x="182" y="350"/>
                  <a:pt x="182" y="350"/>
                  <a:pt x="182" y="350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2" y="108"/>
                  <a:pt x="353" y="106"/>
                  <a:pt x="353" y="104"/>
                </a:cubicBezTo>
                <a:moveTo>
                  <a:pt x="245" y="16"/>
                </a:moveTo>
                <a:cubicBezTo>
                  <a:pt x="325" y="96"/>
                  <a:pt x="325" y="96"/>
                  <a:pt x="325" y="96"/>
                </a:cubicBezTo>
                <a:cubicBezTo>
                  <a:pt x="253" y="96"/>
                  <a:pt x="253" y="96"/>
                  <a:pt x="253" y="96"/>
                </a:cubicBezTo>
                <a:cubicBezTo>
                  <a:pt x="213" y="16"/>
                  <a:pt x="213" y="16"/>
                  <a:pt x="213" y="16"/>
                </a:cubicBezTo>
                <a:lnTo>
                  <a:pt x="245" y="16"/>
                </a:lnTo>
                <a:close/>
                <a:moveTo>
                  <a:pt x="195" y="16"/>
                </a:moveTo>
                <a:cubicBezTo>
                  <a:pt x="235" y="96"/>
                  <a:pt x="235" y="96"/>
                  <a:pt x="235" y="96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57" y="16"/>
                  <a:pt x="157" y="16"/>
                  <a:pt x="157" y="16"/>
                </a:cubicBezTo>
                <a:lnTo>
                  <a:pt x="195" y="16"/>
                </a:lnTo>
                <a:close/>
                <a:moveTo>
                  <a:pt x="107" y="16"/>
                </a:moveTo>
                <a:cubicBezTo>
                  <a:pt x="139" y="16"/>
                  <a:pt x="139" y="16"/>
                  <a:pt x="139" y="16"/>
                </a:cubicBezTo>
                <a:cubicBezTo>
                  <a:pt x="99" y="96"/>
                  <a:pt x="99" y="96"/>
                  <a:pt x="99" y="96"/>
                </a:cubicBezTo>
                <a:cubicBezTo>
                  <a:pt x="27" y="96"/>
                  <a:pt x="27" y="96"/>
                  <a:pt x="27" y="96"/>
                </a:cubicBezTo>
                <a:lnTo>
                  <a:pt x="107" y="16"/>
                </a:lnTo>
                <a:close/>
                <a:moveTo>
                  <a:pt x="23" y="112"/>
                </a:moveTo>
                <a:cubicBezTo>
                  <a:pt x="98" y="112"/>
                  <a:pt x="98" y="112"/>
                  <a:pt x="98" y="112"/>
                </a:cubicBezTo>
                <a:cubicBezTo>
                  <a:pt x="154" y="299"/>
                  <a:pt x="154" y="299"/>
                  <a:pt x="154" y="299"/>
                </a:cubicBezTo>
                <a:lnTo>
                  <a:pt x="23" y="112"/>
                </a:lnTo>
                <a:close/>
                <a:moveTo>
                  <a:pt x="176" y="317"/>
                </a:moveTo>
                <a:cubicBezTo>
                  <a:pt x="115" y="112"/>
                  <a:pt x="115" y="112"/>
                  <a:pt x="115" y="112"/>
                </a:cubicBezTo>
                <a:cubicBezTo>
                  <a:pt x="238" y="112"/>
                  <a:pt x="238" y="112"/>
                  <a:pt x="238" y="112"/>
                </a:cubicBezTo>
                <a:lnTo>
                  <a:pt x="176" y="317"/>
                </a:lnTo>
                <a:close/>
                <a:moveTo>
                  <a:pt x="198" y="299"/>
                </a:moveTo>
                <a:cubicBezTo>
                  <a:pt x="254" y="112"/>
                  <a:pt x="254" y="112"/>
                  <a:pt x="254" y="112"/>
                </a:cubicBezTo>
                <a:cubicBezTo>
                  <a:pt x="329" y="112"/>
                  <a:pt x="329" y="112"/>
                  <a:pt x="329" y="112"/>
                </a:cubicBezTo>
                <a:lnTo>
                  <a:pt x="198" y="299"/>
                </a:lnTo>
                <a:close/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4697DB0F-53CC-59D6-1AF0-7974E59FE486}"/>
              </a:ext>
            </a:extLst>
          </p:cNvPr>
          <p:cNvSpPr txBox="1"/>
          <p:nvPr/>
        </p:nvSpPr>
        <p:spPr>
          <a:xfrm>
            <a:off x="7209197" y="1942268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mission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12971CB5-D688-CA2A-CE7D-66C0AA2D9B61}"/>
              </a:ext>
            </a:extLst>
          </p:cNvPr>
          <p:cNvSpPr txBox="1"/>
          <p:nvPr/>
        </p:nvSpPr>
        <p:spPr>
          <a:xfrm>
            <a:off x="7209197" y="2377376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8" name="TextBox 22">
            <a:extLst>
              <a:ext uri="{FF2B5EF4-FFF2-40B4-BE49-F238E27FC236}">
                <a16:creationId xmlns:a16="http://schemas.microsoft.com/office/drawing/2014/main" id="{FC11DB7E-434D-9BEF-8728-615BCA43F446}"/>
              </a:ext>
            </a:extLst>
          </p:cNvPr>
          <p:cNvSpPr txBox="1"/>
          <p:nvPr/>
        </p:nvSpPr>
        <p:spPr>
          <a:xfrm>
            <a:off x="1167245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vision</a:t>
            </a:r>
          </a:p>
        </p:txBody>
      </p:sp>
      <p:sp>
        <p:nvSpPr>
          <p:cNvPr id="19" name="TextBox 23">
            <a:extLst>
              <a:ext uri="{FF2B5EF4-FFF2-40B4-BE49-F238E27FC236}">
                <a16:creationId xmlns:a16="http://schemas.microsoft.com/office/drawing/2014/main" id="{5D9572AA-1998-7F5F-E858-D266537415F0}"/>
              </a:ext>
            </a:extLst>
          </p:cNvPr>
          <p:cNvSpPr txBox="1"/>
          <p:nvPr/>
        </p:nvSpPr>
        <p:spPr>
          <a:xfrm>
            <a:off x="874613" y="4332567"/>
            <a:ext cx="297212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21" name="TextBox 26">
            <a:extLst>
              <a:ext uri="{FF2B5EF4-FFF2-40B4-BE49-F238E27FC236}">
                <a16:creationId xmlns:a16="http://schemas.microsoft.com/office/drawing/2014/main" id="{634C8D66-4582-8F24-B70C-C5F64387F95D}"/>
              </a:ext>
            </a:extLst>
          </p:cNvPr>
          <p:cNvSpPr txBox="1"/>
          <p:nvPr/>
        </p:nvSpPr>
        <p:spPr>
          <a:xfrm>
            <a:off x="8345263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values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A5A06896-4795-7D1D-C158-5A9FA4DD7058}"/>
              </a:ext>
            </a:extLst>
          </p:cNvPr>
          <p:cNvSpPr txBox="1"/>
          <p:nvPr/>
        </p:nvSpPr>
        <p:spPr>
          <a:xfrm>
            <a:off x="8345263" y="4332567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365459-FA71-824C-5C89-63868CC96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1247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0F34CD0-BD42-78D3-B828-71D7A7AED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0F34CD0-BD42-78D3-B828-71D7A7AED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Four categories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28E055A-2F18-6578-7DE2-C630233C6DF9}"/>
              </a:ext>
            </a:extLst>
          </p:cNvPr>
          <p:cNvGrpSpPr/>
          <p:nvPr/>
        </p:nvGrpSpPr>
        <p:grpSpPr>
          <a:xfrm>
            <a:off x="5604088" y="3152775"/>
            <a:ext cx="979062" cy="857252"/>
            <a:chOff x="7690714" y="6389370"/>
            <a:chExt cx="475749" cy="416560"/>
          </a:xfrm>
          <a:solidFill>
            <a:schemeClr val="bg2"/>
          </a:solidFill>
        </p:grpSpPr>
        <p:grpSp>
          <p:nvGrpSpPr>
            <p:cNvPr id="9" name="Group 103">
              <a:extLst>
                <a:ext uri="{FF2B5EF4-FFF2-40B4-BE49-F238E27FC236}">
                  <a16:creationId xmlns:a16="http://schemas.microsoft.com/office/drawing/2014/main" id="{E7925D93-EC4B-C7A7-A43C-D7B84B7694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90714" y="6389370"/>
              <a:ext cx="475749" cy="416560"/>
              <a:chOff x="351" y="1747"/>
              <a:chExt cx="426" cy="373"/>
            </a:xfrm>
            <a:grpFill/>
          </p:grpSpPr>
          <p:sp>
            <p:nvSpPr>
              <p:cNvPr id="10" name="Freeform 104">
                <a:extLst>
                  <a:ext uri="{FF2B5EF4-FFF2-40B4-BE49-F238E27FC236}">
                    <a16:creationId xmlns:a16="http://schemas.microsoft.com/office/drawing/2014/main" id="{5C3CD0CC-1D8D-C60D-ED35-2C4CE6A56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1" y="1747"/>
                <a:ext cx="426" cy="337"/>
              </a:xfrm>
              <a:custGeom>
                <a:avLst/>
                <a:gdLst>
                  <a:gd name="T0" fmla="*/ 264 w 288"/>
                  <a:gd name="T1" fmla="*/ 228 h 228"/>
                  <a:gd name="T2" fmla="*/ 24 w 288"/>
                  <a:gd name="T3" fmla="*/ 228 h 228"/>
                  <a:gd name="T4" fmla="*/ 0 w 288"/>
                  <a:gd name="T5" fmla="*/ 203 h 228"/>
                  <a:gd name="T6" fmla="*/ 0 w 288"/>
                  <a:gd name="T7" fmla="*/ 25 h 228"/>
                  <a:gd name="T8" fmla="*/ 24 w 288"/>
                  <a:gd name="T9" fmla="*/ 0 h 228"/>
                  <a:gd name="T10" fmla="*/ 264 w 288"/>
                  <a:gd name="T11" fmla="*/ 0 h 228"/>
                  <a:gd name="T12" fmla="*/ 288 w 288"/>
                  <a:gd name="T13" fmla="*/ 25 h 228"/>
                  <a:gd name="T14" fmla="*/ 288 w 288"/>
                  <a:gd name="T15" fmla="*/ 203 h 228"/>
                  <a:gd name="T16" fmla="*/ 264 w 288"/>
                  <a:gd name="T17" fmla="*/ 228 h 228"/>
                  <a:gd name="T18" fmla="*/ 24 w 288"/>
                  <a:gd name="T19" fmla="*/ 12 h 228"/>
                  <a:gd name="T20" fmla="*/ 12 w 288"/>
                  <a:gd name="T21" fmla="*/ 25 h 228"/>
                  <a:gd name="T22" fmla="*/ 12 w 288"/>
                  <a:gd name="T23" fmla="*/ 203 h 228"/>
                  <a:gd name="T24" fmla="*/ 24 w 288"/>
                  <a:gd name="T25" fmla="*/ 216 h 228"/>
                  <a:gd name="T26" fmla="*/ 264 w 288"/>
                  <a:gd name="T27" fmla="*/ 216 h 228"/>
                  <a:gd name="T28" fmla="*/ 276 w 288"/>
                  <a:gd name="T29" fmla="*/ 203 h 228"/>
                  <a:gd name="T30" fmla="*/ 276 w 288"/>
                  <a:gd name="T31" fmla="*/ 25 h 228"/>
                  <a:gd name="T32" fmla="*/ 264 w 288"/>
                  <a:gd name="T33" fmla="*/ 12 h 228"/>
                  <a:gd name="T34" fmla="*/ 24 w 288"/>
                  <a:gd name="T35" fmla="*/ 12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8" h="228">
                    <a:moveTo>
                      <a:pt x="264" y="228"/>
                    </a:moveTo>
                    <a:cubicBezTo>
                      <a:pt x="24" y="228"/>
                      <a:pt x="24" y="228"/>
                      <a:pt x="24" y="228"/>
                    </a:cubicBezTo>
                    <a:cubicBezTo>
                      <a:pt x="10" y="228"/>
                      <a:pt x="0" y="217"/>
                      <a:pt x="0" y="20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2"/>
                      <a:pt x="10" y="0"/>
                      <a:pt x="24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7" y="0"/>
                      <a:pt x="288" y="12"/>
                      <a:pt x="288" y="25"/>
                    </a:cubicBezTo>
                    <a:cubicBezTo>
                      <a:pt x="288" y="203"/>
                      <a:pt x="288" y="203"/>
                      <a:pt x="288" y="203"/>
                    </a:cubicBezTo>
                    <a:cubicBezTo>
                      <a:pt x="288" y="217"/>
                      <a:pt x="277" y="228"/>
                      <a:pt x="264" y="22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5"/>
                    </a:cubicBezTo>
                    <a:cubicBezTo>
                      <a:pt x="12" y="203"/>
                      <a:pt x="12" y="203"/>
                      <a:pt x="12" y="203"/>
                    </a:cubicBezTo>
                    <a:cubicBezTo>
                      <a:pt x="12" y="211"/>
                      <a:pt x="17" y="216"/>
                      <a:pt x="24" y="216"/>
                    </a:cubicBezTo>
                    <a:cubicBezTo>
                      <a:pt x="264" y="216"/>
                      <a:pt x="264" y="216"/>
                      <a:pt x="264" y="216"/>
                    </a:cubicBezTo>
                    <a:cubicBezTo>
                      <a:pt x="270" y="216"/>
                      <a:pt x="276" y="211"/>
                      <a:pt x="276" y="203"/>
                    </a:cubicBezTo>
                    <a:cubicBezTo>
                      <a:pt x="276" y="25"/>
                      <a:pt x="276" y="25"/>
                      <a:pt x="276" y="25"/>
                    </a:cubicBezTo>
                    <a:cubicBezTo>
                      <a:pt x="276" y="18"/>
                      <a:pt x="270" y="12"/>
                      <a:pt x="264" y="12"/>
                    </a:cubicBezTo>
                    <a:lnTo>
                      <a:pt x="2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" name="Freeform 105">
                <a:extLst>
                  <a:ext uri="{FF2B5EF4-FFF2-40B4-BE49-F238E27FC236}">
                    <a16:creationId xmlns:a16="http://schemas.microsoft.com/office/drawing/2014/main" id="{50BF3508-E646-EA10-D88E-B7DB3BDB3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" y="2102"/>
                <a:ext cx="266" cy="18"/>
              </a:xfrm>
              <a:custGeom>
                <a:avLst/>
                <a:gdLst>
                  <a:gd name="T0" fmla="*/ 174 w 180"/>
                  <a:gd name="T1" fmla="*/ 12 h 12"/>
                  <a:gd name="T2" fmla="*/ 6 w 180"/>
                  <a:gd name="T3" fmla="*/ 12 h 12"/>
                  <a:gd name="T4" fmla="*/ 0 w 180"/>
                  <a:gd name="T5" fmla="*/ 6 h 12"/>
                  <a:gd name="T6" fmla="*/ 6 w 180"/>
                  <a:gd name="T7" fmla="*/ 0 h 12"/>
                  <a:gd name="T8" fmla="*/ 174 w 180"/>
                  <a:gd name="T9" fmla="*/ 0 h 12"/>
                  <a:gd name="T10" fmla="*/ 180 w 180"/>
                  <a:gd name="T11" fmla="*/ 6 h 12"/>
                  <a:gd name="T12" fmla="*/ 174 w 18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0" h="12">
                    <a:moveTo>
                      <a:pt x="17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77" y="0"/>
                      <a:pt x="180" y="3"/>
                      <a:pt x="180" y="6"/>
                    </a:cubicBezTo>
                    <a:cubicBezTo>
                      <a:pt x="180" y="10"/>
                      <a:pt x="177" y="12"/>
                      <a:pt x="17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106">
                <a:extLst>
                  <a:ext uri="{FF2B5EF4-FFF2-40B4-BE49-F238E27FC236}">
                    <a16:creationId xmlns:a16="http://schemas.microsoft.com/office/drawing/2014/main" id="{47F737AB-F6F3-E354-92C7-88EF5D6F4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" y="2066"/>
                <a:ext cx="18" cy="54"/>
              </a:xfrm>
              <a:custGeom>
                <a:avLst/>
                <a:gdLst>
                  <a:gd name="T0" fmla="*/ 6 w 12"/>
                  <a:gd name="T1" fmla="*/ 36 h 36"/>
                  <a:gd name="T2" fmla="*/ 0 w 12"/>
                  <a:gd name="T3" fmla="*/ 30 h 36"/>
                  <a:gd name="T4" fmla="*/ 0 w 12"/>
                  <a:gd name="T5" fmla="*/ 6 h 36"/>
                  <a:gd name="T6" fmla="*/ 6 w 12"/>
                  <a:gd name="T7" fmla="*/ 0 h 36"/>
                  <a:gd name="T8" fmla="*/ 12 w 12"/>
                  <a:gd name="T9" fmla="*/ 6 h 36"/>
                  <a:gd name="T10" fmla="*/ 12 w 12"/>
                  <a:gd name="T11" fmla="*/ 30 h 36"/>
                  <a:gd name="T12" fmla="*/ 6 w 12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6">
                    <a:moveTo>
                      <a:pt x="6" y="36"/>
                    </a:moveTo>
                    <a:cubicBezTo>
                      <a:pt x="2" y="36"/>
                      <a:pt x="0" y="34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9" y="36"/>
                      <a:pt x="6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" name="Oval 107">
                <a:extLst>
                  <a:ext uri="{FF2B5EF4-FFF2-40B4-BE49-F238E27FC236}">
                    <a16:creationId xmlns:a16="http://schemas.microsoft.com/office/drawing/2014/main" id="{66858D87-8CC2-F88A-FFC9-7B568B4C00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" y="2022"/>
                <a:ext cx="36" cy="3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" name="Rectangle 108">
                <a:extLst>
                  <a:ext uri="{FF2B5EF4-FFF2-40B4-BE49-F238E27FC236}">
                    <a16:creationId xmlns:a16="http://schemas.microsoft.com/office/drawing/2014/main" id="{E63876C4-360C-3535-B89F-AE179D3B4A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" y="1995"/>
                <a:ext cx="408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22">
              <a:extLst>
                <a:ext uri="{FF2B5EF4-FFF2-40B4-BE49-F238E27FC236}">
                  <a16:creationId xmlns:a16="http://schemas.microsoft.com/office/drawing/2014/main" id="{66404785-12F4-D682-02CE-203C829985F9}"/>
                </a:ext>
              </a:extLst>
            </p:cNvPr>
            <p:cNvGrpSpPr/>
            <p:nvPr/>
          </p:nvGrpSpPr>
          <p:grpSpPr>
            <a:xfrm>
              <a:off x="7837867" y="6439268"/>
              <a:ext cx="181442" cy="206391"/>
              <a:chOff x="6408837" y="2903128"/>
              <a:chExt cx="181484" cy="206438"/>
            </a:xfrm>
            <a:grpFill/>
          </p:grpSpPr>
          <p:sp>
            <p:nvSpPr>
              <p:cNvPr id="16" name="Freeform 192">
                <a:extLst>
                  <a:ext uri="{FF2B5EF4-FFF2-40B4-BE49-F238E27FC236}">
                    <a16:creationId xmlns:a16="http://schemas.microsoft.com/office/drawing/2014/main" id="{B2F4BD28-6217-3C54-16B8-AF77466B14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8837" y="2903128"/>
                <a:ext cx="181484" cy="206438"/>
              </a:xfrm>
              <a:custGeom>
                <a:avLst/>
                <a:gdLst>
                  <a:gd name="T0" fmla="*/ 54 w 108"/>
                  <a:gd name="T1" fmla="*/ 123 h 123"/>
                  <a:gd name="T2" fmla="*/ 52 w 108"/>
                  <a:gd name="T3" fmla="*/ 123 h 123"/>
                  <a:gd name="T4" fmla="*/ 0 w 108"/>
                  <a:gd name="T5" fmla="*/ 82 h 123"/>
                  <a:gd name="T6" fmla="*/ 0 w 108"/>
                  <a:gd name="T7" fmla="*/ 80 h 123"/>
                  <a:gd name="T8" fmla="*/ 0 w 108"/>
                  <a:gd name="T9" fmla="*/ 9 h 123"/>
                  <a:gd name="T10" fmla="*/ 3 w 108"/>
                  <a:gd name="T11" fmla="*/ 4 h 123"/>
                  <a:gd name="T12" fmla="*/ 9 w 108"/>
                  <a:gd name="T13" fmla="*/ 4 h 123"/>
                  <a:gd name="T14" fmla="*/ 30 w 108"/>
                  <a:gd name="T15" fmla="*/ 12 h 123"/>
                  <a:gd name="T16" fmla="*/ 49 w 108"/>
                  <a:gd name="T17" fmla="*/ 3 h 123"/>
                  <a:gd name="T18" fmla="*/ 58 w 108"/>
                  <a:gd name="T19" fmla="*/ 3 h 123"/>
                  <a:gd name="T20" fmla="*/ 78 w 108"/>
                  <a:gd name="T21" fmla="*/ 12 h 123"/>
                  <a:gd name="T22" fmla="*/ 98 w 108"/>
                  <a:gd name="T23" fmla="*/ 4 h 123"/>
                  <a:gd name="T24" fmla="*/ 104 w 108"/>
                  <a:gd name="T25" fmla="*/ 4 h 123"/>
                  <a:gd name="T26" fmla="*/ 108 w 108"/>
                  <a:gd name="T27" fmla="*/ 9 h 123"/>
                  <a:gd name="T28" fmla="*/ 108 w 108"/>
                  <a:gd name="T29" fmla="*/ 80 h 123"/>
                  <a:gd name="T30" fmla="*/ 107 w 108"/>
                  <a:gd name="T31" fmla="*/ 82 h 123"/>
                  <a:gd name="T32" fmla="*/ 55 w 108"/>
                  <a:gd name="T33" fmla="*/ 123 h 123"/>
                  <a:gd name="T34" fmla="*/ 54 w 108"/>
                  <a:gd name="T35" fmla="*/ 123 h 123"/>
                  <a:gd name="T36" fmla="*/ 12 w 108"/>
                  <a:gd name="T37" fmla="*/ 79 h 123"/>
                  <a:gd name="T38" fmla="*/ 54 w 108"/>
                  <a:gd name="T39" fmla="*/ 111 h 123"/>
                  <a:gd name="T40" fmla="*/ 96 w 108"/>
                  <a:gd name="T41" fmla="*/ 79 h 123"/>
                  <a:gd name="T42" fmla="*/ 96 w 108"/>
                  <a:gd name="T43" fmla="*/ 20 h 123"/>
                  <a:gd name="T44" fmla="*/ 78 w 108"/>
                  <a:gd name="T45" fmla="*/ 24 h 123"/>
                  <a:gd name="T46" fmla="*/ 54 w 108"/>
                  <a:gd name="T47" fmla="*/ 15 h 123"/>
                  <a:gd name="T48" fmla="*/ 30 w 108"/>
                  <a:gd name="T49" fmla="*/ 24 h 123"/>
                  <a:gd name="T50" fmla="*/ 12 w 108"/>
                  <a:gd name="T51" fmla="*/ 20 h 123"/>
                  <a:gd name="T52" fmla="*/ 12 w 108"/>
                  <a:gd name="T53" fmla="*/ 79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8" h="123">
                    <a:moveTo>
                      <a:pt x="54" y="123"/>
                    </a:moveTo>
                    <a:cubicBezTo>
                      <a:pt x="53" y="123"/>
                      <a:pt x="53" y="123"/>
                      <a:pt x="52" y="123"/>
                    </a:cubicBezTo>
                    <a:cubicBezTo>
                      <a:pt x="8" y="111"/>
                      <a:pt x="0" y="83"/>
                      <a:pt x="0" y="82"/>
                    </a:cubicBezTo>
                    <a:cubicBezTo>
                      <a:pt x="0" y="82"/>
                      <a:pt x="0" y="81"/>
                      <a:pt x="0" y="8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5" y="3"/>
                      <a:pt x="7" y="3"/>
                      <a:pt x="9" y="4"/>
                    </a:cubicBezTo>
                    <a:cubicBezTo>
                      <a:pt x="17" y="10"/>
                      <a:pt x="23" y="12"/>
                      <a:pt x="30" y="12"/>
                    </a:cubicBezTo>
                    <a:cubicBezTo>
                      <a:pt x="37" y="12"/>
                      <a:pt x="44" y="9"/>
                      <a:pt x="49" y="3"/>
                    </a:cubicBezTo>
                    <a:cubicBezTo>
                      <a:pt x="51" y="0"/>
                      <a:pt x="56" y="0"/>
                      <a:pt x="58" y="3"/>
                    </a:cubicBezTo>
                    <a:cubicBezTo>
                      <a:pt x="63" y="9"/>
                      <a:pt x="70" y="12"/>
                      <a:pt x="78" y="12"/>
                    </a:cubicBezTo>
                    <a:cubicBezTo>
                      <a:pt x="84" y="12"/>
                      <a:pt x="90" y="10"/>
                      <a:pt x="98" y="4"/>
                    </a:cubicBezTo>
                    <a:cubicBezTo>
                      <a:pt x="100" y="3"/>
                      <a:pt x="102" y="3"/>
                      <a:pt x="104" y="4"/>
                    </a:cubicBezTo>
                    <a:cubicBezTo>
                      <a:pt x="106" y="5"/>
                      <a:pt x="108" y="7"/>
                      <a:pt x="108" y="9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08" y="81"/>
                      <a:pt x="108" y="82"/>
                      <a:pt x="107" y="82"/>
                    </a:cubicBezTo>
                    <a:cubicBezTo>
                      <a:pt x="107" y="83"/>
                      <a:pt x="99" y="111"/>
                      <a:pt x="55" y="123"/>
                    </a:cubicBezTo>
                    <a:cubicBezTo>
                      <a:pt x="55" y="123"/>
                      <a:pt x="54" y="123"/>
                      <a:pt x="54" y="123"/>
                    </a:cubicBezTo>
                    <a:close/>
                    <a:moveTo>
                      <a:pt x="12" y="79"/>
                    </a:moveTo>
                    <a:cubicBezTo>
                      <a:pt x="13" y="83"/>
                      <a:pt x="21" y="101"/>
                      <a:pt x="54" y="111"/>
                    </a:cubicBezTo>
                    <a:cubicBezTo>
                      <a:pt x="86" y="101"/>
                      <a:pt x="94" y="83"/>
                      <a:pt x="96" y="79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89" y="23"/>
                      <a:pt x="84" y="24"/>
                      <a:pt x="78" y="24"/>
                    </a:cubicBezTo>
                    <a:cubicBezTo>
                      <a:pt x="69" y="24"/>
                      <a:pt x="60" y="21"/>
                      <a:pt x="54" y="15"/>
                    </a:cubicBezTo>
                    <a:cubicBezTo>
                      <a:pt x="47" y="21"/>
                      <a:pt x="39" y="24"/>
                      <a:pt x="30" y="24"/>
                    </a:cubicBezTo>
                    <a:cubicBezTo>
                      <a:pt x="24" y="24"/>
                      <a:pt x="18" y="23"/>
                      <a:pt x="12" y="20"/>
                    </a:cubicBezTo>
                    <a:lnTo>
                      <a:pt x="12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" name="Freeform 193">
                <a:extLst>
                  <a:ext uri="{FF2B5EF4-FFF2-40B4-BE49-F238E27FC236}">
                    <a16:creationId xmlns:a16="http://schemas.microsoft.com/office/drawing/2014/main" id="{A0C42F49-9AED-03A7-55C4-2C7437B0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371" y="2951901"/>
                <a:ext cx="20417" cy="100950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7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7"/>
                      <a:pt x="9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194">
                <a:extLst>
                  <a:ext uri="{FF2B5EF4-FFF2-40B4-BE49-F238E27FC236}">
                    <a16:creationId xmlns:a16="http://schemas.microsoft.com/office/drawing/2014/main" id="{FF966030-C9E1-F308-9041-FF8C04857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9671" y="2992735"/>
                <a:ext cx="100951" cy="19283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2"/>
                      <a:pt x="60" y="6"/>
                    </a:cubicBezTo>
                    <a:cubicBezTo>
                      <a:pt x="60" y="9"/>
                      <a:pt x="57" y="12"/>
                      <a:pt x="5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5A05AE34-758D-DEFA-5967-95F8FC8D8CD9}"/>
              </a:ext>
            </a:extLst>
          </p:cNvPr>
          <p:cNvCxnSpPr>
            <a:cxnSpLocks/>
            <a:stCxn id="28" idx="0"/>
          </p:cNvCxnSpPr>
          <p:nvPr/>
        </p:nvCxnSpPr>
        <p:spPr>
          <a:xfrm flipV="1">
            <a:off x="6102348" y="1520825"/>
            <a:ext cx="1" cy="120743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68AF1247-A194-C425-B718-B2B398130201}"/>
              </a:ext>
            </a:extLst>
          </p:cNvPr>
          <p:cNvCxnSpPr>
            <a:cxnSpLocks/>
            <a:endCxn id="28" idx="2"/>
          </p:cNvCxnSpPr>
          <p:nvPr/>
        </p:nvCxnSpPr>
        <p:spPr>
          <a:xfrm>
            <a:off x="384173" y="3914775"/>
            <a:ext cx="4531658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ipse 27">
            <a:extLst>
              <a:ext uri="{FF2B5EF4-FFF2-40B4-BE49-F238E27FC236}">
                <a16:creationId xmlns:a16="http://schemas.microsoft.com/office/drawing/2014/main" id="{B6BE46DF-D801-ABA8-BBB8-910EA8E25D9A}"/>
              </a:ext>
            </a:extLst>
          </p:cNvPr>
          <p:cNvSpPr/>
          <p:nvPr/>
        </p:nvSpPr>
        <p:spPr>
          <a:xfrm>
            <a:off x="4915831" y="2728258"/>
            <a:ext cx="2373034" cy="2373034"/>
          </a:xfrm>
          <a:prstGeom prst="ellips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B075E7AB-9F62-1F9E-3BA4-EEDA8CBDF4B6}"/>
              </a:ext>
            </a:extLst>
          </p:cNvPr>
          <p:cNvSpPr/>
          <p:nvPr/>
        </p:nvSpPr>
        <p:spPr>
          <a:xfrm>
            <a:off x="7288867" y="2191099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68" name="Rectángulo 7167">
            <a:extLst>
              <a:ext uri="{FF2B5EF4-FFF2-40B4-BE49-F238E27FC236}">
                <a16:creationId xmlns:a16="http://schemas.microsoft.com/office/drawing/2014/main" id="{865E7B83-81DF-8FAC-03A4-B2C5344F7DC3}"/>
              </a:ext>
            </a:extLst>
          </p:cNvPr>
          <p:cNvSpPr/>
          <p:nvPr/>
        </p:nvSpPr>
        <p:spPr>
          <a:xfrm>
            <a:off x="7288867" y="5214064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69" name="Rectángulo 7168">
            <a:extLst>
              <a:ext uri="{FF2B5EF4-FFF2-40B4-BE49-F238E27FC236}">
                <a16:creationId xmlns:a16="http://schemas.microsoft.com/office/drawing/2014/main" id="{FC7A085B-4A4A-6DA0-7F02-3C9BC1C4A86F}"/>
              </a:ext>
            </a:extLst>
          </p:cNvPr>
          <p:cNvSpPr/>
          <p:nvPr/>
        </p:nvSpPr>
        <p:spPr>
          <a:xfrm>
            <a:off x="384173" y="2191099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71" name="Rectángulo 7170">
            <a:extLst>
              <a:ext uri="{FF2B5EF4-FFF2-40B4-BE49-F238E27FC236}">
                <a16:creationId xmlns:a16="http://schemas.microsoft.com/office/drawing/2014/main" id="{0BBBB8A2-D8C3-08A0-AF2E-DCA3FC6D3A1C}"/>
              </a:ext>
            </a:extLst>
          </p:cNvPr>
          <p:cNvSpPr/>
          <p:nvPr/>
        </p:nvSpPr>
        <p:spPr>
          <a:xfrm>
            <a:off x="384173" y="5214064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174" name="Conector recto 7173">
            <a:extLst>
              <a:ext uri="{FF2B5EF4-FFF2-40B4-BE49-F238E27FC236}">
                <a16:creationId xmlns:a16="http://schemas.microsoft.com/office/drawing/2014/main" id="{90D62C7F-A0B6-E367-434E-B6CE1DE9D4FA}"/>
              </a:ext>
            </a:extLst>
          </p:cNvPr>
          <p:cNvCxnSpPr>
            <a:cxnSpLocks/>
            <a:stCxn id="28" idx="6"/>
          </p:cNvCxnSpPr>
          <p:nvPr/>
        </p:nvCxnSpPr>
        <p:spPr>
          <a:xfrm>
            <a:off x="7288865" y="3914775"/>
            <a:ext cx="4531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8" name="Conector recto 7177">
            <a:extLst>
              <a:ext uri="{FF2B5EF4-FFF2-40B4-BE49-F238E27FC236}">
                <a16:creationId xmlns:a16="http://schemas.microsoft.com/office/drawing/2014/main" id="{27C4BE7C-9D90-F6C4-BFC6-FEEEC1B0C3DE}"/>
              </a:ext>
            </a:extLst>
          </p:cNvPr>
          <p:cNvCxnSpPr>
            <a:cxnSpLocks/>
            <a:endCxn id="28" idx="4"/>
          </p:cNvCxnSpPr>
          <p:nvPr/>
        </p:nvCxnSpPr>
        <p:spPr>
          <a:xfrm flipH="1" flipV="1">
            <a:off x="6102348" y="5101292"/>
            <a:ext cx="1" cy="120743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5" name="Rectángulo 7184">
            <a:extLst>
              <a:ext uri="{FF2B5EF4-FFF2-40B4-BE49-F238E27FC236}">
                <a16:creationId xmlns:a16="http://schemas.microsoft.com/office/drawing/2014/main" id="{0838B425-7711-8543-9C49-167F56BA2AAF}"/>
              </a:ext>
            </a:extLst>
          </p:cNvPr>
          <p:cNvSpPr/>
          <p:nvPr/>
        </p:nvSpPr>
        <p:spPr>
          <a:xfrm>
            <a:off x="4915832" y="4295241"/>
            <a:ext cx="2373034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629CD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6987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7126631-99B4-D77D-62BE-4FAFD24B0D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7126631-99B4-D77D-62BE-4FAFD24B0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D032777-274E-2693-F121-4C01131F21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0A409BC-A1AA-45B2-3D0C-8E1EFCE4D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</a:t>
            </a:r>
            <a:r>
              <a:rPr lang="en-GB" dirty="0"/>
              <a:t>Table of word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CBC5191-3EC0-85E3-4D72-733A634C3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8" name="Tabla 8">
            <a:extLst>
              <a:ext uri="{FF2B5EF4-FFF2-40B4-BE49-F238E27FC236}">
                <a16:creationId xmlns:a16="http://schemas.microsoft.com/office/drawing/2014/main" id="{F373AA08-2BEB-9197-C29C-AD8A81FB9A50}"/>
              </a:ext>
            </a:extLst>
          </p:cNvPr>
          <p:cNvGraphicFramePr>
            <a:graphicFrameLocks noGrp="1"/>
          </p:cNvGraphicFramePr>
          <p:nvPr/>
        </p:nvGraphicFramePr>
        <p:xfrm>
          <a:off x="384174" y="1520825"/>
          <a:ext cx="11418888" cy="2849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48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292836116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4130511795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328929683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282894858"/>
                    </a:ext>
                  </a:extLst>
                </a:gridCol>
              </a:tblGrid>
              <a:tr h="643255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465004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</a:tbl>
          </a:graphicData>
        </a:graphic>
      </p:graphicFrame>
      <p:sp>
        <p:nvSpPr>
          <p:cNvPr id="9" name="Freeform 984">
            <a:extLst>
              <a:ext uri="{FF2B5EF4-FFF2-40B4-BE49-F238E27FC236}">
                <a16:creationId xmlns:a16="http://schemas.microsoft.com/office/drawing/2014/main" id="{0DF769F3-E475-97F7-2519-73561B1398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96896" y="1573600"/>
            <a:ext cx="374892" cy="49256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3A24278C-D55B-235A-2E99-23B023B54D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7020" y="1573601"/>
            <a:ext cx="492558" cy="49255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F16EF58C-E0E4-2323-E06D-7837E693E4C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29298" y="1573601"/>
            <a:ext cx="492558" cy="49255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CC519C13-D24A-5DE3-FAEF-74D495793F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24032" y="1573601"/>
            <a:ext cx="492558" cy="49255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E30A6790-CB0A-D095-82DD-2ACB261F09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33202" y="1573601"/>
            <a:ext cx="492558" cy="49255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1358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55521DD-56E9-E69B-CEE1-1550C520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55521DD-56E9-E69B-CEE1-1550C520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7B95EA3-EFD4-3BA6-806B-D2724B9C8B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D6251F8-8DA4-B9AF-4823-6400CC6D3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— Tabl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36A7942-804F-A72D-6649-1F02141F5A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9DA38D24-8A1B-66B3-5E58-6AD0E7E9B271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2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2263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11892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773BAA9-0CC7-E149-F2A1-F955639AB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773BAA9-0CC7-E149-F2A1-F955639AB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3E03E74-A98F-9118-4C51-264704F8CB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47D7CD4-DA7A-D581-3618-F03F64AD8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— Tabl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F0CE348-8899-A4FC-6A6E-94284F0EA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C7476BDD-0E93-4E80-05EF-5D42E56D35D0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3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4234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3536921837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1177212944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1150827892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3660368562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3356014305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2235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Umbrex</a:t>
            </a:r>
          </a:p>
        </p:txBody>
      </p:sp>
    </p:spTree>
    <p:extLst>
      <p:ext uri="{BB962C8B-B14F-4D97-AF65-F5344CB8AC3E}">
        <p14:creationId xmlns:p14="http://schemas.microsoft.com/office/powerpoint/2010/main" val="384025565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9CFBCD9-33B2-0CCD-CFED-0247CECD1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9CFBCD9-33B2-0CCD-CFED-0247CECD1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88A6E1A8-0F88-A24F-67A1-49CB7F0C297A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7"/>
          <a:ext cx="11449053" cy="4787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579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65008067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32506684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3608528645"/>
                    </a:ext>
                  </a:extLst>
                </a:gridCol>
              </a:tblGrid>
              <a:tr h="531989"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8908759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162441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4916824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1638D2C-178C-25A5-0B78-0C7B6874D3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10F5961-2D54-5F70-4458-A61EE31AA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Features Lis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183A94E-E968-A793-608C-8913F4F44F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" name="Group 786">
            <a:extLst>
              <a:ext uri="{FF2B5EF4-FFF2-40B4-BE49-F238E27FC236}">
                <a16:creationId xmlns:a16="http://schemas.microsoft.com/office/drawing/2014/main" id="{86E474D2-7976-8F61-3069-A868DFF4E8C1}"/>
              </a:ext>
            </a:extLst>
          </p:cNvPr>
          <p:cNvGrpSpPr/>
          <p:nvPr/>
        </p:nvGrpSpPr>
        <p:grpSpPr>
          <a:xfrm>
            <a:off x="2681886" y="273723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15" name="Freeform 39">
              <a:extLst>
                <a:ext uri="{FF2B5EF4-FFF2-40B4-BE49-F238E27FC236}">
                  <a16:creationId xmlns:a16="http://schemas.microsoft.com/office/drawing/2014/main" id="{660F8E14-BEF9-B1DC-993D-D6FCD4BCC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44">
              <a:extLst>
                <a:ext uri="{FF2B5EF4-FFF2-40B4-BE49-F238E27FC236}">
                  <a16:creationId xmlns:a16="http://schemas.microsoft.com/office/drawing/2014/main" id="{AC177CBC-2A53-9DD9-1A34-B5568AF0D8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" name="Group 786">
            <a:extLst>
              <a:ext uri="{FF2B5EF4-FFF2-40B4-BE49-F238E27FC236}">
                <a16:creationId xmlns:a16="http://schemas.microsoft.com/office/drawing/2014/main" id="{E591CFA2-718B-53D9-E252-DC42E9C30D8C}"/>
              </a:ext>
            </a:extLst>
          </p:cNvPr>
          <p:cNvGrpSpPr/>
          <p:nvPr/>
        </p:nvGrpSpPr>
        <p:grpSpPr>
          <a:xfrm>
            <a:off x="4327806" y="273723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51792C75-76B5-D057-94C6-BA6675351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FB2A9ED6-F76A-F128-5C3E-BC28ED5FF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" name="Group 786">
            <a:extLst>
              <a:ext uri="{FF2B5EF4-FFF2-40B4-BE49-F238E27FC236}">
                <a16:creationId xmlns:a16="http://schemas.microsoft.com/office/drawing/2014/main" id="{C6B2708B-79E3-6029-B665-2B6ECE67B408}"/>
              </a:ext>
            </a:extLst>
          </p:cNvPr>
          <p:cNvGrpSpPr/>
          <p:nvPr/>
        </p:nvGrpSpPr>
        <p:grpSpPr>
          <a:xfrm>
            <a:off x="5978843" y="325824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C3D17A57-934F-450A-9326-985C88398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44">
              <a:extLst>
                <a:ext uri="{FF2B5EF4-FFF2-40B4-BE49-F238E27FC236}">
                  <a16:creationId xmlns:a16="http://schemas.microsoft.com/office/drawing/2014/main" id="{DDF7DAF3-CC48-99A1-E538-883F4748B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3" name="Group 786">
            <a:extLst>
              <a:ext uri="{FF2B5EF4-FFF2-40B4-BE49-F238E27FC236}">
                <a16:creationId xmlns:a16="http://schemas.microsoft.com/office/drawing/2014/main" id="{8A67BEB7-BE7A-50BF-8445-37E0782B6B95}"/>
              </a:ext>
            </a:extLst>
          </p:cNvPr>
          <p:cNvGrpSpPr/>
          <p:nvPr/>
        </p:nvGrpSpPr>
        <p:grpSpPr>
          <a:xfrm>
            <a:off x="7624763" y="325824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24" name="Freeform 39">
              <a:extLst>
                <a:ext uri="{FF2B5EF4-FFF2-40B4-BE49-F238E27FC236}">
                  <a16:creationId xmlns:a16="http://schemas.microsoft.com/office/drawing/2014/main" id="{1B883328-F4B5-A3E4-506D-9D00DCAE0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44">
              <a:extLst>
                <a:ext uri="{FF2B5EF4-FFF2-40B4-BE49-F238E27FC236}">
                  <a16:creationId xmlns:a16="http://schemas.microsoft.com/office/drawing/2014/main" id="{079AC9E7-E6AF-C5AA-1E31-B029F9B1EC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6" name="Group 786">
            <a:extLst>
              <a:ext uri="{FF2B5EF4-FFF2-40B4-BE49-F238E27FC236}">
                <a16:creationId xmlns:a16="http://schemas.microsoft.com/office/drawing/2014/main" id="{424B83C4-2FA7-BC14-F3BB-398110CD4F4B}"/>
              </a:ext>
            </a:extLst>
          </p:cNvPr>
          <p:cNvGrpSpPr/>
          <p:nvPr/>
        </p:nvGrpSpPr>
        <p:grpSpPr>
          <a:xfrm>
            <a:off x="5978843" y="378402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55234C15-D64C-9888-CC45-5E234B487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44">
              <a:extLst>
                <a:ext uri="{FF2B5EF4-FFF2-40B4-BE49-F238E27FC236}">
                  <a16:creationId xmlns:a16="http://schemas.microsoft.com/office/drawing/2014/main" id="{E0452C4E-733D-CE92-E37A-6919BA954C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9" name="Group 786">
            <a:extLst>
              <a:ext uri="{FF2B5EF4-FFF2-40B4-BE49-F238E27FC236}">
                <a16:creationId xmlns:a16="http://schemas.microsoft.com/office/drawing/2014/main" id="{F62F6A2D-8A07-8DBC-F2AF-EDF67691C540}"/>
              </a:ext>
            </a:extLst>
          </p:cNvPr>
          <p:cNvGrpSpPr/>
          <p:nvPr/>
        </p:nvGrpSpPr>
        <p:grpSpPr>
          <a:xfrm>
            <a:off x="7624763" y="378402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30" name="Freeform 39">
              <a:extLst>
                <a:ext uri="{FF2B5EF4-FFF2-40B4-BE49-F238E27FC236}">
                  <a16:creationId xmlns:a16="http://schemas.microsoft.com/office/drawing/2014/main" id="{02F23606-C835-46C5-EAA6-C9E762A73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B6F366F9-68CC-4733-A1C4-235E0B06B5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0720" name="Group 786">
            <a:extLst>
              <a:ext uri="{FF2B5EF4-FFF2-40B4-BE49-F238E27FC236}">
                <a16:creationId xmlns:a16="http://schemas.microsoft.com/office/drawing/2014/main" id="{8151C523-90F6-9461-0643-BFE3C801648E}"/>
              </a:ext>
            </a:extLst>
          </p:cNvPr>
          <p:cNvGrpSpPr/>
          <p:nvPr/>
        </p:nvGrpSpPr>
        <p:grpSpPr>
          <a:xfrm>
            <a:off x="4332360" y="432028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30721" name="Freeform 39">
              <a:extLst>
                <a:ext uri="{FF2B5EF4-FFF2-40B4-BE49-F238E27FC236}">
                  <a16:creationId xmlns:a16="http://schemas.microsoft.com/office/drawing/2014/main" id="{34CDFA21-6AD5-E2E0-CF3C-7544E6C3A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23" name="Freeform 44">
              <a:extLst>
                <a:ext uri="{FF2B5EF4-FFF2-40B4-BE49-F238E27FC236}">
                  <a16:creationId xmlns:a16="http://schemas.microsoft.com/office/drawing/2014/main" id="{DA9BBC5D-F50E-A52B-3C16-D7E604458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0724" name="Group 786">
            <a:extLst>
              <a:ext uri="{FF2B5EF4-FFF2-40B4-BE49-F238E27FC236}">
                <a16:creationId xmlns:a16="http://schemas.microsoft.com/office/drawing/2014/main" id="{83A36A6C-1B94-6C0F-C3A3-4DDBD63A41D6}"/>
              </a:ext>
            </a:extLst>
          </p:cNvPr>
          <p:cNvGrpSpPr/>
          <p:nvPr/>
        </p:nvGrpSpPr>
        <p:grpSpPr>
          <a:xfrm>
            <a:off x="5978280" y="432028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30725" name="Freeform 39">
              <a:extLst>
                <a:ext uri="{FF2B5EF4-FFF2-40B4-BE49-F238E27FC236}">
                  <a16:creationId xmlns:a16="http://schemas.microsoft.com/office/drawing/2014/main" id="{A3D38D16-9A1E-F95B-BCE2-A62B42E36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26" name="Freeform 44">
              <a:extLst>
                <a:ext uri="{FF2B5EF4-FFF2-40B4-BE49-F238E27FC236}">
                  <a16:creationId xmlns:a16="http://schemas.microsoft.com/office/drawing/2014/main" id="{41659C16-463C-3A74-A48D-0ED3B0CAE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91305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B0680-63DA-4715-8A34-C03DE961A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B0680-63DA-4715-8A34-C03DE961A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9D0511-2603-4209-BC1B-C3C2161E7A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BB3784-BB39-466B-B93E-37AB2DB82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A — Quo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9690D-0E67-4B40-8797-EC2FDE6D2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69E0F97-2582-4B0F-9897-4479541E4B4D}"/>
              </a:ext>
            </a:extLst>
          </p:cNvPr>
          <p:cNvSpPr/>
          <p:nvPr/>
        </p:nvSpPr>
        <p:spPr>
          <a:xfrm rot="10800000">
            <a:off x="3044577" y="1520825"/>
            <a:ext cx="6004709" cy="4402051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5693E40-0041-4210-B299-F72ECF24D132}"/>
              </a:ext>
            </a:extLst>
          </p:cNvPr>
          <p:cNvSpPr/>
          <p:nvPr/>
        </p:nvSpPr>
        <p:spPr>
          <a:xfrm>
            <a:off x="2478067" y="1702098"/>
            <a:ext cx="906334" cy="785107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A2BC584-5C92-437B-9AEE-9A3FD0929486}"/>
              </a:ext>
            </a:extLst>
          </p:cNvPr>
          <p:cNvSpPr/>
          <p:nvPr/>
        </p:nvSpPr>
        <p:spPr>
          <a:xfrm flipH="1" flipV="1">
            <a:off x="8807599" y="4165145"/>
            <a:ext cx="906334" cy="785107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2B2DFE3-B188-4437-825C-D95B3A851CFC}"/>
              </a:ext>
            </a:extLst>
          </p:cNvPr>
          <p:cNvSpPr txBox="1">
            <a:spLocks/>
          </p:cNvSpPr>
          <p:nvPr/>
        </p:nvSpPr>
        <p:spPr>
          <a:xfrm>
            <a:off x="3514441" y="1916068"/>
            <a:ext cx="5064982" cy="269218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2C2A4B-A226-4287-874F-14874A3FE7BA}"/>
              </a:ext>
            </a:extLst>
          </p:cNvPr>
          <p:cNvSpPr txBox="1"/>
          <p:nvPr/>
        </p:nvSpPr>
        <p:spPr>
          <a:xfrm>
            <a:off x="5252720" y="6095360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33151761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B0680-63DA-4715-8A34-C03DE961A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B0680-63DA-4715-8A34-C03DE961A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9D0511-2603-4209-BC1B-C3C2161E7A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BB3784-BB39-466B-B93E-37AB2DB82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B — Quo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9690D-0E67-4B40-8797-EC2FDE6D2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B8D66DC-0385-4E74-B55A-D538010D06E0}"/>
              </a:ext>
            </a:extLst>
          </p:cNvPr>
          <p:cNvSpPr/>
          <p:nvPr/>
        </p:nvSpPr>
        <p:spPr>
          <a:xfrm rot="10800000" flipH="1">
            <a:off x="6429151" y="3258936"/>
            <a:ext cx="5144644" cy="2839172"/>
          </a:xfrm>
          <a:custGeom>
            <a:avLst/>
            <a:gdLst>
              <a:gd name="connsiteX0" fmla="*/ 5653088 w 5653088"/>
              <a:gd name="connsiteY0" fmla="*/ 3119767 h 3119767"/>
              <a:gd name="connsiteX1" fmla="*/ 0 w 5653088"/>
              <a:gd name="connsiteY1" fmla="*/ 3119767 h 3119767"/>
              <a:gd name="connsiteX2" fmla="*/ 0 w 5653088"/>
              <a:gd name="connsiteY2" fmla="*/ 311276 h 3119767"/>
              <a:gd name="connsiteX3" fmla="*/ 2630489 w 5653088"/>
              <a:gd name="connsiteY3" fmla="*/ 311276 h 3119767"/>
              <a:gd name="connsiteX4" fmla="*/ 2630489 w 5653088"/>
              <a:gd name="connsiteY4" fmla="*/ 0 h 3119767"/>
              <a:gd name="connsiteX5" fmla="*/ 2991569 w 5653088"/>
              <a:gd name="connsiteY5" fmla="*/ 311276 h 3119767"/>
              <a:gd name="connsiteX6" fmla="*/ 5653088 w 5653088"/>
              <a:gd name="connsiteY6" fmla="*/ 311276 h 311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3119767">
                <a:moveTo>
                  <a:pt x="5653088" y="3119767"/>
                </a:moveTo>
                <a:lnTo>
                  <a:pt x="0" y="3119767"/>
                </a:lnTo>
                <a:lnTo>
                  <a:pt x="0" y="311276"/>
                </a:lnTo>
                <a:lnTo>
                  <a:pt x="2630489" y="311276"/>
                </a:lnTo>
                <a:lnTo>
                  <a:pt x="2630489" y="0"/>
                </a:lnTo>
                <a:lnTo>
                  <a:pt x="2991569" y="311276"/>
                </a:lnTo>
                <a:lnTo>
                  <a:pt x="5653088" y="311276"/>
                </a:ln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DACFE6C-A46A-4F0A-815A-D66865D5BB44}"/>
              </a:ext>
            </a:extLst>
          </p:cNvPr>
          <p:cNvSpPr/>
          <p:nvPr/>
        </p:nvSpPr>
        <p:spPr>
          <a:xfrm rot="10800000">
            <a:off x="596826" y="1740836"/>
            <a:ext cx="5144644" cy="2839172"/>
          </a:xfrm>
          <a:custGeom>
            <a:avLst/>
            <a:gdLst>
              <a:gd name="connsiteX0" fmla="*/ 5653088 w 5653088"/>
              <a:gd name="connsiteY0" fmla="*/ 3119767 h 3119767"/>
              <a:gd name="connsiteX1" fmla="*/ 0 w 5653088"/>
              <a:gd name="connsiteY1" fmla="*/ 3119767 h 3119767"/>
              <a:gd name="connsiteX2" fmla="*/ 0 w 5653088"/>
              <a:gd name="connsiteY2" fmla="*/ 311276 h 3119767"/>
              <a:gd name="connsiteX3" fmla="*/ 2630489 w 5653088"/>
              <a:gd name="connsiteY3" fmla="*/ 311276 h 3119767"/>
              <a:gd name="connsiteX4" fmla="*/ 2630489 w 5653088"/>
              <a:gd name="connsiteY4" fmla="*/ 0 h 3119767"/>
              <a:gd name="connsiteX5" fmla="*/ 2991569 w 5653088"/>
              <a:gd name="connsiteY5" fmla="*/ 311276 h 3119767"/>
              <a:gd name="connsiteX6" fmla="*/ 5653088 w 5653088"/>
              <a:gd name="connsiteY6" fmla="*/ 311276 h 311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3119767">
                <a:moveTo>
                  <a:pt x="5653088" y="3119767"/>
                </a:moveTo>
                <a:lnTo>
                  <a:pt x="0" y="3119767"/>
                </a:lnTo>
                <a:lnTo>
                  <a:pt x="0" y="311276"/>
                </a:lnTo>
                <a:lnTo>
                  <a:pt x="2630489" y="311276"/>
                </a:lnTo>
                <a:lnTo>
                  <a:pt x="2630489" y="0"/>
                </a:lnTo>
                <a:lnTo>
                  <a:pt x="2991569" y="311276"/>
                </a:lnTo>
                <a:lnTo>
                  <a:pt x="5653088" y="311276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EFD4FDC-CE21-4220-855E-66D48C1FB1CC}"/>
              </a:ext>
            </a:extLst>
          </p:cNvPr>
          <p:cNvSpPr txBox="1">
            <a:spLocks/>
          </p:cNvSpPr>
          <p:nvPr/>
        </p:nvSpPr>
        <p:spPr>
          <a:xfrm>
            <a:off x="743539" y="2001450"/>
            <a:ext cx="4851216" cy="1297478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44060C5-224F-4D2A-B837-186C4F5A2B94}"/>
              </a:ext>
            </a:extLst>
          </p:cNvPr>
          <p:cNvSpPr txBox="1">
            <a:spLocks/>
          </p:cNvSpPr>
          <p:nvPr/>
        </p:nvSpPr>
        <p:spPr>
          <a:xfrm>
            <a:off x="6575866" y="3548107"/>
            <a:ext cx="4851216" cy="1297478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29CD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6B703F3-3665-4B5D-913D-8F215D8F79A4}"/>
              </a:ext>
            </a:extLst>
          </p:cNvPr>
          <p:cNvSpPr/>
          <p:nvPr/>
        </p:nvSpPr>
        <p:spPr>
          <a:xfrm>
            <a:off x="206652" y="1918347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5A3B800-B528-4BF9-841A-660BA08EBEB0}"/>
              </a:ext>
            </a:extLst>
          </p:cNvPr>
          <p:cNvSpPr/>
          <p:nvPr/>
        </p:nvSpPr>
        <p:spPr>
          <a:xfrm flipH="1" flipV="1">
            <a:off x="5326311" y="3541502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6DA427E-5907-4386-A5A3-C9913D059F9A}"/>
              </a:ext>
            </a:extLst>
          </p:cNvPr>
          <p:cNvSpPr/>
          <p:nvPr/>
        </p:nvSpPr>
        <p:spPr>
          <a:xfrm>
            <a:off x="6038979" y="3367292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37F23ED-3816-4AB2-9533-7E0F374C4F66}"/>
              </a:ext>
            </a:extLst>
          </p:cNvPr>
          <p:cNvSpPr/>
          <p:nvPr/>
        </p:nvSpPr>
        <p:spPr>
          <a:xfrm flipH="1" flipV="1">
            <a:off x="11158638" y="4990447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40FFF5F-205A-4228-9621-E4DC3FDC1D20}"/>
              </a:ext>
            </a:extLst>
          </p:cNvPr>
          <p:cNvSpPr txBox="1"/>
          <p:nvPr/>
        </p:nvSpPr>
        <p:spPr>
          <a:xfrm>
            <a:off x="3367843" y="4667228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10423C-FDC3-4A22-A976-CC582303266F}"/>
              </a:ext>
            </a:extLst>
          </p:cNvPr>
          <p:cNvSpPr txBox="1"/>
          <p:nvPr/>
        </p:nvSpPr>
        <p:spPr>
          <a:xfrm>
            <a:off x="7081233" y="6098109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7250136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62036B-7CAC-45C0-ABED-3B7684FFEA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62036B-7CAC-45C0-ABED-3B7684FFE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5653AA-345D-459B-B941-6232F4C11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4FE128-5B2A-4F9D-A0F9-5C54A04AE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C — Quote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2515F6-3F6A-4F33-9C27-510907842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FAD990-F3FB-4D49-A6F8-49D663810E54}"/>
              </a:ext>
            </a:extLst>
          </p:cNvPr>
          <p:cNvSpPr/>
          <p:nvPr/>
        </p:nvSpPr>
        <p:spPr>
          <a:xfrm rot="10800000">
            <a:off x="4342160" y="1520825"/>
            <a:ext cx="3507681" cy="4624475"/>
          </a:xfrm>
          <a:custGeom>
            <a:avLst/>
            <a:gdLst>
              <a:gd name="connsiteX0" fmla="*/ 3518012 w 3518012"/>
              <a:gd name="connsiteY0" fmla="*/ 4638094 h 4638094"/>
              <a:gd name="connsiteX1" fmla="*/ 0 w 3518012"/>
              <a:gd name="connsiteY1" fmla="*/ 4638094 h 4638094"/>
              <a:gd name="connsiteX2" fmla="*/ 0 w 3518012"/>
              <a:gd name="connsiteY2" fmla="*/ 384274 h 4638094"/>
              <a:gd name="connsiteX3" fmla="*/ 1536127 w 3518012"/>
              <a:gd name="connsiteY3" fmla="*/ 384274 h 4638094"/>
              <a:gd name="connsiteX4" fmla="*/ 1759006 w 3518012"/>
              <a:gd name="connsiteY4" fmla="*/ 0 h 4638094"/>
              <a:gd name="connsiteX5" fmla="*/ 1981885 w 3518012"/>
              <a:gd name="connsiteY5" fmla="*/ 384274 h 4638094"/>
              <a:gd name="connsiteX6" fmla="*/ 3518012 w 3518012"/>
              <a:gd name="connsiteY6" fmla="*/ 384274 h 463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8012" h="4638094">
                <a:moveTo>
                  <a:pt x="3518012" y="4638094"/>
                </a:moveTo>
                <a:lnTo>
                  <a:pt x="0" y="4638094"/>
                </a:lnTo>
                <a:lnTo>
                  <a:pt x="0" y="384274"/>
                </a:lnTo>
                <a:lnTo>
                  <a:pt x="1536127" y="384274"/>
                </a:lnTo>
                <a:lnTo>
                  <a:pt x="1759006" y="0"/>
                </a:lnTo>
                <a:lnTo>
                  <a:pt x="1981885" y="384274"/>
                </a:lnTo>
                <a:lnTo>
                  <a:pt x="3518012" y="384274"/>
                </a:lnTo>
                <a:close/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2184110-5229-43A8-8ECF-D1441766B5C9}"/>
              </a:ext>
            </a:extLst>
          </p:cNvPr>
          <p:cNvSpPr/>
          <p:nvPr/>
        </p:nvSpPr>
        <p:spPr>
          <a:xfrm>
            <a:off x="4443923" y="1644715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AEF66765-3027-4E82-AE80-5F19C8D1CC0F}"/>
              </a:ext>
            </a:extLst>
          </p:cNvPr>
          <p:cNvSpPr/>
          <p:nvPr/>
        </p:nvSpPr>
        <p:spPr>
          <a:xfrm flipH="1" flipV="1">
            <a:off x="7191730" y="5171279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3FE607F-F773-404F-A61A-00F11C4F83F2}"/>
              </a:ext>
            </a:extLst>
          </p:cNvPr>
          <p:cNvSpPr txBox="1">
            <a:spLocks/>
          </p:cNvSpPr>
          <p:nvPr/>
        </p:nvSpPr>
        <p:spPr>
          <a:xfrm>
            <a:off x="4443923" y="2298927"/>
            <a:ext cx="3277425" cy="266703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12AE269A-32D9-4D1B-A240-F9467DD39A93}"/>
              </a:ext>
            </a:extLst>
          </p:cNvPr>
          <p:cNvSpPr/>
          <p:nvPr/>
        </p:nvSpPr>
        <p:spPr>
          <a:xfrm rot="10800000">
            <a:off x="8312843" y="1520825"/>
            <a:ext cx="3507681" cy="4624475"/>
          </a:xfrm>
          <a:custGeom>
            <a:avLst/>
            <a:gdLst>
              <a:gd name="connsiteX0" fmla="*/ 3518012 w 3518012"/>
              <a:gd name="connsiteY0" fmla="*/ 4638094 h 4638094"/>
              <a:gd name="connsiteX1" fmla="*/ 0 w 3518012"/>
              <a:gd name="connsiteY1" fmla="*/ 4638094 h 4638094"/>
              <a:gd name="connsiteX2" fmla="*/ 0 w 3518012"/>
              <a:gd name="connsiteY2" fmla="*/ 384274 h 4638094"/>
              <a:gd name="connsiteX3" fmla="*/ 1536127 w 3518012"/>
              <a:gd name="connsiteY3" fmla="*/ 384274 h 4638094"/>
              <a:gd name="connsiteX4" fmla="*/ 1759006 w 3518012"/>
              <a:gd name="connsiteY4" fmla="*/ 0 h 4638094"/>
              <a:gd name="connsiteX5" fmla="*/ 1981885 w 3518012"/>
              <a:gd name="connsiteY5" fmla="*/ 384274 h 4638094"/>
              <a:gd name="connsiteX6" fmla="*/ 3518012 w 3518012"/>
              <a:gd name="connsiteY6" fmla="*/ 384274 h 463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8012" h="4638094">
                <a:moveTo>
                  <a:pt x="3518012" y="4638094"/>
                </a:moveTo>
                <a:lnTo>
                  <a:pt x="0" y="4638094"/>
                </a:lnTo>
                <a:lnTo>
                  <a:pt x="0" y="384274"/>
                </a:lnTo>
                <a:lnTo>
                  <a:pt x="1536127" y="384274"/>
                </a:lnTo>
                <a:lnTo>
                  <a:pt x="1759006" y="0"/>
                </a:lnTo>
                <a:lnTo>
                  <a:pt x="1981885" y="384274"/>
                </a:lnTo>
                <a:lnTo>
                  <a:pt x="3518012" y="384274"/>
                </a:lnTo>
                <a:close/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E2CCC84A-D4F4-4892-96ED-89A2DDBD2CAB}"/>
              </a:ext>
            </a:extLst>
          </p:cNvPr>
          <p:cNvSpPr/>
          <p:nvPr/>
        </p:nvSpPr>
        <p:spPr>
          <a:xfrm>
            <a:off x="8414605" y="1644715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4868B59F-10B2-43E2-B781-450FAA7405FF}"/>
              </a:ext>
            </a:extLst>
          </p:cNvPr>
          <p:cNvSpPr/>
          <p:nvPr/>
        </p:nvSpPr>
        <p:spPr>
          <a:xfrm flipH="1" flipV="1">
            <a:off x="11162412" y="5171279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2BEF9AE-5BB3-4062-8327-C747E2AC1D47}"/>
              </a:ext>
            </a:extLst>
          </p:cNvPr>
          <p:cNvSpPr txBox="1">
            <a:spLocks/>
          </p:cNvSpPr>
          <p:nvPr/>
        </p:nvSpPr>
        <p:spPr>
          <a:xfrm>
            <a:off x="8414605" y="2298927"/>
            <a:ext cx="3277425" cy="266703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38428E0-905C-40A9-9A3D-F1DB73AA98E9}"/>
              </a:ext>
            </a:extLst>
          </p:cNvPr>
          <p:cNvSpPr/>
          <p:nvPr/>
        </p:nvSpPr>
        <p:spPr>
          <a:xfrm rot="10800000">
            <a:off x="371476" y="1520825"/>
            <a:ext cx="3507681" cy="4624475"/>
          </a:xfrm>
          <a:custGeom>
            <a:avLst/>
            <a:gdLst>
              <a:gd name="connsiteX0" fmla="*/ 3518012 w 3518012"/>
              <a:gd name="connsiteY0" fmla="*/ 4638094 h 4638094"/>
              <a:gd name="connsiteX1" fmla="*/ 0 w 3518012"/>
              <a:gd name="connsiteY1" fmla="*/ 4638094 h 4638094"/>
              <a:gd name="connsiteX2" fmla="*/ 0 w 3518012"/>
              <a:gd name="connsiteY2" fmla="*/ 384274 h 4638094"/>
              <a:gd name="connsiteX3" fmla="*/ 1536127 w 3518012"/>
              <a:gd name="connsiteY3" fmla="*/ 384274 h 4638094"/>
              <a:gd name="connsiteX4" fmla="*/ 1759006 w 3518012"/>
              <a:gd name="connsiteY4" fmla="*/ 0 h 4638094"/>
              <a:gd name="connsiteX5" fmla="*/ 1981885 w 3518012"/>
              <a:gd name="connsiteY5" fmla="*/ 384274 h 4638094"/>
              <a:gd name="connsiteX6" fmla="*/ 3518012 w 3518012"/>
              <a:gd name="connsiteY6" fmla="*/ 384274 h 463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8012" h="4638094">
                <a:moveTo>
                  <a:pt x="3518012" y="4638094"/>
                </a:moveTo>
                <a:lnTo>
                  <a:pt x="0" y="4638094"/>
                </a:lnTo>
                <a:lnTo>
                  <a:pt x="0" y="384274"/>
                </a:lnTo>
                <a:lnTo>
                  <a:pt x="1536127" y="384274"/>
                </a:lnTo>
                <a:lnTo>
                  <a:pt x="1759006" y="0"/>
                </a:lnTo>
                <a:lnTo>
                  <a:pt x="1981885" y="384274"/>
                </a:lnTo>
                <a:lnTo>
                  <a:pt x="3518012" y="384274"/>
                </a:lnTo>
                <a:close/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F5CE9A19-C633-4B35-BE13-ADA91C6AD52F}"/>
              </a:ext>
            </a:extLst>
          </p:cNvPr>
          <p:cNvSpPr/>
          <p:nvPr/>
        </p:nvSpPr>
        <p:spPr>
          <a:xfrm>
            <a:off x="473238" y="1644715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992A8A0F-FC28-4504-A29A-7175CF9C2FB4}"/>
              </a:ext>
            </a:extLst>
          </p:cNvPr>
          <p:cNvSpPr/>
          <p:nvPr/>
        </p:nvSpPr>
        <p:spPr>
          <a:xfrm flipH="1" flipV="1">
            <a:off x="3221045" y="5171279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0CD3E93F-CA3D-4637-B6FA-9DB6E8A8FFF1}"/>
              </a:ext>
            </a:extLst>
          </p:cNvPr>
          <p:cNvSpPr txBox="1">
            <a:spLocks/>
          </p:cNvSpPr>
          <p:nvPr/>
        </p:nvSpPr>
        <p:spPr>
          <a:xfrm>
            <a:off x="473238" y="2298927"/>
            <a:ext cx="3277425" cy="266703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174D785-E1C3-4AB2-BB18-BB5ADFCAA0C2}"/>
              </a:ext>
            </a:extLst>
          </p:cNvPr>
          <p:cNvSpPr txBox="1"/>
          <p:nvPr/>
        </p:nvSpPr>
        <p:spPr>
          <a:xfrm>
            <a:off x="5252720" y="6186217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D2C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F1148DA-C819-40F4-AD4C-6C2515113246}"/>
              </a:ext>
            </a:extLst>
          </p:cNvPr>
          <p:cNvSpPr txBox="1"/>
          <p:nvPr/>
        </p:nvSpPr>
        <p:spPr>
          <a:xfrm>
            <a:off x="9223403" y="6186217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D2C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1F139C-8F05-431D-8601-C09CF7BAEB7A}"/>
              </a:ext>
            </a:extLst>
          </p:cNvPr>
          <p:cNvSpPr txBox="1"/>
          <p:nvPr/>
        </p:nvSpPr>
        <p:spPr>
          <a:xfrm>
            <a:off x="1282036" y="6186217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D2C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122403659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62036B-7CAC-45C0-ABED-3B7684FFEA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62036B-7CAC-45C0-ABED-3B7684FFE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5653AA-345D-459B-B941-6232F4C11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4FE128-5B2A-4F9D-A0F9-5C54A04AE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D — Quote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2515F6-3F6A-4F33-9C27-510907842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DEBC2D7B-9837-4909-BC6B-091F080A09F0}"/>
              </a:ext>
            </a:extLst>
          </p:cNvPr>
          <p:cNvSpPr txBox="1">
            <a:spLocks/>
          </p:cNvSpPr>
          <p:nvPr/>
        </p:nvSpPr>
        <p:spPr>
          <a:xfrm>
            <a:off x="6509003" y="438599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02553E5-83D4-41C5-93C7-FBA7DB6C65F1}"/>
              </a:ext>
            </a:extLst>
          </p:cNvPr>
          <p:cNvGrpSpPr/>
          <p:nvPr/>
        </p:nvGrpSpPr>
        <p:grpSpPr>
          <a:xfrm>
            <a:off x="6509004" y="4094771"/>
            <a:ext cx="5225493" cy="1742163"/>
            <a:chOff x="461579" y="1648208"/>
            <a:chExt cx="5472881" cy="1824641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6F67CEF-9546-4F42-A562-0A3146C21F53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B346DF3-4CB4-408B-92B3-5F0E3951B3A6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26F9337C-5AB9-42C8-91C8-3CC5ED462155}"/>
              </a:ext>
            </a:extLst>
          </p:cNvPr>
          <p:cNvSpPr/>
          <p:nvPr/>
        </p:nvSpPr>
        <p:spPr>
          <a:xfrm rot="10800000">
            <a:off x="6407814" y="3987747"/>
            <a:ext cx="5397554" cy="2250239"/>
          </a:xfrm>
          <a:custGeom>
            <a:avLst/>
            <a:gdLst>
              <a:gd name="connsiteX0" fmla="*/ 5653088 w 5653088"/>
              <a:gd name="connsiteY0" fmla="*/ 2356771 h 2356771"/>
              <a:gd name="connsiteX1" fmla="*/ 0 w 5653088"/>
              <a:gd name="connsiteY1" fmla="*/ 2356771 h 2356771"/>
              <a:gd name="connsiteX2" fmla="*/ 0 w 5653088"/>
              <a:gd name="connsiteY2" fmla="*/ 292669 h 2356771"/>
              <a:gd name="connsiteX3" fmla="*/ 2626518 w 5653088"/>
              <a:gd name="connsiteY3" fmla="*/ 292669 h 2356771"/>
              <a:gd name="connsiteX4" fmla="*/ 2626518 w 5653088"/>
              <a:gd name="connsiteY4" fmla="*/ 0 h 2356771"/>
              <a:gd name="connsiteX5" fmla="*/ 2990933 w 5653088"/>
              <a:gd name="connsiteY5" fmla="*/ 292669 h 2356771"/>
              <a:gd name="connsiteX6" fmla="*/ 5653088 w 5653088"/>
              <a:gd name="connsiteY6" fmla="*/ 292669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5653088" y="2356771"/>
                </a:moveTo>
                <a:lnTo>
                  <a:pt x="0" y="2356771"/>
                </a:lnTo>
                <a:lnTo>
                  <a:pt x="0" y="292669"/>
                </a:lnTo>
                <a:lnTo>
                  <a:pt x="2626518" y="292669"/>
                </a:lnTo>
                <a:lnTo>
                  <a:pt x="2626518" y="0"/>
                </a:lnTo>
                <a:lnTo>
                  <a:pt x="2990933" y="292669"/>
                </a:lnTo>
                <a:lnTo>
                  <a:pt x="5653088" y="292669"/>
                </a:ln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7A93544E-4DAC-4D80-A8DF-FD4863FA9CB9}"/>
              </a:ext>
            </a:extLst>
          </p:cNvPr>
          <p:cNvSpPr/>
          <p:nvPr/>
        </p:nvSpPr>
        <p:spPr>
          <a:xfrm rot="10800000" flipH="1">
            <a:off x="6422973" y="1520828"/>
            <a:ext cx="5397554" cy="2250239"/>
          </a:xfrm>
          <a:custGeom>
            <a:avLst/>
            <a:gdLst>
              <a:gd name="connsiteX0" fmla="*/ 0 w 5653088"/>
              <a:gd name="connsiteY0" fmla="*/ 2356771 h 2356771"/>
              <a:gd name="connsiteX1" fmla="*/ 5653088 w 5653088"/>
              <a:gd name="connsiteY1" fmla="*/ 2356771 h 2356771"/>
              <a:gd name="connsiteX2" fmla="*/ 5653088 w 5653088"/>
              <a:gd name="connsiteY2" fmla="*/ 292669 h 2356771"/>
              <a:gd name="connsiteX3" fmla="*/ 2990933 w 5653088"/>
              <a:gd name="connsiteY3" fmla="*/ 292669 h 2356771"/>
              <a:gd name="connsiteX4" fmla="*/ 2626518 w 5653088"/>
              <a:gd name="connsiteY4" fmla="*/ 0 h 2356771"/>
              <a:gd name="connsiteX5" fmla="*/ 2626518 w 5653088"/>
              <a:gd name="connsiteY5" fmla="*/ 292669 h 2356771"/>
              <a:gd name="connsiteX6" fmla="*/ 0 w 5653088"/>
              <a:gd name="connsiteY6" fmla="*/ 292669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0" y="2356771"/>
                </a:moveTo>
                <a:lnTo>
                  <a:pt x="5653088" y="2356771"/>
                </a:lnTo>
                <a:lnTo>
                  <a:pt x="5653088" y="292669"/>
                </a:lnTo>
                <a:lnTo>
                  <a:pt x="2990933" y="292669"/>
                </a:lnTo>
                <a:lnTo>
                  <a:pt x="2626518" y="0"/>
                </a:lnTo>
                <a:lnTo>
                  <a:pt x="2626518" y="292669"/>
                </a:lnTo>
                <a:lnTo>
                  <a:pt x="0" y="292669"/>
                </a:lnTo>
                <a:close/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669306B5-1FD7-4925-8E0E-5D972CD89E48}"/>
              </a:ext>
            </a:extLst>
          </p:cNvPr>
          <p:cNvSpPr/>
          <p:nvPr/>
        </p:nvSpPr>
        <p:spPr>
          <a:xfrm rot="10800000" flipH="1">
            <a:off x="371475" y="3987747"/>
            <a:ext cx="5397554" cy="2250239"/>
          </a:xfrm>
          <a:custGeom>
            <a:avLst/>
            <a:gdLst>
              <a:gd name="connsiteX0" fmla="*/ 0 w 5653088"/>
              <a:gd name="connsiteY0" fmla="*/ 2356771 h 2356771"/>
              <a:gd name="connsiteX1" fmla="*/ 5653088 w 5653088"/>
              <a:gd name="connsiteY1" fmla="*/ 2356771 h 2356771"/>
              <a:gd name="connsiteX2" fmla="*/ 5653088 w 5653088"/>
              <a:gd name="connsiteY2" fmla="*/ 292669 h 2356771"/>
              <a:gd name="connsiteX3" fmla="*/ 2990933 w 5653088"/>
              <a:gd name="connsiteY3" fmla="*/ 292669 h 2356771"/>
              <a:gd name="connsiteX4" fmla="*/ 2626518 w 5653088"/>
              <a:gd name="connsiteY4" fmla="*/ 0 h 2356771"/>
              <a:gd name="connsiteX5" fmla="*/ 2626518 w 5653088"/>
              <a:gd name="connsiteY5" fmla="*/ 292669 h 2356771"/>
              <a:gd name="connsiteX6" fmla="*/ 0 w 5653088"/>
              <a:gd name="connsiteY6" fmla="*/ 292669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0" y="2356771"/>
                </a:moveTo>
                <a:lnTo>
                  <a:pt x="5653088" y="2356771"/>
                </a:lnTo>
                <a:lnTo>
                  <a:pt x="5653088" y="292669"/>
                </a:lnTo>
                <a:lnTo>
                  <a:pt x="2990933" y="292669"/>
                </a:lnTo>
                <a:lnTo>
                  <a:pt x="2626518" y="0"/>
                </a:lnTo>
                <a:lnTo>
                  <a:pt x="2626518" y="292669"/>
                </a:lnTo>
                <a:lnTo>
                  <a:pt x="0" y="292669"/>
                </a:lnTo>
                <a:close/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B373CFC3-88A7-45C3-B53D-885350CD0CAB}"/>
              </a:ext>
            </a:extLst>
          </p:cNvPr>
          <p:cNvSpPr/>
          <p:nvPr/>
        </p:nvSpPr>
        <p:spPr>
          <a:xfrm>
            <a:off x="371475" y="1520827"/>
            <a:ext cx="5397554" cy="2250239"/>
          </a:xfrm>
          <a:custGeom>
            <a:avLst/>
            <a:gdLst>
              <a:gd name="connsiteX0" fmla="*/ 0 w 5653088"/>
              <a:gd name="connsiteY0" fmla="*/ 0 h 2356771"/>
              <a:gd name="connsiteX1" fmla="*/ 5653088 w 5653088"/>
              <a:gd name="connsiteY1" fmla="*/ 0 h 2356771"/>
              <a:gd name="connsiteX2" fmla="*/ 5653088 w 5653088"/>
              <a:gd name="connsiteY2" fmla="*/ 2064102 h 2356771"/>
              <a:gd name="connsiteX3" fmla="*/ 3026570 w 5653088"/>
              <a:gd name="connsiteY3" fmla="*/ 2064102 h 2356771"/>
              <a:gd name="connsiteX4" fmla="*/ 3026570 w 5653088"/>
              <a:gd name="connsiteY4" fmla="*/ 2356771 h 2356771"/>
              <a:gd name="connsiteX5" fmla="*/ 2662155 w 5653088"/>
              <a:gd name="connsiteY5" fmla="*/ 2064102 h 2356771"/>
              <a:gd name="connsiteX6" fmla="*/ 0 w 5653088"/>
              <a:gd name="connsiteY6" fmla="*/ 2064102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0" y="0"/>
                </a:moveTo>
                <a:lnTo>
                  <a:pt x="5653088" y="0"/>
                </a:lnTo>
                <a:lnTo>
                  <a:pt x="5653088" y="2064102"/>
                </a:lnTo>
                <a:lnTo>
                  <a:pt x="3026570" y="2064102"/>
                </a:lnTo>
                <a:lnTo>
                  <a:pt x="3026570" y="2356771"/>
                </a:lnTo>
                <a:lnTo>
                  <a:pt x="2662155" y="2064102"/>
                </a:lnTo>
                <a:lnTo>
                  <a:pt x="0" y="2064102"/>
                </a:ln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65FE0EB-6E64-44FC-BED1-C8258B14B116}"/>
              </a:ext>
            </a:extLst>
          </p:cNvPr>
          <p:cNvGrpSpPr/>
          <p:nvPr/>
        </p:nvGrpSpPr>
        <p:grpSpPr>
          <a:xfrm>
            <a:off x="457506" y="4094771"/>
            <a:ext cx="5225493" cy="1742163"/>
            <a:chOff x="461579" y="1648208"/>
            <a:chExt cx="5472881" cy="1824641"/>
          </a:xfrm>
          <a:solidFill>
            <a:schemeClr val="accent4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797C079-9D14-47D0-89D0-C0B7EE1D9D75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7F8A197-DFF8-47DB-98D6-A190BA0C28D3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CA42439-BD00-4FCD-A8DE-F1B0E0E1C652}"/>
              </a:ext>
            </a:extLst>
          </p:cNvPr>
          <p:cNvGrpSpPr/>
          <p:nvPr/>
        </p:nvGrpSpPr>
        <p:grpSpPr>
          <a:xfrm>
            <a:off x="6509004" y="1642451"/>
            <a:ext cx="5225493" cy="1742163"/>
            <a:chOff x="461579" y="1648208"/>
            <a:chExt cx="5472881" cy="1824641"/>
          </a:xfrm>
          <a:solidFill>
            <a:schemeClr val="accent4"/>
          </a:solidFill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171FED77-17A6-4361-BE69-08C4EFC735B9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4102524-2753-420E-B8C5-662244E91DEC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B3A6EF7-E08A-434C-BF5F-1E43BC5682A7}"/>
              </a:ext>
            </a:extLst>
          </p:cNvPr>
          <p:cNvGrpSpPr/>
          <p:nvPr/>
        </p:nvGrpSpPr>
        <p:grpSpPr>
          <a:xfrm>
            <a:off x="457506" y="1642451"/>
            <a:ext cx="5225493" cy="1742163"/>
            <a:chOff x="461579" y="1648208"/>
            <a:chExt cx="5472881" cy="1824641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F1ADE2A-920A-4D4D-A3E6-72063DE5D376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8E0A04C-2984-4655-80CE-AE5A43A1ED5B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8A863416-A3AA-49BC-837F-063F6A045EC5}"/>
              </a:ext>
            </a:extLst>
          </p:cNvPr>
          <p:cNvSpPr txBox="1">
            <a:spLocks/>
          </p:cNvSpPr>
          <p:nvPr/>
        </p:nvSpPr>
        <p:spPr>
          <a:xfrm>
            <a:off x="457505" y="438599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590E3548-F987-4B35-B5C6-54B90ABEF752}"/>
              </a:ext>
            </a:extLst>
          </p:cNvPr>
          <p:cNvSpPr txBox="1">
            <a:spLocks/>
          </p:cNvSpPr>
          <p:nvPr/>
        </p:nvSpPr>
        <p:spPr>
          <a:xfrm>
            <a:off x="6509003" y="192848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8C74954B-A486-44E0-8925-7D5183B73384}"/>
              </a:ext>
            </a:extLst>
          </p:cNvPr>
          <p:cNvSpPr txBox="1">
            <a:spLocks/>
          </p:cNvSpPr>
          <p:nvPr/>
        </p:nvSpPr>
        <p:spPr>
          <a:xfrm>
            <a:off x="457505" y="192848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0FC0300-0006-49A9-9D39-A5D035D9F8F9}"/>
              </a:ext>
            </a:extLst>
          </p:cNvPr>
          <p:cNvSpPr txBox="1"/>
          <p:nvPr/>
        </p:nvSpPr>
        <p:spPr>
          <a:xfrm>
            <a:off x="966655" y="6108187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5D0DFD7-3626-4119-97B1-03674DCF4CCF}"/>
              </a:ext>
            </a:extLst>
          </p:cNvPr>
          <p:cNvSpPr txBox="1"/>
          <p:nvPr/>
        </p:nvSpPr>
        <p:spPr>
          <a:xfrm>
            <a:off x="9468922" y="6108187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CB21E46-2DE7-4A78-8DE6-2B4B1CDD764B}"/>
              </a:ext>
            </a:extLst>
          </p:cNvPr>
          <p:cNvSpPr txBox="1"/>
          <p:nvPr/>
        </p:nvSpPr>
        <p:spPr>
          <a:xfrm>
            <a:off x="7050842" y="3633734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C05BDB0-5372-4EC4-8555-5DA693844630}"/>
              </a:ext>
            </a:extLst>
          </p:cNvPr>
          <p:cNvSpPr txBox="1"/>
          <p:nvPr/>
        </p:nvSpPr>
        <p:spPr>
          <a:xfrm>
            <a:off x="3367842" y="3633734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21474495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2C96A0-DF6C-4B40-870E-5997C975BD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2C96A0-DF6C-4B40-870E-5997C975B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8882ED-1143-4A16-B0EA-D9CC5E114C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210D-17AA-4273-81AD-556F5AFCB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E — Quo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78A449-453C-4DA6-A990-5CE2BC54BC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08E173F-2623-4B33-B653-2958C3B4B46A}"/>
              </a:ext>
            </a:extLst>
          </p:cNvPr>
          <p:cNvSpPr/>
          <p:nvPr/>
        </p:nvSpPr>
        <p:spPr>
          <a:xfrm rot="10800000">
            <a:off x="651906" y="1520826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88D3830B-D665-4EC1-BAF7-EE71AF7FE8F4}"/>
              </a:ext>
            </a:extLst>
          </p:cNvPr>
          <p:cNvSpPr/>
          <p:nvPr/>
        </p:nvSpPr>
        <p:spPr>
          <a:xfrm>
            <a:off x="384175" y="1606495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320381E2-94DE-41F2-B7FF-12706ADCCC7F}"/>
              </a:ext>
            </a:extLst>
          </p:cNvPr>
          <p:cNvSpPr/>
          <p:nvPr/>
        </p:nvSpPr>
        <p:spPr>
          <a:xfrm flipH="1" flipV="1">
            <a:off x="3375489" y="27705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802E2D78-61A6-4273-9436-34CC75F2B476}"/>
              </a:ext>
            </a:extLst>
          </p:cNvPr>
          <p:cNvSpPr txBox="1">
            <a:spLocks/>
          </p:cNvSpPr>
          <p:nvPr/>
        </p:nvSpPr>
        <p:spPr>
          <a:xfrm>
            <a:off x="873962" y="1707616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D784B6E2-8F97-44C5-8DC9-94CD4776E08B}"/>
              </a:ext>
            </a:extLst>
          </p:cNvPr>
          <p:cNvSpPr/>
          <p:nvPr/>
        </p:nvSpPr>
        <p:spPr>
          <a:xfrm rot="10800000">
            <a:off x="8668612" y="1520826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A36E42A8-448F-410E-A91A-4A8CD61B484E}"/>
              </a:ext>
            </a:extLst>
          </p:cNvPr>
          <p:cNvSpPr/>
          <p:nvPr/>
        </p:nvSpPr>
        <p:spPr>
          <a:xfrm>
            <a:off x="8400881" y="1606495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86795067-06F9-4175-944B-6AC85E085DDB}"/>
              </a:ext>
            </a:extLst>
          </p:cNvPr>
          <p:cNvSpPr/>
          <p:nvPr/>
        </p:nvSpPr>
        <p:spPr>
          <a:xfrm flipH="1" flipV="1">
            <a:off x="11392195" y="27705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B64E5711-608D-4D71-974C-BDF74CE64815}"/>
              </a:ext>
            </a:extLst>
          </p:cNvPr>
          <p:cNvSpPr txBox="1">
            <a:spLocks/>
          </p:cNvSpPr>
          <p:nvPr/>
        </p:nvSpPr>
        <p:spPr>
          <a:xfrm>
            <a:off x="8890668" y="1707616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C073BD8-A0CC-451E-9A2D-F7F94273E37B}"/>
              </a:ext>
            </a:extLst>
          </p:cNvPr>
          <p:cNvSpPr txBox="1"/>
          <p:nvPr/>
        </p:nvSpPr>
        <p:spPr>
          <a:xfrm>
            <a:off x="9294755" y="3662260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5C89E84-1237-4E7F-AECD-9C3DD5AC7462}"/>
              </a:ext>
            </a:extLst>
          </p:cNvPr>
          <p:cNvSpPr txBox="1"/>
          <p:nvPr/>
        </p:nvSpPr>
        <p:spPr>
          <a:xfrm>
            <a:off x="1278049" y="3662260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E98242E5-4A3F-4D20-9493-5DD53E5B402D}"/>
              </a:ext>
            </a:extLst>
          </p:cNvPr>
          <p:cNvSpPr/>
          <p:nvPr/>
        </p:nvSpPr>
        <p:spPr>
          <a:xfrm rot="10800000">
            <a:off x="4653909" y="1520826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7C16F9F4-13C7-4358-AAA8-F4380C0302FC}"/>
              </a:ext>
            </a:extLst>
          </p:cNvPr>
          <p:cNvSpPr/>
          <p:nvPr/>
        </p:nvSpPr>
        <p:spPr>
          <a:xfrm>
            <a:off x="4386178" y="1606495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14C2E2E9-25E5-45DF-904A-67FE08C1714F}"/>
              </a:ext>
            </a:extLst>
          </p:cNvPr>
          <p:cNvSpPr/>
          <p:nvPr/>
        </p:nvSpPr>
        <p:spPr>
          <a:xfrm flipH="1" flipV="1">
            <a:off x="7377492" y="27705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F8C4E777-60D2-4E82-8016-ECE7B8CFBF7A}"/>
              </a:ext>
            </a:extLst>
          </p:cNvPr>
          <p:cNvSpPr txBox="1">
            <a:spLocks/>
          </p:cNvSpPr>
          <p:nvPr/>
        </p:nvSpPr>
        <p:spPr>
          <a:xfrm>
            <a:off x="4875965" y="1707616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1ED4000-BD62-46CB-A1DC-8451D314E0FE}"/>
              </a:ext>
            </a:extLst>
          </p:cNvPr>
          <p:cNvSpPr txBox="1"/>
          <p:nvPr/>
        </p:nvSpPr>
        <p:spPr>
          <a:xfrm>
            <a:off x="5297273" y="3662260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B0ADF16-32E0-4BA7-9996-AADDD9770A52}"/>
              </a:ext>
            </a:extLst>
          </p:cNvPr>
          <p:cNvSpPr/>
          <p:nvPr/>
        </p:nvSpPr>
        <p:spPr>
          <a:xfrm rot="10800000">
            <a:off x="2652908" y="4027153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296949D-575C-4B3C-A43A-B99FAFDAC47E}"/>
              </a:ext>
            </a:extLst>
          </p:cNvPr>
          <p:cNvSpPr/>
          <p:nvPr/>
        </p:nvSpPr>
        <p:spPr>
          <a:xfrm>
            <a:off x="2385177" y="41128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2DD20A9C-1B96-40A0-AB57-D6895D3AD9A0}"/>
              </a:ext>
            </a:extLst>
          </p:cNvPr>
          <p:cNvSpPr/>
          <p:nvPr/>
        </p:nvSpPr>
        <p:spPr>
          <a:xfrm flipH="1" flipV="1">
            <a:off x="5376491" y="5276849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9AE0C4BB-580C-464B-8B5B-DFEDBFFD3CC3}"/>
              </a:ext>
            </a:extLst>
          </p:cNvPr>
          <p:cNvSpPr txBox="1">
            <a:spLocks/>
          </p:cNvSpPr>
          <p:nvPr/>
        </p:nvSpPr>
        <p:spPr>
          <a:xfrm>
            <a:off x="2874964" y="4213943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CAE8830-14B7-4AAC-B000-937FE5546B8B}"/>
              </a:ext>
            </a:extLst>
          </p:cNvPr>
          <p:cNvSpPr txBox="1"/>
          <p:nvPr/>
        </p:nvSpPr>
        <p:spPr>
          <a:xfrm>
            <a:off x="3302240" y="6143956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850A0853-5568-42D6-AD33-B8A7F39BB2FB}"/>
              </a:ext>
            </a:extLst>
          </p:cNvPr>
          <p:cNvSpPr/>
          <p:nvPr/>
        </p:nvSpPr>
        <p:spPr>
          <a:xfrm rot="10800000">
            <a:off x="6661261" y="4027153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6CADBB5-C9D9-4B50-828F-0473592BA6CD}"/>
              </a:ext>
            </a:extLst>
          </p:cNvPr>
          <p:cNvSpPr/>
          <p:nvPr/>
        </p:nvSpPr>
        <p:spPr>
          <a:xfrm>
            <a:off x="6393530" y="41128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859FFE26-7F40-4862-BCDE-16C1EE4CED4A}"/>
              </a:ext>
            </a:extLst>
          </p:cNvPr>
          <p:cNvSpPr/>
          <p:nvPr/>
        </p:nvSpPr>
        <p:spPr>
          <a:xfrm flipH="1" flipV="1">
            <a:off x="9384844" y="5276849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B6446AE3-990F-43C4-BC7B-AC1703098B70}"/>
              </a:ext>
            </a:extLst>
          </p:cNvPr>
          <p:cNvSpPr txBox="1">
            <a:spLocks/>
          </p:cNvSpPr>
          <p:nvPr/>
        </p:nvSpPr>
        <p:spPr>
          <a:xfrm>
            <a:off x="6883317" y="4213943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F64348B-8CF6-402E-9441-A01BCAF0E50E}"/>
              </a:ext>
            </a:extLst>
          </p:cNvPr>
          <p:cNvSpPr txBox="1"/>
          <p:nvPr/>
        </p:nvSpPr>
        <p:spPr>
          <a:xfrm>
            <a:off x="7310593" y="6143956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10404961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5BD3B75-05DE-2A8D-F636-C76FB23628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5BD3B75-05DE-2A8D-F636-C76FB2362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24">
            <a:extLst>
              <a:ext uri="{FF2B5EF4-FFF2-40B4-BE49-F238E27FC236}">
                <a16:creationId xmlns:a16="http://schemas.microsoft.com/office/drawing/2014/main" id="{C0A863D5-417D-462E-D92E-99AC9C85D56D}"/>
              </a:ext>
            </a:extLst>
          </p:cNvPr>
          <p:cNvSpPr txBox="1"/>
          <p:nvPr/>
        </p:nvSpPr>
        <p:spPr>
          <a:xfrm>
            <a:off x="385761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DB53529D-84A0-D5E5-4FE8-0DD379533373}"/>
              </a:ext>
            </a:extLst>
          </p:cNvPr>
          <p:cNvSpPr txBox="1"/>
          <p:nvPr/>
        </p:nvSpPr>
        <p:spPr>
          <a:xfrm>
            <a:off x="3291614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59534980-041B-FDBF-A35C-310C31902999}"/>
              </a:ext>
            </a:extLst>
          </p:cNvPr>
          <p:cNvSpPr txBox="1"/>
          <p:nvPr/>
        </p:nvSpPr>
        <p:spPr>
          <a:xfrm>
            <a:off x="6197467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C1B327C9-4ED4-A496-849A-912CAA0D8FA7}"/>
              </a:ext>
            </a:extLst>
          </p:cNvPr>
          <p:cNvSpPr txBox="1"/>
          <p:nvPr/>
        </p:nvSpPr>
        <p:spPr>
          <a:xfrm>
            <a:off x="9103321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9B433FE-A0D6-ACE0-E165-7FA043C3AA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134D12C-4F9F-86A7-65FC-5C435998C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— Key points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1FC24A7-837F-D286-0636-EDCC701439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CF149A2A-BE12-9AA3-8DB8-2BFC2CFBED44}"/>
              </a:ext>
            </a:extLst>
          </p:cNvPr>
          <p:cNvSpPr txBox="1"/>
          <p:nvPr/>
        </p:nvSpPr>
        <p:spPr>
          <a:xfrm>
            <a:off x="385761" y="1536698"/>
            <a:ext cx="11434763" cy="497842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0" rIns="72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744CEE42-AB91-944C-E302-D0E12E970BB4}"/>
              </a:ext>
            </a:extLst>
          </p:cNvPr>
          <p:cNvSpPr txBox="1"/>
          <p:nvPr/>
        </p:nvSpPr>
        <p:spPr>
          <a:xfrm>
            <a:off x="385761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A9C8693A-CF7F-A74C-C78C-2D7F78528359}"/>
              </a:ext>
            </a:extLst>
          </p:cNvPr>
          <p:cNvSpPr txBox="1"/>
          <p:nvPr/>
        </p:nvSpPr>
        <p:spPr>
          <a:xfrm>
            <a:off x="3291614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FA6FFE2C-CA99-39D8-62D9-A8D28C153043}"/>
              </a:ext>
            </a:extLst>
          </p:cNvPr>
          <p:cNvSpPr txBox="1"/>
          <p:nvPr/>
        </p:nvSpPr>
        <p:spPr>
          <a:xfrm>
            <a:off x="6197467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41BC9F32-5A6E-53A7-35A2-BAD06889DD17}"/>
              </a:ext>
            </a:extLst>
          </p:cNvPr>
          <p:cNvSpPr txBox="1"/>
          <p:nvPr/>
        </p:nvSpPr>
        <p:spPr>
          <a:xfrm>
            <a:off x="9103321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EA832319-AA9E-EA08-A82A-75261F242EB8}"/>
              </a:ext>
            </a:extLst>
          </p:cNvPr>
          <p:cNvSpPr/>
          <p:nvPr/>
        </p:nvSpPr>
        <p:spPr>
          <a:xfrm>
            <a:off x="1323201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7" name="Group 115">
            <a:extLst>
              <a:ext uri="{FF2B5EF4-FFF2-40B4-BE49-F238E27FC236}">
                <a16:creationId xmlns:a16="http://schemas.microsoft.com/office/drawing/2014/main" id="{9EB24CD9-ECA3-4362-B045-AA988C2582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9983" y="2357584"/>
            <a:ext cx="528759" cy="527524"/>
            <a:chOff x="1374" y="3001"/>
            <a:chExt cx="428" cy="427"/>
          </a:xfrm>
          <a:solidFill>
            <a:schemeClr val="bg1"/>
          </a:solidFill>
        </p:grpSpPr>
        <p:sp>
          <p:nvSpPr>
            <p:cNvPr id="18" name="Freeform 116">
              <a:extLst>
                <a:ext uri="{FF2B5EF4-FFF2-40B4-BE49-F238E27FC236}">
                  <a16:creationId xmlns:a16="http://schemas.microsoft.com/office/drawing/2014/main" id="{D7209051-811D-FCDB-BBD8-8DBB616008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3001"/>
              <a:ext cx="302" cy="302"/>
            </a:xfrm>
            <a:custGeom>
              <a:avLst/>
              <a:gdLst>
                <a:gd name="T0" fmla="*/ 102 w 204"/>
                <a:gd name="T1" fmla="*/ 204 h 204"/>
                <a:gd name="T2" fmla="*/ 0 w 204"/>
                <a:gd name="T3" fmla="*/ 102 h 204"/>
                <a:gd name="T4" fmla="*/ 102 w 204"/>
                <a:gd name="T5" fmla="*/ 0 h 204"/>
                <a:gd name="T6" fmla="*/ 204 w 204"/>
                <a:gd name="T7" fmla="*/ 102 h 204"/>
                <a:gd name="T8" fmla="*/ 102 w 204"/>
                <a:gd name="T9" fmla="*/ 204 h 204"/>
                <a:gd name="T10" fmla="*/ 102 w 204"/>
                <a:gd name="T11" fmla="*/ 12 h 204"/>
                <a:gd name="T12" fmla="*/ 12 w 204"/>
                <a:gd name="T13" fmla="*/ 102 h 204"/>
                <a:gd name="T14" fmla="*/ 102 w 204"/>
                <a:gd name="T15" fmla="*/ 192 h 204"/>
                <a:gd name="T16" fmla="*/ 192 w 204"/>
                <a:gd name="T17" fmla="*/ 102 h 204"/>
                <a:gd name="T18" fmla="*/ 102 w 204"/>
                <a:gd name="T19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4">
                  <a:moveTo>
                    <a:pt x="102" y="204"/>
                  </a:moveTo>
                  <a:cubicBezTo>
                    <a:pt x="46" y="204"/>
                    <a:pt x="0" y="158"/>
                    <a:pt x="0" y="102"/>
                  </a:cubicBezTo>
                  <a:cubicBezTo>
                    <a:pt x="0" y="46"/>
                    <a:pt x="46" y="0"/>
                    <a:pt x="102" y="0"/>
                  </a:cubicBezTo>
                  <a:cubicBezTo>
                    <a:pt x="159" y="0"/>
                    <a:pt x="204" y="46"/>
                    <a:pt x="204" y="102"/>
                  </a:cubicBezTo>
                  <a:cubicBezTo>
                    <a:pt x="204" y="158"/>
                    <a:pt x="159" y="204"/>
                    <a:pt x="102" y="204"/>
                  </a:cubicBezTo>
                  <a:close/>
                  <a:moveTo>
                    <a:pt x="102" y="12"/>
                  </a:moveTo>
                  <a:cubicBezTo>
                    <a:pt x="53" y="12"/>
                    <a:pt x="12" y="52"/>
                    <a:pt x="12" y="102"/>
                  </a:cubicBezTo>
                  <a:cubicBezTo>
                    <a:pt x="12" y="151"/>
                    <a:pt x="53" y="192"/>
                    <a:pt x="102" y="192"/>
                  </a:cubicBezTo>
                  <a:cubicBezTo>
                    <a:pt x="152" y="192"/>
                    <a:pt x="192" y="151"/>
                    <a:pt x="192" y="102"/>
                  </a:cubicBezTo>
                  <a:cubicBezTo>
                    <a:pt x="192" y="52"/>
                    <a:pt x="152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17">
              <a:extLst>
                <a:ext uri="{FF2B5EF4-FFF2-40B4-BE49-F238E27FC236}">
                  <a16:creationId xmlns:a16="http://schemas.microsoft.com/office/drawing/2014/main" id="{68A48B00-659D-F868-C8AC-1C15F7E76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" y="3243"/>
              <a:ext cx="185" cy="185"/>
            </a:xfrm>
            <a:custGeom>
              <a:avLst/>
              <a:gdLst>
                <a:gd name="T0" fmla="*/ 118 w 125"/>
                <a:gd name="T1" fmla="*/ 125 h 125"/>
                <a:gd name="T2" fmla="*/ 114 w 125"/>
                <a:gd name="T3" fmla="*/ 123 h 125"/>
                <a:gd name="T4" fmla="*/ 2 w 125"/>
                <a:gd name="T5" fmla="*/ 11 h 125"/>
                <a:gd name="T6" fmla="*/ 2 w 125"/>
                <a:gd name="T7" fmla="*/ 2 h 125"/>
                <a:gd name="T8" fmla="*/ 11 w 125"/>
                <a:gd name="T9" fmla="*/ 2 h 125"/>
                <a:gd name="T10" fmla="*/ 123 w 125"/>
                <a:gd name="T11" fmla="*/ 115 h 125"/>
                <a:gd name="T12" fmla="*/ 123 w 125"/>
                <a:gd name="T13" fmla="*/ 123 h 125"/>
                <a:gd name="T14" fmla="*/ 118 w 12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25">
                  <a:moveTo>
                    <a:pt x="118" y="125"/>
                  </a:moveTo>
                  <a:cubicBezTo>
                    <a:pt x="117" y="125"/>
                    <a:pt x="115" y="124"/>
                    <a:pt x="114" y="1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5" y="117"/>
                    <a:pt x="125" y="121"/>
                    <a:pt x="123" y="123"/>
                  </a:cubicBezTo>
                  <a:cubicBezTo>
                    <a:pt x="122" y="124"/>
                    <a:pt x="120" y="125"/>
                    <a:pt x="118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Elipse 19">
            <a:extLst>
              <a:ext uri="{FF2B5EF4-FFF2-40B4-BE49-F238E27FC236}">
                <a16:creationId xmlns:a16="http://schemas.microsoft.com/office/drawing/2014/main" id="{EB59193A-4C34-4969-4EA0-10E66753301D}"/>
              </a:ext>
            </a:extLst>
          </p:cNvPr>
          <p:cNvSpPr/>
          <p:nvPr/>
        </p:nvSpPr>
        <p:spPr>
          <a:xfrm>
            <a:off x="4229054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B215AC7-53E5-351F-D6BE-42E64B46828C}"/>
              </a:ext>
            </a:extLst>
          </p:cNvPr>
          <p:cNvSpPr/>
          <p:nvPr/>
        </p:nvSpPr>
        <p:spPr>
          <a:xfrm>
            <a:off x="7134907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69CF310A-A157-9DD1-3118-B68B46293E9B}"/>
              </a:ext>
            </a:extLst>
          </p:cNvPr>
          <p:cNvSpPr/>
          <p:nvPr/>
        </p:nvSpPr>
        <p:spPr>
          <a:xfrm>
            <a:off x="10040761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3" name="Group 27">
            <a:extLst>
              <a:ext uri="{FF2B5EF4-FFF2-40B4-BE49-F238E27FC236}">
                <a16:creationId xmlns:a16="http://schemas.microsoft.com/office/drawing/2014/main" id="{E30106C5-7C6D-126E-B035-8997586DAA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78853" y="2406544"/>
            <a:ext cx="542724" cy="429605"/>
            <a:chOff x="3435" y="483"/>
            <a:chExt cx="427" cy="338"/>
          </a:xfrm>
          <a:solidFill>
            <a:schemeClr val="bg1"/>
          </a:solidFill>
        </p:grpSpPr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93FBC452-34EE-76C3-9E05-7E331E88E0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5" y="483"/>
              <a:ext cx="427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4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5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1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7F49805-95B7-7C20-657C-AF8D6764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" y="572"/>
              <a:ext cx="427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Oval 30">
              <a:extLst>
                <a:ext uri="{FF2B5EF4-FFF2-40B4-BE49-F238E27FC236}">
                  <a16:creationId xmlns:a16="http://schemas.microsoft.com/office/drawing/2014/main" id="{FC6FA997-C627-EB93-13B0-F6C43B71C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Oval 31">
              <a:extLst>
                <a:ext uri="{FF2B5EF4-FFF2-40B4-BE49-F238E27FC236}">
                  <a16:creationId xmlns:a16="http://schemas.microsoft.com/office/drawing/2014/main" id="{EC9384D9-B02F-D374-43B7-C1D2051E9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Oval 32">
              <a:extLst>
                <a:ext uri="{FF2B5EF4-FFF2-40B4-BE49-F238E27FC236}">
                  <a16:creationId xmlns:a16="http://schemas.microsoft.com/office/drawing/2014/main" id="{3F8867E6-88BB-4A85-722F-3D8749524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9" name="Freeform 147">
            <a:extLst>
              <a:ext uri="{FF2B5EF4-FFF2-40B4-BE49-F238E27FC236}">
                <a16:creationId xmlns:a16="http://schemas.microsoft.com/office/drawing/2014/main" id="{C56FDDEE-1913-D1BA-51AD-A0498A722418}"/>
              </a:ext>
            </a:extLst>
          </p:cNvPr>
          <p:cNvSpPr>
            <a:spLocks noEditPoints="1"/>
          </p:cNvSpPr>
          <p:nvPr/>
        </p:nvSpPr>
        <p:spPr bwMode="auto">
          <a:xfrm>
            <a:off x="7296553" y="2458311"/>
            <a:ext cx="519030" cy="326071"/>
          </a:xfrm>
          <a:custGeom>
            <a:avLst/>
            <a:gdLst>
              <a:gd name="T0" fmla="*/ 54 w 288"/>
              <a:gd name="T1" fmla="*/ 180 h 180"/>
              <a:gd name="T2" fmla="*/ 14 w 288"/>
              <a:gd name="T3" fmla="*/ 164 h 180"/>
              <a:gd name="T4" fmla="*/ 0 w 288"/>
              <a:gd name="T5" fmla="*/ 129 h 180"/>
              <a:gd name="T6" fmla="*/ 19 w 288"/>
              <a:gd name="T7" fmla="*/ 89 h 180"/>
              <a:gd name="T8" fmla="*/ 55 w 288"/>
              <a:gd name="T9" fmla="*/ 78 h 180"/>
              <a:gd name="T10" fmla="*/ 144 w 288"/>
              <a:gd name="T11" fmla="*/ 0 h 180"/>
              <a:gd name="T12" fmla="*/ 224 w 288"/>
              <a:gd name="T13" fmla="*/ 48 h 180"/>
              <a:gd name="T14" fmla="*/ 268 w 288"/>
              <a:gd name="T15" fmla="*/ 66 h 180"/>
              <a:gd name="T16" fmla="*/ 288 w 288"/>
              <a:gd name="T17" fmla="*/ 114 h 180"/>
              <a:gd name="T18" fmla="*/ 229 w 288"/>
              <a:gd name="T19" fmla="*/ 180 h 180"/>
              <a:gd name="T20" fmla="*/ 228 w 288"/>
              <a:gd name="T21" fmla="*/ 180 h 180"/>
              <a:gd name="T22" fmla="*/ 54 w 288"/>
              <a:gd name="T23" fmla="*/ 180 h 180"/>
              <a:gd name="T24" fmla="*/ 54 w 288"/>
              <a:gd name="T25" fmla="*/ 180 h 180"/>
              <a:gd name="T26" fmla="*/ 51 w 288"/>
              <a:gd name="T27" fmla="*/ 90 h 180"/>
              <a:gd name="T28" fmla="*/ 27 w 288"/>
              <a:gd name="T29" fmla="*/ 99 h 180"/>
              <a:gd name="T30" fmla="*/ 12 w 288"/>
              <a:gd name="T31" fmla="*/ 129 h 180"/>
              <a:gd name="T32" fmla="*/ 22 w 288"/>
              <a:gd name="T33" fmla="*/ 156 h 180"/>
              <a:gd name="T34" fmla="*/ 54 w 288"/>
              <a:gd name="T35" fmla="*/ 168 h 180"/>
              <a:gd name="T36" fmla="*/ 54 w 288"/>
              <a:gd name="T37" fmla="*/ 168 h 180"/>
              <a:gd name="T38" fmla="*/ 228 w 288"/>
              <a:gd name="T39" fmla="*/ 168 h 180"/>
              <a:gd name="T40" fmla="*/ 276 w 288"/>
              <a:gd name="T41" fmla="*/ 114 h 180"/>
              <a:gd name="T42" fmla="*/ 260 w 288"/>
              <a:gd name="T43" fmla="*/ 75 h 180"/>
              <a:gd name="T44" fmla="*/ 220 w 288"/>
              <a:gd name="T45" fmla="*/ 60 h 180"/>
              <a:gd name="T46" fmla="*/ 215 w 288"/>
              <a:gd name="T47" fmla="*/ 57 h 180"/>
              <a:gd name="T48" fmla="*/ 144 w 288"/>
              <a:gd name="T49" fmla="*/ 12 h 180"/>
              <a:gd name="T50" fmla="*/ 66 w 288"/>
              <a:gd name="T51" fmla="*/ 85 h 180"/>
              <a:gd name="T52" fmla="*/ 64 w 288"/>
              <a:gd name="T53" fmla="*/ 90 h 180"/>
              <a:gd name="T54" fmla="*/ 59 w 288"/>
              <a:gd name="T55" fmla="*/ 91 h 180"/>
              <a:gd name="T56" fmla="*/ 51 w 288"/>
              <a:gd name="T57" fmla="*/ 9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8" h="180">
                <a:moveTo>
                  <a:pt x="54" y="180"/>
                </a:moveTo>
                <a:cubicBezTo>
                  <a:pt x="51" y="180"/>
                  <a:pt x="29" y="179"/>
                  <a:pt x="14" y="164"/>
                </a:cubicBezTo>
                <a:cubicBezTo>
                  <a:pt x="5" y="156"/>
                  <a:pt x="0" y="144"/>
                  <a:pt x="0" y="129"/>
                </a:cubicBezTo>
                <a:cubicBezTo>
                  <a:pt x="0" y="113"/>
                  <a:pt x="7" y="99"/>
                  <a:pt x="19" y="89"/>
                </a:cubicBezTo>
                <a:cubicBezTo>
                  <a:pt x="29" y="81"/>
                  <a:pt x="42" y="77"/>
                  <a:pt x="55" y="78"/>
                </a:cubicBezTo>
                <a:cubicBezTo>
                  <a:pt x="61" y="34"/>
                  <a:pt x="99" y="0"/>
                  <a:pt x="144" y="0"/>
                </a:cubicBezTo>
                <a:cubicBezTo>
                  <a:pt x="177" y="0"/>
                  <a:pt x="208" y="19"/>
                  <a:pt x="224" y="48"/>
                </a:cubicBezTo>
                <a:cubicBezTo>
                  <a:pt x="240" y="48"/>
                  <a:pt x="256" y="55"/>
                  <a:pt x="268" y="66"/>
                </a:cubicBezTo>
                <a:cubicBezTo>
                  <a:pt x="281" y="79"/>
                  <a:pt x="288" y="96"/>
                  <a:pt x="288" y="114"/>
                </a:cubicBezTo>
                <a:cubicBezTo>
                  <a:pt x="288" y="171"/>
                  <a:pt x="230" y="180"/>
                  <a:pt x="229" y="180"/>
                </a:cubicBezTo>
                <a:cubicBezTo>
                  <a:pt x="229" y="180"/>
                  <a:pt x="228" y="180"/>
                  <a:pt x="228" y="180"/>
                </a:cubicBezTo>
                <a:cubicBezTo>
                  <a:pt x="54" y="180"/>
                  <a:pt x="54" y="180"/>
                  <a:pt x="54" y="180"/>
                </a:cubicBezTo>
                <a:cubicBezTo>
                  <a:pt x="54" y="180"/>
                  <a:pt x="54" y="180"/>
                  <a:pt x="54" y="180"/>
                </a:cubicBezTo>
                <a:close/>
                <a:moveTo>
                  <a:pt x="51" y="90"/>
                </a:moveTo>
                <a:cubicBezTo>
                  <a:pt x="42" y="90"/>
                  <a:pt x="34" y="93"/>
                  <a:pt x="27" y="99"/>
                </a:cubicBezTo>
                <a:cubicBezTo>
                  <a:pt x="17" y="106"/>
                  <a:pt x="12" y="117"/>
                  <a:pt x="12" y="129"/>
                </a:cubicBezTo>
                <a:cubicBezTo>
                  <a:pt x="12" y="140"/>
                  <a:pt x="16" y="149"/>
                  <a:pt x="22" y="156"/>
                </a:cubicBezTo>
                <a:cubicBezTo>
                  <a:pt x="34" y="168"/>
                  <a:pt x="53" y="168"/>
                  <a:pt x="54" y="168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228" y="168"/>
                  <a:pt x="228" y="168"/>
                  <a:pt x="228" y="168"/>
                </a:cubicBezTo>
                <a:cubicBezTo>
                  <a:pt x="233" y="167"/>
                  <a:pt x="276" y="159"/>
                  <a:pt x="276" y="114"/>
                </a:cubicBezTo>
                <a:cubicBezTo>
                  <a:pt x="276" y="99"/>
                  <a:pt x="270" y="85"/>
                  <a:pt x="260" y="75"/>
                </a:cubicBezTo>
                <a:cubicBezTo>
                  <a:pt x="249" y="65"/>
                  <a:pt x="235" y="59"/>
                  <a:pt x="220" y="60"/>
                </a:cubicBezTo>
                <a:cubicBezTo>
                  <a:pt x="218" y="60"/>
                  <a:pt x="216" y="59"/>
                  <a:pt x="215" y="57"/>
                </a:cubicBezTo>
                <a:cubicBezTo>
                  <a:pt x="202" y="29"/>
                  <a:pt x="174" y="12"/>
                  <a:pt x="144" y="12"/>
                </a:cubicBezTo>
                <a:cubicBezTo>
                  <a:pt x="103" y="12"/>
                  <a:pt x="69" y="44"/>
                  <a:pt x="66" y="85"/>
                </a:cubicBezTo>
                <a:cubicBezTo>
                  <a:pt x="66" y="87"/>
                  <a:pt x="66" y="88"/>
                  <a:pt x="64" y="90"/>
                </a:cubicBezTo>
                <a:cubicBezTo>
                  <a:pt x="63" y="91"/>
                  <a:pt x="61" y="91"/>
                  <a:pt x="59" y="91"/>
                </a:cubicBezTo>
                <a:cubicBezTo>
                  <a:pt x="57" y="90"/>
                  <a:pt x="54" y="90"/>
                  <a:pt x="51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0" name="Group 39">
            <a:extLst>
              <a:ext uri="{FF2B5EF4-FFF2-40B4-BE49-F238E27FC236}">
                <a16:creationId xmlns:a16="http://schemas.microsoft.com/office/drawing/2014/main" id="{7120E7E6-D35F-8E80-49EB-E8F90B8F88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18174" y="2378169"/>
            <a:ext cx="487497" cy="486354"/>
            <a:chOff x="3441" y="439"/>
            <a:chExt cx="427" cy="426"/>
          </a:xfrm>
          <a:solidFill>
            <a:schemeClr val="bg1"/>
          </a:solidFill>
        </p:grpSpPr>
        <p:sp>
          <p:nvSpPr>
            <p:cNvPr id="31" name="Freeform 40">
              <a:extLst>
                <a:ext uri="{FF2B5EF4-FFF2-40B4-BE49-F238E27FC236}">
                  <a16:creationId xmlns:a16="http://schemas.microsoft.com/office/drawing/2014/main" id="{165DB641-2EBF-881D-BBE7-F83F491F0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1" y="439"/>
              <a:ext cx="427" cy="426"/>
            </a:xfrm>
            <a:custGeom>
              <a:avLst/>
              <a:gdLst>
                <a:gd name="T0" fmla="*/ 90 w 288"/>
                <a:gd name="T1" fmla="*/ 288 h 288"/>
                <a:gd name="T2" fmla="*/ 0 w 288"/>
                <a:gd name="T3" fmla="*/ 198 h 288"/>
                <a:gd name="T4" fmla="*/ 90 w 288"/>
                <a:gd name="T5" fmla="*/ 108 h 288"/>
                <a:gd name="T6" fmla="*/ 127 w 288"/>
                <a:gd name="T7" fmla="*/ 116 h 288"/>
                <a:gd name="T8" fmla="*/ 242 w 288"/>
                <a:gd name="T9" fmla="*/ 2 h 288"/>
                <a:gd name="T10" fmla="*/ 246 w 288"/>
                <a:gd name="T11" fmla="*/ 0 h 288"/>
                <a:gd name="T12" fmla="*/ 282 w 288"/>
                <a:gd name="T13" fmla="*/ 0 h 288"/>
                <a:gd name="T14" fmla="*/ 288 w 288"/>
                <a:gd name="T15" fmla="*/ 6 h 288"/>
                <a:gd name="T16" fmla="*/ 288 w 288"/>
                <a:gd name="T17" fmla="*/ 42 h 288"/>
                <a:gd name="T18" fmla="*/ 286 w 288"/>
                <a:gd name="T19" fmla="*/ 46 h 288"/>
                <a:gd name="T20" fmla="*/ 276 w 288"/>
                <a:gd name="T21" fmla="*/ 57 h 288"/>
                <a:gd name="T22" fmla="*/ 276 w 288"/>
                <a:gd name="T23" fmla="*/ 72 h 288"/>
                <a:gd name="T24" fmla="*/ 270 w 288"/>
                <a:gd name="T25" fmla="*/ 78 h 288"/>
                <a:gd name="T26" fmla="*/ 254 w 288"/>
                <a:gd name="T27" fmla="*/ 78 h 288"/>
                <a:gd name="T28" fmla="*/ 252 w 288"/>
                <a:gd name="T29" fmla="*/ 81 h 288"/>
                <a:gd name="T30" fmla="*/ 252 w 288"/>
                <a:gd name="T31" fmla="*/ 96 h 288"/>
                <a:gd name="T32" fmla="*/ 246 w 288"/>
                <a:gd name="T33" fmla="*/ 102 h 288"/>
                <a:gd name="T34" fmla="*/ 230 w 288"/>
                <a:gd name="T35" fmla="*/ 102 h 288"/>
                <a:gd name="T36" fmla="*/ 228 w 288"/>
                <a:gd name="T37" fmla="*/ 105 h 288"/>
                <a:gd name="T38" fmla="*/ 228 w 288"/>
                <a:gd name="T39" fmla="*/ 120 h 288"/>
                <a:gd name="T40" fmla="*/ 222 w 288"/>
                <a:gd name="T41" fmla="*/ 126 h 288"/>
                <a:gd name="T42" fmla="*/ 206 w 288"/>
                <a:gd name="T43" fmla="*/ 126 h 288"/>
                <a:gd name="T44" fmla="*/ 172 w 288"/>
                <a:gd name="T45" fmla="*/ 161 h 288"/>
                <a:gd name="T46" fmla="*/ 180 w 288"/>
                <a:gd name="T47" fmla="*/ 198 h 288"/>
                <a:gd name="T48" fmla="*/ 90 w 288"/>
                <a:gd name="T49" fmla="*/ 288 h 288"/>
                <a:gd name="T50" fmla="*/ 90 w 288"/>
                <a:gd name="T51" fmla="*/ 120 h 288"/>
                <a:gd name="T52" fmla="*/ 12 w 288"/>
                <a:gd name="T53" fmla="*/ 198 h 288"/>
                <a:gd name="T54" fmla="*/ 90 w 288"/>
                <a:gd name="T55" fmla="*/ 276 h 288"/>
                <a:gd name="T56" fmla="*/ 168 w 288"/>
                <a:gd name="T57" fmla="*/ 198 h 288"/>
                <a:gd name="T58" fmla="*/ 159 w 288"/>
                <a:gd name="T59" fmla="*/ 162 h 288"/>
                <a:gd name="T60" fmla="*/ 160 w 288"/>
                <a:gd name="T61" fmla="*/ 155 h 288"/>
                <a:gd name="T62" fmla="*/ 200 w 288"/>
                <a:gd name="T63" fmla="*/ 116 h 288"/>
                <a:gd name="T64" fmla="*/ 204 w 288"/>
                <a:gd name="T65" fmla="*/ 114 h 288"/>
                <a:gd name="T66" fmla="*/ 216 w 288"/>
                <a:gd name="T67" fmla="*/ 114 h 288"/>
                <a:gd name="T68" fmla="*/ 216 w 288"/>
                <a:gd name="T69" fmla="*/ 102 h 288"/>
                <a:gd name="T70" fmla="*/ 218 w 288"/>
                <a:gd name="T71" fmla="*/ 98 h 288"/>
                <a:gd name="T72" fmla="*/ 224 w 288"/>
                <a:gd name="T73" fmla="*/ 92 h 288"/>
                <a:gd name="T74" fmla="*/ 228 w 288"/>
                <a:gd name="T75" fmla="*/ 90 h 288"/>
                <a:gd name="T76" fmla="*/ 240 w 288"/>
                <a:gd name="T77" fmla="*/ 90 h 288"/>
                <a:gd name="T78" fmla="*/ 240 w 288"/>
                <a:gd name="T79" fmla="*/ 78 h 288"/>
                <a:gd name="T80" fmla="*/ 242 w 288"/>
                <a:gd name="T81" fmla="*/ 74 h 288"/>
                <a:gd name="T82" fmla="*/ 248 w 288"/>
                <a:gd name="T83" fmla="*/ 68 h 288"/>
                <a:gd name="T84" fmla="*/ 252 w 288"/>
                <a:gd name="T85" fmla="*/ 66 h 288"/>
                <a:gd name="T86" fmla="*/ 264 w 288"/>
                <a:gd name="T87" fmla="*/ 66 h 288"/>
                <a:gd name="T88" fmla="*/ 264 w 288"/>
                <a:gd name="T89" fmla="*/ 54 h 288"/>
                <a:gd name="T90" fmla="*/ 266 w 288"/>
                <a:gd name="T91" fmla="*/ 50 h 288"/>
                <a:gd name="T92" fmla="*/ 276 w 288"/>
                <a:gd name="T93" fmla="*/ 40 h 288"/>
                <a:gd name="T94" fmla="*/ 276 w 288"/>
                <a:gd name="T95" fmla="*/ 12 h 288"/>
                <a:gd name="T96" fmla="*/ 248 w 288"/>
                <a:gd name="T97" fmla="*/ 12 h 288"/>
                <a:gd name="T98" fmla="*/ 133 w 288"/>
                <a:gd name="T99" fmla="*/ 128 h 288"/>
                <a:gd name="T100" fmla="*/ 126 w 288"/>
                <a:gd name="T101" fmla="*/ 129 h 288"/>
                <a:gd name="T102" fmla="*/ 90 w 288"/>
                <a:gd name="T103" fmla="*/ 12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8" h="288">
                  <a:moveTo>
                    <a:pt x="90" y="288"/>
                  </a:moveTo>
                  <a:cubicBezTo>
                    <a:pt x="40" y="288"/>
                    <a:pt x="0" y="248"/>
                    <a:pt x="0" y="198"/>
                  </a:cubicBezTo>
                  <a:cubicBezTo>
                    <a:pt x="0" y="149"/>
                    <a:pt x="40" y="108"/>
                    <a:pt x="90" y="108"/>
                  </a:cubicBezTo>
                  <a:cubicBezTo>
                    <a:pt x="103" y="108"/>
                    <a:pt x="115" y="111"/>
                    <a:pt x="127" y="116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3" y="1"/>
                    <a:pt x="244" y="0"/>
                    <a:pt x="24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44"/>
                    <a:pt x="287" y="45"/>
                    <a:pt x="286" y="46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76" y="72"/>
                    <a:pt x="276" y="72"/>
                    <a:pt x="276" y="72"/>
                  </a:cubicBezTo>
                  <a:cubicBezTo>
                    <a:pt x="276" y="76"/>
                    <a:pt x="273" y="78"/>
                    <a:pt x="270" y="78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96"/>
                    <a:pt x="252" y="96"/>
                    <a:pt x="252" y="96"/>
                  </a:cubicBezTo>
                  <a:cubicBezTo>
                    <a:pt x="252" y="100"/>
                    <a:pt x="249" y="102"/>
                    <a:pt x="246" y="102"/>
                  </a:cubicBezTo>
                  <a:cubicBezTo>
                    <a:pt x="230" y="102"/>
                    <a:pt x="230" y="102"/>
                    <a:pt x="230" y="102"/>
                  </a:cubicBezTo>
                  <a:cubicBezTo>
                    <a:pt x="228" y="105"/>
                    <a:pt x="228" y="105"/>
                    <a:pt x="228" y="105"/>
                  </a:cubicBezTo>
                  <a:cubicBezTo>
                    <a:pt x="228" y="120"/>
                    <a:pt x="228" y="120"/>
                    <a:pt x="228" y="120"/>
                  </a:cubicBezTo>
                  <a:cubicBezTo>
                    <a:pt x="228" y="124"/>
                    <a:pt x="225" y="126"/>
                    <a:pt x="222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172" y="161"/>
                    <a:pt x="172" y="161"/>
                    <a:pt x="172" y="161"/>
                  </a:cubicBezTo>
                  <a:cubicBezTo>
                    <a:pt x="177" y="173"/>
                    <a:pt x="180" y="185"/>
                    <a:pt x="180" y="198"/>
                  </a:cubicBezTo>
                  <a:cubicBezTo>
                    <a:pt x="180" y="248"/>
                    <a:pt x="139" y="288"/>
                    <a:pt x="90" y="288"/>
                  </a:cubicBezTo>
                  <a:close/>
                  <a:moveTo>
                    <a:pt x="90" y="120"/>
                  </a:moveTo>
                  <a:cubicBezTo>
                    <a:pt x="47" y="120"/>
                    <a:pt x="12" y="155"/>
                    <a:pt x="12" y="198"/>
                  </a:cubicBezTo>
                  <a:cubicBezTo>
                    <a:pt x="12" y="241"/>
                    <a:pt x="47" y="276"/>
                    <a:pt x="90" y="276"/>
                  </a:cubicBezTo>
                  <a:cubicBezTo>
                    <a:pt x="133" y="276"/>
                    <a:pt x="168" y="241"/>
                    <a:pt x="168" y="198"/>
                  </a:cubicBezTo>
                  <a:cubicBezTo>
                    <a:pt x="168" y="186"/>
                    <a:pt x="165" y="174"/>
                    <a:pt x="159" y="162"/>
                  </a:cubicBezTo>
                  <a:cubicBezTo>
                    <a:pt x="158" y="160"/>
                    <a:pt x="158" y="157"/>
                    <a:pt x="160" y="155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1" y="115"/>
                    <a:pt x="202" y="114"/>
                    <a:pt x="204" y="114"/>
                  </a:cubicBezTo>
                  <a:cubicBezTo>
                    <a:pt x="216" y="114"/>
                    <a:pt x="216" y="114"/>
                    <a:pt x="216" y="114"/>
                  </a:cubicBezTo>
                  <a:cubicBezTo>
                    <a:pt x="216" y="102"/>
                    <a:pt x="216" y="102"/>
                    <a:pt x="216" y="102"/>
                  </a:cubicBezTo>
                  <a:cubicBezTo>
                    <a:pt x="216" y="101"/>
                    <a:pt x="216" y="99"/>
                    <a:pt x="218" y="98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5" y="91"/>
                    <a:pt x="226" y="90"/>
                    <a:pt x="228" y="90"/>
                  </a:cubicBezTo>
                  <a:cubicBezTo>
                    <a:pt x="240" y="90"/>
                    <a:pt x="240" y="90"/>
                    <a:pt x="240" y="90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0" y="77"/>
                    <a:pt x="240" y="75"/>
                    <a:pt x="242" y="74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49" y="67"/>
                    <a:pt x="250" y="66"/>
                    <a:pt x="252" y="66"/>
                  </a:cubicBezTo>
                  <a:cubicBezTo>
                    <a:pt x="264" y="66"/>
                    <a:pt x="264" y="66"/>
                    <a:pt x="264" y="66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4" y="53"/>
                    <a:pt x="264" y="51"/>
                    <a:pt x="266" y="50"/>
                  </a:cubicBezTo>
                  <a:cubicBezTo>
                    <a:pt x="276" y="40"/>
                    <a:pt x="276" y="40"/>
                    <a:pt x="276" y="40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1" y="130"/>
                    <a:pt x="128" y="130"/>
                    <a:pt x="126" y="129"/>
                  </a:cubicBezTo>
                  <a:cubicBezTo>
                    <a:pt x="114" y="123"/>
                    <a:pt x="102" y="120"/>
                    <a:pt x="90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576" name="Freeform 41">
              <a:extLst>
                <a:ext uri="{FF2B5EF4-FFF2-40B4-BE49-F238E27FC236}">
                  <a16:creationId xmlns:a16="http://schemas.microsoft.com/office/drawing/2014/main" id="{CA8DF49A-7188-EB52-3AA7-892241249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" y="732"/>
              <a:ext cx="72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91608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D4CAD4D-8B83-C28F-6F66-389C7DC5C0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D4CAD4D-8B83-C28F-6F66-389C7DC5C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BF97CF8-E95B-A1AC-1F1F-F61125CA78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B6B3171D-E618-6AA9-1251-F1F7C9DD22BE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1520825"/>
            <a:ext cx="2132709" cy="1047191"/>
          </a:xfrm>
          <a:custGeom>
            <a:avLst/>
            <a:gdLst>
              <a:gd name="T0" fmla="*/ 2215516 w 702"/>
              <a:gd name="T1" fmla="*/ 545358 h 343"/>
              <a:gd name="T2" fmla="*/ 1934631 w 702"/>
              <a:gd name="T3" fmla="*/ 383653 h 343"/>
              <a:gd name="T4" fmla="*/ 1934631 w 702"/>
              <a:gd name="T5" fmla="*/ 152193 h 343"/>
              <a:gd name="T6" fmla="*/ 1783143 w 702"/>
              <a:gd name="T7" fmla="*/ 0 h 343"/>
              <a:gd name="T8" fmla="*/ 151488 w 702"/>
              <a:gd name="T9" fmla="*/ 0 h 343"/>
              <a:gd name="T10" fmla="*/ 0 w 702"/>
              <a:gd name="T11" fmla="*/ 152193 h 343"/>
              <a:gd name="T12" fmla="*/ 0 w 702"/>
              <a:gd name="T13" fmla="*/ 935353 h 343"/>
              <a:gd name="T14" fmla="*/ 151488 w 702"/>
              <a:gd name="T15" fmla="*/ 1087546 h 343"/>
              <a:gd name="T16" fmla="*/ 1783143 w 702"/>
              <a:gd name="T17" fmla="*/ 1087546 h 343"/>
              <a:gd name="T18" fmla="*/ 1934631 w 702"/>
              <a:gd name="T19" fmla="*/ 935353 h 343"/>
              <a:gd name="T20" fmla="*/ 1934631 w 702"/>
              <a:gd name="T21" fmla="*/ 703893 h 343"/>
              <a:gd name="T22" fmla="*/ 2215516 w 702"/>
              <a:gd name="T23" fmla="*/ 545358 h 3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77D5C9B5-3E56-1928-091F-2EC77E755416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2755229"/>
            <a:ext cx="2132709" cy="1047191"/>
          </a:xfrm>
          <a:custGeom>
            <a:avLst/>
            <a:gdLst>
              <a:gd name="T0" fmla="*/ 2215516 w 702"/>
              <a:gd name="T1" fmla="*/ 545358 h 343"/>
              <a:gd name="T2" fmla="*/ 1934631 w 702"/>
              <a:gd name="T3" fmla="*/ 383653 h 343"/>
              <a:gd name="T4" fmla="*/ 1934631 w 702"/>
              <a:gd name="T5" fmla="*/ 152193 h 343"/>
              <a:gd name="T6" fmla="*/ 1783143 w 702"/>
              <a:gd name="T7" fmla="*/ 0 h 343"/>
              <a:gd name="T8" fmla="*/ 151488 w 702"/>
              <a:gd name="T9" fmla="*/ 0 h 343"/>
              <a:gd name="T10" fmla="*/ 0 w 702"/>
              <a:gd name="T11" fmla="*/ 152193 h 343"/>
              <a:gd name="T12" fmla="*/ 0 w 702"/>
              <a:gd name="T13" fmla="*/ 935353 h 343"/>
              <a:gd name="T14" fmla="*/ 151488 w 702"/>
              <a:gd name="T15" fmla="*/ 1087546 h 343"/>
              <a:gd name="T16" fmla="*/ 1783143 w 702"/>
              <a:gd name="T17" fmla="*/ 1087546 h 343"/>
              <a:gd name="T18" fmla="*/ 1934631 w 702"/>
              <a:gd name="T19" fmla="*/ 935353 h 343"/>
              <a:gd name="T20" fmla="*/ 1934631 w 702"/>
              <a:gd name="T21" fmla="*/ 703893 h 343"/>
              <a:gd name="T22" fmla="*/ 2215516 w 702"/>
              <a:gd name="T23" fmla="*/ 545358 h 3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BA07E4F5-C147-4882-2E12-674B504893D8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4027826"/>
            <a:ext cx="2132709" cy="1046495"/>
          </a:xfrm>
          <a:custGeom>
            <a:avLst/>
            <a:gdLst>
              <a:gd name="T0" fmla="*/ 702 w 702"/>
              <a:gd name="T1" fmla="*/ 172 h 343"/>
              <a:gd name="T2" fmla="*/ 613 w 702"/>
              <a:gd name="T3" fmla="*/ 121 h 343"/>
              <a:gd name="T4" fmla="*/ 613 w 702"/>
              <a:gd name="T5" fmla="*/ 48 h 343"/>
              <a:gd name="T6" fmla="*/ 565 w 702"/>
              <a:gd name="T7" fmla="*/ 0 h 343"/>
              <a:gd name="T8" fmla="*/ 48 w 702"/>
              <a:gd name="T9" fmla="*/ 0 h 343"/>
              <a:gd name="T10" fmla="*/ 0 w 702"/>
              <a:gd name="T11" fmla="*/ 48 h 343"/>
              <a:gd name="T12" fmla="*/ 0 w 702"/>
              <a:gd name="T13" fmla="*/ 295 h 343"/>
              <a:gd name="T14" fmla="*/ 48 w 702"/>
              <a:gd name="T15" fmla="*/ 343 h 343"/>
              <a:gd name="T16" fmla="*/ 565 w 702"/>
              <a:gd name="T17" fmla="*/ 343 h 343"/>
              <a:gd name="T18" fmla="*/ 613 w 702"/>
              <a:gd name="T19" fmla="*/ 295 h 343"/>
              <a:gd name="T20" fmla="*/ 613 w 702"/>
              <a:gd name="T21" fmla="*/ 222 h 343"/>
              <a:gd name="T22" fmla="*/ 702 w 702"/>
              <a:gd name="T23" fmla="*/ 17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3DA0A9BD-88A5-47C7-67C5-168A0C0A7EC9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5262230"/>
            <a:ext cx="2132709" cy="1046495"/>
          </a:xfrm>
          <a:custGeom>
            <a:avLst/>
            <a:gdLst>
              <a:gd name="T0" fmla="*/ 702 w 702"/>
              <a:gd name="T1" fmla="*/ 172 h 343"/>
              <a:gd name="T2" fmla="*/ 613 w 702"/>
              <a:gd name="T3" fmla="*/ 121 h 343"/>
              <a:gd name="T4" fmla="*/ 613 w 702"/>
              <a:gd name="T5" fmla="*/ 48 h 343"/>
              <a:gd name="T6" fmla="*/ 565 w 702"/>
              <a:gd name="T7" fmla="*/ 0 h 343"/>
              <a:gd name="T8" fmla="*/ 48 w 702"/>
              <a:gd name="T9" fmla="*/ 0 h 343"/>
              <a:gd name="T10" fmla="*/ 0 w 702"/>
              <a:gd name="T11" fmla="*/ 48 h 343"/>
              <a:gd name="T12" fmla="*/ 0 w 702"/>
              <a:gd name="T13" fmla="*/ 295 h 343"/>
              <a:gd name="T14" fmla="*/ 48 w 702"/>
              <a:gd name="T15" fmla="*/ 343 h 343"/>
              <a:gd name="T16" fmla="*/ 565 w 702"/>
              <a:gd name="T17" fmla="*/ 343 h 343"/>
              <a:gd name="T18" fmla="*/ 613 w 702"/>
              <a:gd name="T19" fmla="*/ 295 h 343"/>
              <a:gd name="T20" fmla="*/ 613 w 702"/>
              <a:gd name="T21" fmla="*/ 222 h 343"/>
              <a:gd name="T22" fmla="*/ 702 w 702"/>
              <a:gd name="T23" fmla="*/ 17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cxnSp>
        <p:nvCxnSpPr>
          <p:cNvPr id="16" name="Straight Connector 17">
            <a:extLst>
              <a:ext uri="{FF2B5EF4-FFF2-40B4-BE49-F238E27FC236}">
                <a16:creationId xmlns:a16="http://schemas.microsoft.com/office/drawing/2014/main" id="{AF373BE9-1912-51FE-9C11-31B54D02625B}"/>
              </a:ext>
            </a:extLst>
          </p:cNvPr>
          <p:cNvCxnSpPr/>
          <p:nvPr/>
        </p:nvCxnSpPr>
        <p:spPr>
          <a:xfrm>
            <a:off x="1313432" y="1762748"/>
            <a:ext cx="0" cy="693589"/>
          </a:xfrm>
          <a:prstGeom prst="line">
            <a:avLst/>
          </a:prstGeom>
          <a:ln w="381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8">
            <a:extLst>
              <a:ext uri="{FF2B5EF4-FFF2-40B4-BE49-F238E27FC236}">
                <a16:creationId xmlns:a16="http://schemas.microsoft.com/office/drawing/2014/main" id="{C43C7E88-526B-034D-F5E2-FC320A351983}"/>
              </a:ext>
            </a:extLst>
          </p:cNvPr>
          <p:cNvCxnSpPr/>
          <p:nvPr/>
        </p:nvCxnSpPr>
        <p:spPr>
          <a:xfrm>
            <a:off x="1313432" y="3020069"/>
            <a:ext cx="0" cy="692061"/>
          </a:xfrm>
          <a:prstGeom prst="line">
            <a:avLst/>
          </a:prstGeom>
          <a:ln w="381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9">
            <a:extLst>
              <a:ext uri="{FF2B5EF4-FFF2-40B4-BE49-F238E27FC236}">
                <a16:creationId xmlns:a16="http://schemas.microsoft.com/office/drawing/2014/main" id="{2C572CFD-1A72-4A67-26FD-D1EC0E908B58}"/>
              </a:ext>
            </a:extLst>
          </p:cNvPr>
          <p:cNvCxnSpPr/>
          <p:nvPr/>
        </p:nvCxnSpPr>
        <p:spPr>
          <a:xfrm>
            <a:off x="1313432" y="4292665"/>
            <a:ext cx="0" cy="692062"/>
          </a:xfrm>
          <a:prstGeom prst="line">
            <a:avLst/>
          </a:prstGeom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20">
            <a:extLst>
              <a:ext uri="{FF2B5EF4-FFF2-40B4-BE49-F238E27FC236}">
                <a16:creationId xmlns:a16="http://schemas.microsoft.com/office/drawing/2014/main" id="{B1292A89-1738-0ECB-940D-D620734D4FCF}"/>
              </a:ext>
            </a:extLst>
          </p:cNvPr>
          <p:cNvCxnSpPr/>
          <p:nvPr/>
        </p:nvCxnSpPr>
        <p:spPr>
          <a:xfrm>
            <a:off x="1313432" y="5548458"/>
            <a:ext cx="0" cy="693589"/>
          </a:xfrm>
          <a:prstGeom prst="line">
            <a:avLst/>
          </a:prstGeom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7">
            <a:extLst>
              <a:ext uri="{FF2B5EF4-FFF2-40B4-BE49-F238E27FC236}">
                <a16:creationId xmlns:a16="http://schemas.microsoft.com/office/drawing/2014/main" id="{A0695F53-C638-6E87-FF2B-562F54A2BDA4}"/>
              </a:ext>
            </a:extLst>
          </p:cNvPr>
          <p:cNvSpPr txBox="1"/>
          <p:nvPr/>
        </p:nvSpPr>
        <p:spPr>
          <a:xfrm>
            <a:off x="1550313" y="1762748"/>
            <a:ext cx="495649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</a:t>
            </a: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8372C6A1-BBA6-642C-CF64-FD4016BB3257}"/>
              </a:ext>
            </a:extLst>
          </p:cNvPr>
          <p:cNvSpPr txBox="1"/>
          <p:nvPr/>
        </p:nvSpPr>
        <p:spPr>
          <a:xfrm>
            <a:off x="1464553" y="2986087"/>
            <a:ext cx="667170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3200B2D6-26F5-A526-DE9E-BD3525DD8426}"/>
              </a:ext>
            </a:extLst>
          </p:cNvPr>
          <p:cNvSpPr txBox="1"/>
          <p:nvPr/>
        </p:nvSpPr>
        <p:spPr>
          <a:xfrm>
            <a:off x="1521460" y="4258685"/>
            <a:ext cx="553357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</a:t>
            </a:r>
          </a:p>
        </p:txBody>
      </p:sp>
      <p:sp>
        <p:nvSpPr>
          <p:cNvPr id="23" name="TextBox 30">
            <a:extLst>
              <a:ext uri="{FF2B5EF4-FFF2-40B4-BE49-F238E27FC236}">
                <a16:creationId xmlns:a16="http://schemas.microsoft.com/office/drawing/2014/main" id="{AE020AC1-5A9A-77A2-AA04-9D1877F80443}"/>
              </a:ext>
            </a:extLst>
          </p:cNvPr>
          <p:cNvSpPr txBox="1"/>
          <p:nvPr/>
        </p:nvSpPr>
        <p:spPr>
          <a:xfrm>
            <a:off x="1555924" y="5515241"/>
            <a:ext cx="484428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</a:t>
            </a:r>
          </a:p>
        </p:txBody>
      </p:sp>
      <p:sp>
        <p:nvSpPr>
          <p:cNvPr id="24" name="Freeform 31">
            <a:extLst>
              <a:ext uri="{FF2B5EF4-FFF2-40B4-BE49-F238E27FC236}">
                <a16:creationId xmlns:a16="http://schemas.microsoft.com/office/drawing/2014/main" id="{3DD4E43D-4823-4365-50BE-3936BD4A6F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15" y="5517068"/>
            <a:ext cx="536819" cy="536818"/>
          </a:xfrm>
          <a:custGeom>
            <a:avLst/>
            <a:gdLst>
              <a:gd name="connsiteX0" fmla="*/ 157776 w 315553"/>
              <a:gd name="connsiteY0" fmla="*/ 101432 h 315552"/>
              <a:gd name="connsiteX1" fmla="*/ 140463 w 315553"/>
              <a:gd name="connsiteY1" fmla="*/ 113307 h 315552"/>
              <a:gd name="connsiteX2" fmla="*/ 124954 w 315553"/>
              <a:gd name="connsiteY2" fmla="*/ 154692 h 315552"/>
              <a:gd name="connsiteX3" fmla="*/ 170761 w 315553"/>
              <a:gd name="connsiteY3" fmla="*/ 143896 h 315552"/>
              <a:gd name="connsiteX4" fmla="*/ 176532 w 315553"/>
              <a:gd name="connsiteY4" fmla="*/ 147135 h 315552"/>
              <a:gd name="connsiteX5" fmla="*/ 173286 w 315553"/>
              <a:gd name="connsiteY5" fmla="*/ 153252 h 315552"/>
              <a:gd name="connsiteX6" fmla="*/ 120986 w 315553"/>
              <a:gd name="connsiteY6" fmla="*/ 165488 h 315552"/>
              <a:gd name="connsiteX7" fmla="*/ 102591 w 315553"/>
              <a:gd name="connsiteY7" fmla="*/ 215509 h 315552"/>
              <a:gd name="connsiteX8" fmla="*/ 186992 w 315553"/>
              <a:gd name="connsiteY8" fmla="*/ 194997 h 315552"/>
              <a:gd name="connsiteX9" fmla="*/ 192763 w 315553"/>
              <a:gd name="connsiteY9" fmla="*/ 198596 h 315552"/>
              <a:gd name="connsiteX10" fmla="*/ 189156 w 315553"/>
              <a:gd name="connsiteY10" fmla="*/ 204353 h 315552"/>
              <a:gd name="connsiteX11" fmla="*/ 98623 w 315553"/>
              <a:gd name="connsiteY11" fmla="*/ 226305 h 315552"/>
              <a:gd name="connsiteX12" fmla="*/ 80228 w 315553"/>
              <a:gd name="connsiteY12" fmla="*/ 275967 h 315552"/>
              <a:gd name="connsiteX13" fmla="*/ 205388 w 315553"/>
              <a:gd name="connsiteY13" fmla="*/ 245738 h 315552"/>
              <a:gd name="connsiteX14" fmla="*/ 211159 w 315553"/>
              <a:gd name="connsiteY14" fmla="*/ 249337 h 315552"/>
              <a:gd name="connsiteX15" fmla="*/ 207912 w 315553"/>
              <a:gd name="connsiteY15" fmla="*/ 255095 h 315552"/>
              <a:gd name="connsiteX16" fmla="*/ 76260 w 315553"/>
              <a:gd name="connsiteY16" fmla="*/ 286763 h 315552"/>
              <a:gd name="connsiteX17" fmla="*/ 69047 w 315553"/>
              <a:gd name="connsiteY17" fmla="*/ 306196 h 315552"/>
              <a:gd name="connsiteX18" fmla="*/ 246867 w 315553"/>
              <a:gd name="connsiteY18" fmla="*/ 306196 h 315552"/>
              <a:gd name="connsiteX19" fmla="*/ 175090 w 315553"/>
              <a:gd name="connsiteY19" fmla="*/ 113307 h 315552"/>
              <a:gd name="connsiteX20" fmla="*/ 157776 w 315553"/>
              <a:gd name="connsiteY20" fmla="*/ 101432 h 315552"/>
              <a:gd name="connsiteX21" fmla="*/ 157776 w 315553"/>
              <a:gd name="connsiteY21" fmla="*/ 92075 h 315552"/>
              <a:gd name="connsiteX22" fmla="*/ 184107 w 315553"/>
              <a:gd name="connsiteY22" fmla="*/ 110068 h 315552"/>
              <a:gd name="connsiteX23" fmla="*/ 256966 w 315553"/>
              <a:gd name="connsiteY23" fmla="*/ 306196 h 315552"/>
              <a:gd name="connsiteX24" fmla="*/ 277526 w 315553"/>
              <a:gd name="connsiteY24" fmla="*/ 306196 h 315552"/>
              <a:gd name="connsiteX25" fmla="*/ 282215 w 315553"/>
              <a:gd name="connsiteY25" fmla="*/ 311234 h 315552"/>
              <a:gd name="connsiteX26" fmla="*/ 277526 w 315553"/>
              <a:gd name="connsiteY26" fmla="*/ 315552 h 315552"/>
              <a:gd name="connsiteX27" fmla="*/ 253359 w 315553"/>
              <a:gd name="connsiteY27" fmla="*/ 315552 h 315552"/>
              <a:gd name="connsiteX28" fmla="*/ 61833 w 315553"/>
              <a:gd name="connsiteY28" fmla="*/ 315552 h 315552"/>
              <a:gd name="connsiteX29" fmla="*/ 38027 w 315553"/>
              <a:gd name="connsiteY29" fmla="*/ 315552 h 315552"/>
              <a:gd name="connsiteX30" fmla="*/ 33338 w 315553"/>
              <a:gd name="connsiteY30" fmla="*/ 311234 h 315552"/>
              <a:gd name="connsiteX31" fmla="*/ 38027 w 315553"/>
              <a:gd name="connsiteY31" fmla="*/ 306196 h 315552"/>
              <a:gd name="connsiteX32" fmla="*/ 58947 w 315553"/>
              <a:gd name="connsiteY32" fmla="*/ 306196 h 315552"/>
              <a:gd name="connsiteX33" fmla="*/ 131807 w 315553"/>
              <a:gd name="connsiteY33" fmla="*/ 110068 h 315552"/>
              <a:gd name="connsiteX34" fmla="*/ 157776 w 315553"/>
              <a:gd name="connsiteY34" fmla="*/ 92075 h 315552"/>
              <a:gd name="connsiteX35" fmla="*/ 282399 w 315553"/>
              <a:gd name="connsiteY35" fmla="*/ 25728 h 315552"/>
              <a:gd name="connsiteX36" fmla="*/ 289102 w 315553"/>
              <a:gd name="connsiteY36" fmla="*/ 25728 h 315552"/>
              <a:gd name="connsiteX37" fmla="*/ 290160 w 315553"/>
              <a:gd name="connsiteY37" fmla="*/ 29560 h 315552"/>
              <a:gd name="connsiteX38" fmla="*/ 289102 w 315553"/>
              <a:gd name="connsiteY38" fmla="*/ 33009 h 315552"/>
              <a:gd name="connsiteX39" fmla="*/ 285574 w 315553"/>
              <a:gd name="connsiteY39" fmla="*/ 34542 h 315552"/>
              <a:gd name="connsiteX40" fmla="*/ 282399 w 315553"/>
              <a:gd name="connsiteY40" fmla="*/ 33009 h 315552"/>
              <a:gd name="connsiteX41" fmla="*/ 280988 w 315553"/>
              <a:gd name="connsiteY41" fmla="*/ 29560 h 315552"/>
              <a:gd name="connsiteX42" fmla="*/ 282399 w 315553"/>
              <a:gd name="connsiteY42" fmla="*/ 25728 h 315552"/>
              <a:gd name="connsiteX43" fmla="*/ 220436 w 315553"/>
              <a:gd name="connsiteY43" fmla="*/ 25728 h 315552"/>
              <a:gd name="connsiteX44" fmla="*/ 226899 w 315553"/>
              <a:gd name="connsiteY44" fmla="*/ 25728 h 315552"/>
              <a:gd name="connsiteX45" fmla="*/ 228260 w 315553"/>
              <a:gd name="connsiteY45" fmla="*/ 29560 h 315552"/>
              <a:gd name="connsiteX46" fmla="*/ 226899 w 315553"/>
              <a:gd name="connsiteY46" fmla="*/ 33009 h 315552"/>
              <a:gd name="connsiteX47" fmla="*/ 223498 w 315553"/>
              <a:gd name="connsiteY47" fmla="*/ 34542 h 315552"/>
              <a:gd name="connsiteX48" fmla="*/ 220436 w 315553"/>
              <a:gd name="connsiteY48" fmla="*/ 33009 h 315552"/>
              <a:gd name="connsiteX49" fmla="*/ 219075 w 315553"/>
              <a:gd name="connsiteY49" fmla="*/ 29560 h 315552"/>
              <a:gd name="connsiteX50" fmla="*/ 220436 w 315553"/>
              <a:gd name="connsiteY50" fmla="*/ 25728 h 315552"/>
              <a:gd name="connsiteX51" fmla="*/ 254001 w 315553"/>
              <a:gd name="connsiteY51" fmla="*/ 23812 h 315552"/>
              <a:gd name="connsiteX52" fmla="*/ 258423 w 315553"/>
              <a:gd name="connsiteY52" fmla="*/ 28574 h 315552"/>
              <a:gd name="connsiteX53" fmla="*/ 254001 w 315553"/>
              <a:gd name="connsiteY53" fmla="*/ 32997 h 315552"/>
              <a:gd name="connsiteX54" fmla="*/ 249238 w 315553"/>
              <a:gd name="connsiteY54" fmla="*/ 28574 h 315552"/>
              <a:gd name="connsiteX55" fmla="*/ 254001 w 315553"/>
              <a:gd name="connsiteY55" fmla="*/ 23812 h 315552"/>
              <a:gd name="connsiteX56" fmla="*/ 9726 w 315553"/>
              <a:gd name="connsiteY56" fmla="*/ 9376 h 315552"/>
              <a:gd name="connsiteX57" fmla="*/ 9726 w 315553"/>
              <a:gd name="connsiteY57" fmla="*/ 47603 h 315552"/>
              <a:gd name="connsiteX58" fmla="*/ 306187 w 315553"/>
              <a:gd name="connsiteY58" fmla="*/ 47603 h 315552"/>
              <a:gd name="connsiteX59" fmla="*/ 306187 w 315553"/>
              <a:gd name="connsiteY59" fmla="*/ 9376 h 315552"/>
              <a:gd name="connsiteX60" fmla="*/ 4683 w 315553"/>
              <a:gd name="connsiteY60" fmla="*/ 0 h 315552"/>
              <a:gd name="connsiteX61" fmla="*/ 310510 w 315553"/>
              <a:gd name="connsiteY61" fmla="*/ 0 h 315552"/>
              <a:gd name="connsiteX62" fmla="*/ 315553 w 315553"/>
              <a:gd name="connsiteY62" fmla="*/ 4688 h 315552"/>
              <a:gd name="connsiteX63" fmla="*/ 315553 w 315553"/>
              <a:gd name="connsiteY63" fmla="*/ 52652 h 315552"/>
              <a:gd name="connsiteX64" fmla="*/ 315553 w 315553"/>
              <a:gd name="connsiteY64" fmla="*/ 311224 h 315552"/>
              <a:gd name="connsiteX65" fmla="*/ 310510 w 315553"/>
              <a:gd name="connsiteY65" fmla="*/ 315552 h 315552"/>
              <a:gd name="connsiteX66" fmla="*/ 306187 w 315553"/>
              <a:gd name="connsiteY66" fmla="*/ 311224 h 315552"/>
              <a:gd name="connsiteX67" fmla="*/ 306187 w 315553"/>
              <a:gd name="connsiteY67" fmla="*/ 57340 h 315552"/>
              <a:gd name="connsiteX68" fmla="*/ 9726 w 315553"/>
              <a:gd name="connsiteY68" fmla="*/ 57340 h 315552"/>
              <a:gd name="connsiteX69" fmla="*/ 9726 w 315553"/>
              <a:gd name="connsiteY69" fmla="*/ 311224 h 315552"/>
              <a:gd name="connsiteX70" fmla="*/ 4683 w 315553"/>
              <a:gd name="connsiteY70" fmla="*/ 315552 h 315552"/>
              <a:gd name="connsiteX71" fmla="*/ 0 w 315553"/>
              <a:gd name="connsiteY71" fmla="*/ 311224 h 315552"/>
              <a:gd name="connsiteX72" fmla="*/ 0 w 315553"/>
              <a:gd name="connsiteY72" fmla="*/ 52652 h 315552"/>
              <a:gd name="connsiteX73" fmla="*/ 0 w 315553"/>
              <a:gd name="connsiteY73" fmla="*/ 4688 h 315552"/>
              <a:gd name="connsiteX74" fmla="*/ 4683 w 315553"/>
              <a:gd name="connsiteY74" fmla="*/ 0 h 3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315553" h="315552">
                <a:moveTo>
                  <a:pt x="157776" y="101432"/>
                </a:moveTo>
                <a:cubicBezTo>
                  <a:pt x="151645" y="101432"/>
                  <a:pt x="143709" y="104670"/>
                  <a:pt x="140463" y="113307"/>
                </a:cubicBezTo>
                <a:lnTo>
                  <a:pt x="124954" y="154692"/>
                </a:lnTo>
                <a:lnTo>
                  <a:pt x="170761" y="143896"/>
                </a:lnTo>
                <a:cubicBezTo>
                  <a:pt x="173286" y="143176"/>
                  <a:pt x="176172" y="144616"/>
                  <a:pt x="176532" y="147135"/>
                </a:cubicBezTo>
                <a:cubicBezTo>
                  <a:pt x="177254" y="150014"/>
                  <a:pt x="175811" y="152533"/>
                  <a:pt x="173286" y="153252"/>
                </a:cubicBezTo>
                <a:lnTo>
                  <a:pt x="120986" y="165488"/>
                </a:lnTo>
                <a:lnTo>
                  <a:pt x="102591" y="215509"/>
                </a:lnTo>
                <a:lnTo>
                  <a:pt x="186992" y="194997"/>
                </a:lnTo>
                <a:cubicBezTo>
                  <a:pt x="189517" y="194637"/>
                  <a:pt x="192042" y="196077"/>
                  <a:pt x="192763" y="198596"/>
                </a:cubicBezTo>
                <a:cubicBezTo>
                  <a:pt x="193485" y="201115"/>
                  <a:pt x="191681" y="203994"/>
                  <a:pt x="189156" y="204353"/>
                </a:cubicBezTo>
                <a:lnTo>
                  <a:pt x="98623" y="226305"/>
                </a:lnTo>
                <a:lnTo>
                  <a:pt x="80228" y="275967"/>
                </a:lnTo>
                <a:lnTo>
                  <a:pt x="205388" y="245738"/>
                </a:lnTo>
                <a:cubicBezTo>
                  <a:pt x="207912" y="245018"/>
                  <a:pt x="210798" y="246818"/>
                  <a:pt x="211159" y="249337"/>
                </a:cubicBezTo>
                <a:cubicBezTo>
                  <a:pt x="211880" y="251856"/>
                  <a:pt x="210437" y="254375"/>
                  <a:pt x="207912" y="255095"/>
                </a:cubicBezTo>
                <a:lnTo>
                  <a:pt x="76260" y="286763"/>
                </a:lnTo>
                <a:lnTo>
                  <a:pt x="69047" y="306196"/>
                </a:lnTo>
                <a:lnTo>
                  <a:pt x="246867" y="306196"/>
                </a:lnTo>
                <a:lnTo>
                  <a:pt x="175090" y="113307"/>
                </a:lnTo>
                <a:cubicBezTo>
                  <a:pt x="171843" y="104670"/>
                  <a:pt x="163908" y="101432"/>
                  <a:pt x="157776" y="101432"/>
                </a:cubicBezTo>
                <a:close/>
                <a:moveTo>
                  <a:pt x="157776" y="92075"/>
                </a:moveTo>
                <a:cubicBezTo>
                  <a:pt x="169679" y="92075"/>
                  <a:pt x="180139" y="98913"/>
                  <a:pt x="184107" y="110068"/>
                </a:cubicBezTo>
                <a:lnTo>
                  <a:pt x="256966" y="306196"/>
                </a:lnTo>
                <a:lnTo>
                  <a:pt x="277526" y="306196"/>
                </a:lnTo>
                <a:cubicBezTo>
                  <a:pt x="280050" y="306196"/>
                  <a:pt x="282215" y="308355"/>
                  <a:pt x="282215" y="311234"/>
                </a:cubicBezTo>
                <a:cubicBezTo>
                  <a:pt x="282215" y="313753"/>
                  <a:pt x="280050" y="315552"/>
                  <a:pt x="277526" y="315552"/>
                </a:cubicBezTo>
                <a:lnTo>
                  <a:pt x="253359" y="315552"/>
                </a:lnTo>
                <a:lnTo>
                  <a:pt x="61833" y="315552"/>
                </a:lnTo>
                <a:lnTo>
                  <a:pt x="38027" y="315552"/>
                </a:lnTo>
                <a:cubicBezTo>
                  <a:pt x="35502" y="315552"/>
                  <a:pt x="33338" y="313753"/>
                  <a:pt x="33338" y="311234"/>
                </a:cubicBezTo>
                <a:cubicBezTo>
                  <a:pt x="33338" y="308355"/>
                  <a:pt x="35502" y="306196"/>
                  <a:pt x="38027" y="306196"/>
                </a:cubicBezTo>
                <a:lnTo>
                  <a:pt x="58947" y="306196"/>
                </a:lnTo>
                <a:lnTo>
                  <a:pt x="131807" y="110068"/>
                </a:lnTo>
                <a:cubicBezTo>
                  <a:pt x="135774" y="98913"/>
                  <a:pt x="145874" y="92075"/>
                  <a:pt x="157776" y="92075"/>
                </a:cubicBezTo>
                <a:close/>
                <a:moveTo>
                  <a:pt x="282399" y="25728"/>
                </a:moveTo>
                <a:cubicBezTo>
                  <a:pt x="284163" y="23812"/>
                  <a:pt x="286985" y="23812"/>
                  <a:pt x="289102" y="25728"/>
                </a:cubicBezTo>
                <a:cubicBezTo>
                  <a:pt x="289808" y="26878"/>
                  <a:pt x="290160" y="28027"/>
                  <a:pt x="290160" y="29560"/>
                </a:cubicBezTo>
                <a:cubicBezTo>
                  <a:pt x="290160" y="30710"/>
                  <a:pt x="289808" y="31859"/>
                  <a:pt x="289102" y="33009"/>
                </a:cubicBezTo>
                <a:cubicBezTo>
                  <a:pt x="288044" y="33775"/>
                  <a:pt x="286985" y="34542"/>
                  <a:pt x="285574" y="34542"/>
                </a:cubicBezTo>
                <a:cubicBezTo>
                  <a:pt x="284516" y="34542"/>
                  <a:pt x="283105" y="33775"/>
                  <a:pt x="282399" y="33009"/>
                </a:cubicBezTo>
                <a:cubicBezTo>
                  <a:pt x="281341" y="31859"/>
                  <a:pt x="280988" y="30710"/>
                  <a:pt x="280988" y="29560"/>
                </a:cubicBezTo>
                <a:cubicBezTo>
                  <a:pt x="280988" y="28027"/>
                  <a:pt x="281341" y="26878"/>
                  <a:pt x="282399" y="25728"/>
                </a:cubicBezTo>
                <a:close/>
                <a:moveTo>
                  <a:pt x="220436" y="25728"/>
                </a:moveTo>
                <a:cubicBezTo>
                  <a:pt x="222137" y="23812"/>
                  <a:pt x="225198" y="23812"/>
                  <a:pt x="226899" y="25728"/>
                </a:cubicBezTo>
                <a:cubicBezTo>
                  <a:pt x="227580" y="26878"/>
                  <a:pt x="228260" y="28027"/>
                  <a:pt x="228260" y="29560"/>
                </a:cubicBezTo>
                <a:cubicBezTo>
                  <a:pt x="228260" y="30710"/>
                  <a:pt x="227580" y="31859"/>
                  <a:pt x="226899" y="33009"/>
                </a:cubicBezTo>
                <a:cubicBezTo>
                  <a:pt x="226219" y="33775"/>
                  <a:pt x="224858" y="34542"/>
                  <a:pt x="223498" y="34542"/>
                </a:cubicBezTo>
                <a:cubicBezTo>
                  <a:pt x="222477" y="34542"/>
                  <a:pt x="221456" y="33775"/>
                  <a:pt x="220436" y="33009"/>
                </a:cubicBezTo>
                <a:cubicBezTo>
                  <a:pt x="219756" y="31859"/>
                  <a:pt x="219075" y="30710"/>
                  <a:pt x="219075" y="29560"/>
                </a:cubicBezTo>
                <a:cubicBezTo>
                  <a:pt x="219075" y="28027"/>
                  <a:pt x="219756" y="26878"/>
                  <a:pt x="220436" y="25728"/>
                </a:cubicBezTo>
                <a:close/>
                <a:moveTo>
                  <a:pt x="254001" y="23812"/>
                </a:moveTo>
                <a:cubicBezTo>
                  <a:pt x="256382" y="23812"/>
                  <a:pt x="258423" y="25853"/>
                  <a:pt x="258423" y="28574"/>
                </a:cubicBezTo>
                <a:cubicBezTo>
                  <a:pt x="258423" y="30956"/>
                  <a:pt x="256382" y="32997"/>
                  <a:pt x="254001" y="32997"/>
                </a:cubicBezTo>
                <a:cubicBezTo>
                  <a:pt x="251279" y="32997"/>
                  <a:pt x="249238" y="30956"/>
                  <a:pt x="249238" y="28574"/>
                </a:cubicBezTo>
                <a:cubicBezTo>
                  <a:pt x="249238" y="25853"/>
                  <a:pt x="251279" y="23812"/>
                  <a:pt x="254001" y="23812"/>
                </a:cubicBezTo>
                <a:close/>
                <a:moveTo>
                  <a:pt x="9726" y="9376"/>
                </a:moveTo>
                <a:lnTo>
                  <a:pt x="9726" y="47603"/>
                </a:lnTo>
                <a:lnTo>
                  <a:pt x="306187" y="47603"/>
                </a:lnTo>
                <a:lnTo>
                  <a:pt x="306187" y="9376"/>
                </a:lnTo>
                <a:close/>
                <a:moveTo>
                  <a:pt x="4683" y="0"/>
                </a:moveTo>
                <a:lnTo>
                  <a:pt x="310510" y="0"/>
                </a:lnTo>
                <a:cubicBezTo>
                  <a:pt x="313392" y="0"/>
                  <a:pt x="315553" y="2164"/>
                  <a:pt x="315553" y="4688"/>
                </a:cubicBezTo>
                <a:lnTo>
                  <a:pt x="315553" y="52652"/>
                </a:lnTo>
                <a:lnTo>
                  <a:pt x="315553" y="311224"/>
                </a:lnTo>
                <a:cubicBezTo>
                  <a:pt x="315553" y="313748"/>
                  <a:pt x="313392" y="315552"/>
                  <a:pt x="310510" y="315552"/>
                </a:cubicBezTo>
                <a:cubicBezTo>
                  <a:pt x="308349" y="315552"/>
                  <a:pt x="306187" y="313748"/>
                  <a:pt x="306187" y="311224"/>
                </a:cubicBezTo>
                <a:lnTo>
                  <a:pt x="306187" y="57340"/>
                </a:lnTo>
                <a:lnTo>
                  <a:pt x="9726" y="57340"/>
                </a:lnTo>
                <a:lnTo>
                  <a:pt x="9726" y="311224"/>
                </a:lnTo>
                <a:cubicBezTo>
                  <a:pt x="9726" y="313748"/>
                  <a:pt x="7564" y="315552"/>
                  <a:pt x="4683" y="315552"/>
                </a:cubicBezTo>
                <a:cubicBezTo>
                  <a:pt x="2161" y="315552"/>
                  <a:pt x="0" y="313748"/>
                  <a:pt x="0" y="311224"/>
                </a:cubicBezTo>
                <a:lnTo>
                  <a:pt x="0" y="52652"/>
                </a:lnTo>
                <a:lnTo>
                  <a:pt x="0" y="4688"/>
                </a:lnTo>
                <a:cubicBezTo>
                  <a:pt x="0" y="2164"/>
                  <a:pt x="2161" y="0"/>
                  <a:pt x="46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5" name="Freeform 32">
            <a:extLst>
              <a:ext uri="{FF2B5EF4-FFF2-40B4-BE49-F238E27FC236}">
                <a16:creationId xmlns:a16="http://schemas.microsoft.com/office/drawing/2014/main" id="{07AEF136-7E86-790A-28DE-FBC88FF20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20" y="3055694"/>
            <a:ext cx="459791" cy="620809"/>
          </a:xfrm>
          <a:custGeom>
            <a:avLst/>
            <a:gdLst>
              <a:gd name="connsiteX0" fmla="*/ 171273 w 226653"/>
              <a:gd name="connsiteY0" fmla="*/ 260350 h 306027"/>
              <a:gd name="connsiteX1" fmla="*/ 175859 w 226653"/>
              <a:gd name="connsiteY1" fmla="*/ 264936 h 306027"/>
              <a:gd name="connsiteX2" fmla="*/ 171273 w 226653"/>
              <a:gd name="connsiteY2" fmla="*/ 269522 h 306027"/>
              <a:gd name="connsiteX3" fmla="*/ 166687 w 226653"/>
              <a:gd name="connsiteY3" fmla="*/ 264936 h 306027"/>
              <a:gd name="connsiteX4" fmla="*/ 171273 w 226653"/>
              <a:gd name="connsiteY4" fmla="*/ 260350 h 306027"/>
              <a:gd name="connsiteX5" fmla="*/ 185371 w 226653"/>
              <a:gd name="connsiteY5" fmla="*/ 228600 h 306027"/>
              <a:gd name="connsiteX6" fmla="*/ 190134 w 226653"/>
              <a:gd name="connsiteY6" fmla="*/ 233186 h 306027"/>
              <a:gd name="connsiteX7" fmla="*/ 185371 w 226653"/>
              <a:gd name="connsiteY7" fmla="*/ 237772 h 306027"/>
              <a:gd name="connsiteX8" fmla="*/ 180975 w 226653"/>
              <a:gd name="connsiteY8" fmla="*/ 233186 h 306027"/>
              <a:gd name="connsiteX9" fmla="*/ 185371 w 226653"/>
              <a:gd name="connsiteY9" fmla="*/ 228600 h 306027"/>
              <a:gd name="connsiteX10" fmla="*/ 166511 w 226653"/>
              <a:gd name="connsiteY10" fmla="*/ 195263 h 306027"/>
              <a:gd name="connsiteX11" fmla="*/ 171097 w 226653"/>
              <a:gd name="connsiteY11" fmla="*/ 199849 h 306027"/>
              <a:gd name="connsiteX12" fmla="*/ 166511 w 226653"/>
              <a:gd name="connsiteY12" fmla="*/ 204435 h 306027"/>
              <a:gd name="connsiteX13" fmla="*/ 161925 w 226653"/>
              <a:gd name="connsiteY13" fmla="*/ 199849 h 306027"/>
              <a:gd name="connsiteX14" fmla="*/ 166511 w 226653"/>
              <a:gd name="connsiteY14" fmla="*/ 195263 h 306027"/>
              <a:gd name="connsiteX15" fmla="*/ 195086 w 226653"/>
              <a:gd name="connsiteY15" fmla="*/ 168275 h 306027"/>
              <a:gd name="connsiteX16" fmla="*/ 199672 w 226653"/>
              <a:gd name="connsiteY16" fmla="*/ 172861 h 306027"/>
              <a:gd name="connsiteX17" fmla="*/ 195086 w 226653"/>
              <a:gd name="connsiteY17" fmla="*/ 177447 h 306027"/>
              <a:gd name="connsiteX18" fmla="*/ 190500 w 226653"/>
              <a:gd name="connsiteY18" fmla="*/ 172861 h 306027"/>
              <a:gd name="connsiteX19" fmla="*/ 195086 w 226653"/>
              <a:gd name="connsiteY19" fmla="*/ 168275 h 306027"/>
              <a:gd name="connsiteX20" fmla="*/ 166511 w 226653"/>
              <a:gd name="connsiteY20" fmla="*/ 146050 h 306027"/>
              <a:gd name="connsiteX21" fmla="*/ 171097 w 226653"/>
              <a:gd name="connsiteY21" fmla="*/ 150446 h 306027"/>
              <a:gd name="connsiteX22" fmla="*/ 166511 w 226653"/>
              <a:gd name="connsiteY22" fmla="*/ 155209 h 306027"/>
              <a:gd name="connsiteX23" fmla="*/ 161925 w 226653"/>
              <a:gd name="connsiteY23" fmla="*/ 150446 h 306027"/>
              <a:gd name="connsiteX24" fmla="*/ 166511 w 226653"/>
              <a:gd name="connsiteY24" fmla="*/ 146050 h 306027"/>
              <a:gd name="connsiteX25" fmla="*/ 96063 w 226653"/>
              <a:gd name="connsiteY25" fmla="*/ 142378 h 306027"/>
              <a:gd name="connsiteX26" fmla="*/ 102085 w 226653"/>
              <a:gd name="connsiteY26" fmla="*/ 143831 h 306027"/>
              <a:gd name="connsiteX27" fmla="*/ 112358 w 226653"/>
              <a:gd name="connsiteY27" fmla="*/ 175076 h 306027"/>
              <a:gd name="connsiteX28" fmla="*/ 74455 w 226653"/>
              <a:gd name="connsiteY28" fmla="*/ 213950 h 306027"/>
              <a:gd name="connsiteX29" fmla="*/ 69850 w 226653"/>
              <a:gd name="connsiteY29" fmla="*/ 209227 h 306027"/>
              <a:gd name="connsiteX30" fmla="*/ 74455 w 226653"/>
              <a:gd name="connsiteY30" fmla="*/ 204504 h 306027"/>
              <a:gd name="connsiteX31" fmla="*/ 103148 w 226653"/>
              <a:gd name="connsiteY31" fmla="*/ 175076 h 306027"/>
              <a:gd name="connsiteX32" fmla="*/ 94646 w 226653"/>
              <a:gd name="connsiteY32" fmla="*/ 148918 h 306027"/>
              <a:gd name="connsiteX33" fmla="*/ 96063 w 226653"/>
              <a:gd name="connsiteY33" fmla="*/ 142378 h 306027"/>
              <a:gd name="connsiteX34" fmla="*/ 180975 w 226653"/>
              <a:gd name="connsiteY34" fmla="*/ 117475 h 306027"/>
              <a:gd name="connsiteX35" fmla="*/ 185371 w 226653"/>
              <a:gd name="connsiteY35" fmla="*/ 122237 h 306027"/>
              <a:gd name="connsiteX36" fmla="*/ 180975 w 226653"/>
              <a:gd name="connsiteY36" fmla="*/ 126634 h 306027"/>
              <a:gd name="connsiteX37" fmla="*/ 176212 w 226653"/>
              <a:gd name="connsiteY37" fmla="*/ 122237 h 306027"/>
              <a:gd name="connsiteX38" fmla="*/ 180975 w 226653"/>
              <a:gd name="connsiteY38" fmla="*/ 117475 h 306027"/>
              <a:gd name="connsiteX39" fmla="*/ 156986 w 226653"/>
              <a:gd name="connsiteY39" fmla="*/ 93663 h 306027"/>
              <a:gd name="connsiteX40" fmla="*/ 161572 w 226653"/>
              <a:gd name="connsiteY40" fmla="*/ 98602 h 306027"/>
              <a:gd name="connsiteX41" fmla="*/ 156986 w 226653"/>
              <a:gd name="connsiteY41" fmla="*/ 102835 h 306027"/>
              <a:gd name="connsiteX42" fmla="*/ 152400 w 226653"/>
              <a:gd name="connsiteY42" fmla="*/ 98602 h 306027"/>
              <a:gd name="connsiteX43" fmla="*/ 156986 w 226653"/>
              <a:gd name="connsiteY43" fmla="*/ 93663 h 306027"/>
              <a:gd name="connsiteX44" fmla="*/ 73460 w 226653"/>
              <a:gd name="connsiteY44" fmla="*/ 61115 h 306027"/>
              <a:gd name="connsiteX45" fmla="*/ 9317 w 226653"/>
              <a:gd name="connsiteY45" fmla="*/ 176167 h 306027"/>
              <a:gd name="connsiteX46" fmla="*/ 73460 w 226653"/>
              <a:gd name="connsiteY46" fmla="*/ 241087 h 306027"/>
              <a:gd name="connsiteX47" fmla="*/ 137962 w 226653"/>
              <a:gd name="connsiteY47" fmla="*/ 176167 h 306027"/>
              <a:gd name="connsiteX48" fmla="*/ 73460 w 226653"/>
              <a:gd name="connsiteY48" fmla="*/ 61115 h 306027"/>
              <a:gd name="connsiteX49" fmla="*/ 70594 w 226653"/>
              <a:gd name="connsiteY49" fmla="*/ 51016 h 306027"/>
              <a:gd name="connsiteX50" fmla="*/ 76685 w 226653"/>
              <a:gd name="connsiteY50" fmla="*/ 51016 h 306027"/>
              <a:gd name="connsiteX51" fmla="*/ 147279 w 226653"/>
              <a:gd name="connsiteY51" fmla="*/ 176167 h 306027"/>
              <a:gd name="connsiteX52" fmla="*/ 73460 w 226653"/>
              <a:gd name="connsiteY52" fmla="*/ 250464 h 306027"/>
              <a:gd name="connsiteX53" fmla="*/ 0 w 226653"/>
              <a:gd name="connsiteY53" fmla="*/ 176167 h 306027"/>
              <a:gd name="connsiteX54" fmla="*/ 70594 w 226653"/>
              <a:gd name="connsiteY54" fmla="*/ 51016 h 306027"/>
              <a:gd name="connsiteX55" fmla="*/ 134228 w 226653"/>
              <a:gd name="connsiteY55" fmla="*/ 9383 h 306027"/>
              <a:gd name="connsiteX56" fmla="*/ 134228 w 226653"/>
              <a:gd name="connsiteY56" fmla="*/ 59545 h 306027"/>
              <a:gd name="connsiteX57" fmla="*/ 169112 w 226653"/>
              <a:gd name="connsiteY57" fmla="*/ 58463 h 306027"/>
              <a:gd name="connsiteX58" fmla="*/ 208312 w 226653"/>
              <a:gd name="connsiteY58" fmla="*/ 55576 h 306027"/>
              <a:gd name="connsiteX59" fmla="*/ 208312 w 226653"/>
              <a:gd name="connsiteY59" fmla="*/ 9383 h 306027"/>
              <a:gd name="connsiteX60" fmla="*/ 120562 w 226653"/>
              <a:gd name="connsiteY60" fmla="*/ 0 h 306027"/>
              <a:gd name="connsiteX61" fmla="*/ 129913 w 226653"/>
              <a:gd name="connsiteY61" fmla="*/ 0 h 306027"/>
              <a:gd name="connsiteX62" fmla="*/ 212987 w 226653"/>
              <a:gd name="connsiteY62" fmla="*/ 0 h 306027"/>
              <a:gd name="connsiteX63" fmla="*/ 221977 w 226653"/>
              <a:gd name="connsiteY63" fmla="*/ 0 h 306027"/>
              <a:gd name="connsiteX64" fmla="*/ 226653 w 226653"/>
              <a:gd name="connsiteY64" fmla="*/ 4691 h 306027"/>
              <a:gd name="connsiteX65" fmla="*/ 221977 w 226653"/>
              <a:gd name="connsiteY65" fmla="*/ 9383 h 306027"/>
              <a:gd name="connsiteX66" fmla="*/ 217302 w 226653"/>
              <a:gd name="connsiteY66" fmla="*/ 9383 h 306027"/>
              <a:gd name="connsiteX67" fmla="*/ 217302 w 226653"/>
              <a:gd name="connsiteY67" fmla="*/ 259474 h 306027"/>
              <a:gd name="connsiteX68" fmla="*/ 171270 w 226653"/>
              <a:gd name="connsiteY68" fmla="*/ 306027 h 306027"/>
              <a:gd name="connsiteX69" fmla="*/ 125237 w 226653"/>
              <a:gd name="connsiteY69" fmla="*/ 259474 h 306027"/>
              <a:gd name="connsiteX70" fmla="*/ 125237 w 226653"/>
              <a:gd name="connsiteY70" fmla="*/ 245399 h 306027"/>
              <a:gd name="connsiteX71" fmla="*/ 129913 w 226653"/>
              <a:gd name="connsiteY71" fmla="*/ 240708 h 306027"/>
              <a:gd name="connsiteX72" fmla="*/ 134228 w 226653"/>
              <a:gd name="connsiteY72" fmla="*/ 245399 h 306027"/>
              <a:gd name="connsiteX73" fmla="*/ 134228 w 226653"/>
              <a:gd name="connsiteY73" fmla="*/ 259474 h 306027"/>
              <a:gd name="connsiteX74" fmla="*/ 171270 w 226653"/>
              <a:gd name="connsiteY74" fmla="*/ 296644 h 306027"/>
              <a:gd name="connsiteX75" fmla="*/ 208312 w 226653"/>
              <a:gd name="connsiteY75" fmla="*/ 259474 h 306027"/>
              <a:gd name="connsiteX76" fmla="*/ 208312 w 226653"/>
              <a:gd name="connsiteY76" fmla="*/ 65319 h 306027"/>
              <a:gd name="connsiteX77" fmla="*/ 173428 w 226653"/>
              <a:gd name="connsiteY77" fmla="*/ 66402 h 306027"/>
              <a:gd name="connsiteX78" fmla="*/ 150411 w 226653"/>
              <a:gd name="connsiteY78" fmla="*/ 71815 h 306027"/>
              <a:gd name="connsiteX79" fmla="*/ 134228 w 226653"/>
              <a:gd name="connsiteY79" fmla="*/ 69289 h 306027"/>
              <a:gd name="connsiteX80" fmla="*/ 134228 w 226653"/>
              <a:gd name="connsiteY80" fmla="*/ 92746 h 306027"/>
              <a:gd name="connsiteX81" fmla="*/ 129913 w 226653"/>
              <a:gd name="connsiteY81" fmla="*/ 97438 h 306027"/>
              <a:gd name="connsiteX82" fmla="*/ 125237 w 226653"/>
              <a:gd name="connsiteY82" fmla="*/ 92746 h 306027"/>
              <a:gd name="connsiteX83" fmla="*/ 125237 w 226653"/>
              <a:gd name="connsiteY83" fmla="*/ 9383 h 306027"/>
              <a:gd name="connsiteX84" fmla="*/ 120562 w 226653"/>
              <a:gd name="connsiteY84" fmla="*/ 9383 h 306027"/>
              <a:gd name="connsiteX85" fmla="*/ 115887 w 226653"/>
              <a:gd name="connsiteY85" fmla="*/ 4691 h 306027"/>
              <a:gd name="connsiteX86" fmla="*/ 120562 w 226653"/>
              <a:gd name="connsiteY86" fmla="*/ 0 h 30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226653" h="306027">
                <a:moveTo>
                  <a:pt x="171273" y="260350"/>
                </a:moveTo>
                <a:cubicBezTo>
                  <a:pt x="173743" y="260350"/>
                  <a:pt x="175859" y="262467"/>
                  <a:pt x="175859" y="264936"/>
                </a:cubicBezTo>
                <a:cubicBezTo>
                  <a:pt x="175859" y="267406"/>
                  <a:pt x="173743" y="269522"/>
                  <a:pt x="171273" y="269522"/>
                </a:cubicBezTo>
                <a:cubicBezTo>
                  <a:pt x="168804" y="269522"/>
                  <a:pt x="166687" y="267406"/>
                  <a:pt x="166687" y="264936"/>
                </a:cubicBezTo>
                <a:cubicBezTo>
                  <a:pt x="166687" y="262467"/>
                  <a:pt x="168804" y="260350"/>
                  <a:pt x="171273" y="260350"/>
                </a:cubicBezTo>
                <a:close/>
                <a:moveTo>
                  <a:pt x="185371" y="228600"/>
                </a:moveTo>
                <a:cubicBezTo>
                  <a:pt x="188302" y="228600"/>
                  <a:pt x="190134" y="230717"/>
                  <a:pt x="190134" y="233186"/>
                </a:cubicBezTo>
                <a:cubicBezTo>
                  <a:pt x="190134" y="235656"/>
                  <a:pt x="188302" y="237772"/>
                  <a:pt x="185371" y="237772"/>
                </a:cubicBezTo>
                <a:cubicBezTo>
                  <a:pt x="182807" y="237772"/>
                  <a:pt x="180975" y="235656"/>
                  <a:pt x="180975" y="233186"/>
                </a:cubicBezTo>
                <a:cubicBezTo>
                  <a:pt x="180975" y="230717"/>
                  <a:pt x="182807" y="228600"/>
                  <a:pt x="185371" y="228600"/>
                </a:cubicBezTo>
                <a:close/>
                <a:moveTo>
                  <a:pt x="166511" y="195263"/>
                </a:moveTo>
                <a:cubicBezTo>
                  <a:pt x="168981" y="195263"/>
                  <a:pt x="171097" y="197380"/>
                  <a:pt x="171097" y="199849"/>
                </a:cubicBezTo>
                <a:cubicBezTo>
                  <a:pt x="171097" y="202319"/>
                  <a:pt x="168981" y="204435"/>
                  <a:pt x="166511" y="204435"/>
                </a:cubicBezTo>
                <a:cubicBezTo>
                  <a:pt x="164042" y="204435"/>
                  <a:pt x="161925" y="202319"/>
                  <a:pt x="161925" y="199849"/>
                </a:cubicBezTo>
                <a:cubicBezTo>
                  <a:pt x="161925" y="197380"/>
                  <a:pt x="164042" y="195263"/>
                  <a:pt x="166511" y="195263"/>
                </a:cubicBezTo>
                <a:close/>
                <a:moveTo>
                  <a:pt x="195086" y="168275"/>
                </a:moveTo>
                <a:cubicBezTo>
                  <a:pt x="197556" y="168275"/>
                  <a:pt x="199672" y="170392"/>
                  <a:pt x="199672" y="172861"/>
                </a:cubicBezTo>
                <a:cubicBezTo>
                  <a:pt x="199672" y="175331"/>
                  <a:pt x="197556" y="177447"/>
                  <a:pt x="195086" y="177447"/>
                </a:cubicBezTo>
                <a:cubicBezTo>
                  <a:pt x="192617" y="177447"/>
                  <a:pt x="190500" y="175331"/>
                  <a:pt x="190500" y="172861"/>
                </a:cubicBezTo>
                <a:cubicBezTo>
                  <a:pt x="190500" y="170392"/>
                  <a:pt x="192617" y="168275"/>
                  <a:pt x="195086" y="168275"/>
                </a:cubicBezTo>
                <a:close/>
                <a:moveTo>
                  <a:pt x="166511" y="146050"/>
                </a:moveTo>
                <a:cubicBezTo>
                  <a:pt x="168981" y="146050"/>
                  <a:pt x="171097" y="147882"/>
                  <a:pt x="171097" y="150446"/>
                </a:cubicBezTo>
                <a:cubicBezTo>
                  <a:pt x="171097" y="153011"/>
                  <a:pt x="168981" y="155209"/>
                  <a:pt x="166511" y="155209"/>
                </a:cubicBezTo>
                <a:cubicBezTo>
                  <a:pt x="164042" y="155209"/>
                  <a:pt x="161925" y="153011"/>
                  <a:pt x="161925" y="150446"/>
                </a:cubicBezTo>
                <a:cubicBezTo>
                  <a:pt x="161925" y="147882"/>
                  <a:pt x="164042" y="146050"/>
                  <a:pt x="166511" y="146050"/>
                </a:cubicBezTo>
                <a:close/>
                <a:moveTo>
                  <a:pt x="96063" y="142378"/>
                </a:moveTo>
                <a:cubicBezTo>
                  <a:pt x="98189" y="141288"/>
                  <a:pt x="101022" y="141651"/>
                  <a:pt x="102085" y="143831"/>
                </a:cubicBezTo>
                <a:cubicBezTo>
                  <a:pt x="108816" y="155457"/>
                  <a:pt x="112358" y="166356"/>
                  <a:pt x="112358" y="175076"/>
                </a:cubicBezTo>
                <a:cubicBezTo>
                  <a:pt x="112358" y="196511"/>
                  <a:pt x="95355" y="213950"/>
                  <a:pt x="74455" y="213950"/>
                </a:cubicBezTo>
                <a:cubicBezTo>
                  <a:pt x="71976" y="213950"/>
                  <a:pt x="69850" y="211770"/>
                  <a:pt x="69850" y="209227"/>
                </a:cubicBezTo>
                <a:cubicBezTo>
                  <a:pt x="69850" y="206684"/>
                  <a:pt x="71976" y="204504"/>
                  <a:pt x="74455" y="204504"/>
                </a:cubicBezTo>
                <a:cubicBezTo>
                  <a:pt x="90396" y="204504"/>
                  <a:pt x="103148" y="191425"/>
                  <a:pt x="103148" y="175076"/>
                </a:cubicBezTo>
                <a:cubicBezTo>
                  <a:pt x="103148" y="167446"/>
                  <a:pt x="100314" y="159090"/>
                  <a:pt x="94646" y="148918"/>
                </a:cubicBezTo>
                <a:cubicBezTo>
                  <a:pt x="93229" y="146374"/>
                  <a:pt x="93938" y="143831"/>
                  <a:pt x="96063" y="142378"/>
                </a:cubicBezTo>
                <a:close/>
                <a:moveTo>
                  <a:pt x="180975" y="117475"/>
                </a:moveTo>
                <a:cubicBezTo>
                  <a:pt x="183539" y="117475"/>
                  <a:pt x="185371" y="119307"/>
                  <a:pt x="185371" y="122237"/>
                </a:cubicBezTo>
                <a:cubicBezTo>
                  <a:pt x="185371" y="124802"/>
                  <a:pt x="183539" y="126634"/>
                  <a:pt x="180975" y="126634"/>
                </a:cubicBezTo>
                <a:cubicBezTo>
                  <a:pt x="178044" y="126634"/>
                  <a:pt x="176212" y="124802"/>
                  <a:pt x="176212" y="122237"/>
                </a:cubicBezTo>
                <a:cubicBezTo>
                  <a:pt x="176212" y="119307"/>
                  <a:pt x="178044" y="117475"/>
                  <a:pt x="180975" y="117475"/>
                </a:cubicBezTo>
                <a:close/>
                <a:moveTo>
                  <a:pt x="156986" y="93663"/>
                </a:moveTo>
                <a:cubicBezTo>
                  <a:pt x="159456" y="93663"/>
                  <a:pt x="161572" y="95780"/>
                  <a:pt x="161572" y="98602"/>
                </a:cubicBezTo>
                <a:cubicBezTo>
                  <a:pt x="161572" y="100718"/>
                  <a:pt x="159456" y="102835"/>
                  <a:pt x="156986" y="102835"/>
                </a:cubicBezTo>
                <a:cubicBezTo>
                  <a:pt x="154517" y="102835"/>
                  <a:pt x="152400" y="100718"/>
                  <a:pt x="152400" y="98602"/>
                </a:cubicBezTo>
                <a:cubicBezTo>
                  <a:pt x="152400" y="95780"/>
                  <a:pt x="154517" y="93663"/>
                  <a:pt x="156986" y="93663"/>
                </a:cubicBezTo>
                <a:close/>
                <a:moveTo>
                  <a:pt x="73460" y="61115"/>
                </a:moveTo>
                <a:cubicBezTo>
                  <a:pt x="60201" y="74820"/>
                  <a:pt x="9317" y="130363"/>
                  <a:pt x="9317" y="176167"/>
                </a:cubicBezTo>
                <a:cubicBezTo>
                  <a:pt x="9317" y="212234"/>
                  <a:pt x="37984" y="241087"/>
                  <a:pt x="73460" y="241087"/>
                </a:cubicBezTo>
                <a:cubicBezTo>
                  <a:pt x="108936" y="241087"/>
                  <a:pt x="137962" y="212234"/>
                  <a:pt x="137962" y="176167"/>
                </a:cubicBezTo>
                <a:cubicBezTo>
                  <a:pt x="137962" y="130363"/>
                  <a:pt x="87077" y="74820"/>
                  <a:pt x="73460" y="61115"/>
                </a:cubicBezTo>
                <a:close/>
                <a:moveTo>
                  <a:pt x="70594" y="51016"/>
                </a:moveTo>
                <a:cubicBezTo>
                  <a:pt x="72027" y="49213"/>
                  <a:pt x="74894" y="49213"/>
                  <a:pt x="76685" y="51016"/>
                </a:cubicBezTo>
                <a:cubicBezTo>
                  <a:pt x="79552" y="53902"/>
                  <a:pt x="147279" y="119543"/>
                  <a:pt x="147279" y="176167"/>
                </a:cubicBezTo>
                <a:cubicBezTo>
                  <a:pt x="147279" y="217283"/>
                  <a:pt x="114311" y="250464"/>
                  <a:pt x="73460" y="250464"/>
                </a:cubicBezTo>
                <a:cubicBezTo>
                  <a:pt x="32967" y="250464"/>
                  <a:pt x="0" y="217283"/>
                  <a:pt x="0" y="176167"/>
                </a:cubicBezTo>
                <a:cubicBezTo>
                  <a:pt x="0" y="119543"/>
                  <a:pt x="67368" y="53902"/>
                  <a:pt x="70594" y="51016"/>
                </a:cubicBezTo>
                <a:close/>
                <a:moveTo>
                  <a:pt x="134228" y="9383"/>
                </a:moveTo>
                <a:lnTo>
                  <a:pt x="134228" y="59545"/>
                </a:lnTo>
                <a:cubicBezTo>
                  <a:pt x="144657" y="63876"/>
                  <a:pt x="159762" y="63515"/>
                  <a:pt x="169112" y="58463"/>
                </a:cubicBezTo>
                <a:cubicBezTo>
                  <a:pt x="179901" y="52689"/>
                  <a:pt x="195725" y="51606"/>
                  <a:pt x="208312" y="55576"/>
                </a:cubicBezTo>
                <a:lnTo>
                  <a:pt x="208312" y="9383"/>
                </a:lnTo>
                <a:close/>
                <a:moveTo>
                  <a:pt x="120562" y="0"/>
                </a:moveTo>
                <a:lnTo>
                  <a:pt x="129913" y="0"/>
                </a:lnTo>
                <a:lnTo>
                  <a:pt x="212987" y="0"/>
                </a:lnTo>
                <a:lnTo>
                  <a:pt x="221977" y="0"/>
                </a:lnTo>
                <a:cubicBezTo>
                  <a:pt x="224495" y="0"/>
                  <a:pt x="226653" y="2165"/>
                  <a:pt x="226653" y="4691"/>
                </a:cubicBezTo>
                <a:cubicBezTo>
                  <a:pt x="226653" y="7217"/>
                  <a:pt x="224495" y="9383"/>
                  <a:pt x="221977" y="9383"/>
                </a:cubicBezTo>
                <a:lnTo>
                  <a:pt x="217302" y="9383"/>
                </a:lnTo>
                <a:lnTo>
                  <a:pt x="217302" y="259474"/>
                </a:lnTo>
                <a:cubicBezTo>
                  <a:pt x="217302" y="285096"/>
                  <a:pt x="196804" y="306027"/>
                  <a:pt x="171270" y="306027"/>
                </a:cubicBezTo>
                <a:cubicBezTo>
                  <a:pt x="145736" y="306027"/>
                  <a:pt x="125237" y="285096"/>
                  <a:pt x="125237" y="259474"/>
                </a:cubicBezTo>
                <a:lnTo>
                  <a:pt x="125237" y="245399"/>
                </a:lnTo>
                <a:cubicBezTo>
                  <a:pt x="125237" y="242873"/>
                  <a:pt x="127036" y="240708"/>
                  <a:pt x="129913" y="240708"/>
                </a:cubicBezTo>
                <a:cubicBezTo>
                  <a:pt x="132430" y="240708"/>
                  <a:pt x="134228" y="242873"/>
                  <a:pt x="134228" y="245399"/>
                </a:cubicBezTo>
                <a:lnTo>
                  <a:pt x="134228" y="259474"/>
                </a:lnTo>
                <a:cubicBezTo>
                  <a:pt x="134228" y="280044"/>
                  <a:pt x="150771" y="296644"/>
                  <a:pt x="171270" y="296644"/>
                </a:cubicBezTo>
                <a:cubicBezTo>
                  <a:pt x="191769" y="296644"/>
                  <a:pt x="208312" y="280044"/>
                  <a:pt x="208312" y="259474"/>
                </a:cubicBezTo>
                <a:lnTo>
                  <a:pt x="208312" y="65319"/>
                </a:lnTo>
                <a:cubicBezTo>
                  <a:pt x="197882" y="61350"/>
                  <a:pt x="182778" y="61711"/>
                  <a:pt x="173428" y="66402"/>
                </a:cubicBezTo>
                <a:cubicBezTo>
                  <a:pt x="166954" y="70011"/>
                  <a:pt x="159042" y="71815"/>
                  <a:pt x="150411" y="71815"/>
                </a:cubicBezTo>
                <a:cubicBezTo>
                  <a:pt x="145017" y="71815"/>
                  <a:pt x="139623" y="71093"/>
                  <a:pt x="134228" y="69289"/>
                </a:cubicBezTo>
                <a:lnTo>
                  <a:pt x="134228" y="92746"/>
                </a:lnTo>
                <a:cubicBezTo>
                  <a:pt x="134228" y="95272"/>
                  <a:pt x="132430" y="97438"/>
                  <a:pt x="129913" y="97438"/>
                </a:cubicBezTo>
                <a:cubicBezTo>
                  <a:pt x="127036" y="97438"/>
                  <a:pt x="125237" y="95272"/>
                  <a:pt x="125237" y="92746"/>
                </a:cubicBezTo>
                <a:lnTo>
                  <a:pt x="125237" y="9383"/>
                </a:lnTo>
                <a:lnTo>
                  <a:pt x="120562" y="9383"/>
                </a:lnTo>
                <a:cubicBezTo>
                  <a:pt x="118045" y="9383"/>
                  <a:pt x="115887" y="7217"/>
                  <a:pt x="115887" y="4691"/>
                </a:cubicBezTo>
                <a:cubicBezTo>
                  <a:pt x="115887" y="2165"/>
                  <a:pt x="118045" y="0"/>
                  <a:pt x="1205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6" name="Freeform 33">
            <a:extLst>
              <a:ext uri="{FF2B5EF4-FFF2-40B4-BE49-F238E27FC236}">
                <a16:creationId xmlns:a16="http://schemas.microsoft.com/office/drawing/2014/main" id="{9E6763C9-1336-CF36-4363-5F6FB702D1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15" y="4285625"/>
            <a:ext cx="538173" cy="534830"/>
          </a:xfrm>
          <a:custGeom>
            <a:avLst/>
            <a:gdLst>
              <a:gd name="connsiteX0" fmla="*/ 28448 w 306028"/>
              <a:gd name="connsiteY0" fmla="*/ 224238 h 304127"/>
              <a:gd name="connsiteX1" fmla="*/ 28448 w 306028"/>
              <a:gd name="connsiteY1" fmla="*/ 260583 h 304127"/>
              <a:gd name="connsiteX2" fmla="*/ 130354 w 306028"/>
              <a:gd name="connsiteY2" fmla="*/ 260583 h 304127"/>
              <a:gd name="connsiteX3" fmla="*/ 130354 w 306028"/>
              <a:gd name="connsiteY3" fmla="*/ 224238 h 304127"/>
              <a:gd name="connsiteX4" fmla="*/ 235090 w 306028"/>
              <a:gd name="connsiteY4" fmla="*/ 63546 h 304127"/>
              <a:gd name="connsiteX5" fmla="*/ 250214 w 306028"/>
              <a:gd name="connsiteY5" fmla="*/ 73974 h 304127"/>
              <a:gd name="connsiteX6" fmla="*/ 262097 w 306028"/>
              <a:gd name="connsiteY6" fmla="*/ 70378 h 304127"/>
              <a:gd name="connsiteX7" fmla="*/ 279381 w 306028"/>
              <a:gd name="connsiteY7" fmla="*/ 89438 h 304127"/>
              <a:gd name="connsiteX8" fmla="*/ 279381 w 306028"/>
              <a:gd name="connsiteY8" fmla="*/ 93034 h 304127"/>
              <a:gd name="connsiteX9" fmla="*/ 289104 w 306028"/>
              <a:gd name="connsiteY9" fmla="*/ 90876 h 304127"/>
              <a:gd name="connsiteX10" fmla="*/ 306028 w 306028"/>
              <a:gd name="connsiteY10" fmla="*/ 109576 h 304127"/>
              <a:gd name="connsiteX11" fmla="*/ 306028 w 306028"/>
              <a:gd name="connsiteY11" fmla="*/ 153449 h 304127"/>
              <a:gd name="connsiteX12" fmla="*/ 296306 w 306028"/>
              <a:gd name="connsiteY12" fmla="*/ 219618 h 304127"/>
              <a:gd name="connsiteX13" fmla="*/ 287663 w 306028"/>
              <a:gd name="connsiteY13" fmla="*/ 280032 h 304127"/>
              <a:gd name="connsiteX14" fmla="*/ 287663 w 306028"/>
              <a:gd name="connsiteY14" fmla="*/ 299452 h 304127"/>
              <a:gd name="connsiteX15" fmla="*/ 282982 w 306028"/>
              <a:gd name="connsiteY15" fmla="*/ 304127 h 304127"/>
              <a:gd name="connsiteX16" fmla="*/ 278301 w 306028"/>
              <a:gd name="connsiteY16" fmla="*/ 299452 h 304127"/>
              <a:gd name="connsiteX17" fmla="*/ 278301 w 306028"/>
              <a:gd name="connsiteY17" fmla="*/ 280032 h 304127"/>
              <a:gd name="connsiteX18" fmla="*/ 287663 w 306028"/>
              <a:gd name="connsiteY18" fmla="*/ 217100 h 304127"/>
              <a:gd name="connsiteX19" fmla="*/ 297026 w 306028"/>
              <a:gd name="connsiteY19" fmla="*/ 153449 h 304127"/>
              <a:gd name="connsiteX20" fmla="*/ 297026 w 306028"/>
              <a:gd name="connsiteY20" fmla="*/ 109576 h 304127"/>
              <a:gd name="connsiteX21" fmla="*/ 288744 w 306028"/>
              <a:gd name="connsiteY21" fmla="*/ 100226 h 304127"/>
              <a:gd name="connsiteX22" fmla="*/ 281902 w 306028"/>
              <a:gd name="connsiteY22" fmla="*/ 102384 h 304127"/>
              <a:gd name="connsiteX23" fmla="*/ 279381 w 306028"/>
              <a:gd name="connsiteY23" fmla="*/ 108857 h 304127"/>
              <a:gd name="connsiteX24" fmla="*/ 279381 w 306028"/>
              <a:gd name="connsiteY24" fmla="*/ 159203 h 304127"/>
              <a:gd name="connsiteX25" fmla="*/ 274700 w 306028"/>
              <a:gd name="connsiteY25" fmla="*/ 163518 h 304127"/>
              <a:gd name="connsiteX26" fmla="*/ 270019 w 306028"/>
              <a:gd name="connsiteY26" fmla="*/ 159203 h 304127"/>
              <a:gd name="connsiteX27" fmla="*/ 270019 w 306028"/>
              <a:gd name="connsiteY27" fmla="*/ 108857 h 304127"/>
              <a:gd name="connsiteX28" fmla="*/ 270019 w 306028"/>
              <a:gd name="connsiteY28" fmla="*/ 89438 h 304127"/>
              <a:gd name="connsiteX29" fmla="*/ 261377 w 306028"/>
              <a:gd name="connsiteY29" fmla="*/ 79728 h 304127"/>
              <a:gd name="connsiteX30" fmla="*/ 254895 w 306028"/>
              <a:gd name="connsiteY30" fmla="*/ 82246 h 304127"/>
              <a:gd name="connsiteX31" fmla="*/ 252374 w 306028"/>
              <a:gd name="connsiteY31" fmla="*/ 88719 h 304127"/>
              <a:gd name="connsiteX32" fmla="*/ 252374 w 306028"/>
              <a:gd name="connsiteY32" fmla="*/ 154887 h 304127"/>
              <a:gd name="connsiteX33" fmla="*/ 247693 w 306028"/>
              <a:gd name="connsiteY33" fmla="*/ 159562 h 304127"/>
              <a:gd name="connsiteX34" fmla="*/ 243012 w 306028"/>
              <a:gd name="connsiteY34" fmla="*/ 154887 h 304127"/>
              <a:gd name="connsiteX35" fmla="*/ 243012 w 306028"/>
              <a:gd name="connsiteY35" fmla="*/ 88719 h 304127"/>
              <a:gd name="connsiteX36" fmla="*/ 243012 w 306028"/>
              <a:gd name="connsiteY36" fmla="*/ 82246 h 304127"/>
              <a:gd name="connsiteX37" fmla="*/ 234370 w 306028"/>
              <a:gd name="connsiteY37" fmla="*/ 72536 h 304127"/>
              <a:gd name="connsiteX38" fmla="*/ 227888 w 306028"/>
              <a:gd name="connsiteY38" fmla="*/ 75053 h 304127"/>
              <a:gd name="connsiteX39" fmla="*/ 225007 w 306028"/>
              <a:gd name="connsiteY39" fmla="*/ 81526 h 304127"/>
              <a:gd name="connsiteX40" fmla="*/ 225007 w 306028"/>
              <a:gd name="connsiteY40" fmla="*/ 101665 h 304127"/>
              <a:gd name="connsiteX41" fmla="*/ 225007 w 306028"/>
              <a:gd name="connsiteY41" fmla="*/ 150572 h 304127"/>
              <a:gd name="connsiteX42" fmla="*/ 220326 w 306028"/>
              <a:gd name="connsiteY42" fmla="*/ 155247 h 304127"/>
              <a:gd name="connsiteX43" fmla="*/ 216005 w 306028"/>
              <a:gd name="connsiteY43" fmla="*/ 150572 h 304127"/>
              <a:gd name="connsiteX44" fmla="*/ 216005 w 306028"/>
              <a:gd name="connsiteY44" fmla="*/ 101665 h 304127"/>
              <a:gd name="connsiteX45" fmla="*/ 216005 w 306028"/>
              <a:gd name="connsiteY45" fmla="*/ 101305 h 304127"/>
              <a:gd name="connsiteX46" fmla="*/ 212764 w 306028"/>
              <a:gd name="connsiteY46" fmla="*/ 94832 h 304127"/>
              <a:gd name="connsiteX47" fmla="*/ 205202 w 306028"/>
              <a:gd name="connsiteY47" fmla="*/ 93034 h 304127"/>
              <a:gd name="connsiteX48" fmla="*/ 198000 w 306028"/>
              <a:gd name="connsiteY48" fmla="*/ 102024 h 304127"/>
              <a:gd name="connsiteX49" fmla="*/ 198000 w 306028"/>
              <a:gd name="connsiteY49" fmla="*/ 166035 h 304127"/>
              <a:gd name="connsiteX50" fmla="*/ 198000 w 306028"/>
              <a:gd name="connsiteY50" fmla="*/ 193366 h 304127"/>
              <a:gd name="connsiteX51" fmla="*/ 200521 w 306028"/>
              <a:gd name="connsiteY51" fmla="*/ 199839 h 304127"/>
              <a:gd name="connsiteX52" fmla="*/ 206643 w 306028"/>
              <a:gd name="connsiteY52" fmla="*/ 206312 h 304127"/>
              <a:gd name="connsiteX53" fmla="*/ 206643 w 306028"/>
              <a:gd name="connsiteY53" fmla="*/ 212785 h 304127"/>
              <a:gd name="connsiteX54" fmla="*/ 203402 w 306028"/>
              <a:gd name="connsiteY54" fmla="*/ 214223 h 304127"/>
              <a:gd name="connsiteX55" fmla="*/ 200161 w 306028"/>
              <a:gd name="connsiteY55" fmla="*/ 212785 h 304127"/>
              <a:gd name="connsiteX56" fmla="*/ 193679 w 306028"/>
              <a:gd name="connsiteY56" fmla="*/ 206312 h 304127"/>
              <a:gd name="connsiteX57" fmla="*/ 188998 w 306028"/>
              <a:gd name="connsiteY57" fmla="*/ 193366 h 304127"/>
              <a:gd name="connsiteX58" fmla="*/ 188998 w 306028"/>
              <a:gd name="connsiteY58" fmla="*/ 166035 h 304127"/>
              <a:gd name="connsiteX59" fmla="*/ 184677 w 306028"/>
              <a:gd name="connsiteY59" fmla="*/ 156326 h 304127"/>
              <a:gd name="connsiteX60" fmla="*/ 176395 w 306028"/>
              <a:gd name="connsiteY60" fmla="*/ 154528 h 304127"/>
              <a:gd name="connsiteX61" fmla="*/ 168113 w 306028"/>
              <a:gd name="connsiteY61" fmla="*/ 166755 h 304127"/>
              <a:gd name="connsiteX62" fmla="*/ 168113 w 306028"/>
              <a:gd name="connsiteY62" fmla="*/ 216021 h 304127"/>
              <a:gd name="connsiteX63" fmla="*/ 174594 w 306028"/>
              <a:gd name="connsiteY63" fmla="*/ 232923 h 304127"/>
              <a:gd name="connsiteX64" fmla="*/ 190078 w 306028"/>
              <a:gd name="connsiteY64" fmla="*/ 248746 h 304127"/>
              <a:gd name="connsiteX65" fmla="*/ 198000 w 306028"/>
              <a:gd name="connsiteY65" fmla="*/ 268525 h 304127"/>
              <a:gd name="connsiteX66" fmla="*/ 198000 w 306028"/>
              <a:gd name="connsiteY66" fmla="*/ 299452 h 304127"/>
              <a:gd name="connsiteX67" fmla="*/ 193679 w 306028"/>
              <a:gd name="connsiteY67" fmla="*/ 304127 h 304127"/>
              <a:gd name="connsiteX68" fmla="*/ 188998 w 306028"/>
              <a:gd name="connsiteY68" fmla="*/ 299452 h 304127"/>
              <a:gd name="connsiteX69" fmla="*/ 188998 w 306028"/>
              <a:gd name="connsiteY69" fmla="*/ 268525 h 304127"/>
              <a:gd name="connsiteX70" fmla="*/ 183237 w 306028"/>
              <a:gd name="connsiteY70" fmla="*/ 255219 h 304127"/>
              <a:gd name="connsiteX71" fmla="*/ 167753 w 306028"/>
              <a:gd name="connsiteY71" fmla="*/ 239396 h 304127"/>
              <a:gd name="connsiteX72" fmla="*/ 158750 w 306028"/>
              <a:gd name="connsiteY72" fmla="*/ 216021 h 304127"/>
              <a:gd name="connsiteX73" fmla="*/ 158750 w 306028"/>
              <a:gd name="connsiteY73" fmla="*/ 166755 h 304127"/>
              <a:gd name="connsiteX74" fmla="*/ 174234 w 306028"/>
              <a:gd name="connsiteY74" fmla="*/ 145537 h 304127"/>
              <a:gd name="connsiteX75" fmla="*/ 188998 w 306028"/>
              <a:gd name="connsiteY75" fmla="*/ 148414 h 304127"/>
              <a:gd name="connsiteX76" fmla="*/ 188998 w 306028"/>
              <a:gd name="connsiteY76" fmla="*/ 102024 h 304127"/>
              <a:gd name="connsiteX77" fmla="*/ 203762 w 306028"/>
              <a:gd name="connsiteY77" fmla="*/ 83684 h 304127"/>
              <a:gd name="connsiteX78" fmla="*/ 216005 w 306028"/>
              <a:gd name="connsiteY78" fmla="*/ 85842 h 304127"/>
              <a:gd name="connsiteX79" fmla="*/ 216005 w 306028"/>
              <a:gd name="connsiteY79" fmla="*/ 81526 h 304127"/>
              <a:gd name="connsiteX80" fmla="*/ 221406 w 306028"/>
              <a:gd name="connsiteY80" fmla="*/ 68580 h 304127"/>
              <a:gd name="connsiteX81" fmla="*/ 235090 w 306028"/>
              <a:gd name="connsiteY81" fmla="*/ 63546 h 304127"/>
              <a:gd name="connsiteX82" fmla="*/ 75620 w 306028"/>
              <a:gd name="connsiteY82" fmla="*/ 9402 h 304127"/>
              <a:gd name="connsiteX83" fmla="*/ 69138 w 306028"/>
              <a:gd name="connsiteY83" fmla="*/ 11561 h 304127"/>
              <a:gd name="connsiteX84" fmla="*/ 66257 w 306028"/>
              <a:gd name="connsiteY84" fmla="*/ 18039 h 304127"/>
              <a:gd name="connsiteX85" fmla="*/ 66257 w 306028"/>
              <a:gd name="connsiteY85" fmla="*/ 38191 h 304127"/>
              <a:gd name="connsiteX86" fmla="*/ 66257 w 306028"/>
              <a:gd name="connsiteY86" fmla="*/ 87132 h 304127"/>
              <a:gd name="connsiteX87" fmla="*/ 61576 w 306028"/>
              <a:gd name="connsiteY87" fmla="*/ 91810 h 304127"/>
              <a:gd name="connsiteX88" fmla="*/ 56895 w 306028"/>
              <a:gd name="connsiteY88" fmla="*/ 87132 h 304127"/>
              <a:gd name="connsiteX89" fmla="*/ 56895 w 306028"/>
              <a:gd name="connsiteY89" fmla="*/ 38191 h 304127"/>
              <a:gd name="connsiteX90" fmla="*/ 54014 w 306028"/>
              <a:gd name="connsiteY90" fmla="*/ 31354 h 304127"/>
              <a:gd name="connsiteX91" fmla="*/ 46452 w 306028"/>
              <a:gd name="connsiteY91" fmla="*/ 29554 h 304127"/>
              <a:gd name="connsiteX92" fmla="*/ 39250 w 306028"/>
              <a:gd name="connsiteY92" fmla="*/ 38911 h 304127"/>
              <a:gd name="connsiteX93" fmla="*/ 39250 w 306028"/>
              <a:gd name="connsiteY93" fmla="*/ 102606 h 304127"/>
              <a:gd name="connsiteX94" fmla="*/ 39250 w 306028"/>
              <a:gd name="connsiteY94" fmla="*/ 129955 h 304127"/>
              <a:gd name="connsiteX95" fmla="*/ 41771 w 306028"/>
              <a:gd name="connsiteY95" fmla="*/ 136432 h 304127"/>
              <a:gd name="connsiteX96" fmla="*/ 47893 w 306028"/>
              <a:gd name="connsiteY96" fmla="*/ 143270 h 304127"/>
              <a:gd name="connsiteX97" fmla="*/ 47532 w 306028"/>
              <a:gd name="connsiteY97" fmla="*/ 149747 h 304127"/>
              <a:gd name="connsiteX98" fmla="*/ 44292 w 306028"/>
              <a:gd name="connsiteY98" fmla="*/ 150827 h 304127"/>
              <a:gd name="connsiteX99" fmla="*/ 41051 w 306028"/>
              <a:gd name="connsiteY99" fmla="*/ 149387 h 304127"/>
              <a:gd name="connsiteX100" fmla="*/ 34929 w 306028"/>
              <a:gd name="connsiteY100" fmla="*/ 142910 h 304127"/>
              <a:gd name="connsiteX101" fmla="*/ 29888 w 306028"/>
              <a:gd name="connsiteY101" fmla="*/ 129955 h 304127"/>
              <a:gd name="connsiteX102" fmla="*/ 29888 w 306028"/>
              <a:gd name="connsiteY102" fmla="*/ 102606 h 304127"/>
              <a:gd name="connsiteX103" fmla="*/ 25567 w 306028"/>
              <a:gd name="connsiteY103" fmla="*/ 93249 h 304127"/>
              <a:gd name="connsiteX104" fmla="*/ 17645 w 306028"/>
              <a:gd name="connsiteY104" fmla="*/ 91090 h 304127"/>
              <a:gd name="connsiteX105" fmla="*/ 9363 w 306028"/>
              <a:gd name="connsiteY105" fmla="*/ 103325 h 304127"/>
              <a:gd name="connsiteX106" fmla="*/ 9363 w 306028"/>
              <a:gd name="connsiteY106" fmla="*/ 152626 h 304127"/>
              <a:gd name="connsiteX107" fmla="*/ 15844 w 306028"/>
              <a:gd name="connsiteY107" fmla="*/ 169899 h 304127"/>
              <a:gd name="connsiteX108" fmla="*/ 30968 w 306028"/>
              <a:gd name="connsiteY108" fmla="*/ 185373 h 304127"/>
              <a:gd name="connsiteX109" fmla="*/ 39250 w 306028"/>
              <a:gd name="connsiteY109" fmla="*/ 205525 h 304127"/>
              <a:gd name="connsiteX110" fmla="*/ 39250 w 306028"/>
              <a:gd name="connsiteY110" fmla="*/ 214881 h 304127"/>
              <a:gd name="connsiteX111" fmla="*/ 119551 w 306028"/>
              <a:gd name="connsiteY111" fmla="*/ 214881 h 304127"/>
              <a:gd name="connsiteX112" fmla="*/ 128553 w 306028"/>
              <a:gd name="connsiteY112" fmla="*/ 153705 h 304127"/>
              <a:gd name="connsiteX113" fmla="*/ 137916 w 306028"/>
              <a:gd name="connsiteY113" fmla="*/ 90370 h 304127"/>
              <a:gd name="connsiteX114" fmla="*/ 137916 w 306028"/>
              <a:gd name="connsiteY114" fmla="*/ 46468 h 304127"/>
              <a:gd name="connsiteX115" fmla="*/ 129634 w 306028"/>
              <a:gd name="connsiteY115" fmla="*/ 36751 h 304127"/>
              <a:gd name="connsiteX116" fmla="*/ 123152 w 306028"/>
              <a:gd name="connsiteY116" fmla="*/ 39270 h 304127"/>
              <a:gd name="connsiteX117" fmla="*/ 120271 w 306028"/>
              <a:gd name="connsiteY117" fmla="*/ 45748 h 304127"/>
              <a:gd name="connsiteX118" fmla="*/ 120271 w 306028"/>
              <a:gd name="connsiteY118" fmla="*/ 95768 h 304127"/>
              <a:gd name="connsiteX119" fmla="*/ 115950 w 306028"/>
              <a:gd name="connsiteY119" fmla="*/ 100446 h 304127"/>
              <a:gd name="connsiteX120" fmla="*/ 111269 w 306028"/>
              <a:gd name="connsiteY120" fmla="*/ 95768 h 304127"/>
              <a:gd name="connsiteX121" fmla="*/ 111269 w 306028"/>
              <a:gd name="connsiteY121" fmla="*/ 45748 h 304127"/>
              <a:gd name="connsiteX122" fmla="*/ 111269 w 306028"/>
              <a:gd name="connsiteY122" fmla="*/ 25956 h 304127"/>
              <a:gd name="connsiteX123" fmla="*/ 102627 w 306028"/>
              <a:gd name="connsiteY123" fmla="*/ 16599 h 304127"/>
              <a:gd name="connsiteX124" fmla="*/ 96145 w 306028"/>
              <a:gd name="connsiteY124" fmla="*/ 18759 h 304127"/>
              <a:gd name="connsiteX125" fmla="*/ 93264 w 306028"/>
              <a:gd name="connsiteY125" fmla="*/ 25236 h 304127"/>
              <a:gd name="connsiteX126" fmla="*/ 93264 w 306028"/>
              <a:gd name="connsiteY126" fmla="*/ 91450 h 304127"/>
              <a:gd name="connsiteX127" fmla="*/ 88583 w 306028"/>
              <a:gd name="connsiteY127" fmla="*/ 96128 h 304127"/>
              <a:gd name="connsiteX128" fmla="*/ 83902 w 306028"/>
              <a:gd name="connsiteY128" fmla="*/ 91450 h 304127"/>
              <a:gd name="connsiteX129" fmla="*/ 83902 w 306028"/>
              <a:gd name="connsiteY129" fmla="*/ 25236 h 304127"/>
              <a:gd name="connsiteX130" fmla="*/ 83902 w 306028"/>
              <a:gd name="connsiteY130" fmla="*/ 18759 h 304127"/>
              <a:gd name="connsiteX131" fmla="*/ 75620 w 306028"/>
              <a:gd name="connsiteY131" fmla="*/ 9402 h 304127"/>
              <a:gd name="connsiteX132" fmla="*/ 75980 w 306028"/>
              <a:gd name="connsiteY132" fmla="*/ 46 h 304127"/>
              <a:gd name="connsiteX133" fmla="*/ 91464 w 306028"/>
              <a:gd name="connsiteY133" fmla="*/ 10482 h 304127"/>
              <a:gd name="connsiteX134" fmla="*/ 102987 w 306028"/>
              <a:gd name="connsiteY134" fmla="*/ 7243 h 304127"/>
              <a:gd name="connsiteX135" fmla="*/ 120271 w 306028"/>
              <a:gd name="connsiteY135" fmla="*/ 25956 h 304127"/>
              <a:gd name="connsiteX136" fmla="*/ 120271 w 306028"/>
              <a:gd name="connsiteY136" fmla="*/ 29914 h 304127"/>
              <a:gd name="connsiteX137" fmla="*/ 130354 w 306028"/>
              <a:gd name="connsiteY137" fmla="*/ 27395 h 304127"/>
              <a:gd name="connsiteX138" fmla="*/ 147278 w 306028"/>
              <a:gd name="connsiteY138" fmla="*/ 46468 h 304127"/>
              <a:gd name="connsiteX139" fmla="*/ 147278 w 306028"/>
              <a:gd name="connsiteY139" fmla="*/ 90370 h 304127"/>
              <a:gd name="connsiteX140" fmla="*/ 137556 w 306028"/>
              <a:gd name="connsiteY140" fmla="*/ 156225 h 304127"/>
              <a:gd name="connsiteX141" fmla="*/ 128553 w 306028"/>
              <a:gd name="connsiteY141" fmla="*/ 214881 h 304127"/>
              <a:gd name="connsiteX142" fmla="*/ 130354 w 306028"/>
              <a:gd name="connsiteY142" fmla="*/ 214881 h 304127"/>
              <a:gd name="connsiteX143" fmla="*/ 139356 w 306028"/>
              <a:gd name="connsiteY143" fmla="*/ 224238 h 304127"/>
              <a:gd name="connsiteX144" fmla="*/ 139356 w 306028"/>
              <a:gd name="connsiteY144" fmla="*/ 299448 h 304127"/>
              <a:gd name="connsiteX145" fmla="*/ 134675 w 306028"/>
              <a:gd name="connsiteY145" fmla="*/ 304126 h 304127"/>
              <a:gd name="connsiteX146" fmla="*/ 130354 w 306028"/>
              <a:gd name="connsiteY146" fmla="*/ 299448 h 304127"/>
              <a:gd name="connsiteX147" fmla="*/ 130354 w 306028"/>
              <a:gd name="connsiteY147" fmla="*/ 269580 h 304127"/>
              <a:gd name="connsiteX148" fmla="*/ 28448 w 306028"/>
              <a:gd name="connsiteY148" fmla="*/ 269580 h 304127"/>
              <a:gd name="connsiteX149" fmla="*/ 28448 w 306028"/>
              <a:gd name="connsiteY149" fmla="*/ 299448 h 304127"/>
              <a:gd name="connsiteX150" fmla="*/ 23766 w 306028"/>
              <a:gd name="connsiteY150" fmla="*/ 304126 h 304127"/>
              <a:gd name="connsiteX151" fmla="*/ 19085 w 306028"/>
              <a:gd name="connsiteY151" fmla="*/ 299448 h 304127"/>
              <a:gd name="connsiteX152" fmla="*/ 19085 w 306028"/>
              <a:gd name="connsiteY152" fmla="*/ 224238 h 304127"/>
              <a:gd name="connsiteX153" fmla="*/ 28448 w 306028"/>
              <a:gd name="connsiteY153" fmla="*/ 214881 h 304127"/>
              <a:gd name="connsiteX154" fmla="*/ 29888 w 306028"/>
              <a:gd name="connsiteY154" fmla="*/ 214881 h 304127"/>
              <a:gd name="connsiteX155" fmla="*/ 29888 w 306028"/>
              <a:gd name="connsiteY155" fmla="*/ 205525 h 304127"/>
              <a:gd name="connsiteX156" fmla="*/ 24487 w 306028"/>
              <a:gd name="connsiteY156" fmla="*/ 191850 h 304127"/>
              <a:gd name="connsiteX157" fmla="*/ 9003 w 306028"/>
              <a:gd name="connsiteY157" fmla="*/ 176377 h 304127"/>
              <a:gd name="connsiteX158" fmla="*/ 0 w 306028"/>
              <a:gd name="connsiteY158" fmla="*/ 152626 h 304127"/>
              <a:gd name="connsiteX159" fmla="*/ 0 w 306028"/>
              <a:gd name="connsiteY159" fmla="*/ 103325 h 304127"/>
              <a:gd name="connsiteX160" fmla="*/ 15484 w 306028"/>
              <a:gd name="connsiteY160" fmla="*/ 82094 h 304127"/>
              <a:gd name="connsiteX161" fmla="*/ 29888 w 306028"/>
              <a:gd name="connsiteY161" fmla="*/ 85332 h 304127"/>
              <a:gd name="connsiteX162" fmla="*/ 29888 w 306028"/>
              <a:gd name="connsiteY162" fmla="*/ 38911 h 304127"/>
              <a:gd name="connsiteX163" fmla="*/ 44652 w 306028"/>
              <a:gd name="connsiteY163" fmla="*/ 20558 h 304127"/>
              <a:gd name="connsiteX164" fmla="*/ 56895 w 306028"/>
              <a:gd name="connsiteY164" fmla="*/ 22717 h 304127"/>
              <a:gd name="connsiteX165" fmla="*/ 56895 w 306028"/>
              <a:gd name="connsiteY165" fmla="*/ 18039 h 304127"/>
              <a:gd name="connsiteX166" fmla="*/ 62656 w 306028"/>
              <a:gd name="connsiteY166" fmla="*/ 5084 h 304127"/>
              <a:gd name="connsiteX167" fmla="*/ 75980 w 306028"/>
              <a:gd name="connsiteY167" fmla="*/ 46 h 30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306028" h="304127">
                <a:moveTo>
                  <a:pt x="28448" y="224238"/>
                </a:moveTo>
                <a:lnTo>
                  <a:pt x="28448" y="260583"/>
                </a:lnTo>
                <a:lnTo>
                  <a:pt x="130354" y="260583"/>
                </a:lnTo>
                <a:lnTo>
                  <a:pt x="130354" y="224238"/>
                </a:lnTo>
                <a:close/>
                <a:moveTo>
                  <a:pt x="235090" y="63546"/>
                </a:moveTo>
                <a:cubicBezTo>
                  <a:pt x="241932" y="63905"/>
                  <a:pt x="247693" y="68221"/>
                  <a:pt x="250214" y="73974"/>
                </a:cubicBezTo>
                <a:cubicBezTo>
                  <a:pt x="253815" y="71817"/>
                  <a:pt x="257776" y="70378"/>
                  <a:pt x="262097" y="70378"/>
                </a:cubicBezTo>
                <a:cubicBezTo>
                  <a:pt x="271459" y="71098"/>
                  <a:pt x="279381" y="79369"/>
                  <a:pt x="279381" y="89438"/>
                </a:cubicBezTo>
                <a:lnTo>
                  <a:pt x="279381" y="93034"/>
                </a:lnTo>
                <a:cubicBezTo>
                  <a:pt x="282262" y="91236"/>
                  <a:pt x="285503" y="90517"/>
                  <a:pt x="289104" y="90876"/>
                </a:cubicBezTo>
                <a:cubicBezTo>
                  <a:pt x="298826" y="91236"/>
                  <a:pt x="306028" y="99867"/>
                  <a:pt x="306028" y="109576"/>
                </a:cubicBezTo>
                <a:lnTo>
                  <a:pt x="306028" y="153449"/>
                </a:lnTo>
                <a:cubicBezTo>
                  <a:pt x="306028" y="176104"/>
                  <a:pt x="303147" y="198041"/>
                  <a:pt x="296306" y="219618"/>
                </a:cubicBezTo>
                <a:cubicBezTo>
                  <a:pt x="290544" y="239396"/>
                  <a:pt x="287663" y="259535"/>
                  <a:pt x="287663" y="280032"/>
                </a:cubicBezTo>
                <a:lnTo>
                  <a:pt x="287663" y="299452"/>
                </a:lnTo>
                <a:cubicBezTo>
                  <a:pt x="287663" y="302328"/>
                  <a:pt x="285503" y="304127"/>
                  <a:pt x="282982" y="304127"/>
                </a:cubicBezTo>
                <a:cubicBezTo>
                  <a:pt x="280462" y="304127"/>
                  <a:pt x="278301" y="302328"/>
                  <a:pt x="278301" y="299452"/>
                </a:cubicBezTo>
                <a:lnTo>
                  <a:pt x="278301" y="280032"/>
                </a:lnTo>
                <a:cubicBezTo>
                  <a:pt x="278301" y="258815"/>
                  <a:pt x="281542" y="237239"/>
                  <a:pt x="287663" y="217100"/>
                </a:cubicBezTo>
                <a:cubicBezTo>
                  <a:pt x="293785" y="196243"/>
                  <a:pt x="297026" y="175026"/>
                  <a:pt x="297026" y="153449"/>
                </a:cubicBezTo>
                <a:lnTo>
                  <a:pt x="297026" y="109576"/>
                </a:lnTo>
                <a:cubicBezTo>
                  <a:pt x="297026" y="104542"/>
                  <a:pt x="293065" y="100226"/>
                  <a:pt x="288744" y="100226"/>
                </a:cubicBezTo>
                <a:cubicBezTo>
                  <a:pt x="285863" y="99867"/>
                  <a:pt x="283702" y="100945"/>
                  <a:pt x="281902" y="102384"/>
                </a:cubicBezTo>
                <a:cubicBezTo>
                  <a:pt x="280101" y="104182"/>
                  <a:pt x="279381" y="106340"/>
                  <a:pt x="279381" y="108857"/>
                </a:cubicBezTo>
                <a:lnTo>
                  <a:pt x="279381" y="159203"/>
                </a:lnTo>
                <a:cubicBezTo>
                  <a:pt x="279381" y="161720"/>
                  <a:pt x="277221" y="163518"/>
                  <a:pt x="274700" y="163518"/>
                </a:cubicBezTo>
                <a:cubicBezTo>
                  <a:pt x="272179" y="163518"/>
                  <a:pt x="270019" y="161720"/>
                  <a:pt x="270019" y="159203"/>
                </a:cubicBezTo>
                <a:lnTo>
                  <a:pt x="270019" y="108857"/>
                </a:lnTo>
                <a:lnTo>
                  <a:pt x="270019" y="89438"/>
                </a:lnTo>
                <a:cubicBezTo>
                  <a:pt x="270019" y="84403"/>
                  <a:pt x="266058" y="80088"/>
                  <a:pt x="261377" y="79728"/>
                </a:cubicBezTo>
                <a:cubicBezTo>
                  <a:pt x="258856" y="79728"/>
                  <a:pt x="256695" y="80447"/>
                  <a:pt x="254895" y="82246"/>
                </a:cubicBezTo>
                <a:cubicBezTo>
                  <a:pt x="253095" y="83684"/>
                  <a:pt x="252374" y="86201"/>
                  <a:pt x="252374" y="88719"/>
                </a:cubicBezTo>
                <a:lnTo>
                  <a:pt x="252374" y="154887"/>
                </a:lnTo>
                <a:cubicBezTo>
                  <a:pt x="252374" y="157405"/>
                  <a:pt x="250214" y="159562"/>
                  <a:pt x="247693" y="159562"/>
                </a:cubicBezTo>
                <a:cubicBezTo>
                  <a:pt x="245172" y="159562"/>
                  <a:pt x="243012" y="157405"/>
                  <a:pt x="243012" y="154887"/>
                </a:cubicBezTo>
                <a:lnTo>
                  <a:pt x="243012" y="88719"/>
                </a:lnTo>
                <a:lnTo>
                  <a:pt x="243012" y="82246"/>
                </a:lnTo>
                <a:cubicBezTo>
                  <a:pt x="243012" y="77211"/>
                  <a:pt x="239051" y="72896"/>
                  <a:pt x="234370" y="72536"/>
                </a:cubicBezTo>
                <a:cubicBezTo>
                  <a:pt x="232209" y="72536"/>
                  <a:pt x="229689" y="73255"/>
                  <a:pt x="227888" y="75053"/>
                </a:cubicBezTo>
                <a:cubicBezTo>
                  <a:pt x="226088" y="76492"/>
                  <a:pt x="225007" y="79009"/>
                  <a:pt x="225007" y="81526"/>
                </a:cubicBezTo>
                <a:lnTo>
                  <a:pt x="225007" y="101665"/>
                </a:lnTo>
                <a:lnTo>
                  <a:pt x="225007" y="150572"/>
                </a:lnTo>
                <a:cubicBezTo>
                  <a:pt x="225007" y="153089"/>
                  <a:pt x="222847" y="155247"/>
                  <a:pt x="220326" y="155247"/>
                </a:cubicBezTo>
                <a:cubicBezTo>
                  <a:pt x="217805" y="155247"/>
                  <a:pt x="216005" y="153089"/>
                  <a:pt x="216005" y="150572"/>
                </a:cubicBezTo>
                <a:lnTo>
                  <a:pt x="216005" y="101665"/>
                </a:lnTo>
                <a:lnTo>
                  <a:pt x="216005" y="101305"/>
                </a:lnTo>
                <a:cubicBezTo>
                  <a:pt x="216005" y="98788"/>
                  <a:pt x="214565" y="96630"/>
                  <a:pt x="212764" y="94832"/>
                </a:cubicBezTo>
                <a:cubicBezTo>
                  <a:pt x="210604" y="93034"/>
                  <a:pt x="208083" y="92674"/>
                  <a:pt x="205202" y="93034"/>
                </a:cubicBezTo>
                <a:cubicBezTo>
                  <a:pt x="201241" y="93753"/>
                  <a:pt x="198000" y="97709"/>
                  <a:pt x="198000" y="102024"/>
                </a:cubicBezTo>
                <a:lnTo>
                  <a:pt x="198000" y="166035"/>
                </a:lnTo>
                <a:lnTo>
                  <a:pt x="198000" y="193366"/>
                </a:lnTo>
                <a:cubicBezTo>
                  <a:pt x="198000" y="195883"/>
                  <a:pt x="199081" y="198041"/>
                  <a:pt x="200521" y="199839"/>
                </a:cubicBezTo>
                <a:lnTo>
                  <a:pt x="206643" y="206312"/>
                </a:lnTo>
                <a:cubicBezTo>
                  <a:pt x="208443" y="208110"/>
                  <a:pt x="208083" y="211346"/>
                  <a:pt x="206643" y="212785"/>
                </a:cubicBezTo>
                <a:cubicBezTo>
                  <a:pt x="205562" y="213864"/>
                  <a:pt x="204482" y="214223"/>
                  <a:pt x="203402" y="214223"/>
                </a:cubicBezTo>
                <a:cubicBezTo>
                  <a:pt x="201961" y="214223"/>
                  <a:pt x="200881" y="213504"/>
                  <a:pt x="200161" y="212785"/>
                </a:cubicBezTo>
                <a:lnTo>
                  <a:pt x="193679" y="206312"/>
                </a:lnTo>
                <a:cubicBezTo>
                  <a:pt x="190798" y="202716"/>
                  <a:pt x="188998" y="198041"/>
                  <a:pt x="188998" y="193366"/>
                </a:cubicBezTo>
                <a:lnTo>
                  <a:pt x="188998" y="166035"/>
                </a:lnTo>
                <a:cubicBezTo>
                  <a:pt x="188998" y="162439"/>
                  <a:pt x="187198" y="158843"/>
                  <a:pt x="184677" y="156326"/>
                </a:cubicBezTo>
                <a:cubicBezTo>
                  <a:pt x="182156" y="154528"/>
                  <a:pt x="179276" y="153808"/>
                  <a:pt x="176395" y="154528"/>
                </a:cubicBezTo>
                <a:cubicBezTo>
                  <a:pt x="171714" y="155607"/>
                  <a:pt x="168113" y="160641"/>
                  <a:pt x="168113" y="166755"/>
                </a:cubicBezTo>
                <a:lnTo>
                  <a:pt x="168113" y="216021"/>
                </a:lnTo>
                <a:cubicBezTo>
                  <a:pt x="168113" y="222135"/>
                  <a:pt x="170273" y="228608"/>
                  <a:pt x="174594" y="232923"/>
                </a:cubicBezTo>
                <a:lnTo>
                  <a:pt x="190078" y="248746"/>
                </a:lnTo>
                <a:cubicBezTo>
                  <a:pt x="195120" y="253781"/>
                  <a:pt x="198000" y="260973"/>
                  <a:pt x="198000" y="268525"/>
                </a:cubicBezTo>
                <a:lnTo>
                  <a:pt x="198000" y="299452"/>
                </a:lnTo>
                <a:cubicBezTo>
                  <a:pt x="198000" y="302328"/>
                  <a:pt x="196200" y="304127"/>
                  <a:pt x="193679" y="304127"/>
                </a:cubicBezTo>
                <a:cubicBezTo>
                  <a:pt x="190798" y="304127"/>
                  <a:pt x="188998" y="302328"/>
                  <a:pt x="188998" y="299452"/>
                </a:cubicBezTo>
                <a:lnTo>
                  <a:pt x="188998" y="268525"/>
                </a:lnTo>
                <a:cubicBezTo>
                  <a:pt x="188998" y="263490"/>
                  <a:pt x="186837" y="258815"/>
                  <a:pt x="183237" y="255219"/>
                </a:cubicBezTo>
                <a:lnTo>
                  <a:pt x="167753" y="239396"/>
                </a:lnTo>
                <a:cubicBezTo>
                  <a:pt x="161991" y="232923"/>
                  <a:pt x="158750" y="224652"/>
                  <a:pt x="158750" y="216021"/>
                </a:cubicBezTo>
                <a:lnTo>
                  <a:pt x="158750" y="166755"/>
                </a:lnTo>
                <a:cubicBezTo>
                  <a:pt x="158750" y="156326"/>
                  <a:pt x="165232" y="147695"/>
                  <a:pt x="174234" y="145537"/>
                </a:cubicBezTo>
                <a:cubicBezTo>
                  <a:pt x="179276" y="144458"/>
                  <a:pt x="184677" y="145537"/>
                  <a:pt x="188998" y="148414"/>
                </a:cubicBezTo>
                <a:lnTo>
                  <a:pt x="188998" y="102024"/>
                </a:lnTo>
                <a:cubicBezTo>
                  <a:pt x="188998" y="93034"/>
                  <a:pt x="195120" y="85482"/>
                  <a:pt x="203762" y="83684"/>
                </a:cubicBezTo>
                <a:cubicBezTo>
                  <a:pt x="207723" y="82965"/>
                  <a:pt x="212404" y="83684"/>
                  <a:pt x="216005" y="85842"/>
                </a:cubicBezTo>
                <a:lnTo>
                  <a:pt x="216005" y="81526"/>
                </a:lnTo>
                <a:cubicBezTo>
                  <a:pt x="216005" y="76492"/>
                  <a:pt x="217805" y="71817"/>
                  <a:pt x="221406" y="68580"/>
                </a:cubicBezTo>
                <a:cubicBezTo>
                  <a:pt x="225007" y="64984"/>
                  <a:pt x="230049" y="63186"/>
                  <a:pt x="235090" y="63546"/>
                </a:cubicBezTo>
                <a:close/>
                <a:moveTo>
                  <a:pt x="75620" y="9402"/>
                </a:moveTo>
                <a:cubicBezTo>
                  <a:pt x="73459" y="9042"/>
                  <a:pt x="70939" y="10122"/>
                  <a:pt x="69138" y="11561"/>
                </a:cubicBezTo>
                <a:cubicBezTo>
                  <a:pt x="67338" y="13361"/>
                  <a:pt x="66257" y="15520"/>
                  <a:pt x="66257" y="18039"/>
                </a:cubicBezTo>
                <a:lnTo>
                  <a:pt x="66257" y="38191"/>
                </a:lnTo>
                <a:lnTo>
                  <a:pt x="66257" y="87132"/>
                </a:lnTo>
                <a:cubicBezTo>
                  <a:pt x="66257" y="90011"/>
                  <a:pt x="64097" y="91810"/>
                  <a:pt x="61576" y="91810"/>
                </a:cubicBezTo>
                <a:cubicBezTo>
                  <a:pt x="59055" y="91810"/>
                  <a:pt x="56895" y="90011"/>
                  <a:pt x="56895" y="87132"/>
                </a:cubicBezTo>
                <a:lnTo>
                  <a:pt x="56895" y="38191"/>
                </a:lnTo>
                <a:cubicBezTo>
                  <a:pt x="56895" y="35672"/>
                  <a:pt x="55815" y="33153"/>
                  <a:pt x="54014" y="31354"/>
                </a:cubicBezTo>
                <a:cubicBezTo>
                  <a:pt x="51854" y="29914"/>
                  <a:pt x="49333" y="29194"/>
                  <a:pt x="46452" y="29554"/>
                </a:cubicBezTo>
                <a:cubicBezTo>
                  <a:pt x="42491" y="30634"/>
                  <a:pt x="39250" y="34592"/>
                  <a:pt x="39250" y="38911"/>
                </a:cubicBezTo>
                <a:lnTo>
                  <a:pt x="39250" y="102606"/>
                </a:lnTo>
                <a:lnTo>
                  <a:pt x="39250" y="129955"/>
                </a:lnTo>
                <a:cubicBezTo>
                  <a:pt x="39250" y="132474"/>
                  <a:pt x="39971" y="134993"/>
                  <a:pt x="41771" y="136432"/>
                </a:cubicBezTo>
                <a:lnTo>
                  <a:pt x="47893" y="143270"/>
                </a:lnTo>
                <a:cubicBezTo>
                  <a:pt x="49693" y="145069"/>
                  <a:pt x="49333" y="147948"/>
                  <a:pt x="47532" y="149747"/>
                </a:cubicBezTo>
                <a:cubicBezTo>
                  <a:pt x="46812" y="150467"/>
                  <a:pt x="45732" y="150827"/>
                  <a:pt x="44292" y="150827"/>
                </a:cubicBezTo>
                <a:cubicBezTo>
                  <a:pt x="43211" y="150827"/>
                  <a:pt x="42131" y="150107"/>
                  <a:pt x="41051" y="149387"/>
                </a:cubicBezTo>
                <a:lnTo>
                  <a:pt x="34929" y="142910"/>
                </a:lnTo>
                <a:cubicBezTo>
                  <a:pt x="32048" y="139311"/>
                  <a:pt x="29888" y="134993"/>
                  <a:pt x="29888" y="129955"/>
                </a:cubicBezTo>
                <a:lnTo>
                  <a:pt x="29888" y="102606"/>
                </a:lnTo>
                <a:cubicBezTo>
                  <a:pt x="29888" y="99007"/>
                  <a:pt x="28448" y="95408"/>
                  <a:pt x="25567" y="93249"/>
                </a:cubicBezTo>
                <a:cubicBezTo>
                  <a:pt x="23406" y="91090"/>
                  <a:pt x="20526" y="90730"/>
                  <a:pt x="17645" y="91090"/>
                </a:cubicBezTo>
                <a:cubicBezTo>
                  <a:pt x="12964" y="92530"/>
                  <a:pt x="9363" y="97568"/>
                  <a:pt x="9363" y="103325"/>
                </a:cubicBezTo>
                <a:lnTo>
                  <a:pt x="9363" y="152626"/>
                </a:lnTo>
                <a:cubicBezTo>
                  <a:pt x="9363" y="159103"/>
                  <a:pt x="11523" y="165221"/>
                  <a:pt x="15844" y="169899"/>
                </a:cubicBezTo>
                <a:lnTo>
                  <a:pt x="30968" y="185373"/>
                </a:lnTo>
                <a:cubicBezTo>
                  <a:pt x="36370" y="190771"/>
                  <a:pt x="39250" y="197968"/>
                  <a:pt x="39250" y="205525"/>
                </a:cubicBezTo>
                <a:lnTo>
                  <a:pt x="39250" y="214881"/>
                </a:lnTo>
                <a:lnTo>
                  <a:pt x="119551" y="214881"/>
                </a:lnTo>
                <a:cubicBezTo>
                  <a:pt x="119551" y="194369"/>
                  <a:pt x="122792" y="173498"/>
                  <a:pt x="128553" y="153705"/>
                </a:cubicBezTo>
                <a:cubicBezTo>
                  <a:pt x="135035" y="133194"/>
                  <a:pt x="137916" y="111962"/>
                  <a:pt x="137916" y="90370"/>
                </a:cubicBezTo>
                <a:lnTo>
                  <a:pt x="137916" y="46468"/>
                </a:lnTo>
                <a:cubicBezTo>
                  <a:pt x="137916" y="41070"/>
                  <a:pt x="134315" y="37111"/>
                  <a:pt x="129634" y="36751"/>
                </a:cubicBezTo>
                <a:cubicBezTo>
                  <a:pt x="127113" y="36392"/>
                  <a:pt x="124952" y="37471"/>
                  <a:pt x="123152" y="39270"/>
                </a:cubicBezTo>
                <a:cubicBezTo>
                  <a:pt x="121351" y="40710"/>
                  <a:pt x="120271" y="43229"/>
                  <a:pt x="120271" y="45748"/>
                </a:cubicBezTo>
                <a:lnTo>
                  <a:pt x="120271" y="95768"/>
                </a:lnTo>
                <a:cubicBezTo>
                  <a:pt x="120271" y="98287"/>
                  <a:pt x="118471" y="100446"/>
                  <a:pt x="115950" y="100446"/>
                </a:cubicBezTo>
                <a:cubicBezTo>
                  <a:pt x="113069" y="100446"/>
                  <a:pt x="111269" y="98287"/>
                  <a:pt x="111269" y="95768"/>
                </a:cubicBezTo>
                <a:lnTo>
                  <a:pt x="111269" y="45748"/>
                </a:lnTo>
                <a:lnTo>
                  <a:pt x="111269" y="25956"/>
                </a:lnTo>
                <a:cubicBezTo>
                  <a:pt x="111269" y="20918"/>
                  <a:pt x="107308" y="16599"/>
                  <a:pt x="102627" y="16599"/>
                </a:cubicBezTo>
                <a:cubicBezTo>
                  <a:pt x="100106" y="16240"/>
                  <a:pt x="97945" y="17319"/>
                  <a:pt x="96145" y="18759"/>
                </a:cubicBezTo>
                <a:cubicBezTo>
                  <a:pt x="94345" y="20558"/>
                  <a:pt x="93264" y="22717"/>
                  <a:pt x="93264" y="25236"/>
                </a:cubicBezTo>
                <a:lnTo>
                  <a:pt x="93264" y="91450"/>
                </a:lnTo>
                <a:cubicBezTo>
                  <a:pt x="93264" y="93969"/>
                  <a:pt x="91104" y="96128"/>
                  <a:pt x="88583" y="96128"/>
                </a:cubicBezTo>
                <a:cubicBezTo>
                  <a:pt x="86422" y="96128"/>
                  <a:pt x="83902" y="93969"/>
                  <a:pt x="83902" y="91450"/>
                </a:cubicBezTo>
                <a:lnTo>
                  <a:pt x="83902" y="25236"/>
                </a:lnTo>
                <a:lnTo>
                  <a:pt x="83902" y="18759"/>
                </a:lnTo>
                <a:cubicBezTo>
                  <a:pt x="83902" y="13721"/>
                  <a:pt x="80301" y="9402"/>
                  <a:pt x="75620" y="9402"/>
                </a:cubicBezTo>
                <a:close/>
                <a:moveTo>
                  <a:pt x="75980" y="46"/>
                </a:moveTo>
                <a:cubicBezTo>
                  <a:pt x="83182" y="406"/>
                  <a:pt x="88583" y="4724"/>
                  <a:pt x="91464" y="10482"/>
                </a:cubicBezTo>
                <a:cubicBezTo>
                  <a:pt x="94705" y="8323"/>
                  <a:pt x="99026" y="6883"/>
                  <a:pt x="102987" y="7243"/>
                </a:cubicBezTo>
                <a:cubicBezTo>
                  <a:pt x="112709" y="7603"/>
                  <a:pt x="120271" y="15880"/>
                  <a:pt x="120271" y="25956"/>
                </a:cubicBezTo>
                <a:lnTo>
                  <a:pt x="120271" y="29914"/>
                </a:lnTo>
                <a:cubicBezTo>
                  <a:pt x="123152" y="28115"/>
                  <a:pt x="126753" y="27395"/>
                  <a:pt x="130354" y="27395"/>
                </a:cubicBezTo>
                <a:cubicBezTo>
                  <a:pt x="140076" y="27755"/>
                  <a:pt x="147278" y="36032"/>
                  <a:pt x="147278" y="46468"/>
                </a:cubicBezTo>
                <a:lnTo>
                  <a:pt x="147278" y="90370"/>
                </a:lnTo>
                <a:cubicBezTo>
                  <a:pt x="147278" y="112682"/>
                  <a:pt x="144037" y="134993"/>
                  <a:pt x="137556" y="156225"/>
                </a:cubicBezTo>
                <a:cubicBezTo>
                  <a:pt x="131794" y="175297"/>
                  <a:pt x="128553" y="195089"/>
                  <a:pt x="128553" y="214881"/>
                </a:cubicBezTo>
                <a:lnTo>
                  <a:pt x="130354" y="214881"/>
                </a:lnTo>
                <a:cubicBezTo>
                  <a:pt x="135395" y="214881"/>
                  <a:pt x="139356" y="219200"/>
                  <a:pt x="139356" y="224238"/>
                </a:cubicBezTo>
                <a:lnTo>
                  <a:pt x="139356" y="299448"/>
                </a:lnTo>
                <a:cubicBezTo>
                  <a:pt x="139356" y="302327"/>
                  <a:pt x="137556" y="304126"/>
                  <a:pt x="134675" y="304126"/>
                </a:cubicBezTo>
                <a:cubicBezTo>
                  <a:pt x="132154" y="304126"/>
                  <a:pt x="130354" y="302327"/>
                  <a:pt x="130354" y="299448"/>
                </a:cubicBezTo>
                <a:lnTo>
                  <a:pt x="130354" y="269580"/>
                </a:lnTo>
                <a:lnTo>
                  <a:pt x="28448" y="269580"/>
                </a:lnTo>
                <a:lnTo>
                  <a:pt x="28448" y="299448"/>
                </a:lnTo>
                <a:cubicBezTo>
                  <a:pt x="28448" y="302327"/>
                  <a:pt x="26287" y="304126"/>
                  <a:pt x="23766" y="304126"/>
                </a:cubicBezTo>
                <a:cubicBezTo>
                  <a:pt x="21246" y="304126"/>
                  <a:pt x="19085" y="302327"/>
                  <a:pt x="19085" y="299448"/>
                </a:cubicBezTo>
                <a:lnTo>
                  <a:pt x="19085" y="224238"/>
                </a:lnTo>
                <a:cubicBezTo>
                  <a:pt x="19085" y="219200"/>
                  <a:pt x="23406" y="214881"/>
                  <a:pt x="28448" y="214881"/>
                </a:cubicBezTo>
                <a:lnTo>
                  <a:pt x="29888" y="214881"/>
                </a:lnTo>
                <a:lnTo>
                  <a:pt x="29888" y="205525"/>
                </a:lnTo>
                <a:cubicBezTo>
                  <a:pt x="29888" y="200487"/>
                  <a:pt x="28087" y="195449"/>
                  <a:pt x="24487" y="191850"/>
                </a:cubicBezTo>
                <a:lnTo>
                  <a:pt x="9003" y="176377"/>
                </a:lnTo>
                <a:cubicBezTo>
                  <a:pt x="3241" y="169899"/>
                  <a:pt x="0" y="161622"/>
                  <a:pt x="0" y="152626"/>
                </a:cubicBezTo>
                <a:lnTo>
                  <a:pt x="0" y="103325"/>
                </a:lnTo>
                <a:cubicBezTo>
                  <a:pt x="0" y="93249"/>
                  <a:pt x="6482" y="84253"/>
                  <a:pt x="15484" y="82094"/>
                </a:cubicBezTo>
                <a:cubicBezTo>
                  <a:pt x="20526" y="81014"/>
                  <a:pt x="25567" y="82094"/>
                  <a:pt x="29888" y="85332"/>
                </a:cubicBezTo>
                <a:lnTo>
                  <a:pt x="29888" y="38911"/>
                </a:lnTo>
                <a:cubicBezTo>
                  <a:pt x="29888" y="29914"/>
                  <a:pt x="36010" y="21997"/>
                  <a:pt x="44652" y="20558"/>
                </a:cubicBezTo>
                <a:cubicBezTo>
                  <a:pt x="48973" y="19838"/>
                  <a:pt x="53654" y="20558"/>
                  <a:pt x="56895" y="22717"/>
                </a:cubicBezTo>
                <a:lnTo>
                  <a:pt x="56895" y="18039"/>
                </a:lnTo>
                <a:cubicBezTo>
                  <a:pt x="56895" y="13001"/>
                  <a:pt x="59055" y="8323"/>
                  <a:pt x="62656" y="5084"/>
                </a:cubicBezTo>
                <a:cubicBezTo>
                  <a:pt x="66257" y="1485"/>
                  <a:pt x="71299" y="-314"/>
                  <a:pt x="75980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7" name="Freeform 34">
            <a:extLst>
              <a:ext uri="{FF2B5EF4-FFF2-40B4-BE49-F238E27FC236}">
                <a16:creationId xmlns:a16="http://schemas.microsoft.com/office/drawing/2014/main" id="{5AA17BAA-08F3-2A3B-552A-863E741F07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14" y="1807222"/>
            <a:ext cx="536817" cy="478337"/>
          </a:xfrm>
          <a:custGeom>
            <a:avLst/>
            <a:gdLst>
              <a:gd name="connsiteX0" fmla="*/ 155336 w 306028"/>
              <a:gd name="connsiteY0" fmla="*/ 130175 h 272690"/>
              <a:gd name="connsiteX1" fmla="*/ 163100 w 306028"/>
              <a:gd name="connsiteY1" fmla="*/ 130175 h 272690"/>
              <a:gd name="connsiteX2" fmla="*/ 167905 w 306028"/>
              <a:gd name="connsiteY2" fmla="*/ 134479 h 272690"/>
              <a:gd name="connsiteX3" fmla="*/ 163100 w 306028"/>
              <a:gd name="connsiteY3" fmla="*/ 139142 h 272690"/>
              <a:gd name="connsiteX4" fmla="*/ 155336 w 306028"/>
              <a:gd name="connsiteY4" fmla="*/ 139142 h 272690"/>
              <a:gd name="connsiteX5" fmla="*/ 150530 w 306028"/>
              <a:gd name="connsiteY5" fmla="*/ 143805 h 272690"/>
              <a:gd name="connsiteX6" fmla="*/ 150530 w 306028"/>
              <a:gd name="connsiteY6" fmla="*/ 201912 h 272690"/>
              <a:gd name="connsiteX7" fmla="*/ 155336 w 306028"/>
              <a:gd name="connsiteY7" fmla="*/ 206574 h 272690"/>
              <a:gd name="connsiteX8" fmla="*/ 163100 w 306028"/>
              <a:gd name="connsiteY8" fmla="*/ 206574 h 272690"/>
              <a:gd name="connsiteX9" fmla="*/ 167905 w 306028"/>
              <a:gd name="connsiteY9" fmla="*/ 211237 h 272690"/>
              <a:gd name="connsiteX10" fmla="*/ 163100 w 306028"/>
              <a:gd name="connsiteY10" fmla="*/ 215541 h 272690"/>
              <a:gd name="connsiteX11" fmla="*/ 155336 w 306028"/>
              <a:gd name="connsiteY11" fmla="*/ 215541 h 272690"/>
              <a:gd name="connsiteX12" fmla="*/ 141288 w 306028"/>
              <a:gd name="connsiteY12" fmla="*/ 201912 h 272690"/>
              <a:gd name="connsiteX13" fmla="*/ 141288 w 306028"/>
              <a:gd name="connsiteY13" fmla="*/ 143805 h 272690"/>
              <a:gd name="connsiteX14" fmla="*/ 155336 w 306028"/>
              <a:gd name="connsiteY14" fmla="*/ 130175 h 272690"/>
              <a:gd name="connsiteX15" fmla="*/ 224172 w 306028"/>
              <a:gd name="connsiteY15" fmla="*/ 58891 h 272690"/>
              <a:gd name="connsiteX16" fmla="*/ 216600 w 306028"/>
              <a:gd name="connsiteY16" fmla="*/ 59250 h 272690"/>
              <a:gd name="connsiteX17" fmla="*/ 218764 w 306028"/>
              <a:gd name="connsiteY17" fmla="*/ 87569 h 272690"/>
              <a:gd name="connsiteX18" fmla="*/ 196767 w 306028"/>
              <a:gd name="connsiteY18" fmla="*/ 121982 h 272690"/>
              <a:gd name="connsiteX19" fmla="*/ 185228 w 306028"/>
              <a:gd name="connsiteY19" fmla="*/ 138113 h 272690"/>
              <a:gd name="connsiteX20" fmla="*/ 185228 w 306028"/>
              <a:gd name="connsiteY20" fmla="*/ 200486 h 272690"/>
              <a:gd name="connsiteX21" fmla="*/ 191358 w 306028"/>
              <a:gd name="connsiteY21" fmla="*/ 206580 h 272690"/>
              <a:gd name="connsiteX22" fmla="*/ 274295 w 306028"/>
              <a:gd name="connsiteY22" fmla="*/ 206580 h 272690"/>
              <a:gd name="connsiteX23" fmla="*/ 275016 w 306028"/>
              <a:gd name="connsiteY23" fmla="*/ 206222 h 272690"/>
              <a:gd name="connsiteX24" fmla="*/ 284392 w 306028"/>
              <a:gd name="connsiteY24" fmla="*/ 195826 h 272690"/>
              <a:gd name="connsiteX25" fmla="*/ 283310 w 306028"/>
              <a:gd name="connsiteY25" fmla="*/ 190807 h 272690"/>
              <a:gd name="connsiteX26" fmla="*/ 282950 w 306028"/>
              <a:gd name="connsiteY26" fmla="*/ 186506 h 272690"/>
              <a:gd name="connsiteX27" fmla="*/ 286195 w 306028"/>
              <a:gd name="connsiteY27" fmla="*/ 183997 h 272690"/>
              <a:gd name="connsiteX28" fmla="*/ 294849 w 306028"/>
              <a:gd name="connsiteY28" fmla="*/ 173601 h 272690"/>
              <a:gd name="connsiteX29" fmla="*/ 291604 w 306028"/>
              <a:gd name="connsiteY29" fmla="*/ 166432 h 272690"/>
              <a:gd name="connsiteX30" fmla="*/ 290883 w 306028"/>
              <a:gd name="connsiteY30" fmla="*/ 162847 h 272690"/>
              <a:gd name="connsiteX31" fmla="*/ 292325 w 306028"/>
              <a:gd name="connsiteY31" fmla="*/ 159621 h 272690"/>
              <a:gd name="connsiteX32" fmla="*/ 296652 w 306028"/>
              <a:gd name="connsiteY32" fmla="*/ 151376 h 272690"/>
              <a:gd name="connsiteX33" fmla="*/ 293046 w 306028"/>
              <a:gd name="connsiteY33" fmla="*/ 144207 h 272690"/>
              <a:gd name="connsiteX34" fmla="*/ 289801 w 306028"/>
              <a:gd name="connsiteY34" fmla="*/ 139188 h 272690"/>
              <a:gd name="connsiteX35" fmla="*/ 291964 w 306028"/>
              <a:gd name="connsiteY35" fmla="*/ 133811 h 272690"/>
              <a:gd name="connsiteX36" fmla="*/ 295570 w 306028"/>
              <a:gd name="connsiteY36" fmla="*/ 125566 h 272690"/>
              <a:gd name="connsiteX37" fmla="*/ 287998 w 306028"/>
              <a:gd name="connsiteY37" fmla="*/ 116246 h 272690"/>
              <a:gd name="connsiteX38" fmla="*/ 241120 w 306028"/>
              <a:gd name="connsiteY38" fmla="*/ 116246 h 272690"/>
              <a:gd name="connsiteX39" fmla="*/ 237154 w 306028"/>
              <a:gd name="connsiteY39" fmla="*/ 114454 h 272690"/>
              <a:gd name="connsiteX40" fmla="*/ 236793 w 306028"/>
              <a:gd name="connsiteY40" fmla="*/ 110511 h 272690"/>
              <a:gd name="connsiteX41" fmla="*/ 238957 w 306028"/>
              <a:gd name="connsiteY41" fmla="*/ 83626 h 272690"/>
              <a:gd name="connsiteX42" fmla="*/ 224172 w 306028"/>
              <a:gd name="connsiteY42" fmla="*/ 58891 h 272690"/>
              <a:gd name="connsiteX43" fmla="*/ 224533 w 306028"/>
              <a:gd name="connsiteY43" fmla="*/ 49571 h 272690"/>
              <a:gd name="connsiteX44" fmla="*/ 248332 w 306028"/>
              <a:gd name="connsiteY44" fmla="*/ 82909 h 272690"/>
              <a:gd name="connsiteX45" fmla="*/ 247251 w 306028"/>
              <a:gd name="connsiteY45" fmla="*/ 107284 h 272690"/>
              <a:gd name="connsiteX46" fmla="*/ 287998 w 306028"/>
              <a:gd name="connsiteY46" fmla="*/ 107284 h 272690"/>
              <a:gd name="connsiteX47" fmla="*/ 304946 w 306028"/>
              <a:gd name="connsiteY47" fmla="*/ 125566 h 272690"/>
              <a:gd name="connsiteX48" fmla="*/ 300979 w 306028"/>
              <a:gd name="connsiteY48" fmla="*/ 138471 h 272690"/>
              <a:gd name="connsiteX49" fmla="*/ 306028 w 306028"/>
              <a:gd name="connsiteY49" fmla="*/ 151376 h 272690"/>
              <a:gd name="connsiteX50" fmla="*/ 301340 w 306028"/>
              <a:gd name="connsiteY50" fmla="*/ 163922 h 272690"/>
              <a:gd name="connsiteX51" fmla="*/ 303864 w 306028"/>
              <a:gd name="connsiteY51" fmla="*/ 173601 h 272690"/>
              <a:gd name="connsiteX52" fmla="*/ 293046 w 306028"/>
              <a:gd name="connsiteY52" fmla="*/ 191166 h 272690"/>
              <a:gd name="connsiteX53" fmla="*/ 293767 w 306028"/>
              <a:gd name="connsiteY53" fmla="*/ 195826 h 272690"/>
              <a:gd name="connsiteX54" fmla="*/ 275738 w 306028"/>
              <a:gd name="connsiteY54" fmla="*/ 215542 h 272690"/>
              <a:gd name="connsiteX55" fmla="*/ 274295 w 306028"/>
              <a:gd name="connsiteY55" fmla="*/ 215542 h 272690"/>
              <a:gd name="connsiteX56" fmla="*/ 191358 w 306028"/>
              <a:gd name="connsiteY56" fmla="*/ 215542 h 272690"/>
              <a:gd name="connsiteX57" fmla="*/ 176213 w 306028"/>
              <a:gd name="connsiteY57" fmla="*/ 200486 h 272690"/>
              <a:gd name="connsiteX58" fmla="*/ 176213 w 306028"/>
              <a:gd name="connsiteY58" fmla="*/ 138113 h 272690"/>
              <a:gd name="connsiteX59" fmla="*/ 189916 w 306028"/>
              <a:gd name="connsiteY59" fmla="*/ 115888 h 272690"/>
              <a:gd name="connsiteX60" fmla="*/ 209749 w 306028"/>
              <a:gd name="connsiteY60" fmla="*/ 85418 h 272690"/>
              <a:gd name="connsiteX61" fmla="*/ 206503 w 306028"/>
              <a:gd name="connsiteY61" fmla="*/ 56741 h 272690"/>
              <a:gd name="connsiteX62" fmla="*/ 208667 w 306028"/>
              <a:gd name="connsiteY62" fmla="*/ 52081 h 272690"/>
              <a:gd name="connsiteX63" fmla="*/ 224533 w 306028"/>
              <a:gd name="connsiteY63" fmla="*/ 49571 h 272690"/>
              <a:gd name="connsiteX64" fmla="*/ 84446 w 306028"/>
              <a:gd name="connsiteY64" fmla="*/ 0 h 272690"/>
              <a:gd name="connsiteX65" fmla="*/ 153014 w 306028"/>
              <a:gd name="connsiteY65" fmla="*/ 35255 h 272690"/>
              <a:gd name="connsiteX66" fmla="*/ 221581 w 306028"/>
              <a:gd name="connsiteY66" fmla="*/ 0 h 272690"/>
              <a:gd name="connsiteX67" fmla="*/ 306027 w 306028"/>
              <a:gd name="connsiteY67" fmla="*/ 84181 h 272690"/>
              <a:gd name="connsiteX68" fmla="*/ 305666 w 306028"/>
              <a:gd name="connsiteY68" fmla="*/ 90657 h 272690"/>
              <a:gd name="connsiteX69" fmla="*/ 300975 w 306028"/>
              <a:gd name="connsiteY69" fmla="*/ 94974 h 272690"/>
              <a:gd name="connsiteX70" fmla="*/ 296644 w 306028"/>
              <a:gd name="connsiteY70" fmla="*/ 90297 h 272690"/>
              <a:gd name="connsiteX71" fmla="*/ 296644 w 306028"/>
              <a:gd name="connsiteY71" fmla="*/ 84181 h 272690"/>
              <a:gd name="connsiteX72" fmla="*/ 221581 w 306028"/>
              <a:gd name="connsiteY72" fmla="*/ 9353 h 272690"/>
              <a:gd name="connsiteX73" fmla="*/ 156983 w 306028"/>
              <a:gd name="connsiteY73" fmla="*/ 46048 h 272690"/>
              <a:gd name="connsiteX74" fmla="*/ 153014 w 306028"/>
              <a:gd name="connsiteY74" fmla="*/ 48566 h 272690"/>
              <a:gd name="connsiteX75" fmla="*/ 149044 w 306028"/>
              <a:gd name="connsiteY75" fmla="*/ 46048 h 272690"/>
              <a:gd name="connsiteX76" fmla="*/ 84446 w 306028"/>
              <a:gd name="connsiteY76" fmla="*/ 9353 h 272690"/>
              <a:gd name="connsiteX77" fmla="*/ 9383 w 306028"/>
              <a:gd name="connsiteY77" fmla="*/ 84181 h 272690"/>
              <a:gd name="connsiteX78" fmla="*/ 153014 w 306028"/>
              <a:gd name="connsiteY78" fmla="*/ 262617 h 272690"/>
              <a:gd name="connsiteX79" fmla="*/ 198485 w 306028"/>
              <a:gd name="connsiteY79" fmla="*/ 229880 h 272690"/>
              <a:gd name="connsiteX80" fmla="*/ 204981 w 306028"/>
              <a:gd name="connsiteY80" fmla="*/ 230600 h 272690"/>
              <a:gd name="connsiteX81" fmla="*/ 204259 w 306028"/>
              <a:gd name="connsiteY81" fmla="*/ 237075 h 272690"/>
              <a:gd name="connsiteX82" fmla="*/ 155540 w 306028"/>
              <a:gd name="connsiteY82" fmla="*/ 271971 h 272690"/>
              <a:gd name="connsiteX83" fmla="*/ 153014 w 306028"/>
              <a:gd name="connsiteY83" fmla="*/ 272690 h 272690"/>
              <a:gd name="connsiteX84" fmla="*/ 150488 w 306028"/>
              <a:gd name="connsiteY84" fmla="*/ 271971 h 272690"/>
              <a:gd name="connsiteX85" fmla="*/ 0 w 306028"/>
              <a:gd name="connsiteY85" fmla="*/ 84181 h 272690"/>
              <a:gd name="connsiteX86" fmla="*/ 84446 w 306028"/>
              <a:gd name="connsiteY86" fmla="*/ 0 h 272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306028" h="272690">
                <a:moveTo>
                  <a:pt x="155336" y="130175"/>
                </a:moveTo>
                <a:lnTo>
                  <a:pt x="163100" y="130175"/>
                </a:lnTo>
                <a:cubicBezTo>
                  <a:pt x="165687" y="130175"/>
                  <a:pt x="167905" y="131969"/>
                  <a:pt x="167905" y="134479"/>
                </a:cubicBezTo>
                <a:cubicBezTo>
                  <a:pt x="167905" y="136990"/>
                  <a:pt x="165687" y="139142"/>
                  <a:pt x="163100" y="139142"/>
                </a:cubicBezTo>
                <a:lnTo>
                  <a:pt x="155336" y="139142"/>
                </a:lnTo>
                <a:cubicBezTo>
                  <a:pt x="152748" y="139142"/>
                  <a:pt x="150530" y="141294"/>
                  <a:pt x="150530" y="143805"/>
                </a:cubicBezTo>
                <a:lnTo>
                  <a:pt x="150530" y="201912"/>
                </a:lnTo>
                <a:cubicBezTo>
                  <a:pt x="150530" y="204422"/>
                  <a:pt x="152748" y="206574"/>
                  <a:pt x="155336" y="206574"/>
                </a:cubicBezTo>
                <a:lnTo>
                  <a:pt x="163100" y="206574"/>
                </a:lnTo>
                <a:cubicBezTo>
                  <a:pt x="165687" y="206574"/>
                  <a:pt x="167905" y="208368"/>
                  <a:pt x="167905" y="211237"/>
                </a:cubicBezTo>
                <a:cubicBezTo>
                  <a:pt x="167905" y="213748"/>
                  <a:pt x="165687" y="215541"/>
                  <a:pt x="163100" y="215541"/>
                </a:cubicBezTo>
                <a:lnTo>
                  <a:pt x="155336" y="215541"/>
                </a:lnTo>
                <a:cubicBezTo>
                  <a:pt x="147573" y="215541"/>
                  <a:pt x="141288" y="209444"/>
                  <a:pt x="141288" y="201912"/>
                </a:cubicBezTo>
                <a:lnTo>
                  <a:pt x="141288" y="143805"/>
                </a:lnTo>
                <a:cubicBezTo>
                  <a:pt x="141288" y="136273"/>
                  <a:pt x="147573" y="130175"/>
                  <a:pt x="155336" y="130175"/>
                </a:cubicBezTo>
                <a:close/>
                <a:moveTo>
                  <a:pt x="224172" y="58891"/>
                </a:moveTo>
                <a:cubicBezTo>
                  <a:pt x="220927" y="58891"/>
                  <a:pt x="218403" y="58891"/>
                  <a:pt x="216600" y="59250"/>
                </a:cubicBezTo>
                <a:cubicBezTo>
                  <a:pt x="218042" y="66419"/>
                  <a:pt x="220206" y="80399"/>
                  <a:pt x="218764" y="87569"/>
                </a:cubicBezTo>
                <a:cubicBezTo>
                  <a:pt x="215518" y="100832"/>
                  <a:pt x="205421" y="112303"/>
                  <a:pt x="196767" y="121982"/>
                </a:cubicBezTo>
                <a:cubicBezTo>
                  <a:pt x="191358" y="128076"/>
                  <a:pt x="185228" y="134887"/>
                  <a:pt x="185228" y="138113"/>
                </a:cubicBezTo>
                <a:lnTo>
                  <a:pt x="185228" y="200486"/>
                </a:lnTo>
                <a:cubicBezTo>
                  <a:pt x="185228" y="203712"/>
                  <a:pt x="188113" y="206580"/>
                  <a:pt x="191358" y="206580"/>
                </a:cubicBezTo>
                <a:lnTo>
                  <a:pt x="274295" y="206580"/>
                </a:lnTo>
                <a:cubicBezTo>
                  <a:pt x="274656" y="206580"/>
                  <a:pt x="274656" y="206222"/>
                  <a:pt x="275016" y="206222"/>
                </a:cubicBezTo>
                <a:cubicBezTo>
                  <a:pt x="280425" y="205863"/>
                  <a:pt x="284392" y="201561"/>
                  <a:pt x="284392" y="195826"/>
                </a:cubicBezTo>
                <a:cubicBezTo>
                  <a:pt x="284392" y="194034"/>
                  <a:pt x="284031" y="192600"/>
                  <a:pt x="283310" y="190807"/>
                </a:cubicBezTo>
                <a:cubicBezTo>
                  <a:pt x="282589" y="189374"/>
                  <a:pt x="282589" y="187940"/>
                  <a:pt x="282950" y="186506"/>
                </a:cubicBezTo>
                <a:cubicBezTo>
                  <a:pt x="283671" y="185430"/>
                  <a:pt x="284753" y="184355"/>
                  <a:pt x="286195" y="183997"/>
                </a:cubicBezTo>
                <a:cubicBezTo>
                  <a:pt x="291243" y="182921"/>
                  <a:pt x="294849" y="178978"/>
                  <a:pt x="294849" y="173601"/>
                </a:cubicBezTo>
                <a:cubicBezTo>
                  <a:pt x="294849" y="171092"/>
                  <a:pt x="293767" y="168583"/>
                  <a:pt x="291604" y="166432"/>
                </a:cubicBezTo>
                <a:cubicBezTo>
                  <a:pt x="290883" y="165356"/>
                  <a:pt x="290522" y="164281"/>
                  <a:pt x="290883" y="162847"/>
                </a:cubicBezTo>
                <a:cubicBezTo>
                  <a:pt x="290883" y="161772"/>
                  <a:pt x="291243" y="160338"/>
                  <a:pt x="292325" y="159621"/>
                </a:cubicBezTo>
                <a:cubicBezTo>
                  <a:pt x="295210" y="157829"/>
                  <a:pt x="296652" y="154602"/>
                  <a:pt x="296652" y="151376"/>
                </a:cubicBezTo>
                <a:cubicBezTo>
                  <a:pt x="296652" y="147075"/>
                  <a:pt x="294849" y="144924"/>
                  <a:pt x="293046" y="144207"/>
                </a:cubicBezTo>
                <a:cubicBezTo>
                  <a:pt x="291243" y="143131"/>
                  <a:pt x="290161" y="141339"/>
                  <a:pt x="289801" y="139188"/>
                </a:cubicBezTo>
                <a:cubicBezTo>
                  <a:pt x="289801" y="137396"/>
                  <a:pt x="290522" y="135245"/>
                  <a:pt x="291964" y="133811"/>
                </a:cubicBezTo>
                <a:cubicBezTo>
                  <a:pt x="293046" y="133453"/>
                  <a:pt x="295570" y="130944"/>
                  <a:pt x="295570" y="125566"/>
                </a:cubicBezTo>
                <a:cubicBezTo>
                  <a:pt x="295570" y="120189"/>
                  <a:pt x="291604" y="116246"/>
                  <a:pt x="287998" y="116246"/>
                </a:cubicBezTo>
                <a:lnTo>
                  <a:pt x="241120" y="116246"/>
                </a:lnTo>
                <a:cubicBezTo>
                  <a:pt x="239678" y="116246"/>
                  <a:pt x="238236" y="115529"/>
                  <a:pt x="237154" y="114454"/>
                </a:cubicBezTo>
                <a:cubicBezTo>
                  <a:pt x="236433" y="113378"/>
                  <a:pt x="236433" y="111945"/>
                  <a:pt x="236793" y="110511"/>
                </a:cubicBezTo>
                <a:cubicBezTo>
                  <a:pt x="237514" y="106568"/>
                  <a:pt x="240399" y="96172"/>
                  <a:pt x="238957" y="83626"/>
                </a:cubicBezTo>
                <a:cubicBezTo>
                  <a:pt x="237514" y="69645"/>
                  <a:pt x="231745" y="58891"/>
                  <a:pt x="224172" y="58891"/>
                </a:cubicBezTo>
                <a:close/>
                <a:moveTo>
                  <a:pt x="224533" y="49571"/>
                </a:moveTo>
                <a:cubicBezTo>
                  <a:pt x="236793" y="50288"/>
                  <a:pt x="246529" y="63552"/>
                  <a:pt x="248332" y="82909"/>
                </a:cubicBezTo>
                <a:cubicBezTo>
                  <a:pt x="249054" y="92587"/>
                  <a:pt x="247972" y="101191"/>
                  <a:pt x="247251" y="107284"/>
                </a:cubicBezTo>
                <a:lnTo>
                  <a:pt x="287998" y="107284"/>
                </a:lnTo>
                <a:cubicBezTo>
                  <a:pt x="297013" y="107284"/>
                  <a:pt x="304946" y="115529"/>
                  <a:pt x="304946" y="125566"/>
                </a:cubicBezTo>
                <a:cubicBezTo>
                  <a:pt x="304946" y="131660"/>
                  <a:pt x="302782" y="135962"/>
                  <a:pt x="300979" y="138471"/>
                </a:cubicBezTo>
                <a:cubicBezTo>
                  <a:pt x="303864" y="141339"/>
                  <a:pt x="306028" y="145999"/>
                  <a:pt x="306028" y="151376"/>
                </a:cubicBezTo>
                <a:cubicBezTo>
                  <a:pt x="306028" y="155678"/>
                  <a:pt x="304225" y="160338"/>
                  <a:pt x="301340" y="163922"/>
                </a:cubicBezTo>
                <a:cubicBezTo>
                  <a:pt x="302782" y="166790"/>
                  <a:pt x="303864" y="170375"/>
                  <a:pt x="303864" y="173601"/>
                </a:cubicBezTo>
                <a:cubicBezTo>
                  <a:pt x="303864" y="181129"/>
                  <a:pt x="299537" y="187940"/>
                  <a:pt x="293046" y="191166"/>
                </a:cubicBezTo>
                <a:cubicBezTo>
                  <a:pt x="293767" y="192958"/>
                  <a:pt x="293767" y="194392"/>
                  <a:pt x="293767" y="195826"/>
                </a:cubicBezTo>
                <a:cubicBezTo>
                  <a:pt x="293767" y="206222"/>
                  <a:pt x="286195" y="214466"/>
                  <a:pt x="275738" y="215542"/>
                </a:cubicBezTo>
                <a:cubicBezTo>
                  <a:pt x="275377" y="215542"/>
                  <a:pt x="275016" y="215542"/>
                  <a:pt x="274295" y="215542"/>
                </a:cubicBezTo>
                <a:lnTo>
                  <a:pt x="191358" y="215542"/>
                </a:lnTo>
                <a:cubicBezTo>
                  <a:pt x="182704" y="215542"/>
                  <a:pt x="176213" y="209089"/>
                  <a:pt x="176213" y="200486"/>
                </a:cubicBezTo>
                <a:lnTo>
                  <a:pt x="176213" y="138113"/>
                </a:lnTo>
                <a:cubicBezTo>
                  <a:pt x="176213" y="131302"/>
                  <a:pt x="181983" y="124491"/>
                  <a:pt x="189916" y="115888"/>
                </a:cubicBezTo>
                <a:cubicBezTo>
                  <a:pt x="197849" y="106926"/>
                  <a:pt x="207224" y="96530"/>
                  <a:pt x="209749" y="85418"/>
                </a:cubicBezTo>
                <a:cubicBezTo>
                  <a:pt x="211191" y="79683"/>
                  <a:pt x="208306" y="64985"/>
                  <a:pt x="206503" y="56741"/>
                </a:cubicBezTo>
                <a:cubicBezTo>
                  <a:pt x="206143" y="54948"/>
                  <a:pt x="207224" y="53156"/>
                  <a:pt x="208667" y="52081"/>
                </a:cubicBezTo>
                <a:cubicBezTo>
                  <a:pt x="209749" y="51722"/>
                  <a:pt x="213715" y="49213"/>
                  <a:pt x="224533" y="49571"/>
                </a:cubicBezTo>
                <a:close/>
                <a:moveTo>
                  <a:pt x="84446" y="0"/>
                </a:moveTo>
                <a:cubicBezTo>
                  <a:pt x="111512" y="0"/>
                  <a:pt x="137135" y="13311"/>
                  <a:pt x="153014" y="35255"/>
                </a:cubicBezTo>
                <a:cubicBezTo>
                  <a:pt x="168892" y="13311"/>
                  <a:pt x="194515" y="0"/>
                  <a:pt x="221581" y="0"/>
                </a:cubicBezTo>
                <a:cubicBezTo>
                  <a:pt x="268135" y="0"/>
                  <a:pt x="306027" y="37774"/>
                  <a:pt x="306027" y="84181"/>
                </a:cubicBezTo>
                <a:cubicBezTo>
                  <a:pt x="306027" y="86340"/>
                  <a:pt x="306027" y="88498"/>
                  <a:pt x="305666" y="90657"/>
                </a:cubicBezTo>
                <a:cubicBezTo>
                  <a:pt x="305666" y="93175"/>
                  <a:pt x="303501" y="95334"/>
                  <a:pt x="300975" y="94974"/>
                </a:cubicBezTo>
                <a:cubicBezTo>
                  <a:pt x="298449" y="94614"/>
                  <a:pt x="296284" y="92815"/>
                  <a:pt x="296644" y="90297"/>
                </a:cubicBezTo>
                <a:cubicBezTo>
                  <a:pt x="296644" y="88139"/>
                  <a:pt x="296644" y="85980"/>
                  <a:pt x="296644" y="84181"/>
                </a:cubicBezTo>
                <a:cubicBezTo>
                  <a:pt x="296644" y="42810"/>
                  <a:pt x="263083" y="9353"/>
                  <a:pt x="221581" y="9353"/>
                </a:cubicBezTo>
                <a:cubicBezTo>
                  <a:pt x="195237" y="9353"/>
                  <a:pt x="170336" y="23384"/>
                  <a:pt x="156983" y="46048"/>
                </a:cubicBezTo>
                <a:cubicBezTo>
                  <a:pt x="156262" y="47847"/>
                  <a:pt x="154457" y="48566"/>
                  <a:pt x="153014" y="48566"/>
                </a:cubicBezTo>
                <a:cubicBezTo>
                  <a:pt x="151570" y="48566"/>
                  <a:pt x="149766" y="47847"/>
                  <a:pt x="149044" y="46048"/>
                </a:cubicBezTo>
                <a:cubicBezTo>
                  <a:pt x="135330" y="23384"/>
                  <a:pt x="110790" y="9353"/>
                  <a:pt x="84446" y="9353"/>
                </a:cubicBezTo>
                <a:cubicBezTo>
                  <a:pt x="42945" y="9353"/>
                  <a:pt x="9383" y="42810"/>
                  <a:pt x="9383" y="84181"/>
                </a:cubicBezTo>
                <a:cubicBezTo>
                  <a:pt x="9383" y="167643"/>
                  <a:pt x="133887" y="250386"/>
                  <a:pt x="153014" y="262617"/>
                </a:cubicBezTo>
                <a:cubicBezTo>
                  <a:pt x="159510" y="258660"/>
                  <a:pt x="177554" y="246788"/>
                  <a:pt x="198485" y="229880"/>
                </a:cubicBezTo>
                <a:cubicBezTo>
                  <a:pt x="200650" y="228441"/>
                  <a:pt x="203537" y="228441"/>
                  <a:pt x="204981" y="230600"/>
                </a:cubicBezTo>
                <a:cubicBezTo>
                  <a:pt x="206424" y="232398"/>
                  <a:pt x="206424" y="235636"/>
                  <a:pt x="204259" y="237075"/>
                </a:cubicBezTo>
                <a:cubicBezTo>
                  <a:pt x="177554" y="258660"/>
                  <a:pt x="155540" y="271971"/>
                  <a:pt x="155540" y="271971"/>
                </a:cubicBezTo>
                <a:cubicBezTo>
                  <a:pt x="154818" y="272331"/>
                  <a:pt x="154096" y="272690"/>
                  <a:pt x="153014" y="272690"/>
                </a:cubicBezTo>
                <a:cubicBezTo>
                  <a:pt x="152292" y="272690"/>
                  <a:pt x="151570" y="272331"/>
                  <a:pt x="150488" y="271971"/>
                </a:cubicBezTo>
                <a:cubicBezTo>
                  <a:pt x="144353" y="268373"/>
                  <a:pt x="0" y="179515"/>
                  <a:pt x="0" y="84181"/>
                </a:cubicBezTo>
                <a:cubicBezTo>
                  <a:pt x="0" y="37774"/>
                  <a:pt x="37892" y="0"/>
                  <a:pt x="8444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32A0CE3C-D728-C3D1-29DC-1D63BD6D3F06}"/>
              </a:ext>
            </a:extLst>
          </p:cNvPr>
          <p:cNvGrpSpPr/>
          <p:nvPr/>
        </p:nvGrpSpPr>
        <p:grpSpPr>
          <a:xfrm>
            <a:off x="384174" y="2656940"/>
            <a:ext cx="11449050" cy="2508097"/>
            <a:chOff x="1561686" y="2666465"/>
            <a:chExt cx="7997658" cy="2508097"/>
          </a:xfrm>
        </p:grpSpPr>
        <p:cxnSp>
          <p:nvCxnSpPr>
            <p:cNvPr id="28" name="Straight Connector 35">
              <a:extLst>
                <a:ext uri="{FF2B5EF4-FFF2-40B4-BE49-F238E27FC236}">
                  <a16:creationId xmlns:a16="http://schemas.microsoft.com/office/drawing/2014/main" id="{4D57577B-107B-A4B2-9444-359088406130}"/>
                </a:ext>
              </a:extLst>
            </p:cNvPr>
            <p:cNvCxnSpPr/>
            <p:nvPr/>
          </p:nvCxnSpPr>
          <p:spPr>
            <a:xfrm>
              <a:off x="1561686" y="2666465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6">
              <a:extLst>
                <a:ext uri="{FF2B5EF4-FFF2-40B4-BE49-F238E27FC236}">
                  <a16:creationId xmlns:a16="http://schemas.microsoft.com/office/drawing/2014/main" id="{7037C7D7-D26A-C6D6-59B6-C22D4B5380FC}"/>
                </a:ext>
              </a:extLst>
            </p:cNvPr>
            <p:cNvCxnSpPr/>
            <p:nvPr/>
          </p:nvCxnSpPr>
          <p:spPr>
            <a:xfrm>
              <a:off x="1561686" y="3912072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7">
              <a:extLst>
                <a:ext uri="{FF2B5EF4-FFF2-40B4-BE49-F238E27FC236}">
                  <a16:creationId xmlns:a16="http://schemas.microsoft.com/office/drawing/2014/main" id="{CE1290DF-0619-6067-D75E-5BFD134CA80A}"/>
                </a:ext>
              </a:extLst>
            </p:cNvPr>
            <p:cNvCxnSpPr/>
            <p:nvPr/>
          </p:nvCxnSpPr>
          <p:spPr>
            <a:xfrm>
              <a:off x="1561686" y="5174562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4B102205-73EE-58CC-91FA-2C4AF15FA69E}"/>
              </a:ext>
            </a:extLst>
          </p:cNvPr>
          <p:cNvSpPr txBox="1">
            <a:spLocks/>
          </p:cNvSpPr>
          <p:nvPr/>
        </p:nvSpPr>
        <p:spPr>
          <a:xfrm>
            <a:off x="2114549" y="5405986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178FEA3-F7A6-2DF7-AB23-AF00DEA6142E}"/>
              </a:ext>
            </a:extLst>
          </p:cNvPr>
          <p:cNvSpPr txBox="1">
            <a:spLocks/>
          </p:cNvSpPr>
          <p:nvPr/>
        </p:nvSpPr>
        <p:spPr>
          <a:xfrm>
            <a:off x="2114549" y="4171582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9FA7D351-1927-78DB-1877-DFEEFD5E9E57}"/>
              </a:ext>
            </a:extLst>
          </p:cNvPr>
          <p:cNvSpPr txBox="1">
            <a:spLocks/>
          </p:cNvSpPr>
          <p:nvPr/>
        </p:nvSpPr>
        <p:spPr>
          <a:xfrm>
            <a:off x="2114549" y="2904295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7ED00BAF-242B-C76A-350F-E0F4748AA179}"/>
              </a:ext>
            </a:extLst>
          </p:cNvPr>
          <p:cNvSpPr txBox="1">
            <a:spLocks/>
          </p:cNvSpPr>
          <p:nvPr/>
        </p:nvSpPr>
        <p:spPr>
          <a:xfrm>
            <a:off x="2114549" y="1664929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F043DF-9924-3D4D-0257-B01516912E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3CED3F0D-A351-D2E4-0DE6-420336606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A — SWOT Analysis</a:t>
            </a:r>
          </a:p>
        </p:txBody>
      </p:sp>
      <p:sp>
        <p:nvSpPr>
          <p:cNvPr id="31" name="TextBox 27">
            <a:extLst>
              <a:ext uri="{FF2B5EF4-FFF2-40B4-BE49-F238E27FC236}">
                <a16:creationId xmlns:a16="http://schemas.microsoft.com/office/drawing/2014/main" id="{74D6649A-6F07-4EA3-93B9-33FC59B091DF}"/>
              </a:ext>
            </a:extLst>
          </p:cNvPr>
          <p:cNvSpPr txBox="1"/>
          <p:nvPr/>
        </p:nvSpPr>
        <p:spPr>
          <a:xfrm>
            <a:off x="551845" y="4057259"/>
            <a:ext cx="1523174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PORTUNITIES</a:t>
            </a:r>
          </a:p>
        </p:txBody>
      </p:sp>
      <p:sp>
        <p:nvSpPr>
          <p:cNvPr id="32" name="TextBox 27">
            <a:extLst>
              <a:ext uri="{FF2B5EF4-FFF2-40B4-BE49-F238E27FC236}">
                <a16:creationId xmlns:a16="http://schemas.microsoft.com/office/drawing/2014/main" id="{01D64B3E-7C71-4CAB-B970-B7377E51070A}"/>
              </a:ext>
            </a:extLst>
          </p:cNvPr>
          <p:cNvSpPr txBox="1"/>
          <p:nvPr/>
        </p:nvSpPr>
        <p:spPr>
          <a:xfrm>
            <a:off x="746610" y="1528519"/>
            <a:ext cx="1133644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ENGTHS</a:t>
            </a:r>
          </a:p>
        </p:txBody>
      </p:sp>
      <p:sp>
        <p:nvSpPr>
          <p:cNvPr id="34" name="TextBox 27">
            <a:extLst>
              <a:ext uri="{FF2B5EF4-FFF2-40B4-BE49-F238E27FC236}">
                <a16:creationId xmlns:a16="http://schemas.microsoft.com/office/drawing/2014/main" id="{FDF4C45B-733C-491D-9048-BF9100B12C19}"/>
              </a:ext>
            </a:extLst>
          </p:cNvPr>
          <p:cNvSpPr txBox="1"/>
          <p:nvPr/>
        </p:nvSpPr>
        <p:spPr>
          <a:xfrm>
            <a:off x="857217" y="5281384"/>
            <a:ext cx="912430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REATS</a:t>
            </a:r>
          </a:p>
        </p:txBody>
      </p:sp>
      <p:sp>
        <p:nvSpPr>
          <p:cNvPr id="35" name="TextBox 27">
            <a:extLst>
              <a:ext uri="{FF2B5EF4-FFF2-40B4-BE49-F238E27FC236}">
                <a16:creationId xmlns:a16="http://schemas.microsoft.com/office/drawing/2014/main" id="{231E5326-763B-4767-A72C-8116BEA8727D}"/>
              </a:ext>
            </a:extLst>
          </p:cNvPr>
          <p:cNvSpPr txBox="1"/>
          <p:nvPr/>
        </p:nvSpPr>
        <p:spPr>
          <a:xfrm>
            <a:off x="680887" y="2777291"/>
            <a:ext cx="1265091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EAKNESSES</a:t>
            </a:r>
          </a:p>
        </p:txBody>
      </p:sp>
    </p:spTree>
    <p:extLst>
      <p:ext uri="{BB962C8B-B14F-4D97-AF65-F5344CB8AC3E}">
        <p14:creationId xmlns:p14="http://schemas.microsoft.com/office/powerpoint/2010/main" val="310196543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C0135B8-DB5A-4AEE-584F-046E3ACACA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C0135B8-DB5A-4AEE-584F-046E3ACAC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068F549F-843C-0964-FA2D-F7D497051AE6}"/>
              </a:ext>
            </a:extLst>
          </p:cNvPr>
          <p:cNvSpPr/>
          <p:nvPr/>
        </p:nvSpPr>
        <p:spPr>
          <a:xfrm>
            <a:off x="371476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B98AF84-03E0-3224-E57D-7502E6775455}"/>
              </a:ext>
            </a:extLst>
          </p:cNvPr>
          <p:cNvSpPr/>
          <p:nvPr/>
        </p:nvSpPr>
        <p:spPr>
          <a:xfrm>
            <a:off x="3291155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3D0203BB-8F17-EAB7-8275-3418A7C73EBB}"/>
              </a:ext>
            </a:extLst>
          </p:cNvPr>
          <p:cNvSpPr/>
          <p:nvPr/>
        </p:nvSpPr>
        <p:spPr>
          <a:xfrm>
            <a:off x="6210833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DE136C7B-E1E1-8A7B-76AA-D74CE6ABAFC7}"/>
              </a:ext>
            </a:extLst>
          </p:cNvPr>
          <p:cNvSpPr/>
          <p:nvPr/>
        </p:nvSpPr>
        <p:spPr>
          <a:xfrm>
            <a:off x="9124338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Box 30">
            <a:extLst>
              <a:ext uri="{FF2B5EF4-FFF2-40B4-BE49-F238E27FC236}">
                <a16:creationId xmlns:a16="http://schemas.microsoft.com/office/drawing/2014/main" id="{CD342F8B-DEAA-FF5C-ACFA-17A33AB27ED2}"/>
              </a:ext>
            </a:extLst>
          </p:cNvPr>
          <p:cNvSpPr txBox="1"/>
          <p:nvPr/>
        </p:nvSpPr>
        <p:spPr>
          <a:xfrm>
            <a:off x="1123894" y="2463428"/>
            <a:ext cx="1191352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Strength</a:t>
            </a:r>
          </a:p>
        </p:txBody>
      </p:sp>
      <p:sp>
        <p:nvSpPr>
          <p:cNvPr id="22" name="TextBox 31">
            <a:extLst>
              <a:ext uri="{FF2B5EF4-FFF2-40B4-BE49-F238E27FC236}">
                <a16:creationId xmlns:a16="http://schemas.microsoft.com/office/drawing/2014/main" id="{B25E936F-C63F-393B-2004-6887DEFEE272}"/>
              </a:ext>
            </a:extLst>
          </p:cNvPr>
          <p:cNvSpPr txBox="1"/>
          <p:nvPr/>
        </p:nvSpPr>
        <p:spPr>
          <a:xfrm>
            <a:off x="3962620" y="2463428"/>
            <a:ext cx="135325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Weakness</a:t>
            </a:r>
          </a:p>
        </p:txBody>
      </p:sp>
      <p:sp>
        <p:nvSpPr>
          <p:cNvPr id="23" name="TextBox 32">
            <a:extLst>
              <a:ext uri="{FF2B5EF4-FFF2-40B4-BE49-F238E27FC236}">
                <a16:creationId xmlns:a16="http://schemas.microsoft.com/office/drawing/2014/main" id="{5591E985-2DB8-FFA1-768B-BAA4C600202D}"/>
              </a:ext>
            </a:extLst>
          </p:cNvPr>
          <p:cNvSpPr txBox="1"/>
          <p:nvPr/>
        </p:nvSpPr>
        <p:spPr>
          <a:xfrm>
            <a:off x="6772493" y="2463428"/>
            <a:ext cx="157286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Opportunity</a:t>
            </a:r>
          </a:p>
        </p:txBody>
      </p:sp>
      <p:sp>
        <p:nvSpPr>
          <p:cNvPr id="24" name="TextBox 33">
            <a:extLst>
              <a:ext uri="{FF2B5EF4-FFF2-40B4-BE49-F238E27FC236}">
                <a16:creationId xmlns:a16="http://schemas.microsoft.com/office/drawing/2014/main" id="{5C2BD119-42ED-0998-7E7E-9721F72BE35F}"/>
              </a:ext>
            </a:extLst>
          </p:cNvPr>
          <p:cNvSpPr txBox="1"/>
          <p:nvPr/>
        </p:nvSpPr>
        <p:spPr>
          <a:xfrm>
            <a:off x="10002591" y="2463428"/>
            <a:ext cx="939681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Threat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DADF59DF-C57F-732E-4B99-514A6F77D6FC}"/>
              </a:ext>
            </a:extLst>
          </p:cNvPr>
          <p:cNvSpPr txBox="1">
            <a:spLocks/>
          </p:cNvSpPr>
          <p:nvPr/>
        </p:nvSpPr>
        <p:spPr>
          <a:xfrm>
            <a:off x="490797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A50B731-E30B-12F0-7964-D8F75D55CF37}"/>
              </a:ext>
            </a:extLst>
          </p:cNvPr>
          <p:cNvSpPr txBox="1">
            <a:spLocks/>
          </p:cNvSpPr>
          <p:nvPr/>
        </p:nvSpPr>
        <p:spPr>
          <a:xfrm>
            <a:off x="3410474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97A1D2F-78FA-8460-00DA-1A22E64957FF}"/>
              </a:ext>
            </a:extLst>
          </p:cNvPr>
          <p:cNvSpPr txBox="1">
            <a:spLocks/>
          </p:cNvSpPr>
          <p:nvPr/>
        </p:nvSpPr>
        <p:spPr>
          <a:xfrm>
            <a:off x="6330154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5C0ABDB-02DA-D9BA-9C7F-9B44E088AFAE}"/>
              </a:ext>
            </a:extLst>
          </p:cNvPr>
          <p:cNvSpPr txBox="1">
            <a:spLocks/>
          </p:cNvSpPr>
          <p:nvPr/>
        </p:nvSpPr>
        <p:spPr>
          <a:xfrm>
            <a:off x="9240212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A503F37-4410-6B2B-96EE-1744282A21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D0C3684F-125D-20C9-6EAA-7C31CFEC58C4}"/>
              </a:ext>
            </a:extLst>
          </p:cNvPr>
          <p:cNvGrpSpPr/>
          <p:nvPr/>
        </p:nvGrpSpPr>
        <p:grpSpPr>
          <a:xfrm>
            <a:off x="1360063" y="1530219"/>
            <a:ext cx="719015" cy="719312"/>
            <a:chOff x="1219199" y="1639968"/>
            <a:chExt cx="1133689" cy="1134158"/>
          </a:xfrm>
        </p:grpSpPr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0624EDDD-BA29-F605-1D09-E299A26C532C}"/>
                </a:ext>
              </a:extLst>
            </p:cNvPr>
            <p:cNvSpPr/>
            <p:nvPr/>
          </p:nvSpPr>
          <p:spPr>
            <a:xfrm>
              <a:off x="1219199" y="1639968"/>
              <a:ext cx="1133689" cy="113415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788970DE-C32B-1940-2FE5-2E0797811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9428" y="1915787"/>
              <a:ext cx="673229" cy="599889"/>
            </a:xfrm>
            <a:custGeom>
              <a:avLst/>
              <a:gdLst>
                <a:gd name="connsiteX0" fmla="*/ 155336 w 306028"/>
                <a:gd name="connsiteY0" fmla="*/ 130175 h 272690"/>
                <a:gd name="connsiteX1" fmla="*/ 163100 w 306028"/>
                <a:gd name="connsiteY1" fmla="*/ 130175 h 272690"/>
                <a:gd name="connsiteX2" fmla="*/ 167905 w 306028"/>
                <a:gd name="connsiteY2" fmla="*/ 134479 h 272690"/>
                <a:gd name="connsiteX3" fmla="*/ 163100 w 306028"/>
                <a:gd name="connsiteY3" fmla="*/ 139142 h 272690"/>
                <a:gd name="connsiteX4" fmla="*/ 155336 w 306028"/>
                <a:gd name="connsiteY4" fmla="*/ 139142 h 272690"/>
                <a:gd name="connsiteX5" fmla="*/ 150530 w 306028"/>
                <a:gd name="connsiteY5" fmla="*/ 143805 h 272690"/>
                <a:gd name="connsiteX6" fmla="*/ 150530 w 306028"/>
                <a:gd name="connsiteY6" fmla="*/ 201912 h 272690"/>
                <a:gd name="connsiteX7" fmla="*/ 155336 w 306028"/>
                <a:gd name="connsiteY7" fmla="*/ 206574 h 272690"/>
                <a:gd name="connsiteX8" fmla="*/ 163100 w 306028"/>
                <a:gd name="connsiteY8" fmla="*/ 206574 h 272690"/>
                <a:gd name="connsiteX9" fmla="*/ 167905 w 306028"/>
                <a:gd name="connsiteY9" fmla="*/ 211237 h 272690"/>
                <a:gd name="connsiteX10" fmla="*/ 163100 w 306028"/>
                <a:gd name="connsiteY10" fmla="*/ 215541 h 272690"/>
                <a:gd name="connsiteX11" fmla="*/ 155336 w 306028"/>
                <a:gd name="connsiteY11" fmla="*/ 215541 h 272690"/>
                <a:gd name="connsiteX12" fmla="*/ 141288 w 306028"/>
                <a:gd name="connsiteY12" fmla="*/ 201912 h 272690"/>
                <a:gd name="connsiteX13" fmla="*/ 141288 w 306028"/>
                <a:gd name="connsiteY13" fmla="*/ 143805 h 272690"/>
                <a:gd name="connsiteX14" fmla="*/ 155336 w 306028"/>
                <a:gd name="connsiteY14" fmla="*/ 130175 h 272690"/>
                <a:gd name="connsiteX15" fmla="*/ 224172 w 306028"/>
                <a:gd name="connsiteY15" fmla="*/ 58891 h 272690"/>
                <a:gd name="connsiteX16" fmla="*/ 216600 w 306028"/>
                <a:gd name="connsiteY16" fmla="*/ 59250 h 272690"/>
                <a:gd name="connsiteX17" fmla="*/ 218764 w 306028"/>
                <a:gd name="connsiteY17" fmla="*/ 87569 h 272690"/>
                <a:gd name="connsiteX18" fmla="*/ 196767 w 306028"/>
                <a:gd name="connsiteY18" fmla="*/ 121982 h 272690"/>
                <a:gd name="connsiteX19" fmla="*/ 185228 w 306028"/>
                <a:gd name="connsiteY19" fmla="*/ 138113 h 272690"/>
                <a:gd name="connsiteX20" fmla="*/ 185228 w 306028"/>
                <a:gd name="connsiteY20" fmla="*/ 200486 h 272690"/>
                <a:gd name="connsiteX21" fmla="*/ 191358 w 306028"/>
                <a:gd name="connsiteY21" fmla="*/ 206580 h 272690"/>
                <a:gd name="connsiteX22" fmla="*/ 274295 w 306028"/>
                <a:gd name="connsiteY22" fmla="*/ 206580 h 272690"/>
                <a:gd name="connsiteX23" fmla="*/ 275016 w 306028"/>
                <a:gd name="connsiteY23" fmla="*/ 206222 h 272690"/>
                <a:gd name="connsiteX24" fmla="*/ 284392 w 306028"/>
                <a:gd name="connsiteY24" fmla="*/ 195826 h 272690"/>
                <a:gd name="connsiteX25" fmla="*/ 283310 w 306028"/>
                <a:gd name="connsiteY25" fmla="*/ 190807 h 272690"/>
                <a:gd name="connsiteX26" fmla="*/ 282950 w 306028"/>
                <a:gd name="connsiteY26" fmla="*/ 186506 h 272690"/>
                <a:gd name="connsiteX27" fmla="*/ 286195 w 306028"/>
                <a:gd name="connsiteY27" fmla="*/ 183997 h 272690"/>
                <a:gd name="connsiteX28" fmla="*/ 294849 w 306028"/>
                <a:gd name="connsiteY28" fmla="*/ 173601 h 272690"/>
                <a:gd name="connsiteX29" fmla="*/ 291604 w 306028"/>
                <a:gd name="connsiteY29" fmla="*/ 166432 h 272690"/>
                <a:gd name="connsiteX30" fmla="*/ 290883 w 306028"/>
                <a:gd name="connsiteY30" fmla="*/ 162847 h 272690"/>
                <a:gd name="connsiteX31" fmla="*/ 292325 w 306028"/>
                <a:gd name="connsiteY31" fmla="*/ 159621 h 272690"/>
                <a:gd name="connsiteX32" fmla="*/ 296652 w 306028"/>
                <a:gd name="connsiteY32" fmla="*/ 151376 h 272690"/>
                <a:gd name="connsiteX33" fmla="*/ 293046 w 306028"/>
                <a:gd name="connsiteY33" fmla="*/ 144207 h 272690"/>
                <a:gd name="connsiteX34" fmla="*/ 289801 w 306028"/>
                <a:gd name="connsiteY34" fmla="*/ 139188 h 272690"/>
                <a:gd name="connsiteX35" fmla="*/ 291964 w 306028"/>
                <a:gd name="connsiteY35" fmla="*/ 133811 h 272690"/>
                <a:gd name="connsiteX36" fmla="*/ 295570 w 306028"/>
                <a:gd name="connsiteY36" fmla="*/ 125566 h 272690"/>
                <a:gd name="connsiteX37" fmla="*/ 287998 w 306028"/>
                <a:gd name="connsiteY37" fmla="*/ 116246 h 272690"/>
                <a:gd name="connsiteX38" fmla="*/ 241120 w 306028"/>
                <a:gd name="connsiteY38" fmla="*/ 116246 h 272690"/>
                <a:gd name="connsiteX39" fmla="*/ 237154 w 306028"/>
                <a:gd name="connsiteY39" fmla="*/ 114454 h 272690"/>
                <a:gd name="connsiteX40" fmla="*/ 236793 w 306028"/>
                <a:gd name="connsiteY40" fmla="*/ 110511 h 272690"/>
                <a:gd name="connsiteX41" fmla="*/ 238957 w 306028"/>
                <a:gd name="connsiteY41" fmla="*/ 83626 h 272690"/>
                <a:gd name="connsiteX42" fmla="*/ 224172 w 306028"/>
                <a:gd name="connsiteY42" fmla="*/ 58891 h 272690"/>
                <a:gd name="connsiteX43" fmla="*/ 224533 w 306028"/>
                <a:gd name="connsiteY43" fmla="*/ 49571 h 272690"/>
                <a:gd name="connsiteX44" fmla="*/ 248332 w 306028"/>
                <a:gd name="connsiteY44" fmla="*/ 82909 h 272690"/>
                <a:gd name="connsiteX45" fmla="*/ 247251 w 306028"/>
                <a:gd name="connsiteY45" fmla="*/ 107284 h 272690"/>
                <a:gd name="connsiteX46" fmla="*/ 287998 w 306028"/>
                <a:gd name="connsiteY46" fmla="*/ 107284 h 272690"/>
                <a:gd name="connsiteX47" fmla="*/ 304946 w 306028"/>
                <a:gd name="connsiteY47" fmla="*/ 125566 h 272690"/>
                <a:gd name="connsiteX48" fmla="*/ 300979 w 306028"/>
                <a:gd name="connsiteY48" fmla="*/ 138471 h 272690"/>
                <a:gd name="connsiteX49" fmla="*/ 306028 w 306028"/>
                <a:gd name="connsiteY49" fmla="*/ 151376 h 272690"/>
                <a:gd name="connsiteX50" fmla="*/ 301340 w 306028"/>
                <a:gd name="connsiteY50" fmla="*/ 163922 h 272690"/>
                <a:gd name="connsiteX51" fmla="*/ 303864 w 306028"/>
                <a:gd name="connsiteY51" fmla="*/ 173601 h 272690"/>
                <a:gd name="connsiteX52" fmla="*/ 293046 w 306028"/>
                <a:gd name="connsiteY52" fmla="*/ 191166 h 272690"/>
                <a:gd name="connsiteX53" fmla="*/ 293767 w 306028"/>
                <a:gd name="connsiteY53" fmla="*/ 195826 h 272690"/>
                <a:gd name="connsiteX54" fmla="*/ 275738 w 306028"/>
                <a:gd name="connsiteY54" fmla="*/ 215542 h 272690"/>
                <a:gd name="connsiteX55" fmla="*/ 274295 w 306028"/>
                <a:gd name="connsiteY55" fmla="*/ 215542 h 272690"/>
                <a:gd name="connsiteX56" fmla="*/ 191358 w 306028"/>
                <a:gd name="connsiteY56" fmla="*/ 215542 h 272690"/>
                <a:gd name="connsiteX57" fmla="*/ 176213 w 306028"/>
                <a:gd name="connsiteY57" fmla="*/ 200486 h 272690"/>
                <a:gd name="connsiteX58" fmla="*/ 176213 w 306028"/>
                <a:gd name="connsiteY58" fmla="*/ 138113 h 272690"/>
                <a:gd name="connsiteX59" fmla="*/ 189916 w 306028"/>
                <a:gd name="connsiteY59" fmla="*/ 115888 h 272690"/>
                <a:gd name="connsiteX60" fmla="*/ 209749 w 306028"/>
                <a:gd name="connsiteY60" fmla="*/ 85418 h 272690"/>
                <a:gd name="connsiteX61" fmla="*/ 206503 w 306028"/>
                <a:gd name="connsiteY61" fmla="*/ 56741 h 272690"/>
                <a:gd name="connsiteX62" fmla="*/ 208667 w 306028"/>
                <a:gd name="connsiteY62" fmla="*/ 52081 h 272690"/>
                <a:gd name="connsiteX63" fmla="*/ 224533 w 306028"/>
                <a:gd name="connsiteY63" fmla="*/ 49571 h 272690"/>
                <a:gd name="connsiteX64" fmla="*/ 84446 w 306028"/>
                <a:gd name="connsiteY64" fmla="*/ 0 h 272690"/>
                <a:gd name="connsiteX65" fmla="*/ 153014 w 306028"/>
                <a:gd name="connsiteY65" fmla="*/ 35255 h 272690"/>
                <a:gd name="connsiteX66" fmla="*/ 221581 w 306028"/>
                <a:gd name="connsiteY66" fmla="*/ 0 h 272690"/>
                <a:gd name="connsiteX67" fmla="*/ 306027 w 306028"/>
                <a:gd name="connsiteY67" fmla="*/ 84181 h 272690"/>
                <a:gd name="connsiteX68" fmla="*/ 305666 w 306028"/>
                <a:gd name="connsiteY68" fmla="*/ 90657 h 272690"/>
                <a:gd name="connsiteX69" fmla="*/ 300975 w 306028"/>
                <a:gd name="connsiteY69" fmla="*/ 94974 h 272690"/>
                <a:gd name="connsiteX70" fmla="*/ 296644 w 306028"/>
                <a:gd name="connsiteY70" fmla="*/ 90297 h 272690"/>
                <a:gd name="connsiteX71" fmla="*/ 296644 w 306028"/>
                <a:gd name="connsiteY71" fmla="*/ 84181 h 272690"/>
                <a:gd name="connsiteX72" fmla="*/ 221581 w 306028"/>
                <a:gd name="connsiteY72" fmla="*/ 9353 h 272690"/>
                <a:gd name="connsiteX73" fmla="*/ 156983 w 306028"/>
                <a:gd name="connsiteY73" fmla="*/ 46048 h 272690"/>
                <a:gd name="connsiteX74" fmla="*/ 153014 w 306028"/>
                <a:gd name="connsiteY74" fmla="*/ 48566 h 272690"/>
                <a:gd name="connsiteX75" fmla="*/ 149044 w 306028"/>
                <a:gd name="connsiteY75" fmla="*/ 46048 h 272690"/>
                <a:gd name="connsiteX76" fmla="*/ 84446 w 306028"/>
                <a:gd name="connsiteY76" fmla="*/ 9353 h 272690"/>
                <a:gd name="connsiteX77" fmla="*/ 9383 w 306028"/>
                <a:gd name="connsiteY77" fmla="*/ 84181 h 272690"/>
                <a:gd name="connsiteX78" fmla="*/ 153014 w 306028"/>
                <a:gd name="connsiteY78" fmla="*/ 262617 h 272690"/>
                <a:gd name="connsiteX79" fmla="*/ 198485 w 306028"/>
                <a:gd name="connsiteY79" fmla="*/ 229880 h 272690"/>
                <a:gd name="connsiteX80" fmla="*/ 204981 w 306028"/>
                <a:gd name="connsiteY80" fmla="*/ 230600 h 272690"/>
                <a:gd name="connsiteX81" fmla="*/ 204259 w 306028"/>
                <a:gd name="connsiteY81" fmla="*/ 237075 h 272690"/>
                <a:gd name="connsiteX82" fmla="*/ 155540 w 306028"/>
                <a:gd name="connsiteY82" fmla="*/ 271971 h 272690"/>
                <a:gd name="connsiteX83" fmla="*/ 153014 w 306028"/>
                <a:gd name="connsiteY83" fmla="*/ 272690 h 272690"/>
                <a:gd name="connsiteX84" fmla="*/ 150488 w 306028"/>
                <a:gd name="connsiteY84" fmla="*/ 271971 h 272690"/>
                <a:gd name="connsiteX85" fmla="*/ 0 w 306028"/>
                <a:gd name="connsiteY85" fmla="*/ 84181 h 272690"/>
                <a:gd name="connsiteX86" fmla="*/ 84446 w 306028"/>
                <a:gd name="connsiteY86" fmla="*/ 0 h 272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06028" h="272690">
                  <a:moveTo>
                    <a:pt x="155336" y="130175"/>
                  </a:moveTo>
                  <a:lnTo>
                    <a:pt x="163100" y="130175"/>
                  </a:lnTo>
                  <a:cubicBezTo>
                    <a:pt x="165687" y="130175"/>
                    <a:pt x="167905" y="131969"/>
                    <a:pt x="167905" y="134479"/>
                  </a:cubicBezTo>
                  <a:cubicBezTo>
                    <a:pt x="167905" y="136990"/>
                    <a:pt x="165687" y="139142"/>
                    <a:pt x="163100" y="139142"/>
                  </a:cubicBezTo>
                  <a:lnTo>
                    <a:pt x="155336" y="139142"/>
                  </a:lnTo>
                  <a:cubicBezTo>
                    <a:pt x="152748" y="139142"/>
                    <a:pt x="150530" y="141294"/>
                    <a:pt x="150530" y="143805"/>
                  </a:cubicBezTo>
                  <a:lnTo>
                    <a:pt x="150530" y="201912"/>
                  </a:lnTo>
                  <a:cubicBezTo>
                    <a:pt x="150530" y="204422"/>
                    <a:pt x="152748" y="206574"/>
                    <a:pt x="155336" y="206574"/>
                  </a:cubicBezTo>
                  <a:lnTo>
                    <a:pt x="163100" y="206574"/>
                  </a:lnTo>
                  <a:cubicBezTo>
                    <a:pt x="165687" y="206574"/>
                    <a:pt x="167905" y="208368"/>
                    <a:pt x="167905" y="211237"/>
                  </a:cubicBezTo>
                  <a:cubicBezTo>
                    <a:pt x="167905" y="213748"/>
                    <a:pt x="165687" y="215541"/>
                    <a:pt x="163100" y="215541"/>
                  </a:cubicBezTo>
                  <a:lnTo>
                    <a:pt x="155336" y="215541"/>
                  </a:lnTo>
                  <a:cubicBezTo>
                    <a:pt x="147573" y="215541"/>
                    <a:pt x="141288" y="209444"/>
                    <a:pt x="141288" y="201912"/>
                  </a:cubicBezTo>
                  <a:lnTo>
                    <a:pt x="141288" y="143805"/>
                  </a:lnTo>
                  <a:cubicBezTo>
                    <a:pt x="141288" y="136273"/>
                    <a:pt x="147573" y="130175"/>
                    <a:pt x="155336" y="130175"/>
                  </a:cubicBezTo>
                  <a:close/>
                  <a:moveTo>
                    <a:pt x="224172" y="58891"/>
                  </a:moveTo>
                  <a:cubicBezTo>
                    <a:pt x="220927" y="58891"/>
                    <a:pt x="218403" y="58891"/>
                    <a:pt x="216600" y="59250"/>
                  </a:cubicBezTo>
                  <a:cubicBezTo>
                    <a:pt x="218042" y="66419"/>
                    <a:pt x="220206" y="80399"/>
                    <a:pt x="218764" y="87569"/>
                  </a:cubicBezTo>
                  <a:cubicBezTo>
                    <a:pt x="215518" y="100832"/>
                    <a:pt x="205421" y="112303"/>
                    <a:pt x="196767" y="121982"/>
                  </a:cubicBezTo>
                  <a:cubicBezTo>
                    <a:pt x="191358" y="128076"/>
                    <a:pt x="185228" y="134887"/>
                    <a:pt x="185228" y="138113"/>
                  </a:cubicBezTo>
                  <a:lnTo>
                    <a:pt x="185228" y="200486"/>
                  </a:lnTo>
                  <a:cubicBezTo>
                    <a:pt x="185228" y="203712"/>
                    <a:pt x="188113" y="206580"/>
                    <a:pt x="191358" y="206580"/>
                  </a:cubicBezTo>
                  <a:lnTo>
                    <a:pt x="274295" y="206580"/>
                  </a:lnTo>
                  <a:cubicBezTo>
                    <a:pt x="274656" y="206580"/>
                    <a:pt x="274656" y="206222"/>
                    <a:pt x="275016" y="206222"/>
                  </a:cubicBezTo>
                  <a:cubicBezTo>
                    <a:pt x="280425" y="205863"/>
                    <a:pt x="284392" y="201561"/>
                    <a:pt x="284392" y="195826"/>
                  </a:cubicBezTo>
                  <a:cubicBezTo>
                    <a:pt x="284392" y="194034"/>
                    <a:pt x="284031" y="192600"/>
                    <a:pt x="283310" y="190807"/>
                  </a:cubicBezTo>
                  <a:cubicBezTo>
                    <a:pt x="282589" y="189374"/>
                    <a:pt x="282589" y="187940"/>
                    <a:pt x="282950" y="186506"/>
                  </a:cubicBezTo>
                  <a:cubicBezTo>
                    <a:pt x="283671" y="185430"/>
                    <a:pt x="284753" y="184355"/>
                    <a:pt x="286195" y="183997"/>
                  </a:cubicBezTo>
                  <a:cubicBezTo>
                    <a:pt x="291243" y="182921"/>
                    <a:pt x="294849" y="178978"/>
                    <a:pt x="294849" y="173601"/>
                  </a:cubicBezTo>
                  <a:cubicBezTo>
                    <a:pt x="294849" y="171092"/>
                    <a:pt x="293767" y="168583"/>
                    <a:pt x="291604" y="166432"/>
                  </a:cubicBezTo>
                  <a:cubicBezTo>
                    <a:pt x="290883" y="165356"/>
                    <a:pt x="290522" y="164281"/>
                    <a:pt x="290883" y="162847"/>
                  </a:cubicBezTo>
                  <a:cubicBezTo>
                    <a:pt x="290883" y="161772"/>
                    <a:pt x="291243" y="160338"/>
                    <a:pt x="292325" y="159621"/>
                  </a:cubicBezTo>
                  <a:cubicBezTo>
                    <a:pt x="295210" y="157829"/>
                    <a:pt x="296652" y="154602"/>
                    <a:pt x="296652" y="151376"/>
                  </a:cubicBezTo>
                  <a:cubicBezTo>
                    <a:pt x="296652" y="147075"/>
                    <a:pt x="294849" y="144924"/>
                    <a:pt x="293046" y="144207"/>
                  </a:cubicBezTo>
                  <a:cubicBezTo>
                    <a:pt x="291243" y="143131"/>
                    <a:pt x="290161" y="141339"/>
                    <a:pt x="289801" y="139188"/>
                  </a:cubicBezTo>
                  <a:cubicBezTo>
                    <a:pt x="289801" y="137396"/>
                    <a:pt x="290522" y="135245"/>
                    <a:pt x="291964" y="133811"/>
                  </a:cubicBezTo>
                  <a:cubicBezTo>
                    <a:pt x="293046" y="133453"/>
                    <a:pt x="295570" y="130944"/>
                    <a:pt x="295570" y="125566"/>
                  </a:cubicBezTo>
                  <a:cubicBezTo>
                    <a:pt x="295570" y="120189"/>
                    <a:pt x="291604" y="116246"/>
                    <a:pt x="287998" y="116246"/>
                  </a:cubicBezTo>
                  <a:lnTo>
                    <a:pt x="241120" y="116246"/>
                  </a:lnTo>
                  <a:cubicBezTo>
                    <a:pt x="239678" y="116246"/>
                    <a:pt x="238236" y="115529"/>
                    <a:pt x="237154" y="114454"/>
                  </a:cubicBezTo>
                  <a:cubicBezTo>
                    <a:pt x="236433" y="113378"/>
                    <a:pt x="236433" y="111945"/>
                    <a:pt x="236793" y="110511"/>
                  </a:cubicBezTo>
                  <a:cubicBezTo>
                    <a:pt x="237514" y="106568"/>
                    <a:pt x="240399" y="96172"/>
                    <a:pt x="238957" y="83626"/>
                  </a:cubicBezTo>
                  <a:cubicBezTo>
                    <a:pt x="237514" y="69645"/>
                    <a:pt x="231745" y="58891"/>
                    <a:pt x="224172" y="58891"/>
                  </a:cubicBezTo>
                  <a:close/>
                  <a:moveTo>
                    <a:pt x="224533" y="49571"/>
                  </a:moveTo>
                  <a:cubicBezTo>
                    <a:pt x="236793" y="50288"/>
                    <a:pt x="246529" y="63552"/>
                    <a:pt x="248332" y="82909"/>
                  </a:cubicBezTo>
                  <a:cubicBezTo>
                    <a:pt x="249054" y="92587"/>
                    <a:pt x="247972" y="101191"/>
                    <a:pt x="247251" y="107284"/>
                  </a:cubicBezTo>
                  <a:lnTo>
                    <a:pt x="287998" y="107284"/>
                  </a:lnTo>
                  <a:cubicBezTo>
                    <a:pt x="297013" y="107284"/>
                    <a:pt x="304946" y="115529"/>
                    <a:pt x="304946" y="125566"/>
                  </a:cubicBezTo>
                  <a:cubicBezTo>
                    <a:pt x="304946" y="131660"/>
                    <a:pt x="302782" y="135962"/>
                    <a:pt x="300979" y="138471"/>
                  </a:cubicBezTo>
                  <a:cubicBezTo>
                    <a:pt x="303864" y="141339"/>
                    <a:pt x="306028" y="145999"/>
                    <a:pt x="306028" y="151376"/>
                  </a:cubicBezTo>
                  <a:cubicBezTo>
                    <a:pt x="306028" y="155678"/>
                    <a:pt x="304225" y="160338"/>
                    <a:pt x="301340" y="163922"/>
                  </a:cubicBezTo>
                  <a:cubicBezTo>
                    <a:pt x="302782" y="166790"/>
                    <a:pt x="303864" y="170375"/>
                    <a:pt x="303864" y="173601"/>
                  </a:cubicBezTo>
                  <a:cubicBezTo>
                    <a:pt x="303864" y="181129"/>
                    <a:pt x="299537" y="187940"/>
                    <a:pt x="293046" y="191166"/>
                  </a:cubicBezTo>
                  <a:cubicBezTo>
                    <a:pt x="293767" y="192958"/>
                    <a:pt x="293767" y="194392"/>
                    <a:pt x="293767" y="195826"/>
                  </a:cubicBezTo>
                  <a:cubicBezTo>
                    <a:pt x="293767" y="206222"/>
                    <a:pt x="286195" y="214466"/>
                    <a:pt x="275738" y="215542"/>
                  </a:cubicBezTo>
                  <a:cubicBezTo>
                    <a:pt x="275377" y="215542"/>
                    <a:pt x="275016" y="215542"/>
                    <a:pt x="274295" y="215542"/>
                  </a:cubicBezTo>
                  <a:lnTo>
                    <a:pt x="191358" y="215542"/>
                  </a:lnTo>
                  <a:cubicBezTo>
                    <a:pt x="182704" y="215542"/>
                    <a:pt x="176213" y="209089"/>
                    <a:pt x="176213" y="200486"/>
                  </a:cubicBezTo>
                  <a:lnTo>
                    <a:pt x="176213" y="138113"/>
                  </a:lnTo>
                  <a:cubicBezTo>
                    <a:pt x="176213" y="131302"/>
                    <a:pt x="181983" y="124491"/>
                    <a:pt x="189916" y="115888"/>
                  </a:cubicBezTo>
                  <a:cubicBezTo>
                    <a:pt x="197849" y="106926"/>
                    <a:pt x="207224" y="96530"/>
                    <a:pt x="209749" y="85418"/>
                  </a:cubicBezTo>
                  <a:cubicBezTo>
                    <a:pt x="211191" y="79683"/>
                    <a:pt x="208306" y="64985"/>
                    <a:pt x="206503" y="56741"/>
                  </a:cubicBezTo>
                  <a:cubicBezTo>
                    <a:pt x="206143" y="54948"/>
                    <a:pt x="207224" y="53156"/>
                    <a:pt x="208667" y="52081"/>
                  </a:cubicBezTo>
                  <a:cubicBezTo>
                    <a:pt x="209749" y="51722"/>
                    <a:pt x="213715" y="49213"/>
                    <a:pt x="224533" y="49571"/>
                  </a:cubicBezTo>
                  <a:close/>
                  <a:moveTo>
                    <a:pt x="84446" y="0"/>
                  </a:moveTo>
                  <a:cubicBezTo>
                    <a:pt x="111512" y="0"/>
                    <a:pt x="137135" y="13311"/>
                    <a:pt x="153014" y="35255"/>
                  </a:cubicBezTo>
                  <a:cubicBezTo>
                    <a:pt x="168892" y="13311"/>
                    <a:pt x="194515" y="0"/>
                    <a:pt x="221581" y="0"/>
                  </a:cubicBezTo>
                  <a:cubicBezTo>
                    <a:pt x="268135" y="0"/>
                    <a:pt x="306027" y="37774"/>
                    <a:pt x="306027" y="84181"/>
                  </a:cubicBezTo>
                  <a:cubicBezTo>
                    <a:pt x="306027" y="86340"/>
                    <a:pt x="306027" y="88498"/>
                    <a:pt x="305666" y="90657"/>
                  </a:cubicBezTo>
                  <a:cubicBezTo>
                    <a:pt x="305666" y="93175"/>
                    <a:pt x="303501" y="95334"/>
                    <a:pt x="300975" y="94974"/>
                  </a:cubicBezTo>
                  <a:cubicBezTo>
                    <a:pt x="298449" y="94614"/>
                    <a:pt x="296284" y="92815"/>
                    <a:pt x="296644" y="90297"/>
                  </a:cubicBezTo>
                  <a:cubicBezTo>
                    <a:pt x="296644" y="88139"/>
                    <a:pt x="296644" y="85980"/>
                    <a:pt x="296644" y="84181"/>
                  </a:cubicBezTo>
                  <a:cubicBezTo>
                    <a:pt x="296644" y="42810"/>
                    <a:pt x="263083" y="9353"/>
                    <a:pt x="221581" y="9353"/>
                  </a:cubicBezTo>
                  <a:cubicBezTo>
                    <a:pt x="195237" y="9353"/>
                    <a:pt x="170336" y="23384"/>
                    <a:pt x="156983" y="46048"/>
                  </a:cubicBezTo>
                  <a:cubicBezTo>
                    <a:pt x="156262" y="47847"/>
                    <a:pt x="154457" y="48566"/>
                    <a:pt x="153014" y="48566"/>
                  </a:cubicBezTo>
                  <a:cubicBezTo>
                    <a:pt x="151570" y="48566"/>
                    <a:pt x="149766" y="47847"/>
                    <a:pt x="149044" y="46048"/>
                  </a:cubicBezTo>
                  <a:cubicBezTo>
                    <a:pt x="135330" y="23384"/>
                    <a:pt x="110790" y="9353"/>
                    <a:pt x="84446" y="9353"/>
                  </a:cubicBezTo>
                  <a:cubicBezTo>
                    <a:pt x="42945" y="9353"/>
                    <a:pt x="9383" y="42810"/>
                    <a:pt x="9383" y="84181"/>
                  </a:cubicBezTo>
                  <a:cubicBezTo>
                    <a:pt x="9383" y="167643"/>
                    <a:pt x="133887" y="250386"/>
                    <a:pt x="153014" y="262617"/>
                  </a:cubicBezTo>
                  <a:cubicBezTo>
                    <a:pt x="159510" y="258660"/>
                    <a:pt x="177554" y="246788"/>
                    <a:pt x="198485" y="229880"/>
                  </a:cubicBezTo>
                  <a:cubicBezTo>
                    <a:pt x="200650" y="228441"/>
                    <a:pt x="203537" y="228441"/>
                    <a:pt x="204981" y="230600"/>
                  </a:cubicBezTo>
                  <a:cubicBezTo>
                    <a:pt x="206424" y="232398"/>
                    <a:pt x="206424" y="235636"/>
                    <a:pt x="204259" y="237075"/>
                  </a:cubicBezTo>
                  <a:cubicBezTo>
                    <a:pt x="177554" y="258660"/>
                    <a:pt x="155540" y="271971"/>
                    <a:pt x="155540" y="271971"/>
                  </a:cubicBezTo>
                  <a:cubicBezTo>
                    <a:pt x="154818" y="272331"/>
                    <a:pt x="154096" y="272690"/>
                    <a:pt x="153014" y="272690"/>
                  </a:cubicBezTo>
                  <a:cubicBezTo>
                    <a:pt x="152292" y="272690"/>
                    <a:pt x="151570" y="272331"/>
                    <a:pt x="150488" y="271971"/>
                  </a:cubicBezTo>
                  <a:cubicBezTo>
                    <a:pt x="144353" y="268373"/>
                    <a:pt x="0" y="179515"/>
                    <a:pt x="0" y="84181"/>
                  </a:cubicBezTo>
                  <a:cubicBezTo>
                    <a:pt x="0" y="37774"/>
                    <a:pt x="37892" y="0"/>
                    <a:pt x="8444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74FD2F32-06B6-FDC5-F83E-A371A4827105}"/>
              </a:ext>
            </a:extLst>
          </p:cNvPr>
          <p:cNvGrpSpPr/>
          <p:nvPr/>
        </p:nvGrpSpPr>
        <p:grpSpPr>
          <a:xfrm>
            <a:off x="7199420" y="1530219"/>
            <a:ext cx="719015" cy="719312"/>
            <a:chOff x="6316276" y="1639968"/>
            <a:chExt cx="1133689" cy="1134158"/>
          </a:xfrm>
        </p:grpSpPr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08F96BAC-8140-CB95-29FB-FCE785B3CA0D}"/>
                </a:ext>
              </a:extLst>
            </p:cNvPr>
            <p:cNvSpPr/>
            <p:nvPr/>
          </p:nvSpPr>
          <p:spPr>
            <a:xfrm>
              <a:off x="6316276" y="1639968"/>
              <a:ext cx="1133689" cy="1134158"/>
            </a:xfrm>
            <a:prstGeom prst="rect">
              <a:avLst/>
            </a:prstGeom>
            <a:solidFill>
              <a:schemeClr val="accent2"/>
            </a:solidFill>
            <a:effectLst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39E6489D-5D59-00A2-59D2-37F079308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2718" y="1915787"/>
              <a:ext cx="592518" cy="588837"/>
            </a:xfrm>
            <a:custGeom>
              <a:avLst/>
              <a:gdLst>
                <a:gd name="connsiteX0" fmla="*/ 28448 w 306028"/>
                <a:gd name="connsiteY0" fmla="*/ 224238 h 304127"/>
                <a:gd name="connsiteX1" fmla="*/ 28448 w 306028"/>
                <a:gd name="connsiteY1" fmla="*/ 260583 h 304127"/>
                <a:gd name="connsiteX2" fmla="*/ 130354 w 306028"/>
                <a:gd name="connsiteY2" fmla="*/ 260583 h 304127"/>
                <a:gd name="connsiteX3" fmla="*/ 130354 w 306028"/>
                <a:gd name="connsiteY3" fmla="*/ 224238 h 304127"/>
                <a:gd name="connsiteX4" fmla="*/ 235090 w 306028"/>
                <a:gd name="connsiteY4" fmla="*/ 63546 h 304127"/>
                <a:gd name="connsiteX5" fmla="*/ 250214 w 306028"/>
                <a:gd name="connsiteY5" fmla="*/ 73974 h 304127"/>
                <a:gd name="connsiteX6" fmla="*/ 262097 w 306028"/>
                <a:gd name="connsiteY6" fmla="*/ 70378 h 304127"/>
                <a:gd name="connsiteX7" fmla="*/ 279381 w 306028"/>
                <a:gd name="connsiteY7" fmla="*/ 89438 h 304127"/>
                <a:gd name="connsiteX8" fmla="*/ 279381 w 306028"/>
                <a:gd name="connsiteY8" fmla="*/ 93034 h 304127"/>
                <a:gd name="connsiteX9" fmla="*/ 289104 w 306028"/>
                <a:gd name="connsiteY9" fmla="*/ 90876 h 304127"/>
                <a:gd name="connsiteX10" fmla="*/ 306028 w 306028"/>
                <a:gd name="connsiteY10" fmla="*/ 109576 h 304127"/>
                <a:gd name="connsiteX11" fmla="*/ 306028 w 306028"/>
                <a:gd name="connsiteY11" fmla="*/ 153449 h 304127"/>
                <a:gd name="connsiteX12" fmla="*/ 296306 w 306028"/>
                <a:gd name="connsiteY12" fmla="*/ 219618 h 304127"/>
                <a:gd name="connsiteX13" fmla="*/ 287663 w 306028"/>
                <a:gd name="connsiteY13" fmla="*/ 280032 h 304127"/>
                <a:gd name="connsiteX14" fmla="*/ 287663 w 306028"/>
                <a:gd name="connsiteY14" fmla="*/ 299452 h 304127"/>
                <a:gd name="connsiteX15" fmla="*/ 282982 w 306028"/>
                <a:gd name="connsiteY15" fmla="*/ 304127 h 304127"/>
                <a:gd name="connsiteX16" fmla="*/ 278301 w 306028"/>
                <a:gd name="connsiteY16" fmla="*/ 299452 h 304127"/>
                <a:gd name="connsiteX17" fmla="*/ 278301 w 306028"/>
                <a:gd name="connsiteY17" fmla="*/ 280032 h 304127"/>
                <a:gd name="connsiteX18" fmla="*/ 287663 w 306028"/>
                <a:gd name="connsiteY18" fmla="*/ 217100 h 304127"/>
                <a:gd name="connsiteX19" fmla="*/ 297026 w 306028"/>
                <a:gd name="connsiteY19" fmla="*/ 153449 h 304127"/>
                <a:gd name="connsiteX20" fmla="*/ 297026 w 306028"/>
                <a:gd name="connsiteY20" fmla="*/ 109576 h 304127"/>
                <a:gd name="connsiteX21" fmla="*/ 288744 w 306028"/>
                <a:gd name="connsiteY21" fmla="*/ 100226 h 304127"/>
                <a:gd name="connsiteX22" fmla="*/ 281902 w 306028"/>
                <a:gd name="connsiteY22" fmla="*/ 102384 h 304127"/>
                <a:gd name="connsiteX23" fmla="*/ 279381 w 306028"/>
                <a:gd name="connsiteY23" fmla="*/ 108857 h 304127"/>
                <a:gd name="connsiteX24" fmla="*/ 279381 w 306028"/>
                <a:gd name="connsiteY24" fmla="*/ 159203 h 304127"/>
                <a:gd name="connsiteX25" fmla="*/ 274700 w 306028"/>
                <a:gd name="connsiteY25" fmla="*/ 163518 h 304127"/>
                <a:gd name="connsiteX26" fmla="*/ 270019 w 306028"/>
                <a:gd name="connsiteY26" fmla="*/ 159203 h 304127"/>
                <a:gd name="connsiteX27" fmla="*/ 270019 w 306028"/>
                <a:gd name="connsiteY27" fmla="*/ 108857 h 304127"/>
                <a:gd name="connsiteX28" fmla="*/ 270019 w 306028"/>
                <a:gd name="connsiteY28" fmla="*/ 89438 h 304127"/>
                <a:gd name="connsiteX29" fmla="*/ 261377 w 306028"/>
                <a:gd name="connsiteY29" fmla="*/ 79728 h 304127"/>
                <a:gd name="connsiteX30" fmla="*/ 254895 w 306028"/>
                <a:gd name="connsiteY30" fmla="*/ 82246 h 304127"/>
                <a:gd name="connsiteX31" fmla="*/ 252374 w 306028"/>
                <a:gd name="connsiteY31" fmla="*/ 88719 h 304127"/>
                <a:gd name="connsiteX32" fmla="*/ 252374 w 306028"/>
                <a:gd name="connsiteY32" fmla="*/ 154887 h 304127"/>
                <a:gd name="connsiteX33" fmla="*/ 247693 w 306028"/>
                <a:gd name="connsiteY33" fmla="*/ 159562 h 304127"/>
                <a:gd name="connsiteX34" fmla="*/ 243012 w 306028"/>
                <a:gd name="connsiteY34" fmla="*/ 154887 h 304127"/>
                <a:gd name="connsiteX35" fmla="*/ 243012 w 306028"/>
                <a:gd name="connsiteY35" fmla="*/ 88719 h 304127"/>
                <a:gd name="connsiteX36" fmla="*/ 243012 w 306028"/>
                <a:gd name="connsiteY36" fmla="*/ 82246 h 304127"/>
                <a:gd name="connsiteX37" fmla="*/ 234370 w 306028"/>
                <a:gd name="connsiteY37" fmla="*/ 72536 h 304127"/>
                <a:gd name="connsiteX38" fmla="*/ 227888 w 306028"/>
                <a:gd name="connsiteY38" fmla="*/ 75053 h 304127"/>
                <a:gd name="connsiteX39" fmla="*/ 225007 w 306028"/>
                <a:gd name="connsiteY39" fmla="*/ 81526 h 304127"/>
                <a:gd name="connsiteX40" fmla="*/ 225007 w 306028"/>
                <a:gd name="connsiteY40" fmla="*/ 101665 h 304127"/>
                <a:gd name="connsiteX41" fmla="*/ 225007 w 306028"/>
                <a:gd name="connsiteY41" fmla="*/ 150572 h 304127"/>
                <a:gd name="connsiteX42" fmla="*/ 220326 w 306028"/>
                <a:gd name="connsiteY42" fmla="*/ 155247 h 304127"/>
                <a:gd name="connsiteX43" fmla="*/ 216005 w 306028"/>
                <a:gd name="connsiteY43" fmla="*/ 150572 h 304127"/>
                <a:gd name="connsiteX44" fmla="*/ 216005 w 306028"/>
                <a:gd name="connsiteY44" fmla="*/ 101665 h 304127"/>
                <a:gd name="connsiteX45" fmla="*/ 216005 w 306028"/>
                <a:gd name="connsiteY45" fmla="*/ 101305 h 304127"/>
                <a:gd name="connsiteX46" fmla="*/ 212764 w 306028"/>
                <a:gd name="connsiteY46" fmla="*/ 94832 h 304127"/>
                <a:gd name="connsiteX47" fmla="*/ 205202 w 306028"/>
                <a:gd name="connsiteY47" fmla="*/ 93034 h 304127"/>
                <a:gd name="connsiteX48" fmla="*/ 198000 w 306028"/>
                <a:gd name="connsiteY48" fmla="*/ 102024 h 304127"/>
                <a:gd name="connsiteX49" fmla="*/ 198000 w 306028"/>
                <a:gd name="connsiteY49" fmla="*/ 166035 h 304127"/>
                <a:gd name="connsiteX50" fmla="*/ 198000 w 306028"/>
                <a:gd name="connsiteY50" fmla="*/ 193366 h 304127"/>
                <a:gd name="connsiteX51" fmla="*/ 200521 w 306028"/>
                <a:gd name="connsiteY51" fmla="*/ 199839 h 304127"/>
                <a:gd name="connsiteX52" fmla="*/ 206643 w 306028"/>
                <a:gd name="connsiteY52" fmla="*/ 206312 h 304127"/>
                <a:gd name="connsiteX53" fmla="*/ 206643 w 306028"/>
                <a:gd name="connsiteY53" fmla="*/ 212785 h 304127"/>
                <a:gd name="connsiteX54" fmla="*/ 203402 w 306028"/>
                <a:gd name="connsiteY54" fmla="*/ 214223 h 304127"/>
                <a:gd name="connsiteX55" fmla="*/ 200161 w 306028"/>
                <a:gd name="connsiteY55" fmla="*/ 212785 h 304127"/>
                <a:gd name="connsiteX56" fmla="*/ 193679 w 306028"/>
                <a:gd name="connsiteY56" fmla="*/ 206312 h 304127"/>
                <a:gd name="connsiteX57" fmla="*/ 188998 w 306028"/>
                <a:gd name="connsiteY57" fmla="*/ 193366 h 304127"/>
                <a:gd name="connsiteX58" fmla="*/ 188998 w 306028"/>
                <a:gd name="connsiteY58" fmla="*/ 166035 h 304127"/>
                <a:gd name="connsiteX59" fmla="*/ 184677 w 306028"/>
                <a:gd name="connsiteY59" fmla="*/ 156326 h 304127"/>
                <a:gd name="connsiteX60" fmla="*/ 176395 w 306028"/>
                <a:gd name="connsiteY60" fmla="*/ 154528 h 304127"/>
                <a:gd name="connsiteX61" fmla="*/ 168113 w 306028"/>
                <a:gd name="connsiteY61" fmla="*/ 166755 h 304127"/>
                <a:gd name="connsiteX62" fmla="*/ 168113 w 306028"/>
                <a:gd name="connsiteY62" fmla="*/ 216021 h 304127"/>
                <a:gd name="connsiteX63" fmla="*/ 174594 w 306028"/>
                <a:gd name="connsiteY63" fmla="*/ 232923 h 304127"/>
                <a:gd name="connsiteX64" fmla="*/ 190078 w 306028"/>
                <a:gd name="connsiteY64" fmla="*/ 248746 h 304127"/>
                <a:gd name="connsiteX65" fmla="*/ 198000 w 306028"/>
                <a:gd name="connsiteY65" fmla="*/ 268525 h 304127"/>
                <a:gd name="connsiteX66" fmla="*/ 198000 w 306028"/>
                <a:gd name="connsiteY66" fmla="*/ 299452 h 304127"/>
                <a:gd name="connsiteX67" fmla="*/ 193679 w 306028"/>
                <a:gd name="connsiteY67" fmla="*/ 304127 h 304127"/>
                <a:gd name="connsiteX68" fmla="*/ 188998 w 306028"/>
                <a:gd name="connsiteY68" fmla="*/ 299452 h 304127"/>
                <a:gd name="connsiteX69" fmla="*/ 188998 w 306028"/>
                <a:gd name="connsiteY69" fmla="*/ 268525 h 304127"/>
                <a:gd name="connsiteX70" fmla="*/ 183237 w 306028"/>
                <a:gd name="connsiteY70" fmla="*/ 255219 h 304127"/>
                <a:gd name="connsiteX71" fmla="*/ 167753 w 306028"/>
                <a:gd name="connsiteY71" fmla="*/ 239396 h 304127"/>
                <a:gd name="connsiteX72" fmla="*/ 158750 w 306028"/>
                <a:gd name="connsiteY72" fmla="*/ 216021 h 304127"/>
                <a:gd name="connsiteX73" fmla="*/ 158750 w 306028"/>
                <a:gd name="connsiteY73" fmla="*/ 166755 h 304127"/>
                <a:gd name="connsiteX74" fmla="*/ 174234 w 306028"/>
                <a:gd name="connsiteY74" fmla="*/ 145537 h 304127"/>
                <a:gd name="connsiteX75" fmla="*/ 188998 w 306028"/>
                <a:gd name="connsiteY75" fmla="*/ 148414 h 304127"/>
                <a:gd name="connsiteX76" fmla="*/ 188998 w 306028"/>
                <a:gd name="connsiteY76" fmla="*/ 102024 h 304127"/>
                <a:gd name="connsiteX77" fmla="*/ 203762 w 306028"/>
                <a:gd name="connsiteY77" fmla="*/ 83684 h 304127"/>
                <a:gd name="connsiteX78" fmla="*/ 216005 w 306028"/>
                <a:gd name="connsiteY78" fmla="*/ 85842 h 304127"/>
                <a:gd name="connsiteX79" fmla="*/ 216005 w 306028"/>
                <a:gd name="connsiteY79" fmla="*/ 81526 h 304127"/>
                <a:gd name="connsiteX80" fmla="*/ 221406 w 306028"/>
                <a:gd name="connsiteY80" fmla="*/ 68580 h 304127"/>
                <a:gd name="connsiteX81" fmla="*/ 235090 w 306028"/>
                <a:gd name="connsiteY81" fmla="*/ 63546 h 304127"/>
                <a:gd name="connsiteX82" fmla="*/ 75620 w 306028"/>
                <a:gd name="connsiteY82" fmla="*/ 9402 h 304127"/>
                <a:gd name="connsiteX83" fmla="*/ 69138 w 306028"/>
                <a:gd name="connsiteY83" fmla="*/ 11561 h 304127"/>
                <a:gd name="connsiteX84" fmla="*/ 66257 w 306028"/>
                <a:gd name="connsiteY84" fmla="*/ 18039 h 304127"/>
                <a:gd name="connsiteX85" fmla="*/ 66257 w 306028"/>
                <a:gd name="connsiteY85" fmla="*/ 38191 h 304127"/>
                <a:gd name="connsiteX86" fmla="*/ 66257 w 306028"/>
                <a:gd name="connsiteY86" fmla="*/ 87132 h 304127"/>
                <a:gd name="connsiteX87" fmla="*/ 61576 w 306028"/>
                <a:gd name="connsiteY87" fmla="*/ 91810 h 304127"/>
                <a:gd name="connsiteX88" fmla="*/ 56895 w 306028"/>
                <a:gd name="connsiteY88" fmla="*/ 87132 h 304127"/>
                <a:gd name="connsiteX89" fmla="*/ 56895 w 306028"/>
                <a:gd name="connsiteY89" fmla="*/ 38191 h 304127"/>
                <a:gd name="connsiteX90" fmla="*/ 54014 w 306028"/>
                <a:gd name="connsiteY90" fmla="*/ 31354 h 304127"/>
                <a:gd name="connsiteX91" fmla="*/ 46452 w 306028"/>
                <a:gd name="connsiteY91" fmla="*/ 29554 h 304127"/>
                <a:gd name="connsiteX92" fmla="*/ 39250 w 306028"/>
                <a:gd name="connsiteY92" fmla="*/ 38911 h 304127"/>
                <a:gd name="connsiteX93" fmla="*/ 39250 w 306028"/>
                <a:gd name="connsiteY93" fmla="*/ 102606 h 304127"/>
                <a:gd name="connsiteX94" fmla="*/ 39250 w 306028"/>
                <a:gd name="connsiteY94" fmla="*/ 129955 h 304127"/>
                <a:gd name="connsiteX95" fmla="*/ 41771 w 306028"/>
                <a:gd name="connsiteY95" fmla="*/ 136432 h 304127"/>
                <a:gd name="connsiteX96" fmla="*/ 47893 w 306028"/>
                <a:gd name="connsiteY96" fmla="*/ 143270 h 304127"/>
                <a:gd name="connsiteX97" fmla="*/ 47532 w 306028"/>
                <a:gd name="connsiteY97" fmla="*/ 149747 h 304127"/>
                <a:gd name="connsiteX98" fmla="*/ 44292 w 306028"/>
                <a:gd name="connsiteY98" fmla="*/ 150827 h 304127"/>
                <a:gd name="connsiteX99" fmla="*/ 41051 w 306028"/>
                <a:gd name="connsiteY99" fmla="*/ 149387 h 304127"/>
                <a:gd name="connsiteX100" fmla="*/ 34929 w 306028"/>
                <a:gd name="connsiteY100" fmla="*/ 142910 h 304127"/>
                <a:gd name="connsiteX101" fmla="*/ 29888 w 306028"/>
                <a:gd name="connsiteY101" fmla="*/ 129955 h 304127"/>
                <a:gd name="connsiteX102" fmla="*/ 29888 w 306028"/>
                <a:gd name="connsiteY102" fmla="*/ 102606 h 304127"/>
                <a:gd name="connsiteX103" fmla="*/ 25567 w 306028"/>
                <a:gd name="connsiteY103" fmla="*/ 93249 h 304127"/>
                <a:gd name="connsiteX104" fmla="*/ 17645 w 306028"/>
                <a:gd name="connsiteY104" fmla="*/ 91090 h 304127"/>
                <a:gd name="connsiteX105" fmla="*/ 9363 w 306028"/>
                <a:gd name="connsiteY105" fmla="*/ 103325 h 304127"/>
                <a:gd name="connsiteX106" fmla="*/ 9363 w 306028"/>
                <a:gd name="connsiteY106" fmla="*/ 152626 h 304127"/>
                <a:gd name="connsiteX107" fmla="*/ 15844 w 306028"/>
                <a:gd name="connsiteY107" fmla="*/ 169899 h 304127"/>
                <a:gd name="connsiteX108" fmla="*/ 30968 w 306028"/>
                <a:gd name="connsiteY108" fmla="*/ 185373 h 304127"/>
                <a:gd name="connsiteX109" fmla="*/ 39250 w 306028"/>
                <a:gd name="connsiteY109" fmla="*/ 205525 h 304127"/>
                <a:gd name="connsiteX110" fmla="*/ 39250 w 306028"/>
                <a:gd name="connsiteY110" fmla="*/ 214881 h 304127"/>
                <a:gd name="connsiteX111" fmla="*/ 119551 w 306028"/>
                <a:gd name="connsiteY111" fmla="*/ 214881 h 304127"/>
                <a:gd name="connsiteX112" fmla="*/ 128553 w 306028"/>
                <a:gd name="connsiteY112" fmla="*/ 153705 h 304127"/>
                <a:gd name="connsiteX113" fmla="*/ 137916 w 306028"/>
                <a:gd name="connsiteY113" fmla="*/ 90370 h 304127"/>
                <a:gd name="connsiteX114" fmla="*/ 137916 w 306028"/>
                <a:gd name="connsiteY114" fmla="*/ 46468 h 304127"/>
                <a:gd name="connsiteX115" fmla="*/ 129634 w 306028"/>
                <a:gd name="connsiteY115" fmla="*/ 36751 h 304127"/>
                <a:gd name="connsiteX116" fmla="*/ 123152 w 306028"/>
                <a:gd name="connsiteY116" fmla="*/ 39270 h 304127"/>
                <a:gd name="connsiteX117" fmla="*/ 120271 w 306028"/>
                <a:gd name="connsiteY117" fmla="*/ 45748 h 304127"/>
                <a:gd name="connsiteX118" fmla="*/ 120271 w 306028"/>
                <a:gd name="connsiteY118" fmla="*/ 95768 h 304127"/>
                <a:gd name="connsiteX119" fmla="*/ 115950 w 306028"/>
                <a:gd name="connsiteY119" fmla="*/ 100446 h 304127"/>
                <a:gd name="connsiteX120" fmla="*/ 111269 w 306028"/>
                <a:gd name="connsiteY120" fmla="*/ 95768 h 304127"/>
                <a:gd name="connsiteX121" fmla="*/ 111269 w 306028"/>
                <a:gd name="connsiteY121" fmla="*/ 45748 h 304127"/>
                <a:gd name="connsiteX122" fmla="*/ 111269 w 306028"/>
                <a:gd name="connsiteY122" fmla="*/ 25956 h 304127"/>
                <a:gd name="connsiteX123" fmla="*/ 102627 w 306028"/>
                <a:gd name="connsiteY123" fmla="*/ 16599 h 304127"/>
                <a:gd name="connsiteX124" fmla="*/ 96145 w 306028"/>
                <a:gd name="connsiteY124" fmla="*/ 18759 h 304127"/>
                <a:gd name="connsiteX125" fmla="*/ 93264 w 306028"/>
                <a:gd name="connsiteY125" fmla="*/ 25236 h 304127"/>
                <a:gd name="connsiteX126" fmla="*/ 93264 w 306028"/>
                <a:gd name="connsiteY126" fmla="*/ 91450 h 304127"/>
                <a:gd name="connsiteX127" fmla="*/ 88583 w 306028"/>
                <a:gd name="connsiteY127" fmla="*/ 96128 h 304127"/>
                <a:gd name="connsiteX128" fmla="*/ 83902 w 306028"/>
                <a:gd name="connsiteY128" fmla="*/ 91450 h 304127"/>
                <a:gd name="connsiteX129" fmla="*/ 83902 w 306028"/>
                <a:gd name="connsiteY129" fmla="*/ 25236 h 304127"/>
                <a:gd name="connsiteX130" fmla="*/ 83902 w 306028"/>
                <a:gd name="connsiteY130" fmla="*/ 18759 h 304127"/>
                <a:gd name="connsiteX131" fmla="*/ 75620 w 306028"/>
                <a:gd name="connsiteY131" fmla="*/ 9402 h 304127"/>
                <a:gd name="connsiteX132" fmla="*/ 75980 w 306028"/>
                <a:gd name="connsiteY132" fmla="*/ 46 h 304127"/>
                <a:gd name="connsiteX133" fmla="*/ 91464 w 306028"/>
                <a:gd name="connsiteY133" fmla="*/ 10482 h 304127"/>
                <a:gd name="connsiteX134" fmla="*/ 102987 w 306028"/>
                <a:gd name="connsiteY134" fmla="*/ 7243 h 304127"/>
                <a:gd name="connsiteX135" fmla="*/ 120271 w 306028"/>
                <a:gd name="connsiteY135" fmla="*/ 25956 h 304127"/>
                <a:gd name="connsiteX136" fmla="*/ 120271 w 306028"/>
                <a:gd name="connsiteY136" fmla="*/ 29914 h 304127"/>
                <a:gd name="connsiteX137" fmla="*/ 130354 w 306028"/>
                <a:gd name="connsiteY137" fmla="*/ 27395 h 304127"/>
                <a:gd name="connsiteX138" fmla="*/ 147278 w 306028"/>
                <a:gd name="connsiteY138" fmla="*/ 46468 h 304127"/>
                <a:gd name="connsiteX139" fmla="*/ 147278 w 306028"/>
                <a:gd name="connsiteY139" fmla="*/ 90370 h 304127"/>
                <a:gd name="connsiteX140" fmla="*/ 137556 w 306028"/>
                <a:gd name="connsiteY140" fmla="*/ 156225 h 304127"/>
                <a:gd name="connsiteX141" fmla="*/ 128553 w 306028"/>
                <a:gd name="connsiteY141" fmla="*/ 214881 h 304127"/>
                <a:gd name="connsiteX142" fmla="*/ 130354 w 306028"/>
                <a:gd name="connsiteY142" fmla="*/ 214881 h 304127"/>
                <a:gd name="connsiteX143" fmla="*/ 139356 w 306028"/>
                <a:gd name="connsiteY143" fmla="*/ 224238 h 304127"/>
                <a:gd name="connsiteX144" fmla="*/ 139356 w 306028"/>
                <a:gd name="connsiteY144" fmla="*/ 299448 h 304127"/>
                <a:gd name="connsiteX145" fmla="*/ 134675 w 306028"/>
                <a:gd name="connsiteY145" fmla="*/ 304126 h 304127"/>
                <a:gd name="connsiteX146" fmla="*/ 130354 w 306028"/>
                <a:gd name="connsiteY146" fmla="*/ 299448 h 304127"/>
                <a:gd name="connsiteX147" fmla="*/ 130354 w 306028"/>
                <a:gd name="connsiteY147" fmla="*/ 269580 h 304127"/>
                <a:gd name="connsiteX148" fmla="*/ 28448 w 306028"/>
                <a:gd name="connsiteY148" fmla="*/ 269580 h 304127"/>
                <a:gd name="connsiteX149" fmla="*/ 28448 w 306028"/>
                <a:gd name="connsiteY149" fmla="*/ 299448 h 304127"/>
                <a:gd name="connsiteX150" fmla="*/ 23766 w 306028"/>
                <a:gd name="connsiteY150" fmla="*/ 304126 h 304127"/>
                <a:gd name="connsiteX151" fmla="*/ 19085 w 306028"/>
                <a:gd name="connsiteY151" fmla="*/ 299448 h 304127"/>
                <a:gd name="connsiteX152" fmla="*/ 19085 w 306028"/>
                <a:gd name="connsiteY152" fmla="*/ 224238 h 304127"/>
                <a:gd name="connsiteX153" fmla="*/ 28448 w 306028"/>
                <a:gd name="connsiteY153" fmla="*/ 214881 h 304127"/>
                <a:gd name="connsiteX154" fmla="*/ 29888 w 306028"/>
                <a:gd name="connsiteY154" fmla="*/ 214881 h 304127"/>
                <a:gd name="connsiteX155" fmla="*/ 29888 w 306028"/>
                <a:gd name="connsiteY155" fmla="*/ 205525 h 304127"/>
                <a:gd name="connsiteX156" fmla="*/ 24487 w 306028"/>
                <a:gd name="connsiteY156" fmla="*/ 191850 h 304127"/>
                <a:gd name="connsiteX157" fmla="*/ 9003 w 306028"/>
                <a:gd name="connsiteY157" fmla="*/ 176377 h 304127"/>
                <a:gd name="connsiteX158" fmla="*/ 0 w 306028"/>
                <a:gd name="connsiteY158" fmla="*/ 152626 h 304127"/>
                <a:gd name="connsiteX159" fmla="*/ 0 w 306028"/>
                <a:gd name="connsiteY159" fmla="*/ 103325 h 304127"/>
                <a:gd name="connsiteX160" fmla="*/ 15484 w 306028"/>
                <a:gd name="connsiteY160" fmla="*/ 82094 h 304127"/>
                <a:gd name="connsiteX161" fmla="*/ 29888 w 306028"/>
                <a:gd name="connsiteY161" fmla="*/ 85332 h 304127"/>
                <a:gd name="connsiteX162" fmla="*/ 29888 w 306028"/>
                <a:gd name="connsiteY162" fmla="*/ 38911 h 304127"/>
                <a:gd name="connsiteX163" fmla="*/ 44652 w 306028"/>
                <a:gd name="connsiteY163" fmla="*/ 20558 h 304127"/>
                <a:gd name="connsiteX164" fmla="*/ 56895 w 306028"/>
                <a:gd name="connsiteY164" fmla="*/ 22717 h 304127"/>
                <a:gd name="connsiteX165" fmla="*/ 56895 w 306028"/>
                <a:gd name="connsiteY165" fmla="*/ 18039 h 304127"/>
                <a:gd name="connsiteX166" fmla="*/ 62656 w 306028"/>
                <a:gd name="connsiteY166" fmla="*/ 5084 h 304127"/>
                <a:gd name="connsiteX167" fmla="*/ 75980 w 306028"/>
                <a:gd name="connsiteY167" fmla="*/ 46 h 30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06028" h="304127">
                  <a:moveTo>
                    <a:pt x="28448" y="224238"/>
                  </a:moveTo>
                  <a:lnTo>
                    <a:pt x="28448" y="260583"/>
                  </a:lnTo>
                  <a:lnTo>
                    <a:pt x="130354" y="260583"/>
                  </a:lnTo>
                  <a:lnTo>
                    <a:pt x="130354" y="224238"/>
                  </a:lnTo>
                  <a:close/>
                  <a:moveTo>
                    <a:pt x="235090" y="63546"/>
                  </a:moveTo>
                  <a:cubicBezTo>
                    <a:pt x="241932" y="63905"/>
                    <a:pt x="247693" y="68221"/>
                    <a:pt x="250214" y="73974"/>
                  </a:cubicBezTo>
                  <a:cubicBezTo>
                    <a:pt x="253815" y="71817"/>
                    <a:pt x="257776" y="70378"/>
                    <a:pt x="262097" y="70378"/>
                  </a:cubicBezTo>
                  <a:cubicBezTo>
                    <a:pt x="271459" y="71098"/>
                    <a:pt x="279381" y="79369"/>
                    <a:pt x="279381" y="89438"/>
                  </a:cubicBezTo>
                  <a:lnTo>
                    <a:pt x="279381" y="93034"/>
                  </a:lnTo>
                  <a:cubicBezTo>
                    <a:pt x="282262" y="91236"/>
                    <a:pt x="285503" y="90517"/>
                    <a:pt x="289104" y="90876"/>
                  </a:cubicBezTo>
                  <a:cubicBezTo>
                    <a:pt x="298826" y="91236"/>
                    <a:pt x="306028" y="99867"/>
                    <a:pt x="306028" y="109576"/>
                  </a:cubicBezTo>
                  <a:lnTo>
                    <a:pt x="306028" y="153449"/>
                  </a:lnTo>
                  <a:cubicBezTo>
                    <a:pt x="306028" y="176104"/>
                    <a:pt x="303147" y="198041"/>
                    <a:pt x="296306" y="219618"/>
                  </a:cubicBezTo>
                  <a:cubicBezTo>
                    <a:pt x="290544" y="239396"/>
                    <a:pt x="287663" y="259535"/>
                    <a:pt x="287663" y="280032"/>
                  </a:cubicBezTo>
                  <a:lnTo>
                    <a:pt x="287663" y="299452"/>
                  </a:lnTo>
                  <a:cubicBezTo>
                    <a:pt x="287663" y="302328"/>
                    <a:pt x="285503" y="304127"/>
                    <a:pt x="282982" y="304127"/>
                  </a:cubicBezTo>
                  <a:cubicBezTo>
                    <a:pt x="280462" y="304127"/>
                    <a:pt x="278301" y="302328"/>
                    <a:pt x="278301" y="299452"/>
                  </a:cubicBezTo>
                  <a:lnTo>
                    <a:pt x="278301" y="280032"/>
                  </a:lnTo>
                  <a:cubicBezTo>
                    <a:pt x="278301" y="258815"/>
                    <a:pt x="281542" y="237239"/>
                    <a:pt x="287663" y="217100"/>
                  </a:cubicBezTo>
                  <a:cubicBezTo>
                    <a:pt x="293785" y="196243"/>
                    <a:pt x="297026" y="175026"/>
                    <a:pt x="297026" y="153449"/>
                  </a:cubicBezTo>
                  <a:lnTo>
                    <a:pt x="297026" y="109576"/>
                  </a:lnTo>
                  <a:cubicBezTo>
                    <a:pt x="297026" y="104542"/>
                    <a:pt x="293065" y="100226"/>
                    <a:pt x="288744" y="100226"/>
                  </a:cubicBezTo>
                  <a:cubicBezTo>
                    <a:pt x="285863" y="99867"/>
                    <a:pt x="283702" y="100945"/>
                    <a:pt x="281902" y="102384"/>
                  </a:cubicBezTo>
                  <a:cubicBezTo>
                    <a:pt x="280101" y="104182"/>
                    <a:pt x="279381" y="106340"/>
                    <a:pt x="279381" y="108857"/>
                  </a:cubicBezTo>
                  <a:lnTo>
                    <a:pt x="279381" y="159203"/>
                  </a:lnTo>
                  <a:cubicBezTo>
                    <a:pt x="279381" y="161720"/>
                    <a:pt x="277221" y="163518"/>
                    <a:pt x="274700" y="163518"/>
                  </a:cubicBezTo>
                  <a:cubicBezTo>
                    <a:pt x="272179" y="163518"/>
                    <a:pt x="270019" y="161720"/>
                    <a:pt x="270019" y="159203"/>
                  </a:cubicBezTo>
                  <a:lnTo>
                    <a:pt x="270019" y="108857"/>
                  </a:lnTo>
                  <a:lnTo>
                    <a:pt x="270019" y="89438"/>
                  </a:lnTo>
                  <a:cubicBezTo>
                    <a:pt x="270019" y="84403"/>
                    <a:pt x="266058" y="80088"/>
                    <a:pt x="261377" y="79728"/>
                  </a:cubicBezTo>
                  <a:cubicBezTo>
                    <a:pt x="258856" y="79728"/>
                    <a:pt x="256695" y="80447"/>
                    <a:pt x="254895" y="82246"/>
                  </a:cubicBezTo>
                  <a:cubicBezTo>
                    <a:pt x="253095" y="83684"/>
                    <a:pt x="252374" y="86201"/>
                    <a:pt x="252374" y="88719"/>
                  </a:cubicBezTo>
                  <a:lnTo>
                    <a:pt x="252374" y="154887"/>
                  </a:lnTo>
                  <a:cubicBezTo>
                    <a:pt x="252374" y="157405"/>
                    <a:pt x="250214" y="159562"/>
                    <a:pt x="247693" y="159562"/>
                  </a:cubicBezTo>
                  <a:cubicBezTo>
                    <a:pt x="245172" y="159562"/>
                    <a:pt x="243012" y="157405"/>
                    <a:pt x="243012" y="154887"/>
                  </a:cubicBezTo>
                  <a:lnTo>
                    <a:pt x="243012" y="88719"/>
                  </a:lnTo>
                  <a:lnTo>
                    <a:pt x="243012" y="82246"/>
                  </a:lnTo>
                  <a:cubicBezTo>
                    <a:pt x="243012" y="77211"/>
                    <a:pt x="239051" y="72896"/>
                    <a:pt x="234370" y="72536"/>
                  </a:cubicBezTo>
                  <a:cubicBezTo>
                    <a:pt x="232209" y="72536"/>
                    <a:pt x="229689" y="73255"/>
                    <a:pt x="227888" y="75053"/>
                  </a:cubicBezTo>
                  <a:cubicBezTo>
                    <a:pt x="226088" y="76492"/>
                    <a:pt x="225007" y="79009"/>
                    <a:pt x="225007" y="81526"/>
                  </a:cubicBezTo>
                  <a:lnTo>
                    <a:pt x="225007" y="101665"/>
                  </a:lnTo>
                  <a:lnTo>
                    <a:pt x="225007" y="150572"/>
                  </a:lnTo>
                  <a:cubicBezTo>
                    <a:pt x="225007" y="153089"/>
                    <a:pt x="222847" y="155247"/>
                    <a:pt x="220326" y="155247"/>
                  </a:cubicBezTo>
                  <a:cubicBezTo>
                    <a:pt x="217805" y="155247"/>
                    <a:pt x="216005" y="153089"/>
                    <a:pt x="216005" y="150572"/>
                  </a:cubicBezTo>
                  <a:lnTo>
                    <a:pt x="216005" y="101665"/>
                  </a:lnTo>
                  <a:lnTo>
                    <a:pt x="216005" y="101305"/>
                  </a:lnTo>
                  <a:cubicBezTo>
                    <a:pt x="216005" y="98788"/>
                    <a:pt x="214565" y="96630"/>
                    <a:pt x="212764" y="94832"/>
                  </a:cubicBezTo>
                  <a:cubicBezTo>
                    <a:pt x="210604" y="93034"/>
                    <a:pt x="208083" y="92674"/>
                    <a:pt x="205202" y="93034"/>
                  </a:cubicBezTo>
                  <a:cubicBezTo>
                    <a:pt x="201241" y="93753"/>
                    <a:pt x="198000" y="97709"/>
                    <a:pt x="198000" y="102024"/>
                  </a:cubicBezTo>
                  <a:lnTo>
                    <a:pt x="198000" y="166035"/>
                  </a:lnTo>
                  <a:lnTo>
                    <a:pt x="198000" y="193366"/>
                  </a:lnTo>
                  <a:cubicBezTo>
                    <a:pt x="198000" y="195883"/>
                    <a:pt x="199081" y="198041"/>
                    <a:pt x="200521" y="199839"/>
                  </a:cubicBezTo>
                  <a:lnTo>
                    <a:pt x="206643" y="206312"/>
                  </a:lnTo>
                  <a:cubicBezTo>
                    <a:pt x="208443" y="208110"/>
                    <a:pt x="208083" y="211346"/>
                    <a:pt x="206643" y="212785"/>
                  </a:cubicBezTo>
                  <a:cubicBezTo>
                    <a:pt x="205562" y="213864"/>
                    <a:pt x="204482" y="214223"/>
                    <a:pt x="203402" y="214223"/>
                  </a:cubicBezTo>
                  <a:cubicBezTo>
                    <a:pt x="201961" y="214223"/>
                    <a:pt x="200881" y="213504"/>
                    <a:pt x="200161" y="212785"/>
                  </a:cubicBezTo>
                  <a:lnTo>
                    <a:pt x="193679" y="206312"/>
                  </a:lnTo>
                  <a:cubicBezTo>
                    <a:pt x="190798" y="202716"/>
                    <a:pt x="188998" y="198041"/>
                    <a:pt x="188998" y="193366"/>
                  </a:cubicBezTo>
                  <a:lnTo>
                    <a:pt x="188998" y="166035"/>
                  </a:lnTo>
                  <a:cubicBezTo>
                    <a:pt x="188998" y="162439"/>
                    <a:pt x="187198" y="158843"/>
                    <a:pt x="184677" y="156326"/>
                  </a:cubicBezTo>
                  <a:cubicBezTo>
                    <a:pt x="182156" y="154528"/>
                    <a:pt x="179276" y="153808"/>
                    <a:pt x="176395" y="154528"/>
                  </a:cubicBezTo>
                  <a:cubicBezTo>
                    <a:pt x="171714" y="155607"/>
                    <a:pt x="168113" y="160641"/>
                    <a:pt x="168113" y="166755"/>
                  </a:cubicBezTo>
                  <a:lnTo>
                    <a:pt x="168113" y="216021"/>
                  </a:lnTo>
                  <a:cubicBezTo>
                    <a:pt x="168113" y="222135"/>
                    <a:pt x="170273" y="228608"/>
                    <a:pt x="174594" y="232923"/>
                  </a:cubicBezTo>
                  <a:lnTo>
                    <a:pt x="190078" y="248746"/>
                  </a:lnTo>
                  <a:cubicBezTo>
                    <a:pt x="195120" y="253781"/>
                    <a:pt x="198000" y="260973"/>
                    <a:pt x="198000" y="268525"/>
                  </a:cubicBezTo>
                  <a:lnTo>
                    <a:pt x="198000" y="299452"/>
                  </a:lnTo>
                  <a:cubicBezTo>
                    <a:pt x="198000" y="302328"/>
                    <a:pt x="196200" y="304127"/>
                    <a:pt x="193679" y="304127"/>
                  </a:cubicBezTo>
                  <a:cubicBezTo>
                    <a:pt x="190798" y="304127"/>
                    <a:pt x="188998" y="302328"/>
                    <a:pt x="188998" y="299452"/>
                  </a:cubicBezTo>
                  <a:lnTo>
                    <a:pt x="188998" y="268525"/>
                  </a:lnTo>
                  <a:cubicBezTo>
                    <a:pt x="188998" y="263490"/>
                    <a:pt x="186837" y="258815"/>
                    <a:pt x="183237" y="255219"/>
                  </a:cubicBezTo>
                  <a:lnTo>
                    <a:pt x="167753" y="239396"/>
                  </a:lnTo>
                  <a:cubicBezTo>
                    <a:pt x="161991" y="232923"/>
                    <a:pt x="158750" y="224652"/>
                    <a:pt x="158750" y="216021"/>
                  </a:cubicBezTo>
                  <a:lnTo>
                    <a:pt x="158750" y="166755"/>
                  </a:lnTo>
                  <a:cubicBezTo>
                    <a:pt x="158750" y="156326"/>
                    <a:pt x="165232" y="147695"/>
                    <a:pt x="174234" y="145537"/>
                  </a:cubicBezTo>
                  <a:cubicBezTo>
                    <a:pt x="179276" y="144458"/>
                    <a:pt x="184677" y="145537"/>
                    <a:pt x="188998" y="148414"/>
                  </a:cubicBezTo>
                  <a:lnTo>
                    <a:pt x="188998" y="102024"/>
                  </a:lnTo>
                  <a:cubicBezTo>
                    <a:pt x="188998" y="93034"/>
                    <a:pt x="195120" y="85482"/>
                    <a:pt x="203762" y="83684"/>
                  </a:cubicBezTo>
                  <a:cubicBezTo>
                    <a:pt x="207723" y="82965"/>
                    <a:pt x="212404" y="83684"/>
                    <a:pt x="216005" y="85842"/>
                  </a:cubicBezTo>
                  <a:lnTo>
                    <a:pt x="216005" y="81526"/>
                  </a:lnTo>
                  <a:cubicBezTo>
                    <a:pt x="216005" y="76492"/>
                    <a:pt x="217805" y="71817"/>
                    <a:pt x="221406" y="68580"/>
                  </a:cubicBezTo>
                  <a:cubicBezTo>
                    <a:pt x="225007" y="64984"/>
                    <a:pt x="230049" y="63186"/>
                    <a:pt x="235090" y="63546"/>
                  </a:cubicBezTo>
                  <a:close/>
                  <a:moveTo>
                    <a:pt x="75620" y="9402"/>
                  </a:moveTo>
                  <a:cubicBezTo>
                    <a:pt x="73459" y="9042"/>
                    <a:pt x="70939" y="10122"/>
                    <a:pt x="69138" y="11561"/>
                  </a:cubicBezTo>
                  <a:cubicBezTo>
                    <a:pt x="67338" y="13361"/>
                    <a:pt x="66257" y="15520"/>
                    <a:pt x="66257" y="18039"/>
                  </a:cubicBezTo>
                  <a:lnTo>
                    <a:pt x="66257" y="38191"/>
                  </a:lnTo>
                  <a:lnTo>
                    <a:pt x="66257" y="87132"/>
                  </a:lnTo>
                  <a:cubicBezTo>
                    <a:pt x="66257" y="90011"/>
                    <a:pt x="64097" y="91810"/>
                    <a:pt x="61576" y="91810"/>
                  </a:cubicBezTo>
                  <a:cubicBezTo>
                    <a:pt x="59055" y="91810"/>
                    <a:pt x="56895" y="90011"/>
                    <a:pt x="56895" y="87132"/>
                  </a:cubicBezTo>
                  <a:lnTo>
                    <a:pt x="56895" y="38191"/>
                  </a:lnTo>
                  <a:cubicBezTo>
                    <a:pt x="56895" y="35672"/>
                    <a:pt x="55815" y="33153"/>
                    <a:pt x="54014" y="31354"/>
                  </a:cubicBezTo>
                  <a:cubicBezTo>
                    <a:pt x="51854" y="29914"/>
                    <a:pt x="49333" y="29194"/>
                    <a:pt x="46452" y="29554"/>
                  </a:cubicBezTo>
                  <a:cubicBezTo>
                    <a:pt x="42491" y="30634"/>
                    <a:pt x="39250" y="34592"/>
                    <a:pt x="39250" y="38911"/>
                  </a:cubicBezTo>
                  <a:lnTo>
                    <a:pt x="39250" y="102606"/>
                  </a:lnTo>
                  <a:lnTo>
                    <a:pt x="39250" y="129955"/>
                  </a:lnTo>
                  <a:cubicBezTo>
                    <a:pt x="39250" y="132474"/>
                    <a:pt x="39971" y="134993"/>
                    <a:pt x="41771" y="136432"/>
                  </a:cubicBezTo>
                  <a:lnTo>
                    <a:pt x="47893" y="143270"/>
                  </a:lnTo>
                  <a:cubicBezTo>
                    <a:pt x="49693" y="145069"/>
                    <a:pt x="49333" y="147948"/>
                    <a:pt x="47532" y="149747"/>
                  </a:cubicBezTo>
                  <a:cubicBezTo>
                    <a:pt x="46812" y="150467"/>
                    <a:pt x="45732" y="150827"/>
                    <a:pt x="44292" y="150827"/>
                  </a:cubicBezTo>
                  <a:cubicBezTo>
                    <a:pt x="43211" y="150827"/>
                    <a:pt x="42131" y="150107"/>
                    <a:pt x="41051" y="149387"/>
                  </a:cubicBezTo>
                  <a:lnTo>
                    <a:pt x="34929" y="142910"/>
                  </a:lnTo>
                  <a:cubicBezTo>
                    <a:pt x="32048" y="139311"/>
                    <a:pt x="29888" y="134993"/>
                    <a:pt x="29888" y="129955"/>
                  </a:cubicBezTo>
                  <a:lnTo>
                    <a:pt x="29888" y="102606"/>
                  </a:lnTo>
                  <a:cubicBezTo>
                    <a:pt x="29888" y="99007"/>
                    <a:pt x="28448" y="95408"/>
                    <a:pt x="25567" y="93249"/>
                  </a:cubicBezTo>
                  <a:cubicBezTo>
                    <a:pt x="23406" y="91090"/>
                    <a:pt x="20526" y="90730"/>
                    <a:pt x="17645" y="91090"/>
                  </a:cubicBezTo>
                  <a:cubicBezTo>
                    <a:pt x="12964" y="92530"/>
                    <a:pt x="9363" y="97568"/>
                    <a:pt x="9363" y="103325"/>
                  </a:cubicBezTo>
                  <a:lnTo>
                    <a:pt x="9363" y="152626"/>
                  </a:lnTo>
                  <a:cubicBezTo>
                    <a:pt x="9363" y="159103"/>
                    <a:pt x="11523" y="165221"/>
                    <a:pt x="15844" y="169899"/>
                  </a:cubicBezTo>
                  <a:lnTo>
                    <a:pt x="30968" y="185373"/>
                  </a:lnTo>
                  <a:cubicBezTo>
                    <a:pt x="36370" y="190771"/>
                    <a:pt x="39250" y="197968"/>
                    <a:pt x="39250" y="205525"/>
                  </a:cubicBezTo>
                  <a:lnTo>
                    <a:pt x="39250" y="214881"/>
                  </a:lnTo>
                  <a:lnTo>
                    <a:pt x="119551" y="214881"/>
                  </a:lnTo>
                  <a:cubicBezTo>
                    <a:pt x="119551" y="194369"/>
                    <a:pt x="122792" y="173498"/>
                    <a:pt x="128553" y="153705"/>
                  </a:cubicBezTo>
                  <a:cubicBezTo>
                    <a:pt x="135035" y="133194"/>
                    <a:pt x="137916" y="111962"/>
                    <a:pt x="137916" y="90370"/>
                  </a:cubicBezTo>
                  <a:lnTo>
                    <a:pt x="137916" y="46468"/>
                  </a:lnTo>
                  <a:cubicBezTo>
                    <a:pt x="137916" y="41070"/>
                    <a:pt x="134315" y="37111"/>
                    <a:pt x="129634" y="36751"/>
                  </a:cubicBezTo>
                  <a:cubicBezTo>
                    <a:pt x="127113" y="36392"/>
                    <a:pt x="124952" y="37471"/>
                    <a:pt x="123152" y="39270"/>
                  </a:cubicBezTo>
                  <a:cubicBezTo>
                    <a:pt x="121351" y="40710"/>
                    <a:pt x="120271" y="43229"/>
                    <a:pt x="120271" y="45748"/>
                  </a:cubicBezTo>
                  <a:lnTo>
                    <a:pt x="120271" y="95768"/>
                  </a:lnTo>
                  <a:cubicBezTo>
                    <a:pt x="120271" y="98287"/>
                    <a:pt x="118471" y="100446"/>
                    <a:pt x="115950" y="100446"/>
                  </a:cubicBezTo>
                  <a:cubicBezTo>
                    <a:pt x="113069" y="100446"/>
                    <a:pt x="111269" y="98287"/>
                    <a:pt x="111269" y="95768"/>
                  </a:cubicBezTo>
                  <a:lnTo>
                    <a:pt x="111269" y="45748"/>
                  </a:lnTo>
                  <a:lnTo>
                    <a:pt x="111269" y="25956"/>
                  </a:lnTo>
                  <a:cubicBezTo>
                    <a:pt x="111269" y="20918"/>
                    <a:pt x="107308" y="16599"/>
                    <a:pt x="102627" y="16599"/>
                  </a:cubicBezTo>
                  <a:cubicBezTo>
                    <a:pt x="100106" y="16240"/>
                    <a:pt x="97945" y="17319"/>
                    <a:pt x="96145" y="18759"/>
                  </a:cubicBezTo>
                  <a:cubicBezTo>
                    <a:pt x="94345" y="20558"/>
                    <a:pt x="93264" y="22717"/>
                    <a:pt x="93264" y="25236"/>
                  </a:cubicBezTo>
                  <a:lnTo>
                    <a:pt x="93264" y="91450"/>
                  </a:lnTo>
                  <a:cubicBezTo>
                    <a:pt x="93264" y="93969"/>
                    <a:pt x="91104" y="96128"/>
                    <a:pt x="88583" y="96128"/>
                  </a:cubicBezTo>
                  <a:cubicBezTo>
                    <a:pt x="86422" y="96128"/>
                    <a:pt x="83902" y="93969"/>
                    <a:pt x="83902" y="91450"/>
                  </a:cubicBezTo>
                  <a:lnTo>
                    <a:pt x="83902" y="25236"/>
                  </a:lnTo>
                  <a:lnTo>
                    <a:pt x="83902" y="18759"/>
                  </a:lnTo>
                  <a:cubicBezTo>
                    <a:pt x="83902" y="13721"/>
                    <a:pt x="80301" y="9402"/>
                    <a:pt x="75620" y="9402"/>
                  </a:cubicBezTo>
                  <a:close/>
                  <a:moveTo>
                    <a:pt x="75980" y="46"/>
                  </a:moveTo>
                  <a:cubicBezTo>
                    <a:pt x="83182" y="406"/>
                    <a:pt x="88583" y="4724"/>
                    <a:pt x="91464" y="10482"/>
                  </a:cubicBezTo>
                  <a:cubicBezTo>
                    <a:pt x="94705" y="8323"/>
                    <a:pt x="99026" y="6883"/>
                    <a:pt x="102987" y="7243"/>
                  </a:cubicBezTo>
                  <a:cubicBezTo>
                    <a:pt x="112709" y="7603"/>
                    <a:pt x="120271" y="15880"/>
                    <a:pt x="120271" y="25956"/>
                  </a:cubicBezTo>
                  <a:lnTo>
                    <a:pt x="120271" y="29914"/>
                  </a:lnTo>
                  <a:cubicBezTo>
                    <a:pt x="123152" y="28115"/>
                    <a:pt x="126753" y="27395"/>
                    <a:pt x="130354" y="27395"/>
                  </a:cubicBezTo>
                  <a:cubicBezTo>
                    <a:pt x="140076" y="27755"/>
                    <a:pt x="147278" y="36032"/>
                    <a:pt x="147278" y="46468"/>
                  </a:cubicBezTo>
                  <a:lnTo>
                    <a:pt x="147278" y="90370"/>
                  </a:lnTo>
                  <a:cubicBezTo>
                    <a:pt x="147278" y="112682"/>
                    <a:pt x="144037" y="134993"/>
                    <a:pt x="137556" y="156225"/>
                  </a:cubicBezTo>
                  <a:cubicBezTo>
                    <a:pt x="131794" y="175297"/>
                    <a:pt x="128553" y="195089"/>
                    <a:pt x="128553" y="214881"/>
                  </a:cubicBezTo>
                  <a:lnTo>
                    <a:pt x="130354" y="214881"/>
                  </a:lnTo>
                  <a:cubicBezTo>
                    <a:pt x="135395" y="214881"/>
                    <a:pt x="139356" y="219200"/>
                    <a:pt x="139356" y="224238"/>
                  </a:cubicBezTo>
                  <a:lnTo>
                    <a:pt x="139356" y="299448"/>
                  </a:lnTo>
                  <a:cubicBezTo>
                    <a:pt x="139356" y="302327"/>
                    <a:pt x="137556" y="304126"/>
                    <a:pt x="134675" y="304126"/>
                  </a:cubicBezTo>
                  <a:cubicBezTo>
                    <a:pt x="132154" y="304126"/>
                    <a:pt x="130354" y="302327"/>
                    <a:pt x="130354" y="299448"/>
                  </a:cubicBezTo>
                  <a:lnTo>
                    <a:pt x="130354" y="269580"/>
                  </a:lnTo>
                  <a:lnTo>
                    <a:pt x="28448" y="269580"/>
                  </a:lnTo>
                  <a:lnTo>
                    <a:pt x="28448" y="299448"/>
                  </a:lnTo>
                  <a:cubicBezTo>
                    <a:pt x="28448" y="302327"/>
                    <a:pt x="26287" y="304126"/>
                    <a:pt x="23766" y="304126"/>
                  </a:cubicBezTo>
                  <a:cubicBezTo>
                    <a:pt x="21246" y="304126"/>
                    <a:pt x="19085" y="302327"/>
                    <a:pt x="19085" y="299448"/>
                  </a:cubicBezTo>
                  <a:lnTo>
                    <a:pt x="19085" y="224238"/>
                  </a:lnTo>
                  <a:cubicBezTo>
                    <a:pt x="19085" y="219200"/>
                    <a:pt x="23406" y="214881"/>
                    <a:pt x="28448" y="214881"/>
                  </a:cubicBezTo>
                  <a:lnTo>
                    <a:pt x="29888" y="214881"/>
                  </a:lnTo>
                  <a:lnTo>
                    <a:pt x="29888" y="205525"/>
                  </a:lnTo>
                  <a:cubicBezTo>
                    <a:pt x="29888" y="200487"/>
                    <a:pt x="28087" y="195449"/>
                    <a:pt x="24487" y="191850"/>
                  </a:cubicBezTo>
                  <a:lnTo>
                    <a:pt x="9003" y="176377"/>
                  </a:lnTo>
                  <a:cubicBezTo>
                    <a:pt x="3241" y="169899"/>
                    <a:pt x="0" y="161622"/>
                    <a:pt x="0" y="152626"/>
                  </a:cubicBezTo>
                  <a:lnTo>
                    <a:pt x="0" y="103325"/>
                  </a:lnTo>
                  <a:cubicBezTo>
                    <a:pt x="0" y="93249"/>
                    <a:pt x="6482" y="84253"/>
                    <a:pt x="15484" y="82094"/>
                  </a:cubicBezTo>
                  <a:cubicBezTo>
                    <a:pt x="20526" y="81014"/>
                    <a:pt x="25567" y="82094"/>
                    <a:pt x="29888" y="85332"/>
                  </a:cubicBezTo>
                  <a:lnTo>
                    <a:pt x="29888" y="38911"/>
                  </a:lnTo>
                  <a:cubicBezTo>
                    <a:pt x="29888" y="29914"/>
                    <a:pt x="36010" y="21997"/>
                    <a:pt x="44652" y="20558"/>
                  </a:cubicBezTo>
                  <a:cubicBezTo>
                    <a:pt x="48973" y="19838"/>
                    <a:pt x="53654" y="20558"/>
                    <a:pt x="56895" y="22717"/>
                  </a:cubicBezTo>
                  <a:lnTo>
                    <a:pt x="56895" y="18039"/>
                  </a:lnTo>
                  <a:cubicBezTo>
                    <a:pt x="56895" y="13001"/>
                    <a:pt x="59055" y="8323"/>
                    <a:pt x="62656" y="5084"/>
                  </a:cubicBezTo>
                  <a:cubicBezTo>
                    <a:pt x="66257" y="1485"/>
                    <a:pt x="71299" y="-314"/>
                    <a:pt x="75980" y="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1" name="Grupo 40">
            <a:extLst>
              <a:ext uri="{FF2B5EF4-FFF2-40B4-BE49-F238E27FC236}">
                <a16:creationId xmlns:a16="http://schemas.microsoft.com/office/drawing/2014/main" id="{3BE70B35-979F-9740-B562-13AB1756C4F3}"/>
              </a:ext>
            </a:extLst>
          </p:cNvPr>
          <p:cNvGrpSpPr/>
          <p:nvPr/>
        </p:nvGrpSpPr>
        <p:grpSpPr>
          <a:xfrm>
            <a:off x="10112925" y="1530219"/>
            <a:ext cx="719015" cy="719312"/>
            <a:chOff x="8848347" y="1639968"/>
            <a:chExt cx="1133689" cy="1134158"/>
          </a:xfrm>
        </p:grpSpPr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09A9E50C-3141-F0FD-7020-F240A77305EB}"/>
                </a:ext>
              </a:extLst>
            </p:cNvPr>
            <p:cNvSpPr/>
            <p:nvPr/>
          </p:nvSpPr>
          <p:spPr>
            <a:xfrm>
              <a:off x="8848347" y="1639968"/>
              <a:ext cx="1133689" cy="1134158"/>
            </a:xfrm>
            <a:prstGeom prst="rect">
              <a:avLst/>
            </a:prstGeom>
            <a:solidFill>
              <a:schemeClr val="accent3"/>
            </a:solidFill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F502D0FF-909A-83E6-7C8E-85275E8A2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0799" y="1951138"/>
              <a:ext cx="535317" cy="535315"/>
            </a:xfrm>
            <a:custGeom>
              <a:avLst/>
              <a:gdLst>
                <a:gd name="connsiteX0" fmla="*/ 157776 w 315553"/>
                <a:gd name="connsiteY0" fmla="*/ 101432 h 315552"/>
                <a:gd name="connsiteX1" fmla="*/ 140463 w 315553"/>
                <a:gd name="connsiteY1" fmla="*/ 113307 h 315552"/>
                <a:gd name="connsiteX2" fmla="*/ 124954 w 315553"/>
                <a:gd name="connsiteY2" fmla="*/ 154692 h 315552"/>
                <a:gd name="connsiteX3" fmla="*/ 170761 w 315553"/>
                <a:gd name="connsiteY3" fmla="*/ 143896 h 315552"/>
                <a:gd name="connsiteX4" fmla="*/ 176532 w 315553"/>
                <a:gd name="connsiteY4" fmla="*/ 147135 h 315552"/>
                <a:gd name="connsiteX5" fmla="*/ 173286 w 315553"/>
                <a:gd name="connsiteY5" fmla="*/ 153252 h 315552"/>
                <a:gd name="connsiteX6" fmla="*/ 120986 w 315553"/>
                <a:gd name="connsiteY6" fmla="*/ 165488 h 315552"/>
                <a:gd name="connsiteX7" fmla="*/ 102591 w 315553"/>
                <a:gd name="connsiteY7" fmla="*/ 215509 h 315552"/>
                <a:gd name="connsiteX8" fmla="*/ 186992 w 315553"/>
                <a:gd name="connsiteY8" fmla="*/ 194997 h 315552"/>
                <a:gd name="connsiteX9" fmla="*/ 192763 w 315553"/>
                <a:gd name="connsiteY9" fmla="*/ 198596 h 315552"/>
                <a:gd name="connsiteX10" fmla="*/ 189156 w 315553"/>
                <a:gd name="connsiteY10" fmla="*/ 204353 h 315552"/>
                <a:gd name="connsiteX11" fmla="*/ 98623 w 315553"/>
                <a:gd name="connsiteY11" fmla="*/ 226305 h 315552"/>
                <a:gd name="connsiteX12" fmla="*/ 80228 w 315553"/>
                <a:gd name="connsiteY12" fmla="*/ 275967 h 315552"/>
                <a:gd name="connsiteX13" fmla="*/ 205388 w 315553"/>
                <a:gd name="connsiteY13" fmla="*/ 245738 h 315552"/>
                <a:gd name="connsiteX14" fmla="*/ 211159 w 315553"/>
                <a:gd name="connsiteY14" fmla="*/ 249337 h 315552"/>
                <a:gd name="connsiteX15" fmla="*/ 207912 w 315553"/>
                <a:gd name="connsiteY15" fmla="*/ 255095 h 315552"/>
                <a:gd name="connsiteX16" fmla="*/ 76260 w 315553"/>
                <a:gd name="connsiteY16" fmla="*/ 286763 h 315552"/>
                <a:gd name="connsiteX17" fmla="*/ 69047 w 315553"/>
                <a:gd name="connsiteY17" fmla="*/ 306196 h 315552"/>
                <a:gd name="connsiteX18" fmla="*/ 246867 w 315553"/>
                <a:gd name="connsiteY18" fmla="*/ 306196 h 315552"/>
                <a:gd name="connsiteX19" fmla="*/ 175090 w 315553"/>
                <a:gd name="connsiteY19" fmla="*/ 113307 h 315552"/>
                <a:gd name="connsiteX20" fmla="*/ 157776 w 315553"/>
                <a:gd name="connsiteY20" fmla="*/ 101432 h 315552"/>
                <a:gd name="connsiteX21" fmla="*/ 157776 w 315553"/>
                <a:gd name="connsiteY21" fmla="*/ 92075 h 315552"/>
                <a:gd name="connsiteX22" fmla="*/ 184107 w 315553"/>
                <a:gd name="connsiteY22" fmla="*/ 110068 h 315552"/>
                <a:gd name="connsiteX23" fmla="*/ 256966 w 315553"/>
                <a:gd name="connsiteY23" fmla="*/ 306196 h 315552"/>
                <a:gd name="connsiteX24" fmla="*/ 277526 w 315553"/>
                <a:gd name="connsiteY24" fmla="*/ 306196 h 315552"/>
                <a:gd name="connsiteX25" fmla="*/ 282215 w 315553"/>
                <a:gd name="connsiteY25" fmla="*/ 311234 h 315552"/>
                <a:gd name="connsiteX26" fmla="*/ 277526 w 315553"/>
                <a:gd name="connsiteY26" fmla="*/ 315552 h 315552"/>
                <a:gd name="connsiteX27" fmla="*/ 253359 w 315553"/>
                <a:gd name="connsiteY27" fmla="*/ 315552 h 315552"/>
                <a:gd name="connsiteX28" fmla="*/ 61833 w 315553"/>
                <a:gd name="connsiteY28" fmla="*/ 315552 h 315552"/>
                <a:gd name="connsiteX29" fmla="*/ 38027 w 315553"/>
                <a:gd name="connsiteY29" fmla="*/ 315552 h 315552"/>
                <a:gd name="connsiteX30" fmla="*/ 33338 w 315553"/>
                <a:gd name="connsiteY30" fmla="*/ 311234 h 315552"/>
                <a:gd name="connsiteX31" fmla="*/ 38027 w 315553"/>
                <a:gd name="connsiteY31" fmla="*/ 306196 h 315552"/>
                <a:gd name="connsiteX32" fmla="*/ 58947 w 315553"/>
                <a:gd name="connsiteY32" fmla="*/ 306196 h 315552"/>
                <a:gd name="connsiteX33" fmla="*/ 131807 w 315553"/>
                <a:gd name="connsiteY33" fmla="*/ 110068 h 315552"/>
                <a:gd name="connsiteX34" fmla="*/ 157776 w 315553"/>
                <a:gd name="connsiteY34" fmla="*/ 92075 h 315552"/>
                <a:gd name="connsiteX35" fmla="*/ 282399 w 315553"/>
                <a:gd name="connsiteY35" fmla="*/ 25728 h 315552"/>
                <a:gd name="connsiteX36" fmla="*/ 289102 w 315553"/>
                <a:gd name="connsiteY36" fmla="*/ 25728 h 315552"/>
                <a:gd name="connsiteX37" fmla="*/ 290160 w 315553"/>
                <a:gd name="connsiteY37" fmla="*/ 29560 h 315552"/>
                <a:gd name="connsiteX38" fmla="*/ 289102 w 315553"/>
                <a:gd name="connsiteY38" fmla="*/ 33009 h 315552"/>
                <a:gd name="connsiteX39" fmla="*/ 285574 w 315553"/>
                <a:gd name="connsiteY39" fmla="*/ 34542 h 315552"/>
                <a:gd name="connsiteX40" fmla="*/ 282399 w 315553"/>
                <a:gd name="connsiteY40" fmla="*/ 33009 h 315552"/>
                <a:gd name="connsiteX41" fmla="*/ 280988 w 315553"/>
                <a:gd name="connsiteY41" fmla="*/ 29560 h 315552"/>
                <a:gd name="connsiteX42" fmla="*/ 282399 w 315553"/>
                <a:gd name="connsiteY42" fmla="*/ 25728 h 315552"/>
                <a:gd name="connsiteX43" fmla="*/ 220436 w 315553"/>
                <a:gd name="connsiteY43" fmla="*/ 25728 h 315552"/>
                <a:gd name="connsiteX44" fmla="*/ 226899 w 315553"/>
                <a:gd name="connsiteY44" fmla="*/ 25728 h 315552"/>
                <a:gd name="connsiteX45" fmla="*/ 228260 w 315553"/>
                <a:gd name="connsiteY45" fmla="*/ 29560 h 315552"/>
                <a:gd name="connsiteX46" fmla="*/ 226899 w 315553"/>
                <a:gd name="connsiteY46" fmla="*/ 33009 h 315552"/>
                <a:gd name="connsiteX47" fmla="*/ 223498 w 315553"/>
                <a:gd name="connsiteY47" fmla="*/ 34542 h 315552"/>
                <a:gd name="connsiteX48" fmla="*/ 220436 w 315553"/>
                <a:gd name="connsiteY48" fmla="*/ 33009 h 315552"/>
                <a:gd name="connsiteX49" fmla="*/ 219075 w 315553"/>
                <a:gd name="connsiteY49" fmla="*/ 29560 h 315552"/>
                <a:gd name="connsiteX50" fmla="*/ 220436 w 315553"/>
                <a:gd name="connsiteY50" fmla="*/ 25728 h 315552"/>
                <a:gd name="connsiteX51" fmla="*/ 254001 w 315553"/>
                <a:gd name="connsiteY51" fmla="*/ 23812 h 315552"/>
                <a:gd name="connsiteX52" fmla="*/ 258423 w 315553"/>
                <a:gd name="connsiteY52" fmla="*/ 28574 h 315552"/>
                <a:gd name="connsiteX53" fmla="*/ 254001 w 315553"/>
                <a:gd name="connsiteY53" fmla="*/ 32997 h 315552"/>
                <a:gd name="connsiteX54" fmla="*/ 249238 w 315553"/>
                <a:gd name="connsiteY54" fmla="*/ 28574 h 315552"/>
                <a:gd name="connsiteX55" fmla="*/ 254001 w 315553"/>
                <a:gd name="connsiteY55" fmla="*/ 23812 h 315552"/>
                <a:gd name="connsiteX56" fmla="*/ 9726 w 315553"/>
                <a:gd name="connsiteY56" fmla="*/ 9376 h 315552"/>
                <a:gd name="connsiteX57" fmla="*/ 9726 w 315553"/>
                <a:gd name="connsiteY57" fmla="*/ 47603 h 315552"/>
                <a:gd name="connsiteX58" fmla="*/ 306187 w 315553"/>
                <a:gd name="connsiteY58" fmla="*/ 47603 h 315552"/>
                <a:gd name="connsiteX59" fmla="*/ 306187 w 315553"/>
                <a:gd name="connsiteY59" fmla="*/ 9376 h 315552"/>
                <a:gd name="connsiteX60" fmla="*/ 4683 w 315553"/>
                <a:gd name="connsiteY60" fmla="*/ 0 h 315552"/>
                <a:gd name="connsiteX61" fmla="*/ 310510 w 315553"/>
                <a:gd name="connsiteY61" fmla="*/ 0 h 315552"/>
                <a:gd name="connsiteX62" fmla="*/ 315553 w 315553"/>
                <a:gd name="connsiteY62" fmla="*/ 4688 h 315552"/>
                <a:gd name="connsiteX63" fmla="*/ 315553 w 315553"/>
                <a:gd name="connsiteY63" fmla="*/ 52652 h 315552"/>
                <a:gd name="connsiteX64" fmla="*/ 315553 w 315553"/>
                <a:gd name="connsiteY64" fmla="*/ 311224 h 315552"/>
                <a:gd name="connsiteX65" fmla="*/ 310510 w 315553"/>
                <a:gd name="connsiteY65" fmla="*/ 315552 h 315552"/>
                <a:gd name="connsiteX66" fmla="*/ 306187 w 315553"/>
                <a:gd name="connsiteY66" fmla="*/ 311224 h 315552"/>
                <a:gd name="connsiteX67" fmla="*/ 306187 w 315553"/>
                <a:gd name="connsiteY67" fmla="*/ 57340 h 315552"/>
                <a:gd name="connsiteX68" fmla="*/ 9726 w 315553"/>
                <a:gd name="connsiteY68" fmla="*/ 57340 h 315552"/>
                <a:gd name="connsiteX69" fmla="*/ 9726 w 315553"/>
                <a:gd name="connsiteY69" fmla="*/ 311224 h 315552"/>
                <a:gd name="connsiteX70" fmla="*/ 4683 w 315553"/>
                <a:gd name="connsiteY70" fmla="*/ 315552 h 315552"/>
                <a:gd name="connsiteX71" fmla="*/ 0 w 315553"/>
                <a:gd name="connsiteY71" fmla="*/ 311224 h 315552"/>
                <a:gd name="connsiteX72" fmla="*/ 0 w 315553"/>
                <a:gd name="connsiteY72" fmla="*/ 52652 h 315552"/>
                <a:gd name="connsiteX73" fmla="*/ 0 w 315553"/>
                <a:gd name="connsiteY73" fmla="*/ 4688 h 315552"/>
                <a:gd name="connsiteX74" fmla="*/ 4683 w 315553"/>
                <a:gd name="connsiteY74" fmla="*/ 0 h 31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15553" h="315552">
                  <a:moveTo>
                    <a:pt x="157776" y="101432"/>
                  </a:moveTo>
                  <a:cubicBezTo>
                    <a:pt x="151645" y="101432"/>
                    <a:pt x="143709" y="104670"/>
                    <a:pt x="140463" y="113307"/>
                  </a:cubicBezTo>
                  <a:lnTo>
                    <a:pt x="124954" y="154692"/>
                  </a:lnTo>
                  <a:lnTo>
                    <a:pt x="170761" y="143896"/>
                  </a:lnTo>
                  <a:cubicBezTo>
                    <a:pt x="173286" y="143176"/>
                    <a:pt x="176172" y="144616"/>
                    <a:pt x="176532" y="147135"/>
                  </a:cubicBezTo>
                  <a:cubicBezTo>
                    <a:pt x="177254" y="150014"/>
                    <a:pt x="175811" y="152533"/>
                    <a:pt x="173286" y="153252"/>
                  </a:cubicBezTo>
                  <a:lnTo>
                    <a:pt x="120986" y="165488"/>
                  </a:lnTo>
                  <a:lnTo>
                    <a:pt x="102591" y="215509"/>
                  </a:lnTo>
                  <a:lnTo>
                    <a:pt x="186992" y="194997"/>
                  </a:lnTo>
                  <a:cubicBezTo>
                    <a:pt x="189517" y="194637"/>
                    <a:pt x="192042" y="196077"/>
                    <a:pt x="192763" y="198596"/>
                  </a:cubicBezTo>
                  <a:cubicBezTo>
                    <a:pt x="193485" y="201115"/>
                    <a:pt x="191681" y="203994"/>
                    <a:pt x="189156" y="204353"/>
                  </a:cubicBezTo>
                  <a:lnTo>
                    <a:pt x="98623" y="226305"/>
                  </a:lnTo>
                  <a:lnTo>
                    <a:pt x="80228" y="275967"/>
                  </a:lnTo>
                  <a:lnTo>
                    <a:pt x="205388" y="245738"/>
                  </a:lnTo>
                  <a:cubicBezTo>
                    <a:pt x="207912" y="245018"/>
                    <a:pt x="210798" y="246818"/>
                    <a:pt x="211159" y="249337"/>
                  </a:cubicBezTo>
                  <a:cubicBezTo>
                    <a:pt x="211880" y="251856"/>
                    <a:pt x="210437" y="254375"/>
                    <a:pt x="207912" y="255095"/>
                  </a:cubicBezTo>
                  <a:lnTo>
                    <a:pt x="76260" y="286763"/>
                  </a:lnTo>
                  <a:lnTo>
                    <a:pt x="69047" y="306196"/>
                  </a:lnTo>
                  <a:lnTo>
                    <a:pt x="246867" y="306196"/>
                  </a:lnTo>
                  <a:lnTo>
                    <a:pt x="175090" y="113307"/>
                  </a:lnTo>
                  <a:cubicBezTo>
                    <a:pt x="171843" y="104670"/>
                    <a:pt x="163908" y="101432"/>
                    <a:pt x="157776" y="101432"/>
                  </a:cubicBezTo>
                  <a:close/>
                  <a:moveTo>
                    <a:pt x="157776" y="92075"/>
                  </a:moveTo>
                  <a:cubicBezTo>
                    <a:pt x="169679" y="92075"/>
                    <a:pt x="180139" y="98913"/>
                    <a:pt x="184107" y="110068"/>
                  </a:cubicBezTo>
                  <a:lnTo>
                    <a:pt x="256966" y="306196"/>
                  </a:lnTo>
                  <a:lnTo>
                    <a:pt x="277526" y="306196"/>
                  </a:lnTo>
                  <a:cubicBezTo>
                    <a:pt x="280050" y="306196"/>
                    <a:pt x="282215" y="308355"/>
                    <a:pt x="282215" y="311234"/>
                  </a:cubicBezTo>
                  <a:cubicBezTo>
                    <a:pt x="282215" y="313753"/>
                    <a:pt x="280050" y="315552"/>
                    <a:pt x="277526" y="315552"/>
                  </a:cubicBezTo>
                  <a:lnTo>
                    <a:pt x="253359" y="315552"/>
                  </a:lnTo>
                  <a:lnTo>
                    <a:pt x="61833" y="315552"/>
                  </a:lnTo>
                  <a:lnTo>
                    <a:pt x="38027" y="315552"/>
                  </a:lnTo>
                  <a:cubicBezTo>
                    <a:pt x="35502" y="315552"/>
                    <a:pt x="33338" y="313753"/>
                    <a:pt x="33338" y="311234"/>
                  </a:cubicBezTo>
                  <a:cubicBezTo>
                    <a:pt x="33338" y="308355"/>
                    <a:pt x="35502" y="306196"/>
                    <a:pt x="38027" y="306196"/>
                  </a:cubicBezTo>
                  <a:lnTo>
                    <a:pt x="58947" y="306196"/>
                  </a:lnTo>
                  <a:lnTo>
                    <a:pt x="131807" y="110068"/>
                  </a:lnTo>
                  <a:cubicBezTo>
                    <a:pt x="135774" y="98913"/>
                    <a:pt x="145874" y="92075"/>
                    <a:pt x="157776" y="92075"/>
                  </a:cubicBezTo>
                  <a:close/>
                  <a:moveTo>
                    <a:pt x="282399" y="25728"/>
                  </a:moveTo>
                  <a:cubicBezTo>
                    <a:pt x="284163" y="23812"/>
                    <a:pt x="286985" y="23812"/>
                    <a:pt x="289102" y="25728"/>
                  </a:cubicBezTo>
                  <a:cubicBezTo>
                    <a:pt x="289808" y="26878"/>
                    <a:pt x="290160" y="28027"/>
                    <a:pt x="290160" y="29560"/>
                  </a:cubicBezTo>
                  <a:cubicBezTo>
                    <a:pt x="290160" y="30710"/>
                    <a:pt x="289808" y="31859"/>
                    <a:pt x="289102" y="33009"/>
                  </a:cubicBezTo>
                  <a:cubicBezTo>
                    <a:pt x="288044" y="33775"/>
                    <a:pt x="286985" y="34542"/>
                    <a:pt x="285574" y="34542"/>
                  </a:cubicBezTo>
                  <a:cubicBezTo>
                    <a:pt x="284516" y="34542"/>
                    <a:pt x="283105" y="33775"/>
                    <a:pt x="282399" y="33009"/>
                  </a:cubicBezTo>
                  <a:cubicBezTo>
                    <a:pt x="281341" y="31859"/>
                    <a:pt x="280988" y="30710"/>
                    <a:pt x="280988" y="29560"/>
                  </a:cubicBezTo>
                  <a:cubicBezTo>
                    <a:pt x="280988" y="28027"/>
                    <a:pt x="281341" y="26878"/>
                    <a:pt x="282399" y="25728"/>
                  </a:cubicBezTo>
                  <a:close/>
                  <a:moveTo>
                    <a:pt x="220436" y="25728"/>
                  </a:moveTo>
                  <a:cubicBezTo>
                    <a:pt x="222137" y="23812"/>
                    <a:pt x="225198" y="23812"/>
                    <a:pt x="226899" y="25728"/>
                  </a:cubicBezTo>
                  <a:cubicBezTo>
                    <a:pt x="227580" y="26878"/>
                    <a:pt x="228260" y="28027"/>
                    <a:pt x="228260" y="29560"/>
                  </a:cubicBezTo>
                  <a:cubicBezTo>
                    <a:pt x="228260" y="30710"/>
                    <a:pt x="227580" y="31859"/>
                    <a:pt x="226899" y="33009"/>
                  </a:cubicBezTo>
                  <a:cubicBezTo>
                    <a:pt x="226219" y="33775"/>
                    <a:pt x="224858" y="34542"/>
                    <a:pt x="223498" y="34542"/>
                  </a:cubicBezTo>
                  <a:cubicBezTo>
                    <a:pt x="222477" y="34542"/>
                    <a:pt x="221456" y="33775"/>
                    <a:pt x="220436" y="33009"/>
                  </a:cubicBezTo>
                  <a:cubicBezTo>
                    <a:pt x="219756" y="31859"/>
                    <a:pt x="219075" y="30710"/>
                    <a:pt x="219075" y="29560"/>
                  </a:cubicBezTo>
                  <a:cubicBezTo>
                    <a:pt x="219075" y="28027"/>
                    <a:pt x="219756" y="26878"/>
                    <a:pt x="220436" y="25728"/>
                  </a:cubicBezTo>
                  <a:close/>
                  <a:moveTo>
                    <a:pt x="254001" y="23812"/>
                  </a:moveTo>
                  <a:cubicBezTo>
                    <a:pt x="256382" y="23812"/>
                    <a:pt x="258423" y="25853"/>
                    <a:pt x="258423" y="28574"/>
                  </a:cubicBezTo>
                  <a:cubicBezTo>
                    <a:pt x="258423" y="30956"/>
                    <a:pt x="256382" y="32997"/>
                    <a:pt x="254001" y="32997"/>
                  </a:cubicBezTo>
                  <a:cubicBezTo>
                    <a:pt x="251279" y="32997"/>
                    <a:pt x="249238" y="30956"/>
                    <a:pt x="249238" y="28574"/>
                  </a:cubicBezTo>
                  <a:cubicBezTo>
                    <a:pt x="249238" y="25853"/>
                    <a:pt x="251279" y="23812"/>
                    <a:pt x="254001" y="23812"/>
                  </a:cubicBezTo>
                  <a:close/>
                  <a:moveTo>
                    <a:pt x="9726" y="9376"/>
                  </a:moveTo>
                  <a:lnTo>
                    <a:pt x="9726" y="47603"/>
                  </a:lnTo>
                  <a:lnTo>
                    <a:pt x="306187" y="47603"/>
                  </a:lnTo>
                  <a:lnTo>
                    <a:pt x="306187" y="9376"/>
                  </a:lnTo>
                  <a:close/>
                  <a:moveTo>
                    <a:pt x="4683" y="0"/>
                  </a:moveTo>
                  <a:lnTo>
                    <a:pt x="310510" y="0"/>
                  </a:lnTo>
                  <a:cubicBezTo>
                    <a:pt x="313392" y="0"/>
                    <a:pt x="315553" y="2164"/>
                    <a:pt x="315553" y="4688"/>
                  </a:cubicBezTo>
                  <a:lnTo>
                    <a:pt x="315553" y="52652"/>
                  </a:lnTo>
                  <a:lnTo>
                    <a:pt x="315553" y="311224"/>
                  </a:lnTo>
                  <a:cubicBezTo>
                    <a:pt x="315553" y="313748"/>
                    <a:pt x="313392" y="315552"/>
                    <a:pt x="310510" y="315552"/>
                  </a:cubicBezTo>
                  <a:cubicBezTo>
                    <a:pt x="308349" y="315552"/>
                    <a:pt x="306187" y="313748"/>
                    <a:pt x="306187" y="311224"/>
                  </a:cubicBezTo>
                  <a:lnTo>
                    <a:pt x="306187" y="57340"/>
                  </a:lnTo>
                  <a:lnTo>
                    <a:pt x="9726" y="57340"/>
                  </a:lnTo>
                  <a:lnTo>
                    <a:pt x="9726" y="311224"/>
                  </a:lnTo>
                  <a:cubicBezTo>
                    <a:pt x="9726" y="313748"/>
                    <a:pt x="7564" y="315552"/>
                    <a:pt x="4683" y="315552"/>
                  </a:cubicBezTo>
                  <a:cubicBezTo>
                    <a:pt x="2161" y="315552"/>
                    <a:pt x="0" y="313748"/>
                    <a:pt x="0" y="311224"/>
                  </a:cubicBezTo>
                  <a:lnTo>
                    <a:pt x="0" y="52652"/>
                  </a:lnTo>
                  <a:lnTo>
                    <a:pt x="0" y="4688"/>
                  </a:lnTo>
                  <a:cubicBezTo>
                    <a:pt x="0" y="2164"/>
                    <a:pt x="2161" y="0"/>
                    <a:pt x="46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2AAEC4EA-4BB4-27A6-52F0-D940A6541CDC}"/>
              </a:ext>
            </a:extLst>
          </p:cNvPr>
          <p:cNvGrpSpPr/>
          <p:nvPr/>
        </p:nvGrpSpPr>
        <p:grpSpPr>
          <a:xfrm>
            <a:off x="4279742" y="1530219"/>
            <a:ext cx="719015" cy="719312"/>
            <a:chOff x="3776269" y="1639968"/>
            <a:chExt cx="1133689" cy="1134158"/>
          </a:xfrm>
        </p:grpSpPr>
        <p:sp>
          <p:nvSpPr>
            <p:cNvPr id="11" name="Oval 8">
              <a:extLst>
                <a:ext uri="{FF2B5EF4-FFF2-40B4-BE49-F238E27FC236}">
                  <a16:creationId xmlns:a16="http://schemas.microsoft.com/office/drawing/2014/main" id="{EB11D605-E390-9735-403F-425637244588}"/>
                </a:ext>
              </a:extLst>
            </p:cNvPr>
            <p:cNvSpPr/>
            <p:nvPr/>
          </p:nvSpPr>
          <p:spPr>
            <a:xfrm>
              <a:off x="3776269" y="1639968"/>
              <a:ext cx="1133689" cy="1134158"/>
            </a:xfrm>
            <a:prstGeom prst="rect">
              <a:avLst/>
            </a:prstGeom>
            <a:solidFill>
              <a:schemeClr val="tx2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62430A81-05CD-3433-4139-47450C06D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5456" y="1857408"/>
              <a:ext cx="535312" cy="722779"/>
            </a:xfrm>
            <a:custGeom>
              <a:avLst/>
              <a:gdLst>
                <a:gd name="connsiteX0" fmla="*/ 171273 w 226653"/>
                <a:gd name="connsiteY0" fmla="*/ 260350 h 306027"/>
                <a:gd name="connsiteX1" fmla="*/ 175859 w 226653"/>
                <a:gd name="connsiteY1" fmla="*/ 264936 h 306027"/>
                <a:gd name="connsiteX2" fmla="*/ 171273 w 226653"/>
                <a:gd name="connsiteY2" fmla="*/ 269522 h 306027"/>
                <a:gd name="connsiteX3" fmla="*/ 166687 w 226653"/>
                <a:gd name="connsiteY3" fmla="*/ 264936 h 306027"/>
                <a:gd name="connsiteX4" fmla="*/ 171273 w 226653"/>
                <a:gd name="connsiteY4" fmla="*/ 260350 h 306027"/>
                <a:gd name="connsiteX5" fmla="*/ 185371 w 226653"/>
                <a:gd name="connsiteY5" fmla="*/ 228600 h 306027"/>
                <a:gd name="connsiteX6" fmla="*/ 190134 w 226653"/>
                <a:gd name="connsiteY6" fmla="*/ 233186 h 306027"/>
                <a:gd name="connsiteX7" fmla="*/ 185371 w 226653"/>
                <a:gd name="connsiteY7" fmla="*/ 237772 h 306027"/>
                <a:gd name="connsiteX8" fmla="*/ 180975 w 226653"/>
                <a:gd name="connsiteY8" fmla="*/ 233186 h 306027"/>
                <a:gd name="connsiteX9" fmla="*/ 185371 w 226653"/>
                <a:gd name="connsiteY9" fmla="*/ 228600 h 306027"/>
                <a:gd name="connsiteX10" fmla="*/ 166511 w 226653"/>
                <a:gd name="connsiteY10" fmla="*/ 195263 h 306027"/>
                <a:gd name="connsiteX11" fmla="*/ 171097 w 226653"/>
                <a:gd name="connsiteY11" fmla="*/ 199849 h 306027"/>
                <a:gd name="connsiteX12" fmla="*/ 166511 w 226653"/>
                <a:gd name="connsiteY12" fmla="*/ 204435 h 306027"/>
                <a:gd name="connsiteX13" fmla="*/ 161925 w 226653"/>
                <a:gd name="connsiteY13" fmla="*/ 199849 h 306027"/>
                <a:gd name="connsiteX14" fmla="*/ 166511 w 226653"/>
                <a:gd name="connsiteY14" fmla="*/ 195263 h 306027"/>
                <a:gd name="connsiteX15" fmla="*/ 195086 w 226653"/>
                <a:gd name="connsiteY15" fmla="*/ 168275 h 306027"/>
                <a:gd name="connsiteX16" fmla="*/ 199672 w 226653"/>
                <a:gd name="connsiteY16" fmla="*/ 172861 h 306027"/>
                <a:gd name="connsiteX17" fmla="*/ 195086 w 226653"/>
                <a:gd name="connsiteY17" fmla="*/ 177447 h 306027"/>
                <a:gd name="connsiteX18" fmla="*/ 190500 w 226653"/>
                <a:gd name="connsiteY18" fmla="*/ 172861 h 306027"/>
                <a:gd name="connsiteX19" fmla="*/ 195086 w 226653"/>
                <a:gd name="connsiteY19" fmla="*/ 168275 h 306027"/>
                <a:gd name="connsiteX20" fmla="*/ 166511 w 226653"/>
                <a:gd name="connsiteY20" fmla="*/ 146050 h 306027"/>
                <a:gd name="connsiteX21" fmla="*/ 171097 w 226653"/>
                <a:gd name="connsiteY21" fmla="*/ 150446 h 306027"/>
                <a:gd name="connsiteX22" fmla="*/ 166511 w 226653"/>
                <a:gd name="connsiteY22" fmla="*/ 155209 h 306027"/>
                <a:gd name="connsiteX23" fmla="*/ 161925 w 226653"/>
                <a:gd name="connsiteY23" fmla="*/ 150446 h 306027"/>
                <a:gd name="connsiteX24" fmla="*/ 166511 w 226653"/>
                <a:gd name="connsiteY24" fmla="*/ 146050 h 306027"/>
                <a:gd name="connsiteX25" fmla="*/ 96063 w 226653"/>
                <a:gd name="connsiteY25" fmla="*/ 142378 h 306027"/>
                <a:gd name="connsiteX26" fmla="*/ 102085 w 226653"/>
                <a:gd name="connsiteY26" fmla="*/ 143831 h 306027"/>
                <a:gd name="connsiteX27" fmla="*/ 112358 w 226653"/>
                <a:gd name="connsiteY27" fmla="*/ 175076 h 306027"/>
                <a:gd name="connsiteX28" fmla="*/ 74455 w 226653"/>
                <a:gd name="connsiteY28" fmla="*/ 213950 h 306027"/>
                <a:gd name="connsiteX29" fmla="*/ 69850 w 226653"/>
                <a:gd name="connsiteY29" fmla="*/ 209227 h 306027"/>
                <a:gd name="connsiteX30" fmla="*/ 74455 w 226653"/>
                <a:gd name="connsiteY30" fmla="*/ 204504 h 306027"/>
                <a:gd name="connsiteX31" fmla="*/ 103148 w 226653"/>
                <a:gd name="connsiteY31" fmla="*/ 175076 h 306027"/>
                <a:gd name="connsiteX32" fmla="*/ 94646 w 226653"/>
                <a:gd name="connsiteY32" fmla="*/ 148918 h 306027"/>
                <a:gd name="connsiteX33" fmla="*/ 96063 w 226653"/>
                <a:gd name="connsiteY33" fmla="*/ 142378 h 306027"/>
                <a:gd name="connsiteX34" fmla="*/ 180975 w 226653"/>
                <a:gd name="connsiteY34" fmla="*/ 117475 h 306027"/>
                <a:gd name="connsiteX35" fmla="*/ 185371 w 226653"/>
                <a:gd name="connsiteY35" fmla="*/ 122237 h 306027"/>
                <a:gd name="connsiteX36" fmla="*/ 180975 w 226653"/>
                <a:gd name="connsiteY36" fmla="*/ 126634 h 306027"/>
                <a:gd name="connsiteX37" fmla="*/ 176212 w 226653"/>
                <a:gd name="connsiteY37" fmla="*/ 122237 h 306027"/>
                <a:gd name="connsiteX38" fmla="*/ 180975 w 226653"/>
                <a:gd name="connsiteY38" fmla="*/ 117475 h 306027"/>
                <a:gd name="connsiteX39" fmla="*/ 156986 w 226653"/>
                <a:gd name="connsiteY39" fmla="*/ 93663 h 306027"/>
                <a:gd name="connsiteX40" fmla="*/ 161572 w 226653"/>
                <a:gd name="connsiteY40" fmla="*/ 98602 h 306027"/>
                <a:gd name="connsiteX41" fmla="*/ 156986 w 226653"/>
                <a:gd name="connsiteY41" fmla="*/ 102835 h 306027"/>
                <a:gd name="connsiteX42" fmla="*/ 152400 w 226653"/>
                <a:gd name="connsiteY42" fmla="*/ 98602 h 306027"/>
                <a:gd name="connsiteX43" fmla="*/ 156986 w 226653"/>
                <a:gd name="connsiteY43" fmla="*/ 93663 h 306027"/>
                <a:gd name="connsiteX44" fmla="*/ 73460 w 226653"/>
                <a:gd name="connsiteY44" fmla="*/ 61115 h 306027"/>
                <a:gd name="connsiteX45" fmla="*/ 9317 w 226653"/>
                <a:gd name="connsiteY45" fmla="*/ 176167 h 306027"/>
                <a:gd name="connsiteX46" fmla="*/ 73460 w 226653"/>
                <a:gd name="connsiteY46" fmla="*/ 241087 h 306027"/>
                <a:gd name="connsiteX47" fmla="*/ 137962 w 226653"/>
                <a:gd name="connsiteY47" fmla="*/ 176167 h 306027"/>
                <a:gd name="connsiteX48" fmla="*/ 73460 w 226653"/>
                <a:gd name="connsiteY48" fmla="*/ 61115 h 306027"/>
                <a:gd name="connsiteX49" fmla="*/ 70594 w 226653"/>
                <a:gd name="connsiteY49" fmla="*/ 51016 h 306027"/>
                <a:gd name="connsiteX50" fmla="*/ 76685 w 226653"/>
                <a:gd name="connsiteY50" fmla="*/ 51016 h 306027"/>
                <a:gd name="connsiteX51" fmla="*/ 147279 w 226653"/>
                <a:gd name="connsiteY51" fmla="*/ 176167 h 306027"/>
                <a:gd name="connsiteX52" fmla="*/ 73460 w 226653"/>
                <a:gd name="connsiteY52" fmla="*/ 250464 h 306027"/>
                <a:gd name="connsiteX53" fmla="*/ 0 w 226653"/>
                <a:gd name="connsiteY53" fmla="*/ 176167 h 306027"/>
                <a:gd name="connsiteX54" fmla="*/ 70594 w 226653"/>
                <a:gd name="connsiteY54" fmla="*/ 51016 h 306027"/>
                <a:gd name="connsiteX55" fmla="*/ 134228 w 226653"/>
                <a:gd name="connsiteY55" fmla="*/ 9383 h 306027"/>
                <a:gd name="connsiteX56" fmla="*/ 134228 w 226653"/>
                <a:gd name="connsiteY56" fmla="*/ 59545 h 306027"/>
                <a:gd name="connsiteX57" fmla="*/ 169112 w 226653"/>
                <a:gd name="connsiteY57" fmla="*/ 58463 h 306027"/>
                <a:gd name="connsiteX58" fmla="*/ 208312 w 226653"/>
                <a:gd name="connsiteY58" fmla="*/ 55576 h 306027"/>
                <a:gd name="connsiteX59" fmla="*/ 208312 w 226653"/>
                <a:gd name="connsiteY59" fmla="*/ 9383 h 306027"/>
                <a:gd name="connsiteX60" fmla="*/ 120562 w 226653"/>
                <a:gd name="connsiteY60" fmla="*/ 0 h 306027"/>
                <a:gd name="connsiteX61" fmla="*/ 129913 w 226653"/>
                <a:gd name="connsiteY61" fmla="*/ 0 h 306027"/>
                <a:gd name="connsiteX62" fmla="*/ 212987 w 226653"/>
                <a:gd name="connsiteY62" fmla="*/ 0 h 306027"/>
                <a:gd name="connsiteX63" fmla="*/ 221977 w 226653"/>
                <a:gd name="connsiteY63" fmla="*/ 0 h 306027"/>
                <a:gd name="connsiteX64" fmla="*/ 226653 w 226653"/>
                <a:gd name="connsiteY64" fmla="*/ 4691 h 306027"/>
                <a:gd name="connsiteX65" fmla="*/ 221977 w 226653"/>
                <a:gd name="connsiteY65" fmla="*/ 9383 h 306027"/>
                <a:gd name="connsiteX66" fmla="*/ 217302 w 226653"/>
                <a:gd name="connsiteY66" fmla="*/ 9383 h 306027"/>
                <a:gd name="connsiteX67" fmla="*/ 217302 w 226653"/>
                <a:gd name="connsiteY67" fmla="*/ 259474 h 306027"/>
                <a:gd name="connsiteX68" fmla="*/ 171270 w 226653"/>
                <a:gd name="connsiteY68" fmla="*/ 306027 h 306027"/>
                <a:gd name="connsiteX69" fmla="*/ 125237 w 226653"/>
                <a:gd name="connsiteY69" fmla="*/ 259474 h 306027"/>
                <a:gd name="connsiteX70" fmla="*/ 125237 w 226653"/>
                <a:gd name="connsiteY70" fmla="*/ 245399 h 306027"/>
                <a:gd name="connsiteX71" fmla="*/ 129913 w 226653"/>
                <a:gd name="connsiteY71" fmla="*/ 240708 h 306027"/>
                <a:gd name="connsiteX72" fmla="*/ 134228 w 226653"/>
                <a:gd name="connsiteY72" fmla="*/ 245399 h 306027"/>
                <a:gd name="connsiteX73" fmla="*/ 134228 w 226653"/>
                <a:gd name="connsiteY73" fmla="*/ 259474 h 306027"/>
                <a:gd name="connsiteX74" fmla="*/ 171270 w 226653"/>
                <a:gd name="connsiteY74" fmla="*/ 296644 h 306027"/>
                <a:gd name="connsiteX75" fmla="*/ 208312 w 226653"/>
                <a:gd name="connsiteY75" fmla="*/ 259474 h 306027"/>
                <a:gd name="connsiteX76" fmla="*/ 208312 w 226653"/>
                <a:gd name="connsiteY76" fmla="*/ 65319 h 306027"/>
                <a:gd name="connsiteX77" fmla="*/ 173428 w 226653"/>
                <a:gd name="connsiteY77" fmla="*/ 66402 h 306027"/>
                <a:gd name="connsiteX78" fmla="*/ 150411 w 226653"/>
                <a:gd name="connsiteY78" fmla="*/ 71815 h 306027"/>
                <a:gd name="connsiteX79" fmla="*/ 134228 w 226653"/>
                <a:gd name="connsiteY79" fmla="*/ 69289 h 306027"/>
                <a:gd name="connsiteX80" fmla="*/ 134228 w 226653"/>
                <a:gd name="connsiteY80" fmla="*/ 92746 h 306027"/>
                <a:gd name="connsiteX81" fmla="*/ 129913 w 226653"/>
                <a:gd name="connsiteY81" fmla="*/ 97438 h 306027"/>
                <a:gd name="connsiteX82" fmla="*/ 125237 w 226653"/>
                <a:gd name="connsiteY82" fmla="*/ 92746 h 306027"/>
                <a:gd name="connsiteX83" fmla="*/ 125237 w 226653"/>
                <a:gd name="connsiteY83" fmla="*/ 9383 h 306027"/>
                <a:gd name="connsiteX84" fmla="*/ 120562 w 226653"/>
                <a:gd name="connsiteY84" fmla="*/ 9383 h 306027"/>
                <a:gd name="connsiteX85" fmla="*/ 115887 w 226653"/>
                <a:gd name="connsiteY85" fmla="*/ 4691 h 306027"/>
                <a:gd name="connsiteX86" fmla="*/ 120562 w 226653"/>
                <a:gd name="connsiteY86" fmla="*/ 0 h 30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26653" h="306027">
                  <a:moveTo>
                    <a:pt x="171273" y="260350"/>
                  </a:moveTo>
                  <a:cubicBezTo>
                    <a:pt x="173743" y="260350"/>
                    <a:pt x="175859" y="262467"/>
                    <a:pt x="175859" y="264936"/>
                  </a:cubicBezTo>
                  <a:cubicBezTo>
                    <a:pt x="175859" y="267406"/>
                    <a:pt x="173743" y="269522"/>
                    <a:pt x="171273" y="269522"/>
                  </a:cubicBezTo>
                  <a:cubicBezTo>
                    <a:pt x="168804" y="269522"/>
                    <a:pt x="166687" y="267406"/>
                    <a:pt x="166687" y="264936"/>
                  </a:cubicBezTo>
                  <a:cubicBezTo>
                    <a:pt x="166687" y="262467"/>
                    <a:pt x="168804" y="260350"/>
                    <a:pt x="171273" y="260350"/>
                  </a:cubicBezTo>
                  <a:close/>
                  <a:moveTo>
                    <a:pt x="185371" y="228600"/>
                  </a:moveTo>
                  <a:cubicBezTo>
                    <a:pt x="188302" y="228600"/>
                    <a:pt x="190134" y="230717"/>
                    <a:pt x="190134" y="233186"/>
                  </a:cubicBezTo>
                  <a:cubicBezTo>
                    <a:pt x="190134" y="235656"/>
                    <a:pt x="188302" y="237772"/>
                    <a:pt x="185371" y="237772"/>
                  </a:cubicBezTo>
                  <a:cubicBezTo>
                    <a:pt x="182807" y="237772"/>
                    <a:pt x="180975" y="235656"/>
                    <a:pt x="180975" y="233186"/>
                  </a:cubicBezTo>
                  <a:cubicBezTo>
                    <a:pt x="180975" y="230717"/>
                    <a:pt x="182807" y="228600"/>
                    <a:pt x="185371" y="228600"/>
                  </a:cubicBezTo>
                  <a:close/>
                  <a:moveTo>
                    <a:pt x="166511" y="195263"/>
                  </a:moveTo>
                  <a:cubicBezTo>
                    <a:pt x="168981" y="195263"/>
                    <a:pt x="171097" y="197380"/>
                    <a:pt x="171097" y="199849"/>
                  </a:cubicBezTo>
                  <a:cubicBezTo>
                    <a:pt x="171097" y="202319"/>
                    <a:pt x="168981" y="204435"/>
                    <a:pt x="166511" y="204435"/>
                  </a:cubicBezTo>
                  <a:cubicBezTo>
                    <a:pt x="164042" y="204435"/>
                    <a:pt x="161925" y="202319"/>
                    <a:pt x="161925" y="199849"/>
                  </a:cubicBezTo>
                  <a:cubicBezTo>
                    <a:pt x="161925" y="197380"/>
                    <a:pt x="164042" y="195263"/>
                    <a:pt x="166511" y="195263"/>
                  </a:cubicBezTo>
                  <a:close/>
                  <a:moveTo>
                    <a:pt x="195086" y="168275"/>
                  </a:moveTo>
                  <a:cubicBezTo>
                    <a:pt x="197556" y="168275"/>
                    <a:pt x="199672" y="170392"/>
                    <a:pt x="199672" y="172861"/>
                  </a:cubicBezTo>
                  <a:cubicBezTo>
                    <a:pt x="199672" y="175331"/>
                    <a:pt x="197556" y="177447"/>
                    <a:pt x="195086" y="177447"/>
                  </a:cubicBezTo>
                  <a:cubicBezTo>
                    <a:pt x="192617" y="177447"/>
                    <a:pt x="190500" y="175331"/>
                    <a:pt x="190500" y="172861"/>
                  </a:cubicBezTo>
                  <a:cubicBezTo>
                    <a:pt x="190500" y="170392"/>
                    <a:pt x="192617" y="168275"/>
                    <a:pt x="195086" y="168275"/>
                  </a:cubicBezTo>
                  <a:close/>
                  <a:moveTo>
                    <a:pt x="166511" y="146050"/>
                  </a:moveTo>
                  <a:cubicBezTo>
                    <a:pt x="168981" y="146050"/>
                    <a:pt x="171097" y="147882"/>
                    <a:pt x="171097" y="150446"/>
                  </a:cubicBezTo>
                  <a:cubicBezTo>
                    <a:pt x="171097" y="153011"/>
                    <a:pt x="168981" y="155209"/>
                    <a:pt x="166511" y="155209"/>
                  </a:cubicBezTo>
                  <a:cubicBezTo>
                    <a:pt x="164042" y="155209"/>
                    <a:pt x="161925" y="153011"/>
                    <a:pt x="161925" y="150446"/>
                  </a:cubicBezTo>
                  <a:cubicBezTo>
                    <a:pt x="161925" y="147882"/>
                    <a:pt x="164042" y="146050"/>
                    <a:pt x="166511" y="146050"/>
                  </a:cubicBezTo>
                  <a:close/>
                  <a:moveTo>
                    <a:pt x="96063" y="142378"/>
                  </a:moveTo>
                  <a:cubicBezTo>
                    <a:pt x="98189" y="141288"/>
                    <a:pt x="101022" y="141651"/>
                    <a:pt x="102085" y="143831"/>
                  </a:cubicBezTo>
                  <a:cubicBezTo>
                    <a:pt x="108816" y="155457"/>
                    <a:pt x="112358" y="166356"/>
                    <a:pt x="112358" y="175076"/>
                  </a:cubicBezTo>
                  <a:cubicBezTo>
                    <a:pt x="112358" y="196511"/>
                    <a:pt x="95355" y="213950"/>
                    <a:pt x="74455" y="213950"/>
                  </a:cubicBezTo>
                  <a:cubicBezTo>
                    <a:pt x="71976" y="213950"/>
                    <a:pt x="69850" y="211770"/>
                    <a:pt x="69850" y="209227"/>
                  </a:cubicBezTo>
                  <a:cubicBezTo>
                    <a:pt x="69850" y="206684"/>
                    <a:pt x="71976" y="204504"/>
                    <a:pt x="74455" y="204504"/>
                  </a:cubicBezTo>
                  <a:cubicBezTo>
                    <a:pt x="90396" y="204504"/>
                    <a:pt x="103148" y="191425"/>
                    <a:pt x="103148" y="175076"/>
                  </a:cubicBezTo>
                  <a:cubicBezTo>
                    <a:pt x="103148" y="167446"/>
                    <a:pt x="100314" y="159090"/>
                    <a:pt x="94646" y="148918"/>
                  </a:cubicBezTo>
                  <a:cubicBezTo>
                    <a:pt x="93229" y="146374"/>
                    <a:pt x="93938" y="143831"/>
                    <a:pt x="96063" y="142378"/>
                  </a:cubicBezTo>
                  <a:close/>
                  <a:moveTo>
                    <a:pt x="180975" y="117475"/>
                  </a:moveTo>
                  <a:cubicBezTo>
                    <a:pt x="183539" y="117475"/>
                    <a:pt x="185371" y="119307"/>
                    <a:pt x="185371" y="122237"/>
                  </a:cubicBezTo>
                  <a:cubicBezTo>
                    <a:pt x="185371" y="124802"/>
                    <a:pt x="183539" y="126634"/>
                    <a:pt x="180975" y="126634"/>
                  </a:cubicBezTo>
                  <a:cubicBezTo>
                    <a:pt x="178044" y="126634"/>
                    <a:pt x="176212" y="124802"/>
                    <a:pt x="176212" y="122237"/>
                  </a:cubicBezTo>
                  <a:cubicBezTo>
                    <a:pt x="176212" y="119307"/>
                    <a:pt x="178044" y="117475"/>
                    <a:pt x="180975" y="117475"/>
                  </a:cubicBezTo>
                  <a:close/>
                  <a:moveTo>
                    <a:pt x="156986" y="93663"/>
                  </a:moveTo>
                  <a:cubicBezTo>
                    <a:pt x="159456" y="93663"/>
                    <a:pt x="161572" y="95780"/>
                    <a:pt x="161572" y="98602"/>
                  </a:cubicBezTo>
                  <a:cubicBezTo>
                    <a:pt x="161572" y="100718"/>
                    <a:pt x="159456" y="102835"/>
                    <a:pt x="156986" y="102835"/>
                  </a:cubicBezTo>
                  <a:cubicBezTo>
                    <a:pt x="154517" y="102835"/>
                    <a:pt x="152400" y="100718"/>
                    <a:pt x="152400" y="98602"/>
                  </a:cubicBezTo>
                  <a:cubicBezTo>
                    <a:pt x="152400" y="95780"/>
                    <a:pt x="154517" y="93663"/>
                    <a:pt x="156986" y="93663"/>
                  </a:cubicBezTo>
                  <a:close/>
                  <a:moveTo>
                    <a:pt x="73460" y="61115"/>
                  </a:moveTo>
                  <a:cubicBezTo>
                    <a:pt x="60201" y="74820"/>
                    <a:pt x="9317" y="130363"/>
                    <a:pt x="9317" y="176167"/>
                  </a:cubicBezTo>
                  <a:cubicBezTo>
                    <a:pt x="9317" y="212234"/>
                    <a:pt x="37984" y="241087"/>
                    <a:pt x="73460" y="241087"/>
                  </a:cubicBezTo>
                  <a:cubicBezTo>
                    <a:pt x="108936" y="241087"/>
                    <a:pt x="137962" y="212234"/>
                    <a:pt x="137962" y="176167"/>
                  </a:cubicBezTo>
                  <a:cubicBezTo>
                    <a:pt x="137962" y="130363"/>
                    <a:pt x="87077" y="74820"/>
                    <a:pt x="73460" y="61115"/>
                  </a:cubicBezTo>
                  <a:close/>
                  <a:moveTo>
                    <a:pt x="70594" y="51016"/>
                  </a:moveTo>
                  <a:cubicBezTo>
                    <a:pt x="72027" y="49213"/>
                    <a:pt x="74894" y="49213"/>
                    <a:pt x="76685" y="51016"/>
                  </a:cubicBezTo>
                  <a:cubicBezTo>
                    <a:pt x="79552" y="53902"/>
                    <a:pt x="147279" y="119543"/>
                    <a:pt x="147279" y="176167"/>
                  </a:cubicBezTo>
                  <a:cubicBezTo>
                    <a:pt x="147279" y="217283"/>
                    <a:pt x="114311" y="250464"/>
                    <a:pt x="73460" y="250464"/>
                  </a:cubicBezTo>
                  <a:cubicBezTo>
                    <a:pt x="32967" y="250464"/>
                    <a:pt x="0" y="217283"/>
                    <a:pt x="0" y="176167"/>
                  </a:cubicBezTo>
                  <a:cubicBezTo>
                    <a:pt x="0" y="119543"/>
                    <a:pt x="67368" y="53902"/>
                    <a:pt x="70594" y="51016"/>
                  </a:cubicBezTo>
                  <a:close/>
                  <a:moveTo>
                    <a:pt x="134228" y="9383"/>
                  </a:moveTo>
                  <a:lnTo>
                    <a:pt x="134228" y="59545"/>
                  </a:lnTo>
                  <a:cubicBezTo>
                    <a:pt x="144657" y="63876"/>
                    <a:pt x="159762" y="63515"/>
                    <a:pt x="169112" y="58463"/>
                  </a:cubicBezTo>
                  <a:cubicBezTo>
                    <a:pt x="179901" y="52689"/>
                    <a:pt x="195725" y="51606"/>
                    <a:pt x="208312" y="55576"/>
                  </a:cubicBezTo>
                  <a:lnTo>
                    <a:pt x="208312" y="9383"/>
                  </a:lnTo>
                  <a:close/>
                  <a:moveTo>
                    <a:pt x="120562" y="0"/>
                  </a:moveTo>
                  <a:lnTo>
                    <a:pt x="129913" y="0"/>
                  </a:lnTo>
                  <a:lnTo>
                    <a:pt x="212987" y="0"/>
                  </a:lnTo>
                  <a:lnTo>
                    <a:pt x="221977" y="0"/>
                  </a:lnTo>
                  <a:cubicBezTo>
                    <a:pt x="224495" y="0"/>
                    <a:pt x="226653" y="2165"/>
                    <a:pt x="226653" y="4691"/>
                  </a:cubicBezTo>
                  <a:cubicBezTo>
                    <a:pt x="226653" y="7217"/>
                    <a:pt x="224495" y="9383"/>
                    <a:pt x="221977" y="9383"/>
                  </a:cubicBezTo>
                  <a:lnTo>
                    <a:pt x="217302" y="9383"/>
                  </a:lnTo>
                  <a:lnTo>
                    <a:pt x="217302" y="259474"/>
                  </a:lnTo>
                  <a:cubicBezTo>
                    <a:pt x="217302" y="285096"/>
                    <a:pt x="196804" y="306027"/>
                    <a:pt x="171270" y="306027"/>
                  </a:cubicBezTo>
                  <a:cubicBezTo>
                    <a:pt x="145736" y="306027"/>
                    <a:pt x="125237" y="285096"/>
                    <a:pt x="125237" y="259474"/>
                  </a:cubicBezTo>
                  <a:lnTo>
                    <a:pt x="125237" y="245399"/>
                  </a:lnTo>
                  <a:cubicBezTo>
                    <a:pt x="125237" y="242873"/>
                    <a:pt x="127036" y="240708"/>
                    <a:pt x="129913" y="240708"/>
                  </a:cubicBezTo>
                  <a:cubicBezTo>
                    <a:pt x="132430" y="240708"/>
                    <a:pt x="134228" y="242873"/>
                    <a:pt x="134228" y="245399"/>
                  </a:cubicBezTo>
                  <a:lnTo>
                    <a:pt x="134228" y="259474"/>
                  </a:lnTo>
                  <a:cubicBezTo>
                    <a:pt x="134228" y="280044"/>
                    <a:pt x="150771" y="296644"/>
                    <a:pt x="171270" y="296644"/>
                  </a:cubicBezTo>
                  <a:cubicBezTo>
                    <a:pt x="191769" y="296644"/>
                    <a:pt x="208312" y="280044"/>
                    <a:pt x="208312" y="259474"/>
                  </a:cubicBezTo>
                  <a:lnTo>
                    <a:pt x="208312" y="65319"/>
                  </a:lnTo>
                  <a:cubicBezTo>
                    <a:pt x="197882" y="61350"/>
                    <a:pt x="182778" y="61711"/>
                    <a:pt x="173428" y="66402"/>
                  </a:cubicBezTo>
                  <a:cubicBezTo>
                    <a:pt x="166954" y="70011"/>
                    <a:pt x="159042" y="71815"/>
                    <a:pt x="150411" y="71815"/>
                  </a:cubicBezTo>
                  <a:cubicBezTo>
                    <a:pt x="145017" y="71815"/>
                    <a:pt x="139623" y="71093"/>
                    <a:pt x="134228" y="69289"/>
                  </a:cubicBezTo>
                  <a:lnTo>
                    <a:pt x="134228" y="92746"/>
                  </a:lnTo>
                  <a:cubicBezTo>
                    <a:pt x="134228" y="95272"/>
                    <a:pt x="132430" y="97438"/>
                    <a:pt x="129913" y="97438"/>
                  </a:cubicBezTo>
                  <a:cubicBezTo>
                    <a:pt x="127036" y="97438"/>
                    <a:pt x="125237" y="95272"/>
                    <a:pt x="125237" y="92746"/>
                  </a:cubicBezTo>
                  <a:lnTo>
                    <a:pt x="125237" y="9383"/>
                  </a:lnTo>
                  <a:lnTo>
                    <a:pt x="120562" y="9383"/>
                  </a:lnTo>
                  <a:cubicBezTo>
                    <a:pt x="118045" y="9383"/>
                    <a:pt x="115887" y="7217"/>
                    <a:pt x="115887" y="4691"/>
                  </a:cubicBezTo>
                  <a:cubicBezTo>
                    <a:pt x="115887" y="2165"/>
                    <a:pt x="118045" y="0"/>
                    <a:pt x="12056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13BDEF-369B-7F9D-3BBE-55FC16EC09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ítulo 14">
            <a:extLst>
              <a:ext uri="{FF2B5EF4-FFF2-40B4-BE49-F238E27FC236}">
                <a16:creationId xmlns:a16="http://schemas.microsoft.com/office/drawing/2014/main" id="{F487B96D-9ECC-5B4A-B748-632B8D206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B - SWOT Analysis</a:t>
            </a:r>
          </a:p>
        </p:txBody>
      </p:sp>
    </p:spTree>
    <p:extLst>
      <p:ext uri="{BB962C8B-B14F-4D97-AF65-F5344CB8AC3E}">
        <p14:creationId xmlns:p14="http://schemas.microsoft.com/office/powerpoint/2010/main" val="24782514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FBF34-9ED2-007E-5C99-6FE8769634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5FBF34-9ED2-007E-5C99-6FE876963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974D4D-95D5-3599-5AAB-F8B8DA36F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B2841A-4D33-BEEF-0A0F-B343AA107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Checkli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D20564-D94A-675A-C375-591407732F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EAB166D-BE46-1C5E-D01D-5CC8FD80223F}"/>
              </a:ext>
            </a:extLst>
          </p:cNvPr>
          <p:cNvSpPr txBox="1">
            <a:spLocks/>
          </p:cNvSpPr>
          <p:nvPr/>
        </p:nvSpPr>
        <p:spPr>
          <a:xfrm>
            <a:off x="389060" y="3840451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D91947B5-255F-5E7F-A630-B9ECF97A0D58}"/>
              </a:ext>
            </a:extLst>
          </p:cNvPr>
          <p:cNvSpPr txBox="1">
            <a:spLocks/>
          </p:cNvSpPr>
          <p:nvPr/>
        </p:nvSpPr>
        <p:spPr>
          <a:xfrm>
            <a:off x="389060" y="1529865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56905180-FD42-2105-6CAC-7D47D2A43222}"/>
              </a:ext>
            </a:extLst>
          </p:cNvPr>
          <p:cNvSpPr txBox="1">
            <a:spLocks/>
          </p:cNvSpPr>
          <p:nvPr/>
        </p:nvSpPr>
        <p:spPr>
          <a:xfrm>
            <a:off x="389060" y="2685158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48BB6059-6F72-4F96-75FD-FC2E37A9C0C4}"/>
              </a:ext>
            </a:extLst>
          </p:cNvPr>
          <p:cNvSpPr txBox="1">
            <a:spLocks/>
          </p:cNvSpPr>
          <p:nvPr/>
        </p:nvSpPr>
        <p:spPr>
          <a:xfrm>
            <a:off x="389060" y="4995743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83AB36B6-05B5-2DED-759C-2948EC82514F}"/>
              </a:ext>
            </a:extLst>
          </p:cNvPr>
          <p:cNvSpPr/>
          <p:nvPr/>
        </p:nvSpPr>
        <p:spPr>
          <a:xfrm>
            <a:off x="623520" y="4115942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1EDB5B01-4BD6-4482-C786-D5B91D637AD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3999810"/>
            <a:ext cx="561609" cy="561609"/>
          </a:xfrm>
          <a:prstGeom prst="rect">
            <a:avLst/>
          </a:prstGeom>
        </p:spPr>
      </p:pic>
      <p:sp>
        <p:nvSpPr>
          <p:cNvPr id="10" name="Rectangle 55">
            <a:extLst>
              <a:ext uri="{FF2B5EF4-FFF2-40B4-BE49-F238E27FC236}">
                <a16:creationId xmlns:a16="http://schemas.microsoft.com/office/drawing/2014/main" id="{D3EF73C4-83B6-A306-7710-F8BBF3C6AB3E}"/>
              </a:ext>
            </a:extLst>
          </p:cNvPr>
          <p:cNvSpPr/>
          <p:nvPr/>
        </p:nvSpPr>
        <p:spPr>
          <a:xfrm>
            <a:off x="623520" y="1805356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1" name="Graphic 10" descr="Checkmark with solid fill">
            <a:extLst>
              <a:ext uri="{FF2B5EF4-FFF2-40B4-BE49-F238E27FC236}">
                <a16:creationId xmlns:a16="http://schemas.microsoft.com/office/drawing/2014/main" id="{A574E80D-87C1-ABB9-CB4A-E35BE02CD97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1689224"/>
            <a:ext cx="561609" cy="561609"/>
          </a:xfrm>
          <a:prstGeom prst="rect">
            <a:avLst/>
          </a:prstGeom>
        </p:spPr>
      </p:pic>
      <p:sp>
        <p:nvSpPr>
          <p:cNvPr id="12" name="Rectangle 55">
            <a:extLst>
              <a:ext uri="{FF2B5EF4-FFF2-40B4-BE49-F238E27FC236}">
                <a16:creationId xmlns:a16="http://schemas.microsoft.com/office/drawing/2014/main" id="{793F9DD5-38F2-259B-0D68-981F869D59BB}"/>
              </a:ext>
            </a:extLst>
          </p:cNvPr>
          <p:cNvSpPr/>
          <p:nvPr/>
        </p:nvSpPr>
        <p:spPr>
          <a:xfrm>
            <a:off x="623520" y="2960649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Graphic 12" descr="Checkmark with solid fill">
            <a:extLst>
              <a:ext uri="{FF2B5EF4-FFF2-40B4-BE49-F238E27FC236}">
                <a16:creationId xmlns:a16="http://schemas.microsoft.com/office/drawing/2014/main" id="{6C271B8A-805D-983D-2E2C-E3A2EE49621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2844517"/>
            <a:ext cx="561609" cy="561609"/>
          </a:xfrm>
          <a:prstGeom prst="rect">
            <a:avLst/>
          </a:prstGeom>
        </p:spPr>
      </p:pic>
      <p:sp>
        <p:nvSpPr>
          <p:cNvPr id="14" name="Rectangle 55">
            <a:extLst>
              <a:ext uri="{FF2B5EF4-FFF2-40B4-BE49-F238E27FC236}">
                <a16:creationId xmlns:a16="http://schemas.microsoft.com/office/drawing/2014/main" id="{1E7D6F3C-2FE0-7A37-ABAB-BFD1636E2E88}"/>
              </a:ext>
            </a:extLst>
          </p:cNvPr>
          <p:cNvSpPr/>
          <p:nvPr/>
        </p:nvSpPr>
        <p:spPr>
          <a:xfrm>
            <a:off x="623520" y="5271234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9F33D646-9695-F7B5-6498-5323C2F31F8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5155102"/>
            <a:ext cx="561609" cy="561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27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81000"/>
            <a:ext cx="11420475" cy="485775"/>
          </a:xfrm>
        </p:spPr>
        <p:txBody>
          <a:bodyPr vert="horz"/>
          <a:lstStyle/>
          <a:p>
            <a:r>
              <a:rPr lang="en-US" dirty="0"/>
              <a:t>   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44D1AAC-6698-46F6-9D99-6A79607F9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9422336-EECB-0927-FC48-D3B0BEDF8270}"/>
              </a:ext>
            </a:extLst>
          </p:cNvPr>
          <p:cNvSpPr txBox="1"/>
          <p:nvPr/>
        </p:nvSpPr>
        <p:spPr>
          <a:xfrm>
            <a:off x="1008205" y="2554613"/>
            <a:ext cx="10050780" cy="25374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mbrex is the fastest way to find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 right independent management consultant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4768F6-344D-0D8C-1AF2-5E568879C55C}"/>
              </a:ext>
            </a:extLst>
          </p:cNvPr>
          <p:cNvSpPr/>
          <p:nvPr/>
        </p:nvSpPr>
        <p:spPr>
          <a:xfrm>
            <a:off x="121919" y="6400800"/>
            <a:ext cx="1823421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578471E5-81F1-3112-D4E5-797D219F7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: Rounded Corners 11">
            <a:extLst>
              <a:ext uri="{FF2B5EF4-FFF2-40B4-BE49-F238E27FC236}">
                <a16:creationId xmlns:a16="http://schemas.microsoft.com/office/drawing/2014/main" id="{2F89919E-4BC3-6BBD-8731-A4C5189F22CB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5376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Problem-Solving Process Checklis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374014" y="1320274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1. Define problem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3447219" y="1365995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301B190-DBBD-48FE-FA41-B02F2535C683}"/>
              </a:ext>
            </a:extLst>
          </p:cNvPr>
          <p:cNvSpPr txBox="1">
            <a:spLocks/>
          </p:cNvSpPr>
          <p:nvPr/>
        </p:nvSpPr>
        <p:spPr>
          <a:xfrm>
            <a:off x="374014" y="1925250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2. Structure problem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BB6753-7B9D-60F8-728F-9A93C7884A5F}"/>
              </a:ext>
            </a:extLst>
          </p:cNvPr>
          <p:cNvSpPr txBox="1">
            <a:spLocks/>
          </p:cNvSpPr>
          <p:nvPr/>
        </p:nvSpPr>
        <p:spPr>
          <a:xfrm>
            <a:off x="374014" y="2530226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. Prioritize issu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EC22617-B90D-B405-B529-8A6360CE810B}"/>
              </a:ext>
            </a:extLst>
          </p:cNvPr>
          <p:cNvSpPr txBox="1">
            <a:spLocks/>
          </p:cNvSpPr>
          <p:nvPr/>
        </p:nvSpPr>
        <p:spPr>
          <a:xfrm>
            <a:off x="374014" y="3135202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. Plan analys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99802335-7015-23C4-D443-86E74582152D}"/>
              </a:ext>
            </a:extLst>
          </p:cNvPr>
          <p:cNvSpPr txBox="1">
            <a:spLocks/>
          </p:cNvSpPr>
          <p:nvPr/>
        </p:nvSpPr>
        <p:spPr>
          <a:xfrm>
            <a:off x="374014" y="3740178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5. Conduct analys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0E203631-8E54-9313-2531-96AFADD408CD}"/>
              </a:ext>
            </a:extLst>
          </p:cNvPr>
          <p:cNvSpPr txBox="1">
            <a:spLocks/>
          </p:cNvSpPr>
          <p:nvPr/>
        </p:nvSpPr>
        <p:spPr>
          <a:xfrm>
            <a:off x="374014" y="4345154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6. Synthesize finding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7405140-5E29-2795-FA5D-4F0DFBE65A51}"/>
              </a:ext>
            </a:extLst>
          </p:cNvPr>
          <p:cNvSpPr txBox="1">
            <a:spLocks/>
          </p:cNvSpPr>
          <p:nvPr/>
        </p:nvSpPr>
        <p:spPr>
          <a:xfrm>
            <a:off x="374014" y="4950130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7. Craft recommendation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ADD8F7D-40A6-938E-DD2D-89F0A034870D}"/>
              </a:ext>
            </a:extLst>
          </p:cNvPr>
          <p:cNvSpPr txBox="1">
            <a:spLocks/>
          </p:cNvSpPr>
          <p:nvPr/>
        </p:nvSpPr>
        <p:spPr>
          <a:xfrm>
            <a:off x="374014" y="5555105"/>
            <a:ext cx="2902586" cy="46566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3716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8. Communicate</a:t>
            </a:r>
          </a:p>
        </p:txBody>
      </p:sp>
      <p:sp>
        <p:nvSpPr>
          <p:cNvPr id="2" name="Rectangle 89">
            <a:extLst>
              <a:ext uri="{FF2B5EF4-FFF2-40B4-BE49-F238E27FC236}">
                <a16:creationId xmlns:a16="http://schemas.microsoft.com/office/drawing/2014/main" id="{A98E55CE-05E8-A3CB-920D-ED8EC342FA6A}"/>
              </a:ext>
            </a:extLst>
          </p:cNvPr>
          <p:cNvSpPr/>
          <p:nvPr/>
        </p:nvSpPr>
        <p:spPr>
          <a:xfrm>
            <a:off x="3447219" y="866735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at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E9C232-A166-5C86-503E-10BC0724A91A}"/>
              </a:ext>
            </a:extLst>
          </p:cNvPr>
          <p:cNvCxnSpPr/>
          <p:nvPr/>
        </p:nvCxnSpPr>
        <p:spPr>
          <a:xfrm>
            <a:off x="3566160" y="1190449"/>
            <a:ext cx="810006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89">
            <a:extLst>
              <a:ext uri="{FF2B5EF4-FFF2-40B4-BE49-F238E27FC236}">
                <a16:creationId xmlns:a16="http://schemas.microsoft.com/office/drawing/2014/main" id="{4C60C2AC-C6C6-8601-1BD8-5112F94ECD32}"/>
              </a:ext>
            </a:extLst>
          </p:cNvPr>
          <p:cNvSpPr/>
          <p:nvPr/>
        </p:nvSpPr>
        <p:spPr>
          <a:xfrm>
            <a:off x="3447219" y="1925250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E8C65B81-4F61-C12D-898C-6240B3E5C9E4}"/>
              </a:ext>
            </a:extLst>
          </p:cNvPr>
          <p:cNvSpPr/>
          <p:nvPr/>
        </p:nvSpPr>
        <p:spPr>
          <a:xfrm>
            <a:off x="3447219" y="2584738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4A2C5025-730D-B2AF-5C69-4F09D562B861}"/>
              </a:ext>
            </a:extLst>
          </p:cNvPr>
          <p:cNvSpPr/>
          <p:nvPr/>
        </p:nvSpPr>
        <p:spPr>
          <a:xfrm>
            <a:off x="3447219" y="3148054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Rectangle 89">
            <a:extLst>
              <a:ext uri="{FF2B5EF4-FFF2-40B4-BE49-F238E27FC236}">
                <a16:creationId xmlns:a16="http://schemas.microsoft.com/office/drawing/2014/main" id="{35AD29C6-7956-581C-492D-14E94A244DE8}"/>
              </a:ext>
            </a:extLst>
          </p:cNvPr>
          <p:cNvSpPr/>
          <p:nvPr/>
        </p:nvSpPr>
        <p:spPr>
          <a:xfrm>
            <a:off x="3447219" y="3799448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Rectangle 89">
            <a:extLst>
              <a:ext uri="{FF2B5EF4-FFF2-40B4-BE49-F238E27FC236}">
                <a16:creationId xmlns:a16="http://schemas.microsoft.com/office/drawing/2014/main" id="{BAAAD810-B378-F06E-BEB9-C058BE1B34CE}"/>
              </a:ext>
            </a:extLst>
          </p:cNvPr>
          <p:cNvSpPr/>
          <p:nvPr/>
        </p:nvSpPr>
        <p:spPr>
          <a:xfrm>
            <a:off x="3447219" y="4341646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4670D7A1-5E3C-1BB2-C1A1-215295448E34}"/>
              </a:ext>
            </a:extLst>
          </p:cNvPr>
          <p:cNvSpPr/>
          <p:nvPr/>
        </p:nvSpPr>
        <p:spPr>
          <a:xfrm>
            <a:off x="3447219" y="5001134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Rectangle 89">
            <a:extLst>
              <a:ext uri="{FF2B5EF4-FFF2-40B4-BE49-F238E27FC236}">
                <a16:creationId xmlns:a16="http://schemas.microsoft.com/office/drawing/2014/main" id="{4CD29EBD-E703-E6D6-7B00-61294949F131}"/>
              </a:ext>
            </a:extLst>
          </p:cNvPr>
          <p:cNvSpPr/>
          <p:nvPr/>
        </p:nvSpPr>
        <p:spPr>
          <a:xfrm>
            <a:off x="3447219" y="5635877"/>
            <a:ext cx="8302821" cy="32371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7573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4447D9FD-9E27-0760-AA31-2AD148C9D2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4447D9FD-9E27-0760-AA31-2AD148C9D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Problem Definition Worksheet</a:t>
            </a:r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387CCEF9-898F-AA2F-3940-B8D37EE5F589}"/>
              </a:ext>
            </a:extLst>
          </p:cNvPr>
          <p:cNvSpPr txBox="1">
            <a:spLocks/>
          </p:cNvSpPr>
          <p:nvPr/>
        </p:nvSpPr>
        <p:spPr>
          <a:xfrm>
            <a:off x="371476" y="1692465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Marcador de texto 12">
            <a:extLst>
              <a:ext uri="{FF2B5EF4-FFF2-40B4-BE49-F238E27FC236}">
                <a16:creationId xmlns:a16="http://schemas.microsoft.com/office/drawing/2014/main" id="{A8475F3C-2043-F09C-C6E2-A7A883455C0B}"/>
              </a:ext>
            </a:extLst>
          </p:cNvPr>
          <p:cNvSpPr txBox="1">
            <a:spLocks/>
          </p:cNvSpPr>
          <p:nvPr/>
        </p:nvSpPr>
        <p:spPr>
          <a:xfrm>
            <a:off x="6178178" y="1692465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6" name="Marcador de texto 12">
            <a:extLst>
              <a:ext uri="{FF2B5EF4-FFF2-40B4-BE49-F238E27FC236}">
                <a16:creationId xmlns:a16="http://schemas.microsoft.com/office/drawing/2014/main" id="{3139FF28-1D30-CCA7-3308-8BCDA8F952A1}"/>
              </a:ext>
            </a:extLst>
          </p:cNvPr>
          <p:cNvSpPr txBox="1">
            <a:spLocks/>
          </p:cNvSpPr>
          <p:nvPr/>
        </p:nvSpPr>
        <p:spPr>
          <a:xfrm>
            <a:off x="3267598" y="1692465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9" name="Marcador de texto 12">
            <a:extLst>
              <a:ext uri="{FF2B5EF4-FFF2-40B4-BE49-F238E27FC236}">
                <a16:creationId xmlns:a16="http://schemas.microsoft.com/office/drawing/2014/main" id="{AC04F30A-9583-0284-FA51-02D6AE03DFA7}"/>
              </a:ext>
            </a:extLst>
          </p:cNvPr>
          <p:cNvSpPr txBox="1">
            <a:spLocks/>
          </p:cNvSpPr>
          <p:nvPr/>
        </p:nvSpPr>
        <p:spPr>
          <a:xfrm>
            <a:off x="9074300" y="1692465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Marcador de texto 12">
            <a:extLst>
              <a:ext uri="{FF2B5EF4-FFF2-40B4-BE49-F238E27FC236}">
                <a16:creationId xmlns:a16="http://schemas.microsoft.com/office/drawing/2014/main" id="{6245EBDF-D79F-E4AB-9E94-A98B3EB741A4}"/>
              </a:ext>
            </a:extLst>
          </p:cNvPr>
          <p:cNvSpPr txBox="1">
            <a:spLocks/>
          </p:cNvSpPr>
          <p:nvPr/>
        </p:nvSpPr>
        <p:spPr>
          <a:xfrm>
            <a:off x="371476" y="1152525"/>
            <a:ext cx="2746225" cy="539941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ossible problem definition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FB8234F9-4187-2233-BD97-41BF294D68FB}"/>
              </a:ext>
            </a:extLst>
          </p:cNvPr>
          <p:cNvSpPr txBox="1">
            <a:spLocks/>
          </p:cNvSpPr>
          <p:nvPr/>
        </p:nvSpPr>
        <p:spPr>
          <a:xfrm>
            <a:off x="6178178" y="1152525"/>
            <a:ext cx="274622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bservations on this problem statement</a:t>
            </a:r>
          </a:p>
        </p:txBody>
      </p:sp>
      <p:sp>
        <p:nvSpPr>
          <p:cNvPr id="23" name="Marcador de texto 12">
            <a:extLst>
              <a:ext uri="{FF2B5EF4-FFF2-40B4-BE49-F238E27FC236}">
                <a16:creationId xmlns:a16="http://schemas.microsoft.com/office/drawing/2014/main" id="{277D77DE-7CFD-5C9C-1D1E-3FCB31C01B8C}"/>
              </a:ext>
            </a:extLst>
          </p:cNvPr>
          <p:cNvSpPr txBox="1">
            <a:spLocks/>
          </p:cNvSpPr>
          <p:nvPr/>
        </p:nvSpPr>
        <p:spPr>
          <a:xfrm>
            <a:off x="3267598" y="1152525"/>
            <a:ext cx="2746225" cy="539941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mplied constraints on solution space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069A557C-83AA-68B9-048E-43B91D3B35A5}"/>
              </a:ext>
            </a:extLst>
          </p:cNvPr>
          <p:cNvSpPr txBox="1">
            <a:spLocks/>
          </p:cNvSpPr>
          <p:nvPr/>
        </p:nvSpPr>
        <p:spPr>
          <a:xfrm>
            <a:off x="9074300" y="1152525"/>
            <a:ext cx="274622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valuation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6A1B6591-4229-F20D-99B8-C384C402C987}"/>
              </a:ext>
            </a:extLst>
          </p:cNvPr>
          <p:cNvSpPr txBox="1">
            <a:spLocks/>
          </p:cNvSpPr>
          <p:nvPr/>
        </p:nvSpPr>
        <p:spPr>
          <a:xfrm>
            <a:off x="371476" y="2898552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" name="Marcador de texto 12">
            <a:extLst>
              <a:ext uri="{FF2B5EF4-FFF2-40B4-BE49-F238E27FC236}">
                <a16:creationId xmlns:a16="http://schemas.microsoft.com/office/drawing/2014/main" id="{2860AA0C-7795-482C-343A-320646786050}"/>
              </a:ext>
            </a:extLst>
          </p:cNvPr>
          <p:cNvSpPr txBox="1">
            <a:spLocks/>
          </p:cNvSpPr>
          <p:nvPr/>
        </p:nvSpPr>
        <p:spPr>
          <a:xfrm>
            <a:off x="6178178" y="2898552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" name="Marcador de texto 12">
            <a:extLst>
              <a:ext uri="{FF2B5EF4-FFF2-40B4-BE49-F238E27FC236}">
                <a16:creationId xmlns:a16="http://schemas.microsoft.com/office/drawing/2014/main" id="{6CEB016D-A19D-8B79-6FB1-BCD4AB225246}"/>
              </a:ext>
            </a:extLst>
          </p:cNvPr>
          <p:cNvSpPr txBox="1">
            <a:spLocks/>
          </p:cNvSpPr>
          <p:nvPr/>
        </p:nvSpPr>
        <p:spPr>
          <a:xfrm>
            <a:off x="3267598" y="2898552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0581AC63-6FF2-4A37-AEA8-5717DB6CE704}"/>
              </a:ext>
            </a:extLst>
          </p:cNvPr>
          <p:cNvSpPr txBox="1">
            <a:spLocks/>
          </p:cNvSpPr>
          <p:nvPr/>
        </p:nvSpPr>
        <p:spPr>
          <a:xfrm>
            <a:off x="9074300" y="2898552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95C92F03-E7FD-2D66-84EC-1953B9099F0F}"/>
              </a:ext>
            </a:extLst>
          </p:cNvPr>
          <p:cNvSpPr txBox="1">
            <a:spLocks/>
          </p:cNvSpPr>
          <p:nvPr/>
        </p:nvSpPr>
        <p:spPr>
          <a:xfrm>
            <a:off x="371476" y="4104639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E12C2181-47D5-459E-D350-E72FEA88EA9E}"/>
              </a:ext>
            </a:extLst>
          </p:cNvPr>
          <p:cNvSpPr txBox="1">
            <a:spLocks/>
          </p:cNvSpPr>
          <p:nvPr/>
        </p:nvSpPr>
        <p:spPr>
          <a:xfrm>
            <a:off x="6178178" y="4104639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5DB5FB02-A67B-5DF1-5875-A02BEE5C8D49}"/>
              </a:ext>
            </a:extLst>
          </p:cNvPr>
          <p:cNvSpPr txBox="1">
            <a:spLocks/>
          </p:cNvSpPr>
          <p:nvPr/>
        </p:nvSpPr>
        <p:spPr>
          <a:xfrm>
            <a:off x="3267598" y="4104639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248FE771-2BA8-D855-9830-6C5A020563F7}"/>
              </a:ext>
            </a:extLst>
          </p:cNvPr>
          <p:cNvSpPr txBox="1">
            <a:spLocks/>
          </p:cNvSpPr>
          <p:nvPr/>
        </p:nvSpPr>
        <p:spPr>
          <a:xfrm>
            <a:off x="9074300" y="4104639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81045EE8-EA44-DEDD-F72B-8A5157C6F0FD}"/>
              </a:ext>
            </a:extLst>
          </p:cNvPr>
          <p:cNvSpPr txBox="1">
            <a:spLocks/>
          </p:cNvSpPr>
          <p:nvPr/>
        </p:nvSpPr>
        <p:spPr>
          <a:xfrm>
            <a:off x="371476" y="5310726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Marcador de texto 12">
            <a:extLst>
              <a:ext uri="{FF2B5EF4-FFF2-40B4-BE49-F238E27FC236}">
                <a16:creationId xmlns:a16="http://schemas.microsoft.com/office/drawing/2014/main" id="{86A491E8-6159-11E7-A34B-4517557E5185}"/>
              </a:ext>
            </a:extLst>
          </p:cNvPr>
          <p:cNvSpPr txBox="1">
            <a:spLocks/>
          </p:cNvSpPr>
          <p:nvPr/>
        </p:nvSpPr>
        <p:spPr>
          <a:xfrm>
            <a:off x="6178178" y="5310726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Marcador de texto 12">
            <a:extLst>
              <a:ext uri="{FF2B5EF4-FFF2-40B4-BE49-F238E27FC236}">
                <a16:creationId xmlns:a16="http://schemas.microsoft.com/office/drawing/2014/main" id="{9347713D-E4CE-B2C3-BAA8-8B94E68733AC}"/>
              </a:ext>
            </a:extLst>
          </p:cNvPr>
          <p:cNvSpPr txBox="1">
            <a:spLocks/>
          </p:cNvSpPr>
          <p:nvPr/>
        </p:nvSpPr>
        <p:spPr>
          <a:xfrm>
            <a:off x="3267598" y="5310726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Marcador de texto 12">
            <a:extLst>
              <a:ext uri="{FF2B5EF4-FFF2-40B4-BE49-F238E27FC236}">
                <a16:creationId xmlns:a16="http://schemas.microsoft.com/office/drawing/2014/main" id="{4DE93416-4D4D-3D09-0DBB-CA64FCD4BD06}"/>
              </a:ext>
            </a:extLst>
          </p:cNvPr>
          <p:cNvSpPr txBox="1">
            <a:spLocks/>
          </p:cNvSpPr>
          <p:nvPr/>
        </p:nvSpPr>
        <p:spPr>
          <a:xfrm>
            <a:off x="9074300" y="5310726"/>
            <a:ext cx="2746225" cy="1060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8335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F7BA5AF2-CB4B-7166-0844-FD6C5BFF7C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F7BA5AF2-CB4B-7166-0844-FD6C5BFF7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534B5DE9-13DF-A4BD-FB0F-EC0FFFB81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Problem Statement</a:t>
            </a:r>
          </a:p>
        </p:txBody>
      </p:sp>
      <p:sp>
        <p:nvSpPr>
          <p:cNvPr id="5" name="Marcador de texto 7">
            <a:hlinkClick r:id="rId5"/>
            <a:extLst>
              <a:ext uri="{FF2B5EF4-FFF2-40B4-BE49-F238E27FC236}">
                <a16:creationId xmlns:a16="http://schemas.microsoft.com/office/drawing/2014/main" id="{ED6AC907-3EA0-7DCF-08BC-BE4D9C9803E2}"/>
              </a:ext>
            </a:extLst>
          </p:cNvPr>
          <p:cNvSpPr txBox="1">
            <a:spLocks/>
          </p:cNvSpPr>
          <p:nvPr/>
        </p:nvSpPr>
        <p:spPr>
          <a:xfrm>
            <a:off x="384173" y="1152525"/>
            <a:ext cx="11436352" cy="8924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6000" tIns="36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asic question to be resolved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" name="Marcador de texto 7">
            <a:hlinkClick r:id="rId5"/>
            <a:extLst>
              <a:ext uri="{FF2B5EF4-FFF2-40B4-BE49-F238E27FC236}">
                <a16:creationId xmlns:a16="http://schemas.microsoft.com/office/drawing/2014/main" id="{0EE1F140-7BD1-1633-A17E-2A0C8E31121A}"/>
              </a:ext>
            </a:extLst>
          </p:cNvPr>
          <p:cNvSpPr txBox="1">
            <a:spLocks/>
          </p:cNvSpPr>
          <p:nvPr/>
        </p:nvSpPr>
        <p:spPr>
          <a:xfrm>
            <a:off x="384173" y="2171000"/>
            <a:ext cx="5640390" cy="1295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ext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Marcador de texto 7">
            <a:hlinkClick r:id="rId5"/>
            <a:extLst>
              <a:ext uri="{FF2B5EF4-FFF2-40B4-BE49-F238E27FC236}">
                <a16:creationId xmlns:a16="http://schemas.microsoft.com/office/drawing/2014/main" id="{ECC88288-ED84-0C53-FC0D-380E7DAB2F22}"/>
              </a:ext>
            </a:extLst>
          </p:cNvPr>
          <p:cNvSpPr txBox="1">
            <a:spLocks/>
          </p:cNvSpPr>
          <p:nvPr/>
        </p:nvSpPr>
        <p:spPr>
          <a:xfrm>
            <a:off x="6180135" y="2171000"/>
            <a:ext cx="5640390" cy="1295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traints within solution space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Marcador de texto 7">
            <a:hlinkClick r:id="rId5"/>
            <a:extLst>
              <a:ext uri="{FF2B5EF4-FFF2-40B4-BE49-F238E27FC236}">
                <a16:creationId xmlns:a16="http://schemas.microsoft.com/office/drawing/2014/main" id="{3E7FD92F-D49A-5A5A-7640-5B39E32B876F}"/>
              </a:ext>
            </a:extLst>
          </p:cNvPr>
          <p:cNvSpPr txBox="1">
            <a:spLocks/>
          </p:cNvSpPr>
          <p:nvPr/>
        </p:nvSpPr>
        <p:spPr>
          <a:xfrm>
            <a:off x="384173" y="3592261"/>
            <a:ext cx="5640390" cy="1295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riteria for succes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Marcador de texto 7">
            <a:hlinkClick r:id="rId5"/>
            <a:extLst>
              <a:ext uri="{FF2B5EF4-FFF2-40B4-BE49-F238E27FC236}">
                <a16:creationId xmlns:a16="http://schemas.microsoft.com/office/drawing/2014/main" id="{C52B137F-AE2C-56D8-74C7-E9CD8FCB40BE}"/>
              </a:ext>
            </a:extLst>
          </p:cNvPr>
          <p:cNvSpPr txBox="1">
            <a:spLocks/>
          </p:cNvSpPr>
          <p:nvPr/>
        </p:nvSpPr>
        <p:spPr>
          <a:xfrm>
            <a:off x="6180135" y="3592261"/>
            <a:ext cx="5640390" cy="1295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akeholder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Marcador de texto 7">
            <a:hlinkClick r:id="rId5"/>
            <a:extLst>
              <a:ext uri="{FF2B5EF4-FFF2-40B4-BE49-F238E27FC236}">
                <a16:creationId xmlns:a16="http://schemas.microsoft.com/office/drawing/2014/main" id="{F17CF18D-E846-B9A2-87E3-DEDB3E5DC7AE}"/>
              </a:ext>
            </a:extLst>
          </p:cNvPr>
          <p:cNvSpPr txBox="1">
            <a:spLocks/>
          </p:cNvSpPr>
          <p:nvPr/>
        </p:nvSpPr>
        <p:spPr>
          <a:xfrm>
            <a:off x="384173" y="5013520"/>
            <a:ext cx="5640390" cy="1295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cope of solution space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Marcador de texto 7">
            <a:hlinkClick r:id="rId5"/>
            <a:extLst>
              <a:ext uri="{FF2B5EF4-FFF2-40B4-BE49-F238E27FC236}">
                <a16:creationId xmlns:a16="http://schemas.microsoft.com/office/drawing/2014/main" id="{19FBF99C-F259-082F-6E2B-0ED6E135A84F}"/>
              </a:ext>
            </a:extLst>
          </p:cNvPr>
          <p:cNvSpPr txBox="1">
            <a:spLocks/>
          </p:cNvSpPr>
          <p:nvPr/>
        </p:nvSpPr>
        <p:spPr>
          <a:xfrm>
            <a:off x="6180135" y="5013520"/>
            <a:ext cx="5640390" cy="1295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Key sources of insight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0940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4447D9FD-9E27-0760-AA31-2AD148C9D2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4447D9FD-9E27-0760-AA31-2AD148C9D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A — Stakeholder Analysis</a:t>
            </a:r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387CCEF9-898F-AA2F-3940-B8D37EE5F589}"/>
              </a:ext>
            </a:extLst>
          </p:cNvPr>
          <p:cNvSpPr txBox="1">
            <a:spLocks/>
          </p:cNvSpPr>
          <p:nvPr/>
        </p:nvSpPr>
        <p:spPr>
          <a:xfrm>
            <a:off x="371476" y="1783905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[Stakeholder 1]</a:t>
            </a:r>
          </a:p>
        </p:txBody>
      </p:sp>
      <p:sp>
        <p:nvSpPr>
          <p:cNvPr id="21" name="Marcador de texto 12">
            <a:extLst>
              <a:ext uri="{FF2B5EF4-FFF2-40B4-BE49-F238E27FC236}">
                <a16:creationId xmlns:a16="http://schemas.microsoft.com/office/drawing/2014/main" id="{6245EBDF-D79F-E4AB-9E94-A98B3EB741A4}"/>
              </a:ext>
            </a:extLst>
          </p:cNvPr>
          <p:cNvSpPr txBox="1">
            <a:spLocks/>
          </p:cNvSpPr>
          <p:nvPr/>
        </p:nvSpPr>
        <p:spPr>
          <a:xfrm>
            <a:off x="371476" y="1152525"/>
            <a:ext cx="2746225" cy="539941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akeholder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FB8234F9-4187-2233-BD97-41BF294D68FB}"/>
              </a:ext>
            </a:extLst>
          </p:cNvPr>
          <p:cNvSpPr txBox="1">
            <a:spLocks/>
          </p:cNvSpPr>
          <p:nvPr/>
        </p:nvSpPr>
        <p:spPr>
          <a:xfrm>
            <a:off x="6178178" y="1152525"/>
            <a:ext cx="274622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ctions of stakeholder</a:t>
            </a:r>
          </a:p>
        </p:txBody>
      </p:sp>
      <p:sp>
        <p:nvSpPr>
          <p:cNvPr id="23" name="Marcador de texto 12">
            <a:extLst>
              <a:ext uri="{FF2B5EF4-FFF2-40B4-BE49-F238E27FC236}">
                <a16:creationId xmlns:a16="http://schemas.microsoft.com/office/drawing/2014/main" id="{277D77DE-7CFD-5C9C-1D1E-3FCB31C01B8C}"/>
              </a:ext>
            </a:extLst>
          </p:cNvPr>
          <p:cNvSpPr txBox="1">
            <a:spLocks/>
          </p:cNvSpPr>
          <p:nvPr/>
        </p:nvSpPr>
        <p:spPr>
          <a:xfrm>
            <a:off x="3267598" y="1152525"/>
            <a:ext cx="2746225" cy="539941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mpact on stakeholder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069A557C-83AA-68B9-048E-43B91D3B35A5}"/>
              </a:ext>
            </a:extLst>
          </p:cNvPr>
          <p:cNvSpPr txBox="1">
            <a:spLocks/>
          </p:cNvSpPr>
          <p:nvPr/>
        </p:nvSpPr>
        <p:spPr>
          <a:xfrm>
            <a:off x="9074300" y="1152525"/>
            <a:ext cx="2746225" cy="53994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36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ngaging stakeholder</a:t>
            </a:r>
          </a:p>
        </p:txBody>
      </p:sp>
      <p:sp>
        <p:nvSpPr>
          <p:cNvPr id="4" name="Marcador de texto 12">
            <a:extLst>
              <a:ext uri="{FF2B5EF4-FFF2-40B4-BE49-F238E27FC236}">
                <a16:creationId xmlns:a16="http://schemas.microsoft.com/office/drawing/2014/main" id="{ABB622EF-AFC2-18E1-384A-52F28122C031}"/>
              </a:ext>
            </a:extLst>
          </p:cNvPr>
          <p:cNvSpPr txBox="1">
            <a:spLocks/>
          </p:cNvSpPr>
          <p:nvPr/>
        </p:nvSpPr>
        <p:spPr>
          <a:xfrm>
            <a:off x="3267597" y="1783905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F1E32408-9E1D-CD82-448A-6196FE7F416F}"/>
              </a:ext>
            </a:extLst>
          </p:cNvPr>
          <p:cNvSpPr txBox="1">
            <a:spLocks/>
          </p:cNvSpPr>
          <p:nvPr/>
        </p:nvSpPr>
        <p:spPr>
          <a:xfrm>
            <a:off x="6178178" y="1783905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" name="Marcador de texto 12">
            <a:extLst>
              <a:ext uri="{FF2B5EF4-FFF2-40B4-BE49-F238E27FC236}">
                <a16:creationId xmlns:a16="http://schemas.microsoft.com/office/drawing/2014/main" id="{DB203FBE-C8D8-7892-BE3D-1F8BF1467031}"/>
              </a:ext>
            </a:extLst>
          </p:cNvPr>
          <p:cNvSpPr txBox="1">
            <a:spLocks/>
          </p:cNvSpPr>
          <p:nvPr/>
        </p:nvSpPr>
        <p:spPr>
          <a:xfrm>
            <a:off x="9058424" y="1783905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E1A184A8-E74E-4D49-456A-9AC3E7B06032}"/>
              </a:ext>
            </a:extLst>
          </p:cNvPr>
          <p:cNvSpPr txBox="1">
            <a:spLocks/>
          </p:cNvSpPr>
          <p:nvPr/>
        </p:nvSpPr>
        <p:spPr>
          <a:xfrm>
            <a:off x="371476" y="2832046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[Stakeholder 2]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36D3FA22-1A58-2EC2-7771-A8F9D89E0D06}"/>
              </a:ext>
            </a:extLst>
          </p:cNvPr>
          <p:cNvSpPr txBox="1">
            <a:spLocks/>
          </p:cNvSpPr>
          <p:nvPr/>
        </p:nvSpPr>
        <p:spPr>
          <a:xfrm>
            <a:off x="3267597" y="2832046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0B0348EE-F270-61BC-C217-8B71C577EEFC}"/>
              </a:ext>
            </a:extLst>
          </p:cNvPr>
          <p:cNvSpPr txBox="1">
            <a:spLocks/>
          </p:cNvSpPr>
          <p:nvPr/>
        </p:nvSpPr>
        <p:spPr>
          <a:xfrm>
            <a:off x="6178178" y="2832046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D8237937-CB37-E9D4-382E-E38A95124E7A}"/>
              </a:ext>
            </a:extLst>
          </p:cNvPr>
          <p:cNvSpPr txBox="1">
            <a:spLocks/>
          </p:cNvSpPr>
          <p:nvPr/>
        </p:nvSpPr>
        <p:spPr>
          <a:xfrm>
            <a:off x="9058424" y="2832046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2E7FE097-D25B-CE24-1885-869C617E1DC1}"/>
              </a:ext>
            </a:extLst>
          </p:cNvPr>
          <p:cNvSpPr txBox="1">
            <a:spLocks/>
          </p:cNvSpPr>
          <p:nvPr/>
        </p:nvSpPr>
        <p:spPr>
          <a:xfrm>
            <a:off x="371476" y="382407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[Stakeholder 3]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AE4E583D-435D-9092-92AF-5D2D7E8985D8}"/>
              </a:ext>
            </a:extLst>
          </p:cNvPr>
          <p:cNvSpPr txBox="1">
            <a:spLocks/>
          </p:cNvSpPr>
          <p:nvPr/>
        </p:nvSpPr>
        <p:spPr>
          <a:xfrm>
            <a:off x="3267597" y="382407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Marcador de texto 12">
            <a:extLst>
              <a:ext uri="{FF2B5EF4-FFF2-40B4-BE49-F238E27FC236}">
                <a16:creationId xmlns:a16="http://schemas.microsoft.com/office/drawing/2014/main" id="{0FEE1C33-41A1-9AB9-0CCE-A64C888A6F6E}"/>
              </a:ext>
            </a:extLst>
          </p:cNvPr>
          <p:cNvSpPr txBox="1">
            <a:spLocks/>
          </p:cNvSpPr>
          <p:nvPr/>
        </p:nvSpPr>
        <p:spPr>
          <a:xfrm>
            <a:off x="6178178" y="382407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Marcador de texto 12">
            <a:extLst>
              <a:ext uri="{FF2B5EF4-FFF2-40B4-BE49-F238E27FC236}">
                <a16:creationId xmlns:a16="http://schemas.microsoft.com/office/drawing/2014/main" id="{0FBF1E4E-3912-0566-712B-06E613A08610}"/>
              </a:ext>
            </a:extLst>
          </p:cNvPr>
          <p:cNvSpPr txBox="1">
            <a:spLocks/>
          </p:cNvSpPr>
          <p:nvPr/>
        </p:nvSpPr>
        <p:spPr>
          <a:xfrm>
            <a:off x="9058424" y="382407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Marcador de texto 12">
            <a:extLst>
              <a:ext uri="{FF2B5EF4-FFF2-40B4-BE49-F238E27FC236}">
                <a16:creationId xmlns:a16="http://schemas.microsoft.com/office/drawing/2014/main" id="{41367DDA-3F98-268F-B3FB-14B92EE7AA91}"/>
              </a:ext>
            </a:extLst>
          </p:cNvPr>
          <p:cNvSpPr txBox="1">
            <a:spLocks/>
          </p:cNvSpPr>
          <p:nvPr/>
        </p:nvSpPr>
        <p:spPr>
          <a:xfrm>
            <a:off x="371476" y="487886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[Stakeholder 4]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CE0C069E-E46F-C932-8B6C-12689BB83D5A}"/>
              </a:ext>
            </a:extLst>
          </p:cNvPr>
          <p:cNvSpPr txBox="1">
            <a:spLocks/>
          </p:cNvSpPr>
          <p:nvPr/>
        </p:nvSpPr>
        <p:spPr>
          <a:xfrm>
            <a:off x="3267597" y="487886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D44337BB-6800-E725-7907-DA12F268F51A}"/>
              </a:ext>
            </a:extLst>
          </p:cNvPr>
          <p:cNvSpPr txBox="1">
            <a:spLocks/>
          </p:cNvSpPr>
          <p:nvPr/>
        </p:nvSpPr>
        <p:spPr>
          <a:xfrm>
            <a:off x="6178178" y="487886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03990212-2E1E-68E8-737D-C2AB0A3E02AB}"/>
              </a:ext>
            </a:extLst>
          </p:cNvPr>
          <p:cNvSpPr txBox="1">
            <a:spLocks/>
          </p:cNvSpPr>
          <p:nvPr/>
        </p:nvSpPr>
        <p:spPr>
          <a:xfrm>
            <a:off x="9058424" y="4878869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447701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DA7DE8F-DCA6-DEF0-B403-6E28E75440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DA7DE8F-DCA6-DEF0-B403-6E28E7544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hlinkClick r:id="rId5"/>
            <a:extLst>
              <a:ext uri="{FF2B5EF4-FFF2-40B4-BE49-F238E27FC236}">
                <a16:creationId xmlns:a16="http://schemas.microsoft.com/office/drawing/2014/main" id="{D1AC369E-7BA6-3621-D3A7-7483533DC18D}"/>
              </a:ext>
            </a:extLst>
          </p:cNvPr>
          <p:cNvSpPr txBox="1">
            <a:spLocks/>
          </p:cNvSpPr>
          <p:nvPr/>
        </p:nvSpPr>
        <p:spPr>
          <a:xfrm>
            <a:off x="384173" y="1144487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akeholde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Marcador de texto 7">
            <a:hlinkClick r:id="rId5"/>
            <a:extLst>
              <a:ext uri="{FF2B5EF4-FFF2-40B4-BE49-F238E27FC236}">
                <a16:creationId xmlns:a16="http://schemas.microsoft.com/office/drawing/2014/main" id="{D17ED8EB-DD12-4768-7C12-92E5693B11B5}"/>
              </a:ext>
            </a:extLst>
          </p:cNvPr>
          <p:cNvSpPr txBox="1">
            <a:spLocks/>
          </p:cNvSpPr>
          <p:nvPr/>
        </p:nvSpPr>
        <p:spPr>
          <a:xfrm>
            <a:off x="6180135" y="1144487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3. Actions of stakeholder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Marcador de texto 7">
            <a:hlinkClick r:id="rId5"/>
            <a:extLst>
              <a:ext uri="{FF2B5EF4-FFF2-40B4-BE49-F238E27FC236}">
                <a16:creationId xmlns:a16="http://schemas.microsoft.com/office/drawing/2014/main" id="{66F3DFFF-3DD1-B965-5AE4-7F3DBBCADC37}"/>
              </a:ext>
            </a:extLst>
          </p:cNvPr>
          <p:cNvSpPr txBox="1">
            <a:spLocks/>
          </p:cNvSpPr>
          <p:nvPr/>
        </p:nvSpPr>
        <p:spPr>
          <a:xfrm>
            <a:off x="384173" y="3794760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268288" marR="0" lvl="0" indent="-268288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mpact on stakeholder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Marcador de texto 7">
            <a:hlinkClick r:id="rId5"/>
            <a:extLst>
              <a:ext uri="{FF2B5EF4-FFF2-40B4-BE49-F238E27FC236}">
                <a16:creationId xmlns:a16="http://schemas.microsoft.com/office/drawing/2014/main" id="{6A994B81-7259-C2AC-809B-179D0859149F}"/>
              </a:ext>
            </a:extLst>
          </p:cNvPr>
          <p:cNvSpPr txBox="1">
            <a:spLocks/>
          </p:cNvSpPr>
          <p:nvPr/>
        </p:nvSpPr>
        <p:spPr>
          <a:xfrm>
            <a:off x="6180135" y="3794760"/>
            <a:ext cx="5640390" cy="2433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36000" bIns="36000" rtlCol="0" anchor="t" anchorCtr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4. Engaging with stakeholder</a:t>
            </a:r>
          </a:p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B — Stakeholder Analysis</a:t>
            </a:r>
          </a:p>
        </p:txBody>
      </p:sp>
    </p:spTree>
    <p:extLst>
      <p:ext uri="{BB962C8B-B14F-4D97-AF65-F5344CB8AC3E}">
        <p14:creationId xmlns:p14="http://schemas.microsoft.com/office/powerpoint/2010/main" val="77521523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39A08F0-DAA7-D147-9505-F42982352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A39A08F0-DAA7-D147-9505-F42982352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A - Statistics table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1" name="Tabla 11">
            <a:extLst>
              <a:ext uri="{FF2B5EF4-FFF2-40B4-BE49-F238E27FC236}">
                <a16:creationId xmlns:a16="http://schemas.microsoft.com/office/drawing/2014/main" id="{AA9F2BFB-DD4C-5FE2-2F50-82CD99CFC5C7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1520825"/>
          <a:ext cx="5640391" cy="4787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5675">
                  <a:extLst>
                    <a:ext uri="{9D8B030D-6E8A-4147-A177-3AD203B41FA5}">
                      <a16:colId xmlns:a16="http://schemas.microsoft.com/office/drawing/2014/main" val="3549066393"/>
                    </a:ext>
                  </a:extLst>
                </a:gridCol>
                <a:gridCol w="1057358">
                  <a:extLst>
                    <a:ext uri="{9D8B030D-6E8A-4147-A177-3AD203B41FA5}">
                      <a16:colId xmlns:a16="http://schemas.microsoft.com/office/drawing/2014/main" val="3136429696"/>
                    </a:ext>
                  </a:extLst>
                </a:gridCol>
                <a:gridCol w="1057358">
                  <a:extLst>
                    <a:ext uri="{9D8B030D-6E8A-4147-A177-3AD203B41FA5}">
                      <a16:colId xmlns:a16="http://schemas.microsoft.com/office/drawing/2014/main" val="1633341792"/>
                    </a:ext>
                  </a:extLst>
                </a:gridCol>
              </a:tblGrid>
              <a:tr h="368300">
                <a:tc gridSpan="3"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413886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698244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r>
                        <a:rPr lang="es-AR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720815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26146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76997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392424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644252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716257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90741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10016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68803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095549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711988"/>
                  </a:ext>
                </a:extLst>
              </a:tr>
            </a:tbl>
          </a:graphicData>
        </a:graphic>
      </p:graphicFrame>
      <p:graphicFrame>
        <p:nvGraphicFramePr>
          <p:cNvPr id="13" name="Tabla 11">
            <a:extLst>
              <a:ext uri="{FF2B5EF4-FFF2-40B4-BE49-F238E27FC236}">
                <a16:creationId xmlns:a16="http://schemas.microsoft.com/office/drawing/2014/main" id="{A1FBC4DD-2E55-3D64-0B7B-0E301090EAC8}"/>
              </a:ext>
            </a:extLst>
          </p:cNvPr>
          <p:cNvGraphicFramePr>
            <a:graphicFrameLocks noGrp="1"/>
          </p:cNvGraphicFramePr>
          <p:nvPr/>
        </p:nvGraphicFramePr>
        <p:xfrm>
          <a:off x="6164258" y="1520825"/>
          <a:ext cx="5640391" cy="4787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5675">
                  <a:extLst>
                    <a:ext uri="{9D8B030D-6E8A-4147-A177-3AD203B41FA5}">
                      <a16:colId xmlns:a16="http://schemas.microsoft.com/office/drawing/2014/main" val="3549066393"/>
                    </a:ext>
                  </a:extLst>
                </a:gridCol>
                <a:gridCol w="1057358">
                  <a:extLst>
                    <a:ext uri="{9D8B030D-6E8A-4147-A177-3AD203B41FA5}">
                      <a16:colId xmlns:a16="http://schemas.microsoft.com/office/drawing/2014/main" val="3136429696"/>
                    </a:ext>
                  </a:extLst>
                </a:gridCol>
                <a:gridCol w="1057358">
                  <a:extLst>
                    <a:ext uri="{9D8B030D-6E8A-4147-A177-3AD203B41FA5}">
                      <a16:colId xmlns:a16="http://schemas.microsoft.com/office/drawing/2014/main" val="1633341792"/>
                    </a:ext>
                  </a:extLst>
                </a:gridCol>
              </a:tblGrid>
              <a:tr h="368300">
                <a:tc gridSpan="3"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413886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698244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r>
                        <a:rPr lang="es-AR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720815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26146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76997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392424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644252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716257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90741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10016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68803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095549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711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6026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39A08F0-DAA7-D147-9505-F42982352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A39A08F0-DAA7-D147-9505-F42982352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B - Statistics table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7" name="Tabla 11">
            <a:extLst>
              <a:ext uri="{FF2B5EF4-FFF2-40B4-BE49-F238E27FC236}">
                <a16:creationId xmlns:a16="http://schemas.microsoft.com/office/drawing/2014/main" id="{54D83424-4364-611F-77AB-A2DD7F245CE7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1520825"/>
          <a:ext cx="11436351" cy="441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0627">
                  <a:extLst>
                    <a:ext uri="{9D8B030D-6E8A-4147-A177-3AD203B41FA5}">
                      <a16:colId xmlns:a16="http://schemas.microsoft.com/office/drawing/2014/main" val="3549066393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36429696"/>
                    </a:ext>
                  </a:extLst>
                </a:gridCol>
                <a:gridCol w="6334124">
                  <a:extLst>
                    <a:ext uri="{9D8B030D-6E8A-4147-A177-3AD203B41FA5}">
                      <a16:colId xmlns:a16="http://schemas.microsoft.com/office/drawing/2014/main" val="1633341792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698244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r>
                        <a:rPr lang="es-AR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720815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26146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76997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392424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7644252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716257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690741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100161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68803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095549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9711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3369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72B2704B-175A-41C2-839C-23C67F6D6E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72B2704B-175A-41C2-839C-23C67F6D6E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ord cloud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6B2F7F89-4B79-2F20-3043-9C267153B10A}"/>
              </a:ext>
            </a:extLst>
          </p:cNvPr>
          <p:cNvSpPr/>
          <p:nvPr/>
        </p:nvSpPr>
        <p:spPr>
          <a:xfrm>
            <a:off x="4915831" y="2728258"/>
            <a:ext cx="2373034" cy="2373034"/>
          </a:xfrm>
          <a:prstGeom prst="ellips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46299B4D-7F0A-BD64-94B3-7857EE6E5D27}"/>
              </a:ext>
            </a:extLst>
          </p:cNvPr>
          <p:cNvSpPr/>
          <p:nvPr/>
        </p:nvSpPr>
        <p:spPr>
          <a:xfrm>
            <a:off x="7288867" y="2587487"/>
            <a:ext cx="453165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817F57A6-90D6-6900-31CE-A190D2CAB89D}"/>
              </a:ext>
            </a:extLst>
          </p:cNvPr>
          <p:cNvSpPr/>
          <p:nvPr/>
        </p:nvSpPr>
        <p:spPr>
          <a:xfrm>
            <a:off x="7288867" y="4975452"/>
            <a:ext cx="453165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CF9264C8-8093-B9E1-47CB-1200F74C0410}"/>
              </a:ext>
            </a:extLst>
          </p:cNvPr>
          <p:cNvSpPr/>
          <p:nvPr/>
        </p:nvSpPr>
        <p:spPr>
          <a:xfrm>
            <a:off x="384173" y="2587487"/>
            <a:ext cx="453165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0E7581C3-3101-ED27-F68D-19CE823AE04D}"/>
              </a:ext>
            </a:extLst>
          </p:cNvPr>
          <p:cNvSpPr/>
          <p:nvPr/>
        </p:nvSpPr>
        <p:spPr>
          <a:xfrm>
            <a:off x="384173" y="4975452"/>
            <a:ext cx="453165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32593E3A-8F7F-E5D5-F0E2-BC801C3CDC03}"/>
              </a:ext>
            </a:extLst>
          </p:cNvPr>
          <p:cNvSpPr/>
          <p:nvPr/>
        </p:nvSpPr>
        <p:spPr>
          <a:xfrm>
            <a:off x="4686300" y="3791665"/>
            <a:ext cx="2814638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E5299BBF-1F94-98AD-E007-95574A100362}"/>
              </a:ext>
            </a:extLst>
          </p:cNvPr>
          <p:cNvSpPr/>
          <p:nvPr/>
        </p:nvSpPr>
        <p:spPr>
          <a:xfrm rot="5400000">
            <a:off x="4695029" y="3820125"/>
            <a:ext cx="2814638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DED4A65F-2F2C-BB40-2FA0-69D948A4DF5D}"/>
              </a:ext>
            </a:extLst>
          </p:cNvPr>
          <p:cNvCxnSpPr>
            <a:cxnSpLocks/>
            <a:stCxn id="20" idx="0"/>
          </p:cNvCxnSpPr>
          <p:nvPr/>
        </p:nvCxnSpPr>
        <p:spPr>
          <a:xfrm flipV="1">
            <a:off x="6102348" y="1520825"/>
            <a:ext cx="1" cy="120743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F608C92A-1B34-6768-A1C3-DB37AFE9DE5E}"/>
              </a:ext>
            </a:extLst>
          </p:cNvPr>
          <p:cNvCxnSpPr>
            <a:cxnSpLocks/>
            <a:endCxn id="20" idx="2"/>
          </p:cNvCxnSpPr>
          <p:nvPr/>
        </p:nvCxnSpPr>
        <p:spPr>
          <a:xfrm>
            <a:off x="384173" y="3914775"/>
            <a:ext cx="4531658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1855BEC2-19E2-3F1A-B240-EE36D4809A24}"/>
              </a:ext>
            </a:extLst>
          </p:cNvPr>
          <p:cNvCxnSpPr>
            <a:cxnSpLocks/>
            <a:stCxn id="20" idx="6"/>
          </p:cNvCxnSpPr>
          <p:nvPr/>
        </p:nvCxnSpPr>
        <p:spPr>
          <a:xfrm>
            <a:off x="7288865" y="3914775"/>
            <a:ext cx="4531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0C28C61C-5925-6152-CD66-DA1110C22305}"/>
              </a:ext>
            </a:extLst>
          </p:cNvPr>
          <p:cNvCxnSpPr>
            <a:cxnSpLocks/>
            <a:endCxn id="20" idx="4"/>
          </p:cNvCxnSpPr>
          <p:nvPr/>
        </p:nvCxnSpPr>
        <p:spPr>
          <a:xfrm flipH="1" flipV="1">
            <a:off x="6102348" y="5101292"/>
            <a:ext cx="1" cy="120743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453717FD-713E-CF70-AA9B-A406F5043B65}"/>
              </a:ext>
            </a:extLst>
          </p:cNvPr>
          <p:cNvSpPr/>
          <p:nvPr/>
        </p:nvSpPr>
        <p:spPr>
          <a:xfrm>
            <a:off x="7288867" y="1520825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28" name="Rectángulo 22527">
            <a:extLst>
              <a:ext uri="{FF2B5EF4-FFF2-40B4-BE49-F238E27FC236}">
                <a16:creationId xmlns:a16="http://schemas.microsoft.com/office/drawing/2014/main" id="{D0C50E95-5BA4-5E85-B339-94D7734DDCF0}"/>
              </a:ext>
            </a:extLst>
          </p:cNvPr>
          <p:cNvSpPr/>
          <p:nvPr/>
        </p:nvSpPr>
        <p:spPr>
          <a:xfrm>
            <a:off x="384173" y="1520825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29" name="Rectángulo 22528">
            <a:extLst>
              <a:ext uri="{FF2B5EF4-FFF2-40B4-BE49-F238E27FC236}">
                <a16:creationId xmlns:a16="http://schemas.microsoft.com/office/drawing/2014/main" id="{237BA2C1-2990-0E12-5412-40C1A62BB09B}"/>
              </a:ext>
            </a:extLst>
          </p:cNvPr>
          <p:cNvSpPr/>
          <p:nvPr/>
        </p:nvSpPr>
        <p:spPr>
          <a:xfrm>
            <a:off x="7288867" y="6062390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31" name="Rectángulo 22530">
            <a:extLst>
              <a:ext uri="{FF2B5EF4-FFF2-40B4-BE49-F238E27FC236}">
                <a16:creationId xmlns:a16="http://schemas.microsoft.com/office/drawing/2014/main" id="{8FB979B5-CF86-1E8A-726B-019C7869A1C9}"/>
              </a:ext>
            </a:extLst>
          </p:cNvPr>
          <p:cNvSpPr/>
          <p:nvPr/>
        </p:nvSpPr>
        <p:spPr>
          <a:xfrm>
            <a:off x="384173" y="6062390"/>
            <a:ext cx="453165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04117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19972623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8156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Simple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8291907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398EEB03-91D2-2C19-C72F-D0EDB86FBBDF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93716B9C-D954-F375-01A1-87A1623EB0C1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1547238C-1F04-1BC6-D017-B25679D1F647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C41CD96-11A1-E724-2497-9E4A4F489C44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954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E82F19-C4E7-A466-8577-98D9F8B95CC8}"/>
              </a:ext>
            </a:extLst>
          </p:cNvPr>
          <p:cNvSpPr/>
          <p:nvPr/>
        </p:nvSpPr>
        <p:spPr>
          <a:xfrm>
            <a:off x="121919" y="6400800"/>
            <a:ext cx="1868245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07BA981F-D947-9371-C279-C8D436EC0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07BA981F-D947-9371-C279-C8D436EC0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4B00ECBB-9C52-A827-F6FD-342C5B2C8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y </a:t>
            </a:r>
            <a:r>
              <a:rPr lang="en-US" dirty="0" err="1"/>
              <a:t>Umbrex</a:t>
            </a:r>
            <a:r>
              <a:rPr lang="en-US" dirty="0"/>
              <a:t>?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75BB6130-12C7-A661-677D-B90DB30BAE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4174" y="948631"/>
            <a:ext cx="11449050" cy="1908215"/>
          </a:xfrm>
        </p:spPr>
        <p:txBody>
          <a:bodyPr>
            <a:spAutoFit/>
          </a:bodyPr>
          <a:lstStyle/>
          <a:p>
            <a:r>
              <a:rPr lang="en-US" sz="1400" b="0" dirty="0">
                <a:solidFill>
                  <a:srgbClr val="002060"/>
                </a:solidFill>
              </a:rPr>
              <a:t>Founded by McKinsey alums, Umbrex provides rapid access to independent management consultants with experience at top-tier consulting firms. </a:t>
            </a:r>
          </a:p>
          <a:p>
            <a:endParaRPr lang="en-US" sz="1400" b="0" dirty="0">
              <a:solidFill>
                <a:srgbClr val="002060"/>
              </a:solidFill>
            </a:endParaRPr>
          </a:p>
          <a:p>
            <a:r>
              <a:rPr lang="en-US" sz="1400" b="0" dirty="0">
                <a:solidFill>
                  <a:srgbClr val="002060"/>
                </a:solidFill>
              </a:rPr>
              <a:t>Over 90% of Umbrex consultants are alums of McKinsey, Bain, or BCG. </a:t>
            </a:r>
          </a:p>
          <a:p>
            <a:endParaRPr lang="en-US" sz="1400" b="0" dirty="0">
              <a:solidFill>
                <a:srgbClr val="002060"/>
              </a:solidFill>
            </a:endParaRPr>
          </a:p>
          <a:p>
            <a:r>
              <a:rPr lang="en-US" sz="1400" b="0" dirty="0">
                <a:solidFill>
                  <a:srgbClr val="002060"/>
                </a:solidFill>
              </a:rPr>
              <a:t>The majority also have experience in industry roles. Why should you consider working with </a:t>
            </a:r>
            <a:r>
              <a:rPr lang="en-US" sz="1400" b="0" dirty="0" err="1">
                <a:solidFill>
                  <a:srgbClr val="002060"/>
                </a:solidFill>
              </a:rPr>
              <a:t>Umbrex</a:t>
            </a:r>
            <a:r>
              <a:rPr lang="en-US" sz="1400" b="0" dirty="0">
                <a:solidFill>
                  <a:srgbClr val="002060"/>
                </a:solidFill>
              </a:rPr>
              <a:t>?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AB5562D2-8AB5-0184-4FD2-90DDD95BA93E}"/>
              </a:ext>
            </a:extLst>
          </p:cNvPr>
          <p:cNvSpPr txBox="1">
            <a:spLocks/>
          </p:cNvSpPr>
          <p:nvPr/>
        </p:nvSpPr>
        <p:spPr>
          <a:xfrm>
            <a:off x="371476" y="3636904"/>
            <a:ext cx="2191059" cy="20651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ecause you need top-tier consultants.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40983DD0-2173-B1FB-5D9D-1EC5421E79BD}"/>
              </a:ext>
            </a:extLst>
          </p:cNvPr>
          <p:cNvSpPr txBox="1">
            <a:spLocks/>
          </p:cNvSpPr>
          <p:nvPr/>
        </p:nvSpPr>
        <p:spPr>
          <a:xfrm>
            <a:off x="2685974" y="3636904"/>
            <a:ext cx="2191059" cy="20651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 need the caliber of consulting talent that you would find at the highest-ranked global firms - without all the overhead.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F8CDF4AB-BBAB-14C0-662F-A746BF55CC8B}"/>
              </a:ext>
            </a:extLst>
          </p:cNvPr>
          <p:cNvSpPr txBox="1">
            <a:spLocks/>
          </p:cNvSpPr>
          <p:nvPr/>
        </p:nvSpPr>
        <p:spPr>
          <a:xfrm>
            <a:off x="5000472" y="3636904"/>
            <a:ext cx="2191059" cy="20651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 want a flexible solution tailored to your needs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F9AF3F95-4D0C-10BD-08B9-6176354CF686}"/>
              </a:ext>
            </a:extLst>
          </p:cNvPr>
          <p:cNvSpPr txBox="1">
            <a:spLocks/>
          </p:cNvSpPr>
          <p:nvPr/>
        </p:nvSpPr>
        <p:spPr>
          <a:xfrm>
            <a:off x="7314970" y="3636904"/>
            <a:ext cx="2191059" cy="20651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 need someone to start ASAP.</a:t>
            </a:r>
          </a:p>
        </p:txBody>
      </p:sp>
      <p:sp>
        <p:nvSpPr>
          <p:cNvPr id="28" name="Marcador de texto 12">
            <a:extLst>
              <a:ext uri="{FF2B5EF4-FFF2-40B4-BE49-F238E27FC236}">
                <a16:creationId xmlns:a16="http://schemas.microsoft.com/office/drawing/2014/main" id="{B1DA2A94-C7C7-36F0-5E1C-C31D55A7EAA2}"/>
              </a:ext>
            </a:extLst>
          </p:cNvPr>
          <p:cNvSpPr txBox="1">
            <a:spLocks/>
          </p:cNvSpPr>
          <p:nvPr/>
        </p:nvSpPr>
        <p:spPr>
          <a:xfrm>
            <a:off x="9629466" y="3636904"/>
            <a:ext cx="2191059" cy="20651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 don’t want to spend time sorting through 40 resumes.</a:t>
            </a: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F8561B17-2CB9-15D8-0D25-CF12FEF9EBCB}"/>
              </a:ext>
            </a:extLst>
          </p:cNvPr>
          <p:cNvGrpSpPr/>
          <p:nvPr/>
        </p:nvGrpSpPr>
        <p:grpSpPr>
          <a:xfrm>
            <a:off x="1211990" y="3381890"/>
            <a:ext cx="510030" cy="510030"/>
            <a:chOff x="1407175" y="2262967"/>
            <a:chExt cx="510030" cy="510030"/>
          </a:xfrm>
        </p:grpSpPr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09EEF5B0-9C26-78E7-8E65-8268CB51015C}"/>
                </a:ext>
              </a:extLst>
            </p:cNvPr>
            <p:cNvSpPr/>
            <p:nvPr/>
          </p:nvSpPr>
          <p:spPr>
            <a:xfrm>
              <a:off x="1421045" y="2276837"/>
              <a:ext cx="482290" cy="482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30" name="Group 92">
              <a:extLst>
                <a:ext uri="{FF2B5EF4-FFF2-40B4-BE49-F238E27FC236}">
                  <a16:creationId xmlns:a16="http://schemas.microsoft.com/office/drawing/2014/main" id="{A211B58C-412D-FB08-36E3-3580B229585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07175" y="2262967"/>
              <a:ext cx="510030" cy="510030"/>
              <a:chOff x="6546" y="1719"/>
              <a:chExt cx="426" cy="426"/>
            </a:xfrm>
            <a:solidFill>
              <a:schemeClr val="accent3"/>
            </a:solidFill>
          </p:grpSpPr>
          <p:sp>
            <p:nvSpPr>
              <p:cNvPr id="31" name="Freeform 93">
                <a:extLst>
                  <a:ext uri="{FF2B5EF4-FFF2-40B4-BE49-F238E27FC236}">
                    <a16:creationId xmlns:a16="http://schemas.microsoft.com/office/drawing/2014/main" id="{2A8391CC-9A3A-5B32-3CA2-AF15DB468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2" y="1861"/>
                <a:ext cx="196" cy="142"/>
              </a:xfrm>
              <a:custGeom>
                <a:avLst/>
                <a:gdLst>
                  <a:gd name="T0" fmla="*/ 36 w 133"/>
                  <a:gd name="T1" fmla="*/ 96 h 96"/>
                  <a:gd name="T2" fmla="*/ 32 w 133"/>
                  <a:gd name="T3" fmla="*/ 94 h 96"/>
                  <a:gd name="T4" fmla="*/ 2 w 133"/>
                  <a:gd name="T5" fmla="*/ 64 h 96"/>
                  <a:gd name="T6" fmla="*/ 2 w 133"/>
                  <a:gd name="T7" fmla="*/ 56 h 96"/>
                  <a:gd name="T8" fmla="*/ 11 w 133"/>
                  <a:gd name="T9" fmla="*/ 56 h 96"/>
                  <a:gd name="T10" fmla="*/ 36 w 133"/>
                  <a:gd name="T11" fmla="*/ 82 h 96"/>
                  <a:gd name="T12" fmla="*/ 122 w 133"/>
                  <a:gd name="T13" fmla="*/ 2 h 96"/>
                  <a:gd name="T14" fmla="*/ 131 w 133"/>
                  <a:gd name="T15" fmla="*/ 2 h 96"/>
                  <a:gd name="T16" fmla="*/ 130 w 133"/>
                  <a:gd name="T17" fmla="*/ 11 h 96"/>
                  <a:gd name="T18" fmla="*/ 40 w 133"/>
                  <a:gd name="T19" fmla="*/ 95 h 96"/>
                  <a:gd name="T20" fmla="*/ 36 w 133"/>
                  <a:gd name="T2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96">
                    <a:moveTo>
                      <a:pt x="36" y="96"/>
                    </a:moveTo>
                    <a:cubicBezTo>
                      <a:pt x="35" y="96"/>
                      <a:pt x="33" y="96"/>
                      <a:pt x="32" y="9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62"/>
                      <a:pt x="0" y="58"/>
                      <a:pt x="2" y="56"/>
                    </a:cubicBezTo>
                    <a:cubicBezTo>
                      <a:pt x="4" y="54"/>
                      <a:pt x="8" y="54"/>
                      <a:pt x="11" y="56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125" y="0"/>
                      <a:pt x="128" y="0"/>
                      <a:pt x="131" y="2"/>
                    </a:cubicBezTo>
                    <a:cubicBezTo>
                      <a:pt x="133" y="5"/>
                      <a:pt x="133" y="8"/>
                      <a:pt x="130" y="11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6"/>
                      <a:pt x="38" y="96"/>
                      <a:pt x="36" y="96"/>
                    </a:cubicBezTo>
                    <a:close/>
                  </a:path>
                </a:pathLst>
              </a:custGeom>
              <a:solidFill>
                <a:srgbClr val="0F0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" name="Freeform 94">
                <a:extLst>
                  <a:ext uri="{FF2B5EF4-FFF2-40B4-BE49-F238E27FC236}">
                    <a16:creationId xmlns:a16="http://schemas.microsoft.com/office/drawing/2014/main" id="{60BF155D-13ED-8B04-6322-0DED8D9576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" y="1719"/>
                <a:ext cx="426" cy="426"/>
              </a:xfrm>
              <a:custGeom>
                <a:avLst/>
                <a:gdLst>
                  <a:gd name="T0" fmla="*/ 144 w 288"/>
                  <a:gd name="T1" fmla="*/ 288 h 288"/>
                  <a:gd name="T2" fmla="*/ 0 w 288"/>
                  <a:gd name="T3" fmla="*/ 144 h 288"/>
                  <a:gd name="T4" fmla="*/ 144 w 288"/>
                  <a:gd name="T5" fmla="*/ 0 h 288"/>
                  <a:gd name="T6" fmla="*/ 288 w 288"/>
                  <a:gd name="T7" fmla="*/ 144 h 288"/>
                  <a:gd name="T8" fmla="*/ 144 w 288"/>
                  <a:gd name="T9" fmla="*/ 288 h 288"/>
                  <a:gd name="T10" fmla="*/ 144 w 288"/>
                  <a:gd name="T11" fmla="*/ 12 h 288"/>
                  <a:gd name="T12" fmla="*/ 12 w 288"/>
                  <a:gd name="T13" fmla="*/ 144 h 288"/>
                  <a:gd name="T14" fmla="*/ 144 w 288"/>
                  <a:gd name="T15" fmla="*/ 276 h 288"/>
                  <a:gd name="T16" fmla="*/ 276 w 288"/>
                  <a:gd name="T17" fmla="*/ 144 h 288"/>
                  <a:gd name="T18" fmla="*/ 144 w 288"/>
                  <a:gd name="T19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8" h="288">
                    <a:moveTo>
                      <a:pt x="144" y="288"/>
                    </a:moveTo>
                    <a:cubicBezTo>
                      <a:pt x="65" y="288"/>
                      <a:pt x="0" y="224"/>
                      <a:pt x="0" y="144"/>
                    </a:cubicBezTo>
                    <a:cubicBezTo>
                      <a:pt x="0" y="65"/>
                      <a:pt x="65" y="0"/>
                      <a:pt x="144" y="0"/>
                    </a:cubicBezTo>
                    <a:cubicBezTo>
                      <a:pt x="224" y="0"/>
                      <a:pt x="288" y="65"/>
                      <a:pt x="288" y="144"/>
                    </a:cubicBezTo>
                    <a:cubicBezTo>
                      <a:pt x="288" y="224"/>
                      <a:pt x="224" y="288"/>
                      <a:pt x="144" y="288"/>
                    </a:cubicBezTo>
                    <a:close/>
                    <a:moveTo>
                      <a:pt x="144" y="12"/>
                    </a:moveTo>
                    <a:cubicBezTo>
                      <a:pt x="72" y="12"/>
                      <a:pt x="12" y="71"/>
                      <a:pt x="12" y="144"/>
                    </a:cubicBezTo>
                    <a:cubicBezTo>
                      <a:pt x="12" y="217"/>
                      <a:pt x="72" y="276"/>
                      <a:pt x="144" y="276"/>
                    </a:cubicBezTo>
                    <a:cubicBezTo>
                      <a:pt x="217" y="276"/>
                      <a:pt x="276" y="217"/>
                      <a:pt x="276" y="144"/>
                    </a:cubicBezTo>
                    <a:cubicBezTo>
                      <a:pt x="276" y="71"/>
                      <a:pt x="217" y="12"/>
                      <a:pt x="144" y="12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55" name="Picture 2">
            <a:extLst>
              <a:ext uri="{FF2B5EF4-FFF2-40B4-BE49-F238E27FC236}">
                <a16:creationId xmlns:a16="http://schemas.microsoft.com/office/drawing/2014/main" id="{B74FBAAB-21E3-4E4C-A372-C32E7EEA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upo 33">
            <a:extLst>
              <a:ext uri="{FF2B5EF4-FFF2-40B4-BE49-F238E27FC236}">
                <a16:creationId xmlns:a16="http://schemas.microsoft.com/office/drawing/2014/main" id="{E7314842-046A-0A33-F938-48DE15072F52}"/>
              </a:ext>
            </a:extLst>
          </p:cNvPr>
          <p:cNvGrpSpPr/>
          <p:nvPr/>
        </p:nvGrpSpPr>
        <p:grpSpPr>
          <a:xfrm>
            <a:off x="3571142" y="3381890"/>
            <a:ext cx="510030" cy="510030"/>
            <a:chOff x="1407175" y="2262967"/>
            <a:chExt cx="510030" cy="510030"/>
          </a:xfrm>
        </p:grpSpPr>
        <p:sp>
          <p:nvSpPr>
            <p:cNvPr id="5" name="Elipse 32">
              <a:extLst>
                <a:ext uri="{FF2B5EF4-FFF2-40B4-BE49-F238E27FC236}">
                  <a16:creationId xmlns:a16="http://schemas.microsoft.com/office/drawing/2014/main" id="{A1A212E3-45B0-3B75-441F-297EBA63C2F0}"/>
                </a:ext>
              </a:extLst>
            </p:cNvPr>
            <p:cNvSpPr/>
            <p:nvPr/>
          </p:nvSpPr>
          <p:spPr>
            <a:xfrm>
              <a:off x="1421045" y="2276837"/>
              <a:ext cx="482290" cy="482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6" name="Group 92">
              <a:extLst>
                <a:ext uri="{FF2B5EF4-FFF2-40B4-BE49-F238E27FC236}">
                  <a16:creationId xmlns:a16="http://schemas.microsoft.com/office/drawing/2014/main" id="{E224E358-4769-C0D9-35DA-BDAFE7360F2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07175" y="2262967"/>
              <a:ext cx="510030" cy="510030"/>
              <a:chOff x="6546" y="1719"/>
              <a:chExt cx="426" cy="426"/>
            </a:xfrm>
            <a:solidFill>
              <a:schemeClr val="accent3"/>
            </a:solidFill>
          </p:grpSpPr>
          <p:sp>
            <p:nvSpPr>
              <p:cNvPr id="7" name="Freeform 93">
                <a:extLst>
                  <a:ext uri="{FF2B5EF4-FFF2-40B4-BE49-F238E27FC236}">
                    <a16:creationId xmlns:a16="http://schemas.microsoft.com/office/drawing/2014/main" id="{E99F15F9-7DBD-3160-B7D3-761408731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2" y="1861"/>
                <a:ext cx="196" cy="142"/>
              </a:xfrm>
              <a:custGeom>
                <a:avLst/>
                <a:gdLst>
                  <a:gd name="T0" fmla="*/ 36 w 133"/>
                  <a:gd name="T1" fmla="*/ 96 h 96"/>
                  <a:gd name="T2" fmla="*/ 32 w 133"/>
                  <a:gd name="T3" fmla="*/ 94 h 96"/>
                  <a:gd name="T4" fmla="*/ 2 w 133"/>
                  <a:gd name="T5" fmla="*/ 64 h 96"/>
                  <a:gd name="T6" fmla="*/ 2 w 133"/>
                  <a:gd name="T7" fmla="*/ 56 h 96"/>
                  <a:gd name="T8" fmla="*/ 11 w 133"/>
                  <a:gd name="T9" fmla="*/ 56 h 96"/>
                  <a:gd name="T10" fmla="*/ 36 w 133"/>
                  <a:gd name="T11" fmla="*/ 82 h 96"/>
                  <a:gd name="T12" fmla="*/ 122 w 133"/>
                  <a:gd name="T13" fmla="*/ 2 h 96"/>
                  <a:gd name="T14" fmla="*/ 131 w 133"/>
                  <a:gd name="T15" fmla="*/ 2 h 96"/>
                  <a:gd name="T16" fmla="*/ 130 w 133"/>
                  <a:gd name="T17" fmla="*/ 11 h 96"/>
                  <a:gd name="T18" fmla="*/ 40 w 133"/>
                  <a:gd name="T19" fmla="*/ 95 h 96"/>
                  <a:gd name="T20" fmla="*/ 36 w 133"/>
                  <a:gd name="T2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96">
                    <a:moveTo>
                      <a:pt x="36" y="96"/>
                    </a:moveTo>
                    <a:cubicBezTo>
                      <a:pt x="35" y="96"/>
                      <a:pt x="33" y="96"/>
                      <a:pt x="32" y="9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62"/>
                      <a:pt x="0" y="58"/>
                      <a:pt x="2" y="56"/>
                    </a:cubicBezTo>
                    <a:cubicBezTo>
                      <a:pt x="4" y="54"/>
                      <a:pt x="8" y="54"/>
                      <a:pt x="11" y="56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125" y="0"/>
                      <a:pt x="128" y="0"/>
                      <a:pt x="131" y="2"/>
                    </a:cubicBezTo>
                    <a:cubicBezTo>
                      <a:pt x="133" y="5"/>
                      <a:pt x="133" y="8"/>
                      <a:pt x="130" y="11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6"/>
                      <a:pt x="38" y="96"/>
                      <a:pt x="36" y="96"/>
                    </a:cubicBezTo>
                    <a:close/>
                  </a:path>
                </a:pathLst>
              </a:custGeom>
              <a:solidFill>
                <a:srgbClr val="0F0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" name="Freeform 94">
                <a:extLst>
                  <a:ext uri="{FF2B5EF4-FFF2-40B4-BE49-F238E27FC236}">
                    <a16:creationId xmlns:a16="http://schemas.microsoft.com/office/drawing/2014/main" id="{7821DD0B-7728-F033-3C71-C0F6C3FCB9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" y="1719"/>
                <a:ext cx="426" cy="426"/>
              </a:xfrm>
              <a:custGeom>
                <a:avLst/>
                <a:gdLst>
                  <a:gd name="T0" fmla="*/ 144 w 288"/>
                  <a:gd name="T1" fmla="*/ 288 h 288"/>
                  <a:gd name="T2" fmla="*/ 0 w 288"/>
                  <a:gd name="T3" fmla="*/ 144 h 288"/>
                  <a:gd name="T4" fmla="*/ 144 w 288"/>
                  <a:gd name="T5" fmla="*/ 0 h 288"/>
                  <a:gd name="T6" fmla="*/ 288 w 288"/>
                  <a:gd name="T7" fmla="*/ 144 h 288"/>
                  <a:gd name="T8" fmla="*/ 144 w 288"/>
                  <a:gd name="T9" fmla="*/ 288 h 288"/>
                  <a:gd name="T10" fmla="*/ 144 w 288"/>
                  <a:gd name="T11" fmla="*/ 12 h 288"/>
                  <a:gd name="T12" fmla="*/ 12 w 288"/>
                  <a:gd name="T13" fmla="*/ 144 h 288"/>
                  <a:gd name="T14" fmla="*/ 144 w 288"/>
                  <a:gd name="T15" fmla="*/ 276 h 288"/>
                  <a:gd name="T16" fmla="*/ 276 w 288"/>
                  <a:gd name="T17" fmla="*/ 144 h 288"/>
                  <a:gd name="T18" fmla="*/ 144 w 288"/>
                  <a:gd name="T19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8" h="288">
                    <a:moveTo>
                      <a:pt x="144" y="288"/>
                    </a:moveTo>
                    <a:cubicBezTo>
                      <a:pt x="65" y="288"/>
                      <a:pt x="0" y="224"/>
                      <a:pt x="0" y="144"/>
                    </a:cubicBezTo>
                    <a:cubicBezTo>
                      <a:pt x="0" y="65"/>
                      <a:pt x="65" y="0"/>
                      <a:pt x="144" y="0"/>
                    </a:cubicBezTo>
                    <a:cubicBezTo>
                      <a:pt x="224" y="0"/>
                      <a:pt x="288" y="65"/>
                      <a:pt x="288" y="144"/>
                    </a:cubicBezTo>
                    <a:cubicBezTo>
                      <a:pt x="288" y="224"/>
                      <a:pt x="224" y="288"/>
                      <a:pt x="144" y="288"/>
                    </a:cubicBezTo>
                    <a:close/>
                    <a:moveTo>
                      <a:pt x="144" y="12"/>
                    </a:moveTo>
                    <a:cubicBezTo>
                      <a:pt x="72" y="12"/>
                      <a:pt x="12" y="71"/>
                      <a:pt x="12" y="144"/>
                    </a:cubicBezTo>
                    <a:cubicBezTo>
                      <a:pt x="12" y="217"/>
                      <a:pt x="72" y="276"/>
                      <a:pt x="144" y="276"/>
                    </a:cubicBezTo>
                    <a:cubicBezTo>
                      <a:pt x="217" y="276"/>
                      <a:pt x="276" y="217"/>
                      <a:pt x="276" y="144"/>
                    </a:cubicBezTo>
                    <a:cubicBezTo>
                      <a:pt x="276" y="71"/>
                      <a:pt x="217" y="12"/>
                      <a:pt x="144" y="12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" name="Grupo 33">
            <a:extLst>
              <a:ext uri="{FF2B5EF4-FFF2-40B4-BE49-F238E27FC236}">
                <a16:creationId xmlns:a16="http://schemas.microsoft.com/office/drawing/2014/main" id="{EE17C825-944A-F622-F31D-140BEAF7BFDC}"/>
              </a:ext>
            </a:extLst>
          </p:cNvPr>
          <p:cNvGrpSpPr/>
          <p:nvPr/>
        </p:nvGrpSpPr>
        <p:grpSpPr>
          <a:xfrm>
            <a:off x="5839396" y="3381890"/>
            <a:ext cx="510030" cy="510030"/>
            <a:chOff x="1407175" y="2262967"/>
            <a:chExt cx="510030" cy="510030"/>
          </a:xfrm>
        </p:grpSpPr>
        <p:sp>
          <p:nvSpPr>
            <p:cNvPr id="11" name="Elipse 32">
              <a:extLst>
                <a:ext uri="{FF2B5EF4-FFF2-40B4-BE49-F238E27FC236}">
                  <a16:creationId xmlns:a16="http://schemas.microsoft.com/office/drawing/2014/main" id="{FD8E0C76-868B-5C0D-3845-20A4BB561404}"/>
                </a:ext>
              </a:extLst>
            </p:cNvPr>
            <p:cNvSpPr/>
            <p:nvPr/>
          </p:nvSpPr>
          <p:spPr>
            <a:xfrm>
              <a:off x="1421045" y="2276837"/>
              <a:ext cx="482290" cy="482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">
              <a:extLst>
                <a:ext uri="{FF2B5EF4-FFF2-40B4-BE49-F238E27FC236}">
                  <a16:creationId xmlns:a16="http://schemas.microsoft.com/office/drawing/2014/main" id="{CB0B4104-4A3B-D1FE-E546-E1B6A1BAAFB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07175" y="2262967"/>
              <a:ext cx="510030" cy="510030"/>
              <a:chOff x="6546" y="1719"/>
              <a:chExt cx="426" cy="426"/>
            </a:xfrm>
            <a:solidFill>
              <a:schemeClr val="accent3"/>
            </a:solidFill>
          </p:grpSpPr>
          <p:sp>
            <p:nvSpPr>
              <p:cNvPr id="14" name="Freeform 93">
                <a:extLst>
                  <a:ext uri="{FF2B5EF4-FFF2-40B4-BE49-F238E27FC236}">
                    <a16:creationId xmlns:a16="http://schemas.microsoft.com/office/drawing/2014/main" id="{C6FF4225-A63C-D372-2016-077ED838A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2" y="1861"/>
                <a:ext cx="196" cy="142"/>
              </a:xfrm>
              <a:custGeom>
                <a:avLst/>
                <a:gdLst>
                  <a:gd name="T0" fmla="*/ 36 w 133"/>
                  <a:gd name="T1" fmla="*/ 96 h 96"/>
                  <a:gd name="T2" fmla="*/ 32 w 133"/>
                  <a:gd name="T3" fmla="*/ 94 h 96"/>
                  <a:gd name="T4" fmla="*/ 2 w 133"/>
                  <a:gd name="T5" fmla="*/ 64 h 96"/>
                  <a:gd name="T6" fmla="*/ 2 w 133"/>
                  <a:gd name="T7" fmla="*/ 56 h 96"/>
                  <a:gd name="T8" fmla="*/ 11 w 133"/>
                  <a:gd name="T9" fmla="*/ 56 h 96"/>
                  <a:gd name="T10" fmla="*/ 36 w 133"/>
                  <a:gd name="T11" fmla="*/ 82 h 96"/>
                  <a:gd name="T12" fmla="*/ 122 w 133"/>
                  <a:gd name="T13" fmla="*/ 2 h 96"/>
                  <a:gd name="T14" fmla="*/ 131 w 133"/>
                  <a:gd name="T15" fmla="*/ 2 h 96"/>
                  <a:gd name="T16" fmla="*/ 130 w 133"/>
                  <a:gd name="T17" fmla="*/ 11 h 96"/>
                  <a:gd name="T18" fmla="*/ 40 w 133"/>
                  <a:gd name="T19" fmla="*/ 95 h 96"/>
                  <a:gd name="T20" fmla="*/ 36 w 133"/>
                  <a:gd name="T2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96">
                    <a:moveTo>
                      <a:pt x="36" y="96"/>
                    </a:moveTo>
                    <a:cubicBezTo>
                      <a:pt x="35" y="96"/>
                      <a:pt x="33" y="96"/>
                      <a:pt x="32" y="9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62"/>
                      <a:pt x="0" y="58"/>
                      <a:pt x="2" y="56"/>
                    </a:cubicBezTo>
                    <a:cubicBezTo>
                      <a:pt x="4" y="54"/>
                      <a:pt x="8" y="54"/>
                      <a:pt x="11" y="56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125" y="0"/>
                      <a:pt x="128" y="0"/>
                      <a:pt x="131" y="2"/>
                    </a:cubicBezTo>
                    <a:cubicBezTo>
                      <a:pt x="133" y="5"/>
                      <a:pt x="133" y="8"/>
                      <a:pt x="130" y="11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6"/>
                      <a:pt x="38" y="96"/>
                      <a:pt x="36" y="96"/>
                    </a:cubicBezTo>
                    <a:close/>
                  </a:path>
                </a:pathLst>
              </a:custGeom>
              <a:solidFill>
                <a:srgbClr val="0F0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4">
                <a:extLst>
                  <a:ext uri="{FF2B5EF4-FFF2-40B4-BE49-F238E27FC236}">
                    <a16:creationId xmlns:a16="http://schemas.microsoft.com/office/drawing/2014/main" id="{C935BC38-D918-C7E9-D8FB-E48BC26975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" y="1719"/>
                <a:ext cx="426" cy="426"/>
              </a:xfrm>
              <a:custGeom>
                <a:avLst/>
                <a:gdLst>
                  <a:gd name="T0" fmla="*/ 144 w 288"/>
                  <a:gd name="T1" fmla="*/ 288 h 288"/>
                  <a:gd name="T2" fmla="*/ 0 w 288"/>
                  <a:gd name="T3" fmla="*/ 144 h 288"/>
                  <a:gd name="T4" fmla="*/ 144 w 288"/>
                  <a:gd name="T5" fmla="*/ 0 h 288"/>
                  <a:gd name="T6" fmla="*/ 288 w 288"/>
                  <a:gd name="T7" fmla="*/ 144 h 288"/>
                  <a:gd name="T8" fmla="*/ 144 w 288"/>
                  <a:gd name="T9" fmla="*/ 288 h 288"/>
                  <a:gd name="T10" fmla="*/ 144 w 288"/>
                  <a:gd name="T11" fmla="*/ 12 h 288"/>
                  <a:gd name="T12" fmla="*/ 12 w 288"/>
                  <a:gd name="T13" fmla="*/ 144 h 288"/>
                  <a:gd name="T14" fmla="*/ 144 w 288"/>
                  <a:gd name="T15" fmla="*/ 276 h 288"/>
                  <a:gd name="T16" fmla="*/ 276 w 288"/>
                  <a:gd name="T17" fmla="*/ 144 h 288"/>
                  <a:gd name="T18" fmla="*/ 144 w 288"/>
                  <a:gd name="T19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8" h="288">
                    <a:moveTo>
                      <a:pt x="144" y="288"/>
                    </a:moveTo>
                    <a:cubicBezTo>
                      <a:pt x="65" y="288"/>
                      <a:pt x="0" y="224"/>
                      <a:pt x="0" y="144"/>
                    </a:cubicBezTo>
                    <a:cubicBezTo>
                      <a:pt x="0" y="65"/>
                      <a:pt x="65" y="0"/>
                      <a:pt x="144" y="0"/>
                    </a:cubicBezTo>
                    <a:cubicBezTo>
                      <a:pt x="224" y="0"/>
                      <a:pt x="288" y="65"/>
                      <a:pt x="288" y="144"/>
                    </a:cubicBezTo>
                    <a:cubicBezTo>
                      <a:pt x="288" y="224"/>
                      <a:pt x="224" y="288"/>
                      <a:pt x="144" y="288"/>
                    </a:cubicBezTo>
                    <a:close/>
                    <a:moveTo>
                      <a:pt x="144" y="12"/>
                    </a:moveTo>
                    <a:cubicBezTo>
                      <a:pt x="72" y="12"/>
                      <a:pt x="12" y="71"/>
                      <a:pt x="12" y="144"/>
                    </a:cubicBezTo>
                    <a:cubicBezTo>
                      <a:pt x="12" y="217"/>
                      <a:pt x="72" y="276"/>
                      <a:pt x="144" y="276"/>
                    </a:cubicBezTo>
                    <a:cubicBezTo>
                      <a:pt x="217" y="276"/>
                      <a:pt x="276" y="217"/>
                      <a:pt x="276" y="144"/>
                    </a:cubicBezTo>
                    <a:cubicBezTo>
                      <a:pt x="276" y="71"/>
                      <a:pt x="217" y="12"/>
                      <a:pt x="144" y="12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" name="Grupo 33">
            <a:extLst>
              <a:ext uri="{FF2B5EF4-FFF2-40B4-BE49-F238E27FC236}">
                <a16:creationId xmlns:a16="http://schemas.microsoft.com/office/drawing/2014/main" id="{32E65EE3-9D03-8405-7139-009D6E13530D}"/>
              </a:ext>
            </a:extLst>
          </p:cNvPr>
          <p:cNvGrpSpPr/>
          <p:nvPr/>
        </p:nvGrpSpPr>
        <p:grpSpPr>
          <a:xfrm>
            <a:off x="8153502" y="3381890"/>
            <a:ext cx="510030" cy="510030"/>
            <a:chOff x="1407175" y="2262967"/>
            <a:chExt cx="510030" cy="510030"/>
          </a:xfrm>
        </p:grpSpPr>
        <p:sp>
          <p:nvSpPr>
            <p:cNvPr id="17" name="Elipse 32">
              <a:extLst>
                <a:ext uri="{FF2B5EF4-FFF2-40B4-BE49-F238E27FC236}">
                  <a16:creationId xmlns:a16="http://schemas.microsoft.com/office/drawing/2014/main" id="{C166F15E-414C-E7A0-4F5F-CE8893566479}"/>
                </a:ext>
              </a:extLst>
            </p:cNvPr>
            <p:cNvSpPr/>
            <p:nvPr/>
          </p:nvSpPr>
          <p:spPr>
            <a:xfrm>
              <a:off x="1421045" y="2276837"/>
              <a:ext cx="482290" cy="482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8" name="Group 92">
              <a:extLst>
                <a:ext uri="{FF2B5EF4-FFF2-40B4-BE49-F238E27FC236}">
                  <a16:creationId xmlns:a16="http://schemas.microsoft.com/office/drawing/2014/main" id="{331FD513-3208-0397-36F8-450D9E9D8AF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07175" y="2262967"/>
              <a:ext cx="510030" cy="510030"/>
              <a:chOff x="6546" y="1719"/>
              <a:chExt cx="426" cy="426"/>
            </a:xfrm>
            <a:solidFill>
              <a:schemeClr val="accent3"/>
            </a:solidFill>
          </p:grpSpPr>
          <p:sp>
            <p:nvSpPr>
              <p:cNvPr id="19" name="Freeform 93">
                <a:extLst>
                  <a:ext uri="{FF2B5EF4-FFF2-40B4-BE49-F238E27FC236}">
                    <a16:creationId xmlns:a16="http://schemas.microsoft.com/office/drawing/2014/main" id="{78DE04BD-F037-4F8D-798E-EA30B2769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2" y="1861"/>
                <a:ext cx="196" cy="142"/>
              </a:xfrm>
              <a:custGeom>
                <a:avLst/>
                <a:gdLst>
                  <a:gd name="T0" fmla="*/ 36 w 133"/>
                  <a:gd name="T1" fmla="*/ 96 h 96"/>
                  <a:gd name="T2" fmla="*/ 32 w 133"/>
                  <a:gd name="T3" fmla="*/ 94 h 96"/>
                  <a:gd name="T4" fmla="*/ 2 w 133"/>
                  <a:gd name="T5" fmla="*/ 64 h 96"/>
                  <a:gd name="T6" fmla="*/ 2 w 133"/>
                  <a:gd name="T7" fmla="*/ 56 h 96"/>
                  <a:gd name="T8" fmla="*/ 11 w 133"/>
                  <a:gd name="T9" fmla="*/ 56 h 96"/>
                  <a:gd name="T10" fmla="*/ 36 w 133"/>
                  <a:gd name="T11" fmla="*/ 82 h 96"/>
                  <a:gd name="T12" fmla="*/ 122 w 133"/>
                  <a:gd name="T13" fmla="*/ 2 h 96"/>
                  <a:gd name="T14" fmla="*/ 131 w 133"/>
                  <a:gd name="T15" fmla="*/ 2 h 96"/>
                  <a:gd name="T16" fmla="*/ 130 w 133"/>
                  <a:gd name="T17" fmla="*/ 11 h 96"/>
                  <a:gd name="T18" fmla="*/ 40 w 133"/>
                  <a:gd name="T19" fmla="*/ 95 h 96"/>
                  <a:gd name="T20" fmla="*/ 36 w 133"/>
                  <a:gd name="T2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96">
                    <a:moveTo>
                      <a:pt x="36" y="96"/>
                    </a:moveTo>
                    <a:cubicBezTo>
                      <a:pt x="35" y="96"/>
                      <a:pt x="33" y="96"/>
                      <a:pt x="32" y="9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62"/>
                      <a:pt x="0" y="58"/>
                      <a:pt x="2" y="56"/>
                    </a:cubicBezTo>
                    <a:cubicBezTo>
                      <a:pt x="4" y="54"/>
                      <a:pt x="8" y="54"/>
                      <a:pt x="11" y="56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125" y="0"/>
                      <a:pt x="128" y="0"/>
                      <a:pt x="131" y="2"/>
                    </a:cubicBezTo>
                    <a:cubicBezTo>
                      <a:pt x="133" y="5"/>
                      <a:pt x="133" y="8"/>
                      <a:pt x="130" y="11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6"/>
                      <a:pt x="38" y="96"/>
                      <a:pt x="36" y="96"/>
                    </a:cubicBezTo>
                    <a:close/>
                  </a:path>
                </a:pathLst>
              </a:custGeom>
              <a:solidFill>
                <a:srgbClr val="0F0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0" name="Freeform 94">
                <a:extLst>
                  <a:ext uri="{FF2B5EF4-FFF2-40B4-BE49-F238E27FC236}">
                    <a16:creationId xmlns:a16="http://schemas.microsoft.com/office/drawing/2014/main" id="{79561437-0598-59AA-FD85-B80DEF2D0C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" y="1719"/>
                <a:ext cx="426" cy="426"/>
              </a:xfrm>
              <a:custGeom>
                <a:avLst/>
                <a:gdLst>
                  <a:gd name="T0" fmla="*/ 144 w 288"/>
                  <a:gd name="T1" fmla="*/ 288 h 288"/>
                  <a:gd name="T2" fmla="*/ 0 w 288"/>
                  <a:gd name="T3" fmla="*/ 144 h 288"/>
                  <a:gd name="T4" fmla="*/ 144 w 288"/>
                  <a:gd name="T5" fmla="*/ 0 h 288"/>
                  <a:gd name="T6" fmla="*/ 288 w 288"/>
                  <a:gd name="T7" fmla="*/ 144 h 288"/>
                  <a:gd name="T8" fmla="*/ 144 w 288"/>
                  <a:gd name="T9" fmla="*/ 288 h 288"/>
                  <a:gd name="T10" fmla="*/ 144 w 288"/>
                  <a:gd name="T11" fmla="*/ 12 h 288"/>
                  <a:gd name="T12" fmla="*/ 12 w 288"/>
                  <a:gd name="T13" fmla="*/ 144 h 288"/>
                  <a:gd name="T14" fmla="*/ 144 w 288"/>
                  <a:gd name="T15" fmla="*/ 276 h 288"/>
                  <a:gd name="T16" fmla="*/ 276 w 288"/>
                  <a:gd name="T17" fmla="*/ 144 h 288"/>
                  <a:gd name="T18" fmla="*/ 144 w 288"/>
                  <a:gd name="T19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8" h="288">
                    <a:moveTo>
                      <a:pt x="144" y="288"/>
                    </a:moveTo>
                    <a:cubicBezTo>
                      <a:pt x="65" y="288"/>
                      <a:pt x="0" y="224"/>
                      <a:pt x="0" y="144"/>
                    </a:cubicBezTo>
                    <a:cubicBezTo>
                      <a:pt x="0" y="65"/>
                      <a:pt x="65" y="0"/>
                      <a:pt x="144" y="0"/>
                    </a:cubicBezTo>
                    <a:cubicBezTo>
                      <a:pt x="224" y="0"/>
                      <a:pt x="288" y="65"/>
                      <a:pt x="288" y="144"/>
                    </a:cubicBezTo>
                    <a:cubicBezTo>
                      <a:pt x="288" y="224"/>
                      <a:pt x="224" y="288"/>
                      <a:pt x="144" y="288"/>
                    </a:cubicBezTo>
                    <a:close/>
                    <a:moveTo>
                      <a:pt x="144" y="12"/>
                    </a:moveTo>
                    <a:cubicBezTo>
                      <a:pt x="72" y="12"/>
                      <a:pt x="12" y="71"/>
                      <a:pt x="12" y="144"/>
                    </a:cubicBezTo>
                    <a:cubicBezTo>
                      <a:pt x="12" y="217"/>
                      <a:pt x="72" y="276"/>
                      <a:pt x="144" y="276"/>
                    </a:cubicBezTo>
                    <a:cubicBezTo>
                      <a:pt x="217" y="276"/>
                      <a:pt x="276" y="217"/>
                      <a:pt x="276" y="144"/>
                    </a:cubicBezTo>
                    <a:cubicBezTo>
                      <a:pt x="276" y="71"/>
                      <a:pt x="217" y="12"/>
                      <a:pt x="144" y="12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" name="Grupo 33">
            <a:extLst>
              <a:ext uri="{FF2B5EF4-FFF2-40B4-BE49-F238E27FC236}">
                <a16:creationId xmlns:a16="http://schemas.microsoft.com/office/drawing/2014/main" id="{DD2B44CC-8290-9A96-34D6-C1BC078D61FF}"/>
              </a:ext>
            </a:extLst>
          </p:cNvPr>
          <p:cNvGrpSpPr/>
          <p:nvPr/>
        </p:nvGrpSpPr>
        <p:grpSpPr>
          <a:xfrm>
            <a:off x="10469980" y="3381890"/>
            <a:ext cx="510030" cy="510030"/>
            <a:chOff x="1407175" y="2262967"/>
            <a:chExt cx="510030" cy="510030"/>
          </a:xfrm>
        </p:grpSpPr>
        <p:sp>
          <p:nvSpPr>
            <p:cNvPr id="22" name="Elipse 32">
              <a:extLst>
                <a:ext uri="{FF2B5EF4-FFF2-40B4-BE49-F238E27FC236}">
                  <a16:creationId xmlns:a16="http://schemas.microsoft.com/office/drawing/2014/main" id="{177F56C6-BF47-8910-7472-CA126F80CA9C}"/>
                </a:ext>
              </a:extLst>
            </p:cNvPr>
            <p:cNvSpPr/>
            <p:nvPr/>
          </p:nvSpPr>
          <p:spPr>
            <a:xfrm>
              <a:off x="1421045" y="2276837"/>
              <a:ext cx="482290" cy="482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3" name="Group 92">
              <a:extLst>
                <a:ext uri="{FF2B5EF4-FFF2-40B4-BE49-F238E27FC236}">
                  <a16:creationId xmlns:a16="http://schemas.microsoft.com/office/drawing/2014/main" id="{D47E5FA3-93FF-6B92-290E-1CB750A086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07175" y="2262967"/>
              <a:ext cx="510030" cy="510030"/>
              <a:chOff x="6546" y="1719"/>
              <a:chExt cx="426" cy="426"/>
            </a:xfrm>
            <a:solidFill>
              <a:schemeClr val="accent3"/>
            </a:solidFill>
          </p:grpSpPr>
          <p:sp>
            <p:nvSpPr>
              <p:cNvPr id="29" name="Freeform 93">
                <a:extLst>
                  <a:ext uri="{FF2B5EF4-FFF2-40B4-BE49-F238E27FC236}">
                    <a16:creationId xmlns:a16="http://schemas.microsoft.com/office/drawing/2014/main" id="{329A7665-AA40-E340-7946-2F217EA7F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2" y="1861"/>
                <a:ext cx="196" cy="142"/>
              </a:xfrm>
              <a:custGeom>
                <a:avLst/>
                <a:gdLst>
                  <a:gd name="T0" fmla="*/ 36 w 133"/>
                  <a:gd name="T1" fmla="*/ 96 h 96"/>
                  <a:gd name="T2" fmla="*/ 32 w 133"/>
                  <a:gd name="T3" fmla="*/ 94 h 96"/>
                  <a:gd name="T4" fmla="*/ 2 w 133"/>
                  <a:gd name="T5" fmla="*/ 64 h 96"/>
                  <a:gd name="T6" fmla="*/ 2 w 133"/>
                  <a:gd name="T7" fmla="*/ 56 h 96"/>
                  <a:gd name="T8" fmla="*/ 11 w 133"/>
                  <a:gd name="T9" fmla="*/ 56 h 96"/>
                  <a:gd name="T10" fmla="*/ 36 w 133"/>
                  <a:gd name="T11" fmla="*/ 82 h 96"/>
                  <a:gd name="T12" fmla="*/ 122 w 133"/>
                  <a:gd name="T13" fmla="*/ 2 h 96"/>
                  <a:gd name="T14" fmla="*/ 131 w 133"/>
                  <a:gd name="T15" fmla="*/ 2 h 96"/>
                  <a:gd name="T16" fmla="*/ 130 w 133"/>
                  <a:gd name="T17" fmla="*/ 11 h 96"/>
                  <a:gd name="T18" fmla="*/ 40 w 133"/>
                  <a:gd name="T19" fmla="*/ 95 h 96"/>
                  <a:gd name="T20" fmla="*/ 36 w 133"/>
                  <a:gd name="T2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96">
                    <a:moveTo>
                      <a:pt x="36" y="96"/>
                    </a:moveTo>
                    <a:cubicBezTo>
                      <a:pt x="35" y="96"/>
                      <a:pt x="33" y="96"/>
                      <a:pt x="32" y="9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62"/>
                      <a:pt x="0" y="58"/>
                      <a:pt x="2" y="56"/>
                    </a:cubicBezTo>
                    <a:cubicBezTo>
                      <a:pt x="4" y="54"/>
                      <a:pt x="8" y="54"/>
                      <a:pt x="11" y="56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125" y="0"/>
                      <a:pt x="128" y="0"/>
                      <a:pt x="131" y="2"/>
                    </a:cubicBezTo>
                    <a:cubicBezTo>
                      <a:pt x="133" y="5"/>
                      <a:pt x="133" y="8"/>
                      <a:pt x="130" y="11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6"/>
                      <a:pt x="38" y="96"/>
                      <a:pt x="36" y="96"/>
                    </a:cubicBezTo>
                    <a:close/>
                  </a:path>
                </a:pathLst>
              </a:custGeom>
              <a:solidFill>
                <a:srgbClr val="0F0F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6" name="Freeform 94">
                <a:extLst>
                  <a:ext uri="{FF2B5EF4-FFF2-40B4-BE49-F238E27FC236}">
                    <a16:creationId xmlns:a16="http://schemas.microsoft.com/office/drawing/2014/main" id="{92C50575-E9CD-4E48-09F6-AA2865AA9D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" y="1719"/>
                <a:ext cx="426" cy="426"/>
              </a:xfrm>
              <a:custGeom>
                <a:avLst/>
                <a:gdLst>
                  <a:gd name="T0" fmla="*/ 144 w 288"/>
                  <a:gd name="T1" fmla="*/ 288 h 288"/>
                  <a:gd name="T2" fmla="*/ 0 w 288"/>
                  <a:gd name="T3" fmla="*/ 144 h 288"/>
                  <a:gd name="T4" fmla="*/ 144 w 288"/>
                  <a:gd name="T5" fmla="*/ 0 h 288"/>
                  <a:gd name="T6" fmla="*/ 288 w 288"/>
                  <a:gd name="T7" fmla="*/ 144 h 288"/>
                  <a:gd name="T8" fmla="*/ 144 w 288"/>
                  <a:gd name="T9" fmla="*/ 288 h 288"/>
                  <a:gd name="T10" fmla="*/ 144 w 288"/>
                  <a:gd name="T11" fmla="*/ 12 h 288"/>
                  <a:gd name="T12" fmla="*/ 12 w 288"/>
                  <a:gd name="T13" fmla="*/ 144 h 288"/>
                  <a:gd name="T14" fmla="*/ 144 w 288"/>
                  <a:gd name="T15" fmla="*/ 276 h 288"/>
                  <a:gd name="T16" fmla="*/ 276 w 288"/>
                  <a:gd name="T17" fmla="*/ 144 h 288"/>
                  <a:gd name="T18" fmla="*/ 144 w 288"/>
                  <a:gd name="T19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8" h="288">
                    <a:moveTo>
                      <a:pt x="144" y="288"/>
                    </a:moveTo>
                    <a:cubicBezTo>
                      <a:pt x="65" y="288"/>
                      <a:pt x="0" y="224"/>
                      <a:pt x="0" y="144"/>
                    </a:cubicBezTo>
                    <a:cubicBezTo>
                      <a:pt x="0" y="65"/>
                      <a:pt x="65" y="0"/>
                      <a:pt x="144" y="0"/>
                    </a:cubicBezTo>
                    <a:cubicBezTo>
                      <a:pt x="224" y="0"/>
                      <a:pt x="288" y="65"/>
                      <a:pt x="288" y="144"/>
                    </a:cubicBezTo>
                    <a:cubicBezTo>
                      <a:pt x="288" y="224"/>
                      <a:pt x="224" y="288"/>
                      <a:pt x="144" y="288"/>
                    </a:cubicBezTo>
                    <a:close/>
                    <a:moveTo>
                      <a:pt x="144" y="12"/>
                    </a:moveTo>
                    <a:cubicBezTo>
                      <a:pt x="72" y="12"/>
                      <a:pt x="12" y="71"/>
                      <a:pt x="12" y="144"/>
                    </a:cubicBezTo>
                    <a:cubicBezTo>
                      <a:pt x="12" y="217"/>
                      <a:pt x="72" y="276"/>
                      <a:pt x="144" y="276"/>
                    </a:cubicBezTo>
                    <a:cubicBezTo>
                      <a:pt x="217" y="276"/>
                      <a:pt x="276" y="217"/>
                      <a:pt x="276" y="144"/>
                    </a:cubicBezTo>
                    <a:cubicBezTo>
                      <a:pt x="276" y="71"/>
                      <a:pt x="217" y="12"/>
                      <a:pt x="144" y="12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29CD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36" name="Rectangle: Rounded Corners 11">
            <a:extLst>
              <a:ext uri="{FF2B5EF4-FFF2-40B4-BE49-F238E27FC236}">
                <a16:creationId xmlns:a16="http://schemas.microsoft.com/office/drawing/2014/main" id="{9DBFDEAA-1310-970F-4D17-1C2142141EBE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709358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7101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Stack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4279275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19273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0737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100% Stack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6764127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5">
            <a:extLst>
              <a:ext uri="{FF2B5EF4-FFF2-40B4-BE49-F238E27FC236}">
                <a16:creationId xmlns:a16="http://schemas.microsoft.com/office/drawing/2014/main" id="{DCA3F173-59D2-CBB9-04F1-5812CEF26BC5}"/>
              </a:ext>
            </a:extLst>
          </p:cNvPr>
          <p:cNvSpPr txBox="1"/>
          <p:nvPr/>
        </p:nvSpPr>
        <p:spPr>
          <a:xfrm>
            <a:off x="1934392" y="2278236"/>
            <a:ext cx="267949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A882A775-0664-86A9-E771-EE1C37ABF2DC}"/>
              </a:ext>
            </a:extLst>
          </p:cNvPr>
          <p:cNvSpPr txBox="1"/>
          <p:nvPr/>
        </p:nvSpPr>
        <p:spPr>
          <a:xfrm>
            <a:off x="4997690" y="2278236"/>
            <a:ext cx="267949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3244122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1623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Cluster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199CACA0-0601-C4B6-396E-A27ADDF5A784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321CF386-F1CD-BA2F-59C0-B91BA3FACE9E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D4E7309-D367-5B43-7C9B-85270C168DA0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34DBF97-FDCC-C951-9F08-70013769C358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5931198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94235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408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Waterfall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7844399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66328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A7A914B-A28E-030C-AC8A-FDCC5D60D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BA7A914B-A28E-030C-AC8A-FDCC5D60D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a 6">
            <a:extLst>
              <a:ext uri="{FF2B5EF4-FFF2-40B4-BE49-F238E27FC236}">
                <a16:creationId xmlns:a16="http://schemas.microsoft.com/office/drawing/2014/main" id="{3EC3310D-8F45-18C7-33FA-3763A4191614}"/>
              </a:ext>
            </a:extLst>
          </p:cNvPr>
          <p:cNvGraphicFramePr>
            <a:graphicFrameLocks noGrp="1"/>
          </p:cNvGraphicFramePr>
          <p:nvPr/>
        </p:nvGraphicFramePr>
        <p:xfrm>
          <a:off x="384175" y="1520825"/>
          <a:ext cx="11436353" cy="4787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125">
                  <a:extLst>
                    <a:ext uri="{9D8B030D-6E8A-4147-A177-3AD203B41FA5}">
                      <a16:colId xmlns:a16="http://schemas.microsoft.com/office/drawing/2014/main" val="3825560518"/>
                    </a:ext>
                  </a:extLst>
                </a:gridCol>
                <a:gridCol w="2654300">
                  <a:extLst>
                    <a:ext uri="{9D8B030D-6E8A-4147-A177-3AD203B41FA5}">
                      <a16:colId xmlns:a16="http://schemas.microsoft.com/office/drawing/2014/main" val="3490794728"/>
                    </a:ext>
                  </a:extLst>
                </a:gridCol>
                <a:gridCol w="3446464">
                  <a:extLst>
                    <a:ext uri="{9D8B030D-6E8A-4147-A177-3AD203B41FA5}">
                      <a16:colId xmlns:a16="http://schemas.microsoft.com/office/drawing/2014/main" val="2331651781"/>
                    </a:ext>
                  </a:extLst>
                </a:gridCol>
                <a:gridCol w="3446464">
                  <a:extLst>
                    <a:ext uri="{9D8B030D-6E8A-4147-A177-3AD203B41FA5}">
                      <a16:colId xmlns:a16="http://schemas.microsoft.com/office/drawing/2014/main" val="2589518091"/>
                    </a:ext>
                  </a:extLst>
                </a:gridCol>
              </a:tblGrid>
              <a:tr h="683986">
                <a:tc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dirty="0">
                          <a:solidFill>
                            <a:schemeClr val="tx2"/>
                          </a:solidFill>
                        </a:rPr>
                        <a:t>Tex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3235954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r>
                        <a:rPr lang="es-AR" sz="1200" dirty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1117332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9867912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109557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4874846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402618"/>
                  </a:ext>
                </a:extLst>
              </a:tr>
              <a:tr h="68398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A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5237251"/>
                  </a:ext>
                </a:extLst>
              </a:tr>
            </a:tbl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— Bar chart with words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FA9FC49D-CAD2-D440-0B6A-DC98690EF521}"/>
              </a:ext>
            </a:extLst>
          </p:cNvPr>
          <p:cNvGraphicFramePr/>
          <p:nvPr/>
        </p:nvGraphicFramePr>
        <p:xfrm>
          <a:off x="2047875" y="2066925"/>
          <a:ext cx="3204481" cy="4384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3858538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190119026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221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0376645"/>
              </p:ext>
            </p:extLst>
          </p:nvPr>
        </p:nvGraphicFramePr>
        <p:xfrm>
          <a:off x="544009" y="1943738"/>
          <a:ext cx="11276515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3936824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2567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ck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7477432"/>
              </p:ext>
            </p:extLst>
          </p:nvPr>
        </p:nvGraphicFramePr>
        <p:xfrm>
          <a:off x="544009" y="1943738"/>
          <a:ext cx="10712012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25">
            <a:extLst>
              <a:ext uri="{FF2B5EF4-FFF2-40B4-BE49-F238E27FC236}">
                <a16:creationId xmlns:a16="http://schemas.microsoft.com/office/drawing/2014/main" id="{B6B2E032-5A20-98E1-04EE-A9278ED52990}"/>
              </a:ext>
            </a:extLst>
          </p:cNvPr>
          <p:cNvSpPr txBox="1"/>
          <p:nvPr/>
        </p:nvSpPr>
        <p:spPr>
          <a:xfrm>
            <a:off x="10820644" y="254986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9FDB6CF3-D434-CFD1-2C44-437B70110B71}"/>
              </a:ext>
            </a:extLst>
          </p:cNvPr>
          <p:cNvSpPr txBox="1"/>
          <p:nvPr/>
        </p:nvSpPr>
        <p:spPr>
          <a:xfrm>
            <a:off x="10820644" y="413716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07506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25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100% stack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0234576"/>
              </p:ext>
            </p:extLst>
          </p:nvPr>
        </p:nvGraphicFramePr>
        <p:xfrm>
          <a:off x="544009" y="2218911"/>
          <a:ext cx="10792933" cy="383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25">
            <a:extLst>
              <a:ext uri="{FF2B5EF4-FFF2-40B4-BE49-F238E27FC236}">
                <a16:creationId xmlns:a16="http://schemas.microsoft.com/office/drawing/2014/main" id="{B6B2E032-5A20-98E1-04EE-A9278ED52990}"/>
              </a:ext>
            </a:extLst>
          </p:cNvPr>
          <p:cNvSpPr txBox="1"/>
          <p:nvPr/>
        </p:nvSpPr>
        <p:spPr>
          <a:xfrm>
            <a:off x="11055312" y="2439489"/>
            <a:ext cx="7652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9FDB6CF3-D434-CFD1-2C44-437B70110B71}"/>
              </a:ext>
            </a:extLst>
          </p:cNvPr>
          <p:cNvSpPr txBox="1"/>
          <p:nvPr/>
        </p:nvSpPr>
        <p:spPr>
          <a:xfrm>
            <a:off x="11055312" y="4123051"/>
            <a:ext cx="7652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4680861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luster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2701704"/>
              </p:ext>
            </p:extLst>
          </p:nvPr>
        </p:nvGraphicFramePr>
        <p:xfrm>
          <a:off x="1774372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Box 25">
            <a:extLst>
              <a:ext uri="{FF2B5EF4-FFF2-40B4-BE49-F238E27FC236}">
                <a16:creationId xmlns:a16="http://schemas.microsoft.com/office/drawing/2014/main" id="{50841385-D4E7-9E65-CB50-3E1555899185}"/>
              </a:ext>
            </a:extLst>
          </p:cNvPr>
          <p:cNvSpPr txBox="1"/>
          <p:nvPr/>
        </p:nvSpPr>
        <p:spPr>
          <a:xfrm>
            <a:off x="2930232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A7E58F80-BC55-48D6-B419-5B67F675E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9877722"/>
              </p:ext>
            </p:extLst>
          </p:nvPr>
        </p:nvGraphicFramePr>
        <p:xfrm>
          <a:off x="3877405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5C30A944-9C6A-063E-A1A6-B0D8CFD636BD}"/>
              </a:ext>
            </a:extLst>
          </p:cNvPr>
          <p:cNvSpPr txBox="1"/>
          <p:nvPr/>
        </p:nvSpPr>
        <p:spPr>
          <a:xfrm>
            <a:off x="5033265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1" name="Chart 1">
            <a:extLst>
              <a:ext uri="{FF2B5EF4-FFF2-40B4-BE49-F238E27FC236}">
                <a16:creationId xmlns:a16="http://schemas.microsoft.com/office/drawing/2014/main" id="{5F02835D-E7AD-0309-80A7-33E3D96BBD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7698707"/>
              </p:ext>
            </p:extLst>
          </p:nvPr>
        </p:nvGraphicFramePr>
        <p:xfrm>
          <a:off x="5892976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25">
            <a:extLst>
              <a:ext uri="{FF2B5EF4-FFF2-40B4-BE49-F238E27FC236}">
                <a16:creationId xmlns:a16="http://schemas.microsoft.com/office/drawing/2014/main" id="{7E4E9BCA-B950-653F-84E5-1976C1764483}"/>
              </a:ext>
            </a:extLst>
          </p:cNvPr>
          <p:cNvSpPr txBox="1"/>
          <p:nvPr/>
        </p:nvSpPr>
        <p:spPr>
          <a:xfrm>
            <a:off x="7048836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6" name="Chart 1">
            <a:extLst>
              <a:ext uri="{FF2B5EF4-FFF2-40B4-BE49-F238E27FC236}">
                <a16:creationId xmlns:a16="http://schemas.microsoft.com/office/drawing/2014/main" id="{6075921C-04D5-277B-173A-1013178BEA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1412819"/>
              </p:ext>
            </p:extLst>
          </p:nvPr>
        </p:nvGraphicFramePr>
        <p:xfrm>
          <a:off x="7908547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TextBox 25">
            <a:extLst>
              <a:ext uri="{FF2B5EF4-FFF2-40B4-BE49-F238E27FC236}">
                <a16:creationId xmlns:a16="http://schemas.microsoft.com/office/drawing/2014/main" id="{D8FEB1C7-44C3-3101-27E6-F3AAAB8FA944}"/>
              </a:ext>
            </a:extLst>
          </p:cNvPr>
          <p:cNvSpPr txBox="1"/>
          <p:nvPr/>
        </p:nvSpPr>
        <p:spPr>
          <a:xfrm>
            <a:off x="9064407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82927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62A61FD-88BF-2C3B-BBB9-3A26D55D2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62A61FD-88BF-2C3B-BBB9-3A26D55D2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2542AB70-2FB9-AEEB-1EC7-F54B276D2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mbrex Services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EDB6ED47-68D5-A479-B1FB-4F2C702136E4}"/>
              </a:ext>
            </a:extLst>
          </p:cNvPr>
          <p:cNvSpPr txBox="1"/>
          <p:nvPr/>
        </p:nvSpPr>
        <p:spPr>
          <a:xfrm>
            <a:off x="381308" y="1550050"/>
            <a:ext cx="1419287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trategy</a:t>
            </a:r>
          </a:p>
        </p:txBody>
      </p:sp>
      <p:cxnSp>
        <p:nvCxnSpPr>
          <p:cNvPr id="11" name="Conector recto 9">
            <a:extLst>
              <a:ext uri="{FF2B5EF4-FFF2-40B4-BE49-F238E27FC236}">
                <a16:creationId xmlns:a16="http://schemas.microsoft.com/office/drawing/2014/main" id="{4209729C-709E-A30F-E023-E6661396A39B}"/>
              </a:ext>
            </a:extLst>
          </p:cNvPr>
          <p:cNvCxnSpPr>
            <a:cxnSpLocks/>
          </p:cNvCxnSpPr>
          <p:nvPr/>
        </p:nvCxnSpPr>
        <p:spPr>
          <a:xfrm>
            <a:off x="1887684" y="1388631"/>
            <a:ext cx="0" cy="53828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25">
            <a:extLst>
              <a:ext uri="{FF2B5EF4-FFF2-40B4-BE49-F238E27FC236}">
                <a16:creationId xmlns:a16="http://schemas.microsoft.com/office/drawing/2014/main" id="{749CC112-2627-EDFC-25F7-28C4E52393EC}"/>
              </a:ext>
            </a:extLst>
          </p:cNvPr>
          <p:cNvSpPr txBox="1"/>
          <p:nvPr/>
        </p:nvSpPr>
        <p:spPr>
          <a:xfrm>
            <a:off x="2017486" y="1473106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igital Strate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Growth Strategy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0521168F-51AB-9D87-3A0E-66CA8ACC08C2}"/>
              </a:ext>
            </a:extLst>
          </p:cNvPr>
          <p:cNvSpPr txBox="1"/>
          <p:nvPr/>
        </p:nvSpPr>
        <p:spPr>
          <a:xfrm>
            <a:off x="5340972" y="1473106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ergers &amp; Acquisi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isk Managemen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B599257F-09B6-EE32-B1D0-1CDAD3546BCB}"/>
              </a:ext>
            </a:extLst>
          </p:cNvPr>
          <p:cNvSpPr txBox="1"/>
          <p:nvPr/>
        </p:nvSpPr>
        <p:spPr>
          <a:xfrm>
            <a:off x="8664459" y="1473106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stain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chnology</a:t>
            </a:r>
          </a:p>
        </p:txBody>
      </p:sp>
      <p:sp>
        <p:nvSpPr>
          <p:cNvPr id="85" name="TextBox 24">
            <a:extLst>
              <a:ext uri="{FF2B5EF4-FFF2-40B4-BE49-F238E27FC236}">
                <a16:creationId xmlns:a16="http://schemas.microsoft.com/office/drawing/2014/main" id="{3C9F896A-B4EC-2F12-B820-87659F5B9765}"/>
              </a:ext>
            </a:extLst>
          </p:cNvPr>
          <p:cNvSpPr txBox="1"/>
          <p:nvPr/>
        </p:nvSpPr>
        <p:spPr>
          <a:xfrm>
            <a:off x="381308" y="2374161"/>
            <a:ext cx="1419287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perations</a:t>
            </a:r>
          </a:p>
        </p:txBody>
      </p:sp>
      <p:cxnSp>
        <p:nvCxnSpPr>
          <p:cNvPr id="86" name="Conector recto 9">
            <a:extLst>
              <a:ext uri="{FF2B5EF4-FFF2-40B4-BE49-F238E27FC236}">
                <a16:creationId xmlns:a16="http://schemas.microsoft.com/office/drawing/2014/main" id="{E0A137B4-9621-AB8A-72A4-B3191043293C}"/>
              </a:ext>
            </a:extLst>
          </p:cNvPr>
          <p:cNvCxnSpPr>
            <a:cxnSpLocks/>
          </p:cNvCxnSpPr>
          <p:nvPr/>
        </p:nvCxnSpPr>
        <p:spPr>
          <a:xfrm>
            <a:off x="1887684" y="2212742"/>
            <a:ext cx="0" cy="53828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25">
            <a:extLst>
              <a:ext uri="{FF2B5EF4-FFF2-40B4-BE49-F238E27FC236}">
                <a16:creationId xmlns:a16="http://schemas.microsoft.com/office/drawing/2014/main" id="{502A41C1-C9FF-415A-C676-AD5C1E126F57}"/>
              </a:ext>
            </a:extLst>
          </p:cNvPr>
          <p:cNvSpPr txBox="1"/>
          <p:nvPr/>
        </p:nvSpPr>
        <p:spPr>
          <a:xfrm>
            <a:off x="2017486" y="2297217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ta &amp; Analyt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ean Operations</a:t>
            </a:r>
          </a:p>
        </p:txBody>
      </p:sp>
      <p:sp>
        <p:nvSpPr>
          <p:cNvPr id="89" name="TextBox 25">
            <a:extLst>
              <a:ext uri="{FF2B5EF4-FFF2-40B4-BE49-F238E27FC236}">
                <a16:creationId xmlns:a16="http://schemas.microsoft.com/office/drawing/2014/main" id="{13DA53F7-3589-3222-5C2F-C766DCFC263A}"/>
              </a:ext>
            </a:extLst>
          </p:cNvPr>
          <p:cNvSpPr txBox="1"/>
          <p:nvPr/>
        </p:nvSpPr>
        <p:spPr>
          <a:xfrm>
            <a:off x="5340972" y="2297217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perations Transform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curement</a:t>
            </a:r>
          </a:p>
        </p:txBody>
      </p:sp>
      <p:sp>
        <p:nvSpPr>
          <p:cNvPr id="90" name="TextBox 25">
            <a:extLst>
              <a:ext uri="{FF2B5EF4-FFF2-40B4-BE49-F238E27FC236}">
                <a16:creationId xmlns:a16="http://schemas.microsoft.com/office/drawing/2014/main" id="{4DDB8F15-63A2-8F4B-48A6-6FBDB795F56F}"/>
              </a:ext>
            </a:extLst>
          </p:cNvPr>
          <p:cNvSpPr txBox="1"/>
          <p:nvPr/>
        </p:nvSpPr>
        <p:spPr>
          <a:xfrm>
            <a:off x="8664459" y="2297217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ject Management Offi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pply Chain</a:t>
            </a:r>
          </a:p>
        </p:txBody>
      </p:sp>
      <p:sp>
        <p:nvSpPr>
          <p:cNvPr id="92" name="TextBox 24">
            <a:extLst>
              <a:ext uri="{FF2B5EF4-FFF2-40B4-BE49-F238E27FC236}">
                <a16:creationId xmlns:a16="http://schemas.microsoft.com/office/drawing/2014/main" id="{F1B2E009-27A9-6747-00EF-0B17E272B4D9}"/>
              </a:ext>
            </a:extLst>
          </p:cNvPr>
          <p:cNvSpPr txBox="1"/>
          <p:nvPr/>
        </p:nvSpPr>
        <p:spPr>
          <a:xfrm>
            <a:off x="381308" y="3198272"/>
            <a:ext cx="1419287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rganization</a:t>
            </a:r>
          </a:p>
        </p:txBody>
      </p:sp>
      <p:cxnSp>
        <p:nvCxnSpPr>
          <p:cNvPr id="93" name="Conector recto 9">
            <a:extLst>
              <a:ext uri="{FF2B5EF4-FFF2-40B4-BE49-F238E27FC236}">
                <a16:creationId xmlns:a16="http://schemas.microsoft.com/office/drawing/2014/main" id="{C8F8B1AF-0309-E3F6-2C44-13B6B2A23828}"/>
              </a:ext>
            </a:extLst>
          </p:cNvPr>
          <p:cNvCxnSpPr>
            <a:cxnSpLocks/>
          </p:cNvCxnSpPr>
          <p:nvPr/>
        </p:nvCxnSpPr>
        <p:spPr>
          <a:xfrm>
            <a:off x="1887684" y="3036853"/>
            <a:ext cx="0" cy="53828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25">
            <a:extLst>
              <a:ext uri="{FF2B5EF4-FFF2-40B4-BE49-F238E27FC236}">
                <a16:creationId xmlns:a16="http://schemas.microsoft.com/office/drawing/2014/main" id="{B0ED0838-2FE7-079A-E125-D4FB24E6605A}"/>
              </a:ext>
            </a:extLst>
          </p:cNvPr>
          <p:cNvSpPr txBox="1"/>
          <p:nvPr/>
        </p:nvSpPr>
        <p:spPr>
          <a:xfrm>
            <a:off x="2017486" y="3121328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hang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iversity &amp; Inclus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nterim Executives</a:t>
            </a:r>
          </a:p>
        </p:txBody>
      </p:sp>
      <p:sp>
        <p:nvSpPr>
          <p:cNvPr id="96" name="TextBox 25">
            <a:extLst>
              <a:ext uri="{FF2B5EF4-FFF2-40B4-BE49-F238E27FC236}">
                <a16:creationId xmlns:a16="http://schemas.microsoft.com/office/drawing/2014/main" id="{74DDB70B-C4DE-7AA9-2B72-E490F255147F}"/>
              </a:ext>
            </a:extLst>
          </p:cNvPr>
          <p:cNvSpPr txBox="1"/>
          <p:nvPr/>
        </p:nvSpPr>
        <p:spPr>
          <a:xfrm>
            <a:off x="5340972" y="3121328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ernity &amp; Paternity Lea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rganization Design</a:t>
            </a:r>
          </a:p>
        </p:txBody>
      </p:sp>
      <p:sp>
        <p:nvSpPr>
          <p:cNvPr id="97" name="TextBox 25">
            <a:extLst>
              <a:ext uri="{FF2B5EF4-FFF2-40B4-BE49-F238E27FC236}">
                <a16:creationId xmlns:a16="http://schemas.microsoft.com/office/drawing/2014/main" id="{8BBF9BA4-07DB-A9A7-7933-BD065F970152}"/>
              </a:ext>
            </a:extLst>
          </p:cNvPr>
          <p:cNvSpPr txBox="1"/>
          <p:nvPr/>
        </p:nvSpPr>
        <p:spPr>
          <a:xfrm>
            <a:off x="8664459" y="3121328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lent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mbre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ademy</a:t>
            </a:r>
          </a:p>
        </p:txBody>
      </p:sp>
      <p:sp>
        <p:nvSpPr>
          <p:cNvPr id="99" name="TextBox 24">
            <a:extLst>
              <a:ext uri="{FF2B5EF4-FFF2-40B4-BE49-F238E27FC236}">
                <a16:creationId xmlns:a16="http://schemas.microsoft.com/office/drawing/2014/main" id="{F351829C-6A05-7901-F21B-99EB1C852ABC}"/>
              </a:ext>
            </a:extLst>
          </p:cNvPr>
          <p:cNvSpPr txBox="1"/>
          <p:nvPr/>
        </p:nvSpPr>
        <p:spPr>
          <a:xfrm>
            <a:off x="381308" y="4030003"/>
            <a:ext cx="1419287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ing</a:t>
            </a:r>
          </a:p>
        </p:txBody>
      </p:sp>
      <p:cxnSp>
        <p:nvCxnSpPr>
          <p:cNvPr id="100" name="Conector recto 9">
            <a:extLst>
              <a:ext uri="{FF2B5EF4-FFF2-40B4-BE49-F238E27FC236}">
                <a16:creationId xmlns:a16="http://schemas.microsoft.com/office/drawing/2014/main" id="{F8291DED-0A68-86E9-B798-81BA607AEFEE}"/>
              </a:ext>
            </a:extLst>
          </p:cNvPr>
          <p:cNvCxnSpPr>
            <a:cxnSpLocks/>
          </p:cNvCxnSpPr>
          <p:nvPr/>
        </p:nvCxnSpPr>
        <p:spPr>
          <a:xfrm>
            <a:off x="1887684" y="3868584"/>
            <a:ext cx="0" cy="53828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25">
            <a:extLst>
              <a:ext uri="{FF2B5EF4-FFF2-40B4-BE49-F238E27FC236}">
                <a16:creationId xmlns:a16="http://schemas.microsoft.com/office/drawing/2014/main" id="{8F0D7FDD-0815-89D2-01F0-8B874B43FEA4}"/>
              </a:ext>
            </a:extLst>
          </p:cNvPr>
          <p:cNvSpPr txBox="1"/>
          <p:nvPr/>
        </p:nvSpPr>
        <p:spPr>
          <a:xfrm>
            <a:off x="2017486" y="3953059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rand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umer Experience</a:t>
            </a:r>
          </a:p>
        </p:txBody>
      </p:sp>
      <p:sp>
        <p:nvSpPr>
          <p:cNvPr id="103" name="TextBox 25">
            <a:extLst>
              <a:ext uri="{FF2B5EF4-FFF2-40B4-BE49-F238E27FC236}">
                <a16:creationId xmlns:a16="http://schemas.microsoft.com/office/drawing/2014/main" id="{59FB6C60-79F7-E7F3-F9BF-8862A9241FC0}"/>
              </a:ext>
            </a:extLst>
          </p:cNvPr>
          <p:cNvSpPr txBox="1"/>
          <p:nvPr/>
        </p:nvSpPr>
        <p:spPr>
          <a:xfrm>
            <a:off x="5340972" y="3953059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igital Market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 Research</a:t>
            </a:r>
          </a:p>
        </p:txBody>
      </p:sp>
      <p:sp>
        <p:nvSpPr>
          <p:cNvPr id="104" name="TextBox 25">
            <a:extLst>
              <a:ext uri="{FF2B5EF4-FFF2-40B4-BE49-F238E27FC236}">
                <a16:creationId xmlns:a16="http://schemas.microsoft.com/office/drawing/2014/main" id="{7E064D4A-A59A-B9FC-37E0-130A730E25AD}"/>
              </a:ext>
            </a:extLst>
          </p:cNvPr>
          <p:cNvSpPr txBox="1"/>
          <p:nvPr/>
        </p:nvSpPr>
        <p:spPr>
          <a:xfrm>
            <a:off x="8664459" y="3953059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ic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duct Management</a:t>
            </a:r>
          </a:p>
        </p:txBody>
      </p:sp>
      <p:sp>
        <p:nvSpPr>
          <p:cNvPr id="106" name="TextBox 24">
            <a:extLst>
              <a:ext uri="{FF2B5EF4-FFF2-40B4-BE49-F238E27FC236}">
                <a16:creationId xmlns:a16="http://schemas.microsoft.com/office/drawing/2014/main" id="{BF8B62BB-4065-CA8F-7AEB-3731B1F15C7B}"/>
              </a:ext>
            </a:extLst>
          </p:cNvPr>
          <p:cNvSpPr txBox="1"/>
          <p:nvPr/>
        </p:nvSpPr>
        <p:spPr>
          <a:xfrm>
            <a:off x="381308" y="4892214"/>
            <a:ext cx="1419287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les</a:t>
            </a:r>
          </a:p>
        </p:txBody>
      </p:sp>
      <p:cxnSp>
        <p:nvCxnSpPr>
          <p:cNvPr id="107" name="Conector recto 9">
            <a:extLst>
              <a:ext uri="{FF2B5EF4-FFF2-40B4-BE49-F238E27FC236}">
                <a16:creationId xmlns:a16="http://schemas.microsoft.com/office/drawing/2014/main" id="{837EEF74-B105-C2D4-C168-EC1052D09531}"/>
              </a:ext>
            </a:extLst>
          </p:cNvPr>
          <p:cNvCxnSpPr>
            <a:cxnSpLocks/>
          </p:cNvCxnSpPr>
          <p:nvPr/>
        </p:nvCxnSpPr>
        <p:spPr>
          <a:xfrm>
            <a:off x="1887684" y="4730795"/>
            <a:ext cx="0" cy="538282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25">
            <a:extLst>
              <a:ext uri="{FF2B5EF4-FFF2-40B4-BE49-F238E27FC236}">
                <a16:creationId xmlns:a16="http://schemas.microsoft.com/office/drawing/2014/main" id="{9E0843DE-F1EA-5327-D7B0-EA62EC2C9831}"/>
              </a:ext>
            </a:extLst>
          </p:cNvPr>
          <p:cNvSpPr txBox="1"/>
          <p:nvPr/>
        </p:nvSpPr>
        <p:spPr>
          <a:xfrm>
            <a:off x="2017486" y="4815270"/>
            <a:ext cx="31560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hannel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les Effectiveness</a:t>
            </a:r>
          </a:p>
        </p:txBody>
      </p:sp>
      <p:sp>
        <p:nvSpPr>
          <p:cNvPr id="113" name="TextBox 24">
            <a:extLst>
              <a:ext uri="{FF2B5EF4-FFF2-40B4-BE49-F238E27FC236}">
                <a16:creationId xmlns:a16="http://schemas.microsoft.com/office/drawing/2014/main" id="{A708EF4D-6E72-0317-A66E-0914FA15D8BA}"/>
              </a:ext>
            </a:extLst>
          </p:cNvPr>
          <p:cNvSpPr txBox="1"/>
          <p:nvPr/>
        </p:nvSpPr>
        <p:spPr>
          <a:xfrm>
            <a:off x="381308" y="5621563"/>
            <a:ext cx="1419287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 bono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B87A7642-D6B5-495E-9DC0-63990B3B5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3555F38-9376-30EC-4917-B5CA1E769DBC}"/>
              </a:ext>
            </a:extLst>
          </p:cNvPr>
          <p:cNvSpPr/>
          <p:nvPr/>
        </p:nvSpPr>
        <p:spPr>
          <a:xfrm>
            <a:off x="121919" y="6225003"/>
            <a:ext cx="2406125" cy="579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41656605-E367-4863-42D9-DDED389BA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11">
            <a:extLst>
              <a:ext uri="{FF2B5EF4-FFF2-40B4-BE49-F238E27FC236}">
                <a16:creationId xmlns:a16="http://schemas.microsoft.com/office/drawing/2014/main" id="{7EBA0D0E-1F90-FFE1-C05D-B09C03857834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650327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162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aterfall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6" name="Gráfico 15">
                <a:extLst>
                  <a:ext uri="{FF2B5EF4-FFF2-40B4-BE49-F238E27FC236}">
                    <a16:creationId xmlns:a16="http://schemas.microsoft.com/office/drawing/2014/main" id="{41C00E96-A58B-0601-30AA-95491E9C7DC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57952948"/>
                  </p:ext>
                </p:extLst>
              </p:nvPr>
            </p:nvGraphicFramePr>
            <p:xfrm>
              <a:off x="384174" y="2378283"/>
              <a:ext cx="7845426" cy="39399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6" name="Gráfico 15">
                <a:extLst>
                  <a:ext uri="{FF2B5EF4-FFF2-40B4-BE49-F238E27FC236}">
                    <a16:creationId xmlns:a16="http://schemas.microsoft.com/office/drawing/2014/main" id="{41C00E96-A58B-0601-30AA-95491E9C7DC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84174" y="2378283"/>
                <a:ext cx="7845426" cy="393992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451167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3080FC9-F85E-9A72-7CAD-7709F27BED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901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3080FC9-F85E-9A72-7CAD-7709F27BE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729CBCEF-D063-B225-5683-D70BC29D4F99}"/>
              </a:ext>
            </a:extLst>
          </p:cNvPr>
          <p:cNvCxnSpPr>
            <a:cxnSpLocks/>
          </p:cNvCxnSpPr>
          <p:nvPr/>
        </p:nvCxnSpPr>
        <p:spPr>
          <a:xfrm flipV="1">
            <a:off x="2952750" y="4403725"/>
            <a:ext cx="0" cy="1363663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FFF9458D-EE26-C983-14CF-4BCC40FA2BA9}"/>
              </a:ext>
            </a:extLst>
          </p:cNvPr>
          <p:cNvCxnSpPr>
            <a:cxnSpLocks/>
          </p:cNvCxnSpPr>
          <p:nvPr/>
        </p:nvCxnSpPr>
        <p:spPr>
          <a:xfrm flipV="1">
            <a:off x="2952750" y="3152775"/>
            <a:ext cx="0" cy="1250950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0FD529A4-570A-C330-09AC-0655476B2830}"/>
              </a:ext>
            </a:extLst>
          </p:cNvPr>
          <p:cNvCxnSpPr>
            <a:cxnSpLocks/>
          </p:cNvCxnSpPr>
          <p:nvPr/>
        </p:nvCxnSpPr>
        <p:spPr>
          <a:xfrm flipV="1">
            <a:off x="4511675" y="4454525"/>
            <a:ext cx="0" cy="1310481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2D18B3F2-C80B-11C5-5654-338C65C14B8B}"/>
              </a:ext>
            </a:extLst>
          </p:cNvPr>
          <p:cNvCxnSpPr>
            <a:cxnSpLocks/>
          </p:cNvCxnSpPr>
          <p:nvPr/>
        </p:nvCxnSpPr>
        <p:spPr>
          <a:xfrm flipV="1">
            <a:off x="4511675" y="3200400"/>
            <a:ext cx="0" cy="125412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C4C6BC0B-9C3F-47D2-DB75-560A753AB467}"/>
              </a:ext>
            </a:extLst>
          </p:cNvPr>
          <p:cNvCxnSpPr>
            <a:cxnSpLocks/>
          </p:cNvCxnSpPr>
          <p:nvPr/>
        </p:nvCxnSpPr>
        <p:spPr>
          <a:xfrm flipV="1">
            <a:off x="6089650" y="3908425"/>
            <a:ext cx="0" cy="1856581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B334317C-9EE3-576B-1EFA-29445AD06AFC}"/>
              </a:ext>
            </a:extLst>
          </p:cNvPr>
          <p:cNvCxnSpPr>
            <a:cxnSpLocks/>
          </p:cNvCxnSpPr>
          <p:nvPr/>
        </p:nvCxnSpPr>
        <p:spPr>
          <a:xfrm flipV="1">
            <a:off x="6089650" y="3038475"/>
            <a:ext cx="0" cy="90487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E2C087D-4183-E9F6-BC0D-115A3593ECCA}"/>
              </a:ext>
            </a:extLst>
          </p:cNvPr>
          <p:cNvCxnSpPr>
            <a:cxnSpLocks/>
          </p:cNvCxnSpPr>
          <p:nvPr/>
        </p:nvCxnSpPr>
        <p:spPr>
          <a:xfrm flipV="1">
            <a:off x="7651750" y="3863975"/>
            <a:ext cx="0" cy="1901825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AB9A9B05-C026-20D9-D567-F08614A4969E}"/>
              </a:ext>
            </a:extLst>
          </p:cNvPr>
          <p:cNvCxnSpPr>
            <a:cxnSpLocks/>
          </p:cNvCxnSpPr>
          <p:nvPr/>
        </p:nvCxnSpPr>
        <p:spPr>
          <a:xfrm flipV="1">
            <a:off x="7651750" y="3038475"/>
            <a:ext cx="0" cy="79692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F778ECE9-32A8-0D62-273D-F5E8E8871E92}"/>
              </a:ext>
            </a:extLst>
          </p:cNvPr>
          <p:cNvCxnSpPr>
            <a:cxnSpLocks/>
          </p:cNvCxnSpPr>
          <p:nvPr/>
        </p:nvCxnSpPr>
        <p:spPr>
          <a:xfrm flipV="1">
            <a:off x="9229728" y="3562350"/>
            <a:ext cx="0" cy="215265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1570EAD6-B4A4-CD97-540C-96710E49E0FC}"/>
              </a:ext>
            </a:extLst>
          </p:cNvPr>
          <p:cNvCxnSpPr>
            <a:cxnSpLocks/>
          </p:cNvCxnSpPr>
          <p:nvPr/>
        </p:nvCxnSpPr>
        <p:spPr>
          <a:xfrm flipV="1">
            <a:off x="9229728" y="2473325"/>
            <a:ext cx="0" cy="1117600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8B6D9CE9-156A-F189-D9E9-5A22C30CE0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5448247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42D7A8-9547-66D2-2781-FC2727497E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76BE484-293E-27E8-25F1-6283992FC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Vertical do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70B692D-B21B-0BDD-B2AA-9DB70351A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185" name="TextBox 25">
            <a:extLst>
              <a:ext uri="{FF2B5EF4-FFF2-40B4-BE49-F238E27FC236}">
                <a16:creationId xmlns:a16="http://schemas.microsoft.com/office/drawing/2014/main" id="{2C3EE1E9-6E30-7BCC-74AE-994152417746}"/>
              </a:ext>
            </a:extLst>
          </p:cNvPr>
          <p:cNvSpPr txBox="1"/>
          <p:nvPr/>
        </p:nvSpPr>
        <p:spPr>
          <a:xfrm>
            <a:off x="1421136" y="307234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186" name="TextBox 25">
            <a:extLst>
              <a:ext uri="{FF2B5EF4-FFF2-40B4-BE49-F238E27FC236}">
                <a16:creationId xmlns:a16="http://schemas.microsoft.com/office/drawing/2014/main" id="{0571E3F2-06F7-628C-821B-1A433ACCF318}"/>
              </a:ext>
            </a:extLst>
          </p:cNvPr>
          <p:cNvSpPr txBox="1"/>
          <p:nvPr/>
        </p:nvSpPr>
        <p:spPr>
          <a:xfrm>
            <a:off x="1421136" y="430296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188" name="Conector recto 6187">
            <a:extLst>
              <a:ext uri="{FF2B5EF4-FFF2-40B4-BE49-F238E27FC236}">
                <a16:creationId xmlns:a16="http://schemas.microsoft.com/office/drawing/2014/main" id="{B85795BF-8BBB-BE79-4C8B-D0DFC8280468}"/>
              </a:ext>
            </a:extLst>
          </p:cNvPr>
          <p:cNvCxnSpPr/>
          <p:nvPr/>
        </p:nvCxnSpPr>
        <p:spPr>
          <a:xfrm>
            <a:off x="3011866" y="3157536"/>
            <a:ext cx="678617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89" name="TextBox 25">
            <a:extLst>
              <a:ext uri="{FF2B5EF4-FFF2-40B4-BE49-F238E27FC236}">
                <a16:creationId xmlns:a16="http://schemas.microsoft.com/office/drawing/2014/main" id="{CEE32CED-0FBB-F753-3574-14BBE5880229}"/>
              </a:ext>
            </a:extLst>
          </p:cNvPr>
          <p:cNvSpPr txBox="1"/>
          <p:nvPr/>
        </p:nvSpPr>
        <p:spPr>
          <a:xfrm>
            <a:off x="9895728" y="306758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190" name="Conector recto 6189">
            <a:extLst>
              <a:ext uri="{FF2B5EF4-FFF2-40B4-BE49-F238E27FC236}">
                <a16:creationId xmlns:a16="http://schemas.microsoft.com/office/drawing/2014/main" id="{086A007D-0182-910F-38F0-CA64BF4D3BB7}"/>
              </a:ext>
            </a:extLst>
          </p:cNvPr>
          <p:cNvCxnSpPr/>
          <p:nvPr/>
        </p:nvCxnSpPr>
        <p:spPr>
          <a:xfrm>
            <a:off x="3011866" y="3902610"/>
            <a:ext cx="678617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91" name="TextBox 25">
            <a:extLst>
              <a:ext uri="{FF2B5EF4-FFF2-40B4-BE49-F238E27FC236}">
                <a16:creationId xmlns:a16="http://schemas.microsoft.com/office/drawing/2014/main" id="{D2B4A0B3-9505-9215-F362-5CBF3664C08B}"/>
              </a:ext>
            </a:extLst>
          </p:cNvPr>
          <p:cNvSpPr txBox="1"/>
          <p:nvPr/>
        </p:nvSpPr>
        <p:spPr>
          <a:xfrm>
            <a:off x="9895728" y="38126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4023159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7CAEC3-3616-4B78-D88B-D390CC1138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1073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7CAEC3-3616-4B78-D88B-D390CC11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2426EA8-D548-8BE0-4E76-CD50FB7C5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5B13DA5-69C9-8E17-8546-E71D8FD62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roup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29D9C1C9-6835-C06C-64D4-4B87A0B18E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6629935"/>
              </p:ext>
            </p:extLst>
          </p:nvPr>
        </p:nvGraphicFramePr>
        <p:xfrm>
          <a:off x="544010" y="1943738"/>
          <a:ext cx="7685590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Rectangle 89">
            <a:extLst>
              <a:ext uri="{FF2B5EF4-FFF2-40B4-BE49-F238E27FC236}">
                <a16:creationId xmlns:a16="http://schemas.microsoft.com/office/drawing/2014/main" id="{B44A1B74-3A8B-C280-2DFB-BA1379570CB1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064BEA66-1C41-2E5F-F2FE-31AB96946EAF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C1B5DAF9-9C81-61DB-6491-6062949EE4FD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B5BCAFFA-3904-0551-C044-78F6E55A2567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4">
            <a:extLst>
              <a:ext uri="{FF2B5EF4-FFF2-40B4-BE49-F238E27FC236}">
                <a16:creationId xmlns:a16="http://schemas.microsoft.com/office/drawing/2014/main" id="{F0A911D9-BF26-61F4-1724-37721F991C72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293E9B99-1649-4D6F-DB5A-34695F41F3C6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7AF4D17C-0A43-0AED-EA0D-BE90E671F85A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BF4E7-49D4-6FB8-33C7-BF50B1BC3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30388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3022575-DA70-0513-76DB-7C0ACD5CB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7403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3022575-DA70-0513-76DB-7C0ACD5CB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554B8FF-93D2-95AE-0F4F-59E6C443CF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E9FB5B3-BF81-D8D8-0099-6B3236FF4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column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38DD9EE-3913-96A5-39CC-319CA3F231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1833621"/>
              </p:ext>
            </p:extLst>
          </p:nvPr>
        </p:nvGraphicFramePr>
        <p:xfrm>
          <a:off x="560438" y="2390208"/>
          <a:ext cx="11043068" cy="2702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4">
            <a:extLst>
              <a:ext uri="{FF2B5EF4-FFF2-40B4-BE49-F238E27FC236}">
                <a16:creationId xmlns:a16="http://schemas.microsoft.com/office/drawing/2014/main" id="{2BAA485F-9875-45E1-3AEB-7B16E12B6CE7}"/>
              </a:ext>
            </a:extLst>
          </p:cNvPr>
          <p:cNvSpPr txBox="1"/>
          <p:nvPr/>
        </p:nvSpPr>
        <p:spPr>
          <a:xfrm>
            <a:off x="127220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9FFFA24-C4F7-E8AE-BA3D-EDA7E6DCF8EB}"/>
              </a:ext>
            </a:extLst>
          </p:cNvPr>
          <p:cNvSpPr txBox="1">
            <a:spLocks/>
          </p:cNvSpPr>
          <p:nvPr/>
        </p:nvSpPr>
        <p:spPr>
          <a:xfrm>
            <a:off x="1272206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DF2FAC-4934-74D3-0DA2-F3A56F44F191}"/>
              </a:ext>
            </a:extLst>
          </p:cNvPr>
          <p:cNvSpPr txBox="1"/>
          <p:nvPr/>
        </p:nvSpPr>
        <p:spPr>
          <a:xfrm>
            <a:off x="340904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2770E28-DFF5-6FC4-70E0-B07D109F947C}"/>
              </a:ext>
            </a:extLst>
          </p:cNvPr>
          <p:cNvSpPr txBox="1">
            <a:spLocks/>
          </p:cNvSpPr>
          <p:nvPr/>
        </p:nvSpPr>
        <p:spPr>
          <a:xfrm>
            <a:off x="3409046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F318218-29CF-E1A2-1306-C8E41709A9E5}"/>
              </a:ext>
            </a:extLst>
          </p:cNvPr>
          <p:cNvSpPr txBox="1"/>
          <p:nvPr/>
        </p:nvSpPr>
        <p:spPr>
          <a:xfrm>
            <a:off x="554588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7D76000-EE66-7940-5040-D67319C3033B}"/>
              </a:ext>
            </a:extLst>
          </p:cNvPr>
          <p:cNvSpPr txBox="1">
            <a:spLocks/>
          </p:cNvSpPr>
          <p:nvPr/>
        </p:nvSpPr>
        <p:spPr>
          <a:xfrm>
            <a:off x="5545885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E8674C5B-522D-2F0B-BE9D-9867CFACF551}"/>
              </a:ext>
            </a:extLst>
          </p:cNvPr>
          <p:cNvSpPr txBox="1"/>
          <p:nvPr/>
        </p:nvSpPr>
        <p:spPr>
          <a:xfrm>
            <a:off x="9819567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5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D86C30F-95B1-87F5-9270-38788D63C9B4}"/>
              </a:ext>
            </a:extLst>
          </p:cNvPr>
          <p:cNvSpPr txBox="1">
            <a:spLocks/>
          </p:cNvSpPr>
          <p:nvPr/>
        </p:nvSpPr>
        <p:spPr>
          <a:xfrm>
            <a:off x="9819564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F8F81126-87B8-9AF9-B132-8ED7E95A3A85}"/>
              </a:ext>
            </a:extLst>
          </p:cNvPr>
          <p:cNvSpPr txBox="1"/>
          <p:nvPr/>
        </p:nvSpPr>
        <p:spPr>
          <a:xfrm>
            <a:off x="7682726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4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BA7585A-2AB3-1374-AD69-0E83FDE5128F}"/>
              </a:ext>
            </a:extLst>
          </p:cNvPr>
          <p:cNvSpPr txBox="1">
            <a:spLocks/>
          </p:cNvSpPr>
          <p:nvPr/>
        </p:nvSpPr>
        <p:spPr>
          <a:xfrm>
            <a:off x="7682725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323041AD-AF8B-4947-B81D-593EE316D4A1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096AFC-AE47-CB3A-5985-3B15B6E84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4A1AE358-F499-495C-01BF-32ED46FC0C98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4" name="Conector recto 9">
            <a:extLst>
              <a:ext uri="{FF2B5EF4-FFF2-40B4-BE49-F238E27FC236}">
                <a16:creationId xmlns:a16="http://schemas.microsoft.com/office/drawing/2014/main" id="{05A42D0A-B3E5-5889-7E46-F5CEB48E881B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91450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>
            <a:extLst>
              <a:ext uri="{FF2B5EF4-FFF2-40B4-BE49-F238E27FC236}">
                <a16:creationId xmlns:a16="http://schemas.microsoft.com/office/drawing/2014/main" id="{7E88B5EB-E56C-5DE8-BEC6-B1E7E0F5F9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685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2" name="Objeto 31" hidden="1">
                        <a:extLst>
                          <a:ext uri="{FF2B5EF4-FFF2-40B4-BE49-F238E27FC236}">
                            <a16:creationId xmlns:a16="http://schemas.microsoft.com/office/drawing/2014/main" id="{7E88B5EB-E56C-5DE8-BEC6-B1E7E0F5F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1F72A35-C242-FC37-9091-37B6A167EF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1D2F36-E3C4-5E86-64EF-4567528C5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Pyramid column chart</a:t>
            </a:r>
          </a:p>
        </p:txBody>
      </p:sp>
      <p:grpSp>
        <p:nvGrpSpPr>
          <p:cNvPr id="5" name="Group 25">
            <a:extLst>
              <a:ext uri="{FF2B5EF4-FFF2-40B4-BE49-F238E27FC236}">
                <a16:creationId xmlns:a16="http://schemas.microsoft.com/office/drawing/2014/main" id="{810E8AAE-8E5D-39D4-F72E-64F86C2F7A8E}"/>
              </a:ext>
            </a:extLst>
          </p:cNvPr>
          <p:cNvGrpSpPr/>
          <p:nvPr/>
        </p:nvGrpSpPr>
        <p:grpSpPr>
          <a:xfrm>
            <a:off x="372153" y="3824016"/>
            <a:ext cx="1262988" cy="1509566"/>
            <a:chOff x="0" y="177186"/>
            <a:chExt cx="1046075" cy="1403965"/>
          </a:xfrm>
          <a:effectLst/>
        </p:grpSpPr>
        <p:sp>
          <p:nvSpPr>
            <p:cNvPr id="18" name="Shape 22">
              <a:extLst>
                <a:ext uri="{FF2B5EF4-FFF2-40B4-BE49-F238E27FC236}">
                  <a16:creationId xmlns:a16="http://schemas.microsoft.com/office/drawing/2014/main" id="{77FE7C87-FB7D-87EF-C5CE-6DA5AC6F3E03}"/>
                </a:ext>
              </a:extLst>
            </p:cNvPr>
            <p:cNvSpPr/>
            <p:nvPr/>
          </p:nvSpPr>
          <p:spPr>
            <a:xfrm>
              <a:off x="0" y="536517"/>
              <a:ext cx="1046075" cy="10446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9" name="Shape 23">
              <a:extLst>
                <a:ext uri="{FF2B5EF4-FFF2-40B4-BE49-F238E27FC236}">
                  <a16:creationId xmlns:a16="http://schemas.microsoft.com/office/drawing/2014/main" id="{33DAC9BF-33DB-F7B8-25A4-0CF2C7FB66F0}"/>
                </a:ext>
              </a:extLst>
            </p:cNvPr>
            <p:cNvSpPr/>
            <p:nvPr/>
          </p:nvSpPr>
          <p:spPr>
            <a:xfrm flipH="1">
              <a:off x="523036" y="177186"/>
              <a:ext cx="0" cy="558870"/>
            </a:xfrm>
            <a:prstGeom prst="line">
              <a:avLst/>
            </a:prstGeom>
            <a:noFill/>
            <a:ln w="38100" cap="flat">
              <a:solidFill>
                <a:schemeClr val="accent1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6" name="Group 30">
            <a:extLst>
              <a:ext uri="{FF2B5EF4-FFF2-40B4-BE49-F238E27FC236}">
                <a16:creationId xmlns:a16="http://schemas.microsoft.com/office/drawing/2014/main" id="{718A1742-B5FF-C5BF-B288-06C259508CD0}"/>
              </a:ext>
            </a:extLst>
          </p:cNvPr>
          <p:cNvGrpSpPr/>
          <p:nvPr/>
        </p:nvGrpSpPr>
        <p:grpSpPr>
          <a:xfrm>
            <a:off x="1327487" y="2390876"/>
            <a:ext cx="2509782" cy="2942705"/>
            <a:chOff x="0" y="139701"/>
            <a:chExt cx="2078737" cy="2736849"/>
          </a:xfrm>
          <a:effectLst/>
        </p:grpSpPr>
        <p:sp>
          <p:nvSpPr>
            <p:cNvPr id="16" name="Shape 26">
              <a:extLst>
                <a:ext uri="{FF2B5EF4-FFF2-40B4-BE49-F238E27FC236}">
                  <a16:creationId xmlns:a16="http://schemas.microsoft.com/office/drawing/2014/main" id="{6C3DAD48-FCAC-E1F4-D8C4-18799CE9CB9C}"/>
                </a:ext>
              </a:extLst>
            </p:cNvPr>
            <p:cNvSpPr/>
            <p:nvPr/>
          </p:nvSpPr>
          <p:spPr>
            <a:xfrm>
              <a:off x="0" y="800678"/>
              <a:ext cx="2078737" cy="20758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7" name="Shape 28">
              <a:extLst>
                <a:ext uri="{FF2B5EF4-FFF2-40B4-BE49-F238E27FC236}">
                  <a16:creationId xmlns:a16="http://schemas.microsoft.com/office/drawing/2014/main" id="{2B2160ED-ADD3-2C7C-55F9-ED573B5A3117}"/>
                </a:ext>
              </a:extLst>
            </p:cNvPr>
            <p:cNvSpPr/>
            <p:nvPr/>
          </p:nvSpPr>
          <p:spPr>
            <a:xfrm flipH="1">
              <a:off x="1039367" y="139701"/>
              <a:ext cx="0" cy="939869"/>
            </a:xfrm>
            <a:prstGeom prst="line">
              <a:avLst/>
            </a:prstGeom>
            <a:noFill/>
            <a:ln w="38100" cap="flat">
              <a:solidFill>
                <a:schemeClr val="tx2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7" name="Group 35">
            <a:extLst>
              <a:ext uri="{FF2B5EF4-FFF2-40B4-BE49-F238E27FC236}">
                <a16:creationId xmlns:a16="http://schemas.microsoft.com/office/drawing/2014/main" id="{B3750BEB-30FE-9A7F-0F35-2E3104C6659E}"/>
              </a:ext>
            </a:extLst>
          </p:cNvPr>
          <p:cNvGrpSpPr/>
          <p:nvPr/>
        </p:nvGrpSpPr>
        <p:grpSpPr>
          <a:xfrm>
            <a:off x="3288451" y="1735387"/>
            <a:ext cx="3562269" cy="3598193"/>
            <a:chOff x="0" y="177765"/>
            <a:chExt cx="2950465" cy="3346484"/>
          </a:xfrm>
          <a:effectLst/>
        </p:grpSpPr>
        <p:sp>
          <p:nvSpPr>
            <p:cNvPr id="14" name="Shape 31">
              <a:extLst>
                <a:ext uri="{FF2B5EF4-FFF2-40B4-BE49-F238E27FC236}">
                  <a16:creationId xmlns:a16="http://schemas.microsoft.com/office/drawing/2014/main" id="{56900AB0-D5E9-1D62-2AC6-F652C896B553}"/>
                </a:ext>
              </a:extLst>
            </p:cNvPr>
            <p:cNvSpPr/>
            <p:nvPr/>
          </p:nvSpPr>
          <p:spPr>
            <a:xfrm>
              <a:off x="0" y="577851"/>
              <a:ext cx="2950465" cy="2946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5" name="Shape 33">
              <a:extLst>
                <a:ext uri="{FF2B5EF4-FFF2-40B4-BE49-F238E27FC236}">
                  <a16:creationId xmlns:a16="http://schemas.microsoft.com/office/drawing/2014/main" id="{3CF280C8-9863-403F-6916-7B5C8EB25D6E}"/>
                </a:ext>
              </a:extLst>
            </p:cNvPr>
            <p:cNvSpPr/>
            <p:nvPr/>
          </p:nvSpPr>
          <p:spPr>
            <a:xfrm flipH="1">
              <a:off x="1475233" y="177765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2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8" name="Group 40">
            <a:extLst>
              <a:ext uri="{FF2B5EF4-FFF2-40B4-BE49-F238E27FC236}">
                <a16:creationId xmlns:a16="http://schemas.microsoft.com/office/drawing/2014/main" id="{2782C7FA-2A92-0E33-212E-1327F3EE5B44}"/>
              </a:ext>
            </a:extLst>
          </p:cNvPr>
          <p:cNvGrpSpPr/>
          <p:nvPr/>
        </p:nvGrpSpPr>
        <p:grpSpPr>
          <a:xfrm>
            <a:off x="6042827" y="2541083"/>
            <a:ext cx="2768853" cy="2792495"/>
            <a:chOff x="0" y="152399"/>
            <a:chExt cx="2293315" cy="2597148"/>
          </a:xfrm>
          <a:effectLst/>
        </p:grpSpPr>
        <p:sp>
          <p:nvSpPr>
            <p:cNvPr id="12" name="Shape 36">
              <a:extLst>
                <a:ext uri="{FF2B5EF4-FFF2-40B4-BE49-F238E27FC236}">
                  <a16:creationId xmlns:a16="http://schemas.microsoft.com/office/drawing/2014/main" id="{A4BEC7C6-2734-7944-0731-D1F662918FBF}"/>
                </a:ext>
              </a:extLst>
            </p:cNvPr>
            <p:cNvSpPr/>
            <p:nvPr/>
          </p:nvSpPr>
          <p:spPr>
            <a:xfrm>
              <a:off x="0" y="459393"/>
              <a:ext cx="2293315" cy="22901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3" name="Shape 38">
              <a:extLst>
                <a:ext uri="{FF2B5EF4-FFF2-40B4-BE49-F238E27FC236}">
                  <a16:creationId xmlns:a16="http://schemas.microsoft.com/office/drawing/2014/main" id="{0C1F0798-EB73-BC8A-3E20-421FDA42A1E1}"/>
                </a:ext>
              </a:extLst>
            </p:cNvPr>
            <p:cNvSpPr/>
            <p:nvPr/>
          </p:nvSpPr>
          <p:spPr>
            <a:xfrm flipH="1">
              <a:off x="1146658" y="152399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4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9" name="Group 45">
            <a:extLst>
              <a:ext uri="{FF2B5EF4-FFF2-40B4-BE49-F238E27FC236}">
                <a16:creationId xmlns:a16="http://schemas.microsoft.com/office/drawing/2014/main" id="{502FE650-9B9F-26D5-2B54-9AC6B7EEBA1A}"/>
              </a:ext>
            </a:extLst>
          </p:cNvPr>
          <p:cNvGrpSpPr/>
          <p:nvPr/>
        </p:nvGrpSpPr>
        <p:grpSpPr>
          <a:xfrm>
            <a:off x="8242380" y="1876980"/>
            <a:ext cx="3562269" cy="3456601"/>
            <a:chOff x="0" y="160737"/>
            <a:chExt cx="2950466" cy="3214797"/>
          </a:xfrm>
          <a:effectLst/>
        </p:grpSpPr>
        <p:sp>
          <p:nvSpPr>
            <p:cNvPr id="10" name="Shape 41">
              <a:extLst>
                <a:ext uri="{FF2B5EF4-FFF2-40B4-BE49-F238E27FC236}">
                  <a16:creationId xmlns:a16="http://schemas.microsoft.com/office/drawing/2014/main" id="{E673A619-6EB3-B7B3-AC04-05F4E3109574}"/>
                </a:ext>
              </a:extLst>
            </p:cNvPr>
            <p:cNvSpPr/>
            <p:nvPr/>
          </p:nvSpPr>
          <p:spPr>
            <a:xfrm>
              <a:off x="0" y="429135"/>
              <a:ext cx="2950466" cy="2946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1" name="Shape 43">
              <a:extLst>
                <a:ext uri="{FF2B5EF4-FFF2-40B4-BE49-F238E27FC236}">
                  <a16:creationId xmlns:a16="http://schemas.microsoft.com/office/drawing/2014/main" id="{EC5D6183-ADC4-8D75-5A9B-42C97C6270A2}"/>
                </a:ext>
              </a:extLst>
            </p:cNvPr>
            <p:cNvSpPr/>
            <p:nvPr/>
          </p:nvSpPr>
          <p:spPr>
            <a:xfrm flipH="1">
              <a:off x="1475233" y="160737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sp>
        <p:nvSpPr>
          <p:cNvPr id="20" name="TextBox 31">
            <a:extLst>
              <a:ext uri="{FF2B5EF4-FFF2-40B4-BE49-F238E27FC236}">
                <a16:creationId xmlns:a16="http://schemas.microsoft.com/office/drawing/2014/main" id="{CF5893E5-D08A-88A8-AC7B-4D01DE8F2482}"/>
              </a:ext>
            </a:extLst>
          </p:cNvPr>
          <p:cNvSpPr txBox="1"/>
          <p:nvPr/>
        </p:nvSpPr>
        <p:spPr>
          <a:xfrm>
            <a:off x="404148" y="3386251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1" name="TextBox 32">
            <a:extLst>
              <a:ext uri="{FF2B5EF4-FFF2-40B4-BE49-F238E27FC236}">
                <a16:creationId xmlns:a16="http://schemas.microsoft.com/office/drawing/2014/main" id="{3FB2F7FD-DFB6-3B39-5B1F-EFF9E796688B}"/>
              </a:ext>
            </a:extLst>
          </p:cNvPr>
          <p:cNvSpPr txBox="1"/>
          <p:nvPr/>
        </p:nvSpPr>
        <p:spPr>
          <a:xfrm>
            <a:off x="1978823" y="1987204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2" name="TextBox 33">
            <a:extLst>
              <a:ext uri="{FF2B5EF4-FFF2-40B4-BE49-F238E27FC236}">
                <a16:creationId xmlns:a16="http://schemas.microsoft.com/office/drawing/2014/main" id="{660178F1-2F87-22E1-43C5-05B531A6DCAE}"/>
              </a:ext>
            </a:extLst>
          </p:cNvPr>
          <p:cNvSpPr txBox="1"/>
          <p:nvPr/>
        </p:nvSpPr>
        <p:spPr>
          <a:xfrm>
            <a:off x="4461437" y="1335189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TextBox 34">
            <a:extLst>
              <a:ext uri="{FF2B5EF4-FFF2-40B4-BE49-F238E27FC236}">
                <a16:creationId xmlns:a16="http://schemas.microsoft.com/office/drawing/2014/main" id="{2799CE0D-7EA3-B4C5-C233-A0E0B5E56A16}"/>
              </a:ext>
            </a:extLst>
          </p:cNvPr>
          <p:cNvSpPr txBox="1"/>
          <p:nvPr/>
        </p:nvSpPr>
        <p:spPr>
          <a:xfrm>
            <a:off x="6819106" y="2123944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EC333044-FC7D-0CD9-377D-4CD87D81FB34}"/>
              </a:ext>
            </a:extLst>
          </p:cNvPr>
          <p:cNvSpPr txBox="1"/>
          <p:nvPr/>
        </p:nvSpPr>
        <p:spPr>
          <a:xfrm>
            <a:off x="9415367" y="1480590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TextBox 37">
            <a:extLst>
              <a:ext uri="{FF2B5EF4-FFF2-40B4-BE49-F238E27FC236}">
                <a16:creationId xmlns:a16="http://schemas.microsoft.com/office/drawing/2014/main" id="{E12196E4-76D6-8243-9446-81EB03F40C2B}"/>
              </a:ext>
            </a:extLst>
          </p:cNvPr>
          <p:cNvSpPr txBox="1"/>
          <p:nvPr/>
        </p:nvSpPr>
        <p:spPr>
          <a:xfrm>
            <a:off x="694904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0.9M</a:t>
            </a:r>
          </a:p>
        </p:txBody>
      </p:sp>
      <p:sp>
        <p:nvSpPr>
          <p:cNvPr id="26" name="TextBox 38">
            <a:extLst>
              <a:ext uri="{FF2B5EF4-FFF2-40B4-BE49-F238E27FC236}">
                <a16:creationId xmlns:a16="http://schemas.microsoft.com/office/drawing/2014/main" id="{26271D1A-D4F4-9F6D-CF62-21D1E7D88F8B}"/>
              </a:ext>
            </a:extLst>
          </p:cNvPr>
          <p:cNvSpPr txBox="1"/>
          <p:nvPr/>
        </p:nvSpPr>
        <p:spPr>
          <a:xfrm>
            <a:off x="2273636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1M</a:t>
            </a:r>
          </a:p>
        </p:txBody>
      </p:sp>
      <p:sp>
        <p:nvSpPr>
          <p:cNvPr id="27" name="TextBox 39">
            <a:extLst>
              <a:ext uri="{FF2B5EF4-FFF2-40B4-BE49-F238E27FC236}">
                <a16:creationId xmlns:a16="http://schemas.microsoft.com/office/drawing/2014/main" id="{1EC6C9B9-9706-44A9-1E2C-3990EFBEF86E}"/>
              </a:ext>
            </a:extLst>
          </p:cNvPr>
          <p:cNvSpPr txBox="1"/>
          <p:nvPr/>
        </p:nvSpPr>
        <p:spPr>
          <a:xfrm>
            <a:off x="4760847" y="4827982"/>
            <a:ext cx="617477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3.3M</a:t>
            </a:r>
          </a:p>
        </p:txBody>
      </p:sp>
      <p:sp>
        <p:nvSpPr>
          <p:cNvPr id="28" name="TextBox 40">
            <a:extLst>
              <a:ext uri="{FF2B5EF4-FFF2-40B4-BE49-F238E27FC236}">
                <a16:creationId xmlns:a16="http://schemas.microsoft.com/office/drawing/2014/main" id="{994A19E5-654D-0EEF-ABC8-E6E6413F59DA}"/>
              </a:ext>
            </a:extLst>
          </p:cNvPr>
          <p:cNvSpPr txBox="1"/>
          <p:nvPr/>
        </p:nvSpPr>
        <p:spPr>
          <a:xfrm>
            <a:off x="7118515" y="4827982"/>
            <a:ext cx="617477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5M</a:t>
            </a:r>
          </a:p>
        </p:txBody>
      </p:sp>
      <p:sp>
        <p:nvSpPr>
          <p:cNvPr id="29" name="TextBox 41">
            <a:extLst>
              <a:ext uri="{FF2B5EF4-FFF2-40B4-BE49-F238E27FC236}">
                <a16:creationId xmlns:a16="http://schemas.microsoft.com/office/drawing/2014/main" id="{87C3652D-617D-CE63-1048-3CE8C03FBD4A}"/>
              </a:ext>
            </a:extLst>
          </p:cNvPr>
          <p:cNvSpPr txBox="1"/>
          <p:nvPr/>
        </p:nvSpPr>
        <p:spPr>
          <a:xfrm>
            <a:off x="9808208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9M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88A532F-7650-22E6-9B3C-FCA010C0679B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.Lorem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.Lorem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6EC2EE-29EC-F4D4-1B25-36044AC9C1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74899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bination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DBE72B01-5FD3-FA6D-4AE4-E0F5BB469126}"/>
              </a:ext>
            </a:extLst>
          </p:cNvPr>
          <p:cNvGraphicFramePr/>
          <p:nvPr/>
        </p:nvGraphicFramePr>
        <p:xfrm>
          <a:off x="384173" y="1520825"/>
          <a:ext cx="11418888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0008796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>
            <a:extLst>
              <a:ext uri="{FF2B5EF4-FFF2-40B4-BE49-F238E27FC236}">
                <a16:creationId xmlns:a16="http://schemas.microsoft.com/office/drawing/2014/main" id="{F886F4A9-01DC-97B9-5B32-05C0AE890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6" name="Objeto 35" hidden="1">
                        <a:extLst>
                          <a:ext uri="{FF2B5EF4-FFF2-40B4-BE49-F238E27FC236}">
                            <a16:creationId xmlns:a16="http://schemas.microsoft.com/office/drawing/2014/main" id="{F886F4A9-01DC-97B9-5B32-05C0AE890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401F31F-B40F-5D8D-258C-868FDAD47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  <a:p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1A763C9-0216-B11E-9F5F-01A30AA20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US" dirty="0" err="1"/>
              <a:t>Mekko</a:t>
            </a:r>
            <a:r>
              <a:rPr lang="en-US" dirty="0"/>
              <a:t>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5361A68-B2D4-D58D-1493-96E106BEBE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9" name="Gráfico 38">
                <a:extLst>
                  <a:ext uri="{FF2B5EF4-FFF2-40B4-BE49-F238E27FC236}">
                    <a16:creationId xmlns:a16="http://schemas.microsoft.com/office/drawing/2014/main" id="{51860E46-F371-78F5-7305-B3DFA50EB837}"/>
                  </a:ext>
                </a:extLst>
              </p:cNvPr>
              <p:cNvGraphicFramePr/>
              <p:nvPr/>
            </p:nvGraphicFramePr>
            <p:xfrm>
              <a:off x="2032000" y="1799859"/>
              <a:ext cx="8128000" cy="450886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39" name="Gráfico 38">
                <a:extLst>
                  <a:ext uri="{FF2B5EF4-FFF2-40B4-BE49-F238E27FC236}">
                    <a16:creationId xmlns:a16="http://schemas.microsoft.com/office/drawing/2014/main" id="{51860E46-F371-78F5-7305-B3DFA50EB83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032000" y="1799859"/>
                <a:ext cx="8128000" cy="4508862"/>
              </a:xfrm>
              <a:prstGeom prst="rect">
                <a:avLst/>
              </a:prstGeom>
            </p:spPr>
          </p:pic>
        </mc:Fallback>
      </mc:AlternateContent>
      <p:sp>
        <p:nvSpPr>
          <p:cNvPr id="44" name="TextBox 24">
            <a:extLst>
              <a:ext uri="{FF2B5EF4-FFF2-40B4-BE49-F238E27FC236}">
                <a16:creationId xmlns:a16="http://schemas.microsoft.com/office/drawing/2014/main" id="{2E3888AE-946C-8311-F3E1-47B6ED46A484}"/>
              </a:ext>
            </a:extLst>
          </p:cNvPr>
          <p:cNvSpPr txBox="1"/>
          <p:nvPr/>
        </p:nvSpPr>
        <p:spPr>
          <a:xfrm>
            <a:off x="10198100" y="3023493"/>
            <a:ext cx="162242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5" name="TextBox 24">
            <a:extLst>
              <a:ext uri="{FF2B5EF4-FFF2-40B4-BE49-F238E27FC236}">
                <a16:creationId xmlns:a16="http://schemas.microsoft.com/office/drawing/2014/main" id="{1B8754B0-AEE0-F0C4-FA0E-F7D1BC72836D}"/>
              </a:ext>
            </a:extLst>
          </p:cNvPr>
          <p:cNvSpPr txBox="1"/>
          <p:nvPr/>
        </p:nvSpPr>
        <p:spPr>
          <a:xfrm>
            <a:off x="10198100" y="4736341"/>
            <a:ext cx="162242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6" name="TextBox 24">
            <a:extLst>
              <a:ext uri="{FF2B5EF4-FFF2-40B4-BE49-F238E27FC236}">
                <a16:creationId xmlns:a16="http://schemas.microsoft.com/office/drawing/2014/main" id="{6D719382-EBAF-F539-933F-6120DB8501D1}"/>
              </a:ext>
            </a:extLst>
          </p:cNvPr>
          <p:cNvSpPr txBox="1"/>
          <p:nvPr/>
        </p:nvSpPr>
        <p:spPr>
          <a:xfrm>
            <a:off x="10198100" y="5535921"/>
            <a:ext cx="162242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7" name="TextBox 24">
            <a:extLst>
              <a:ext uri="{FF2B5EF4-FFF2-40B4-BE49-F238E27FC236}">
                <a16:creationId xmlns:a16="http://schemas.microsoft.com/office/drawing/2014/main" id="{00CDF209-6397-3116-9DD8-6C5E94437F6C}"/>
              </a:ext>
            </a:extLst>
          </p:cNvPr>
          <p:cNvSpPr txBox="1"/>
          <p:nvPr/>
        </p:nvSpPr>
        <p:spPr>
          <a:xfrm>
            <a:off x="2115741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74E3A452-B92E-0E76-8B95-3071442F71C0}"/>
              </a:ext>
            </a:extLst>
          </p:cNvPr>
          <p:cNvSpPr txBox="1"/>
          <p:nvPr/>
        </p:nvSpPr>
        <p:spPr>
          <a:xfrm>
            <a:off x="3870325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9" name="TextBox 24">
            <a:extLst>
              <a:ext uri="{FF2B5EF4-FFF2-40B4-BE49-F238E27FC236}">
                <a16:creationId xmlns:a16="http://schemas.microsoft.com/office/drawing/2014/main" id="{76998546-5224-F3D7-4261-F53B3129309F}"/>
              </a:ext>
            </a:extLst>
          </p:cNvPr>
          <p:cNvSpPr txBox="1"/>
          <p:nvPr/>
        </p:nvSpPr>
        <p:spPr>
          <a:xfrm>
            <a:off x="6059091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0" name="TextBox 24">
            <a:extLst>
              <a:ext uri="{FF2B5EF4-FFF2-40B4-BE49-F238E27FC236}">
                <a16:creationId xmlns:a16="http://schemas.microsoft.com/office/drawing/2014/main" id="{B5CF9581-8B58-A27B-41A4-D5A31B74B88E}"/>
              </a:ext>
            </a:extLst>
          </p:cNvPr>
          <p:cNvSpPr txBox="1"/>
          <p:nvPr/>
        </p:nvSpPr>
        <p:spPr>
          <a:xfrm>
            <a:off x="8213725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61070183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A0B8194F-053B-4669-C47B-1257BF8A92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A0B8194F-053B-4669-C47B-1257BF8A9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450B3F9-FA9A-A768-917C-E93DC78542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C52F16-B90E-D984-5F64-F233CA84A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istogram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5B8F84-DB18-EE00-FE14-4FE34C4F0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Gráfico 8">
                <a:extLst>
                  <a:ext uri="{FF2B5EF4-FFF2-40B4-BE49-F238E27FC236}">
                    <a16:creationId xmlns:a16="http://schemas.microsoft.com/office/drawing/2014/main" id="{DCE0974D-F4FF-FB07-4A97-26AAB61F5409}"/>
                  </a:ext>
                </a:extLst>
              </p:cNvPr>
              <p:cNvGraphicFramePr/>
              <p:nvPr/>
            </p:nvGraphicFramePr>
            <p:xfrm>
              <a:off x="384175" y="2162629"/>
              <a:ext cx="11420474" cy="37592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9" name="Gráfico 8">
                <a:extLst>
                  <a:ext uri="{FF2B5EF4-FFF2-40B4-BE49-F238E27FC236}">
                    <a16:creationId xmlns:a16="http://schemas.microsoft.com/office/drawing/2014/main" id="{DCE0974D-F4FF-FB07-4A97-26AAB61F540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84175" y="2162629"/>
                <a:ext cx="11420474" cy="37592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Rectángulo 9">
            <a:extLst>
              <a:ext uri="{FF2B5EF4-FFF2-40B4-BE49-F238E27FC236}">
                <a16:creationId xmlns:a16="http://schemas.microsoft.com/office/drawing/2014/main" id="{F89C6DBD-A7A4-1144-CE33-3D68A0B04EA3}"/>
              </a:ext>
            </a:extLst>
          </p:cNvPr>
          <p:cNvSpPr/>
          <p:nvPr/>
        </p:nvSpPr>
        <p:spPr>
          <a:xfrm>
            <a:off x="3304637" y="1520825"/>
            <a:ext cx="582666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Abrir llave 10">
            <a:extLst>
              <a:ext uri="{FF2B5EF4-FFF2-40B4-BE49-F238E27FC236}">
                <a16:creationId xmlns:a16="http://schemas.microsoft.com/office/drawing/2014/main" id="{6C48DF5A-7BC0-AEC7-2990-7FF418149B30}"/>
              </a:ext>
            </a:extLst>
          </p:cNvPr>
          <p:cNvSpPr/>
          <p:nvPr/>
        </p:nvSpPr>
        <p:spPr>
          <a:xfrm rot="5400000">
            <a:off x="6080084" y="-3510424"/>
            <a:ext cx="275771" cy="10976518"/>
          </a:xfrm>
          <a:prstGeom prst="leftBrace">
            <a:avLst>
              <a:gd name="adj1" fmla="val 37691"/>
              <a:gd name="adj2" fmla="val 50000"/>
            </a:avLst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EA746CF4-E342-FBEA-1BD6-CDCA5F0BB206}"/>
              </a:ext>
            </a:extLst>
          </p:cNvPr>
          <p:cNvSpPr/>
          <p:nvPr/>
        </p:nvSpPr>
        <p:spPr>
          <a:xfrm>
            <a:off x="795347" y="4804070"/>
            <a:ext cx="169385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610D5D8B-0AAB-9691-10E6-D3F28D44E2E0}"/>
              </a:ext>
            </a:extLst>
          </p:cNvPr>
          <p:cNvCxnSpPr>
            <a:cxnSpLocks/>
          </p:cNvCxnSpPr>
          <p:nvPr/>
        </p:nvCxnSpPr>
        <p:spPr>
          <a:xfrm>
            <a:off x="1642274" y="4995086"/>
            <a:ext cx="0" cy="2246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:a16="http://schemas.microsoft.com/office/drawing/2014/main" id="{44E5D986-524B-A534-1B66-769638E39098}"/>
              </a:ext>
            </a:extLst>
          </p:cNvPr>
          <p:cNvSpPr/>
          <p:nvPr/>
        </p:nvSpPr>
        <p:spPr>
          <a:xfrm>
            <a:off x="3801524" y="6093281"/>
            <a:ext cx="483289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81406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Density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CED1BE4E-301E-6F62-6333-D4EDE7C57C71}"/>
              </a:ext>
            </a:extLst>
          </p:cNvPr>
          <p:cNvGraphicFramePr/>
          <p:nvPr/>
        </p:nvGraphicFramePr>
        <p:xfrm>
          <a:off x="384174" y="2033753"/>
          <a:ext cx="5640390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4">
            <a:extLst>
              <a:ext uri="{FF2B5EF4-FFF2-40B4-BE49-F238E27FC236}">
                <a16:creationId xmlns:a16="http://schemas.microsoft.com/office/drawing/2014/main" id="{6904F4C9-1EE6-6133-1DB6-E7C25AE959C4}"/>
              </a:ext>
            </a:extLst>
          </p:cNvPr>
          <p:cNvSpPr txBox="1"/>
          <p:nvPr/>
        </p:nvSpPr>
        <p:spPr>
          <a:xfrm>
            <a:off x="808039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0C953CD3-FF40-9E32-EA6F-38532D95759A}"/>
              </a:ext>
            </a:extLst>
          </p:cNvPr>
          <p:cNvGraphicFramePr/>
          <p:nvPr/>
        </p:nvGraphicFramePr>
        <p:xfrm>
          <a:off x="6180135" y="2033753"/>
          <a:ext cx="5640390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63297803-5B89-E7A0-9D72-469B1647B17B}"/>
              </a:ext>
            </a:extLst>
          </p:cNvPr>
          <p:cNvSpPr txBox="1"/>
          <p:nvPr/>
        </p:nvSpPr>
        <p:spPr>
          <a:xfrm>
            <a:off x="6604000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64871223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Population pyramid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480B3074-0320-8031-9D13-25C4607E2809}"/>
              </a:ext>
            </a:extLst>
          </p:cNvPr>
          <p:cNvGraphicFramePr/>
          <p:nvPr/>
        </p:nvGraphicFramePr>
        <p:xfrm>
          <a:off x="782865" y="2033753"/>
          <a:ext cx="5503864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861A84D0-0819-56DF-77E1-726B2F60C74B}"/>
              </a:ext>
            </a:extLst>
          </p:cNvPr>
          <p:cNvGraphicFramePr/>
          <p:nvPr/>
        </p:nvGraphicFramePr>
        <p:xfrm>
          <a:off x="5686650" y="2033753"/>
          <a:ext cx="5640390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246D7EAB-9A4E-1043-2A08-D5E39E7251AD}"/>
              </a:ext>
            </a:extLst>
          </p:cNvPr>
          <p:cNvSpPr txBox="1"/>
          <p:nvPr/>
        </p:nvSpPr>
        <p:spPr>
          <a:xfrm>
            <a:off x="808039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7587D9C6-7A03-CDEE-88D8-E962B8895C0C}"/>
              </a:ext>
            </a:extLst>
          </p:cNvPr>
          <p:cNvSpPr txBox="1"/>
          <p:nvPr/>
        </p:nvSpPr>
        <p:spPr>
          <a:xfrm>
            <a:off x="6604000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794610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C0B7FD4F-8CA4-9501-B198-B2B4F8F418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C0B7FD4F-8CA4-9501-B198-B2B4F8F418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4F43DAE9-4BED-9805-85A5-3F46757BE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dustries Umbrex Serves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ED21F794-CCBB-1CC0-455D-505AFEE02B6B}"/>
              </a:ext>
            </a:extLst>
          </p:cNvPr>
          <p:cNvSpPr txBox="1"/>
          <p:nvPr/>
        </p:nvSpPr>
        <p:spPr>
          <a:xfrm>
            <a:off x="384174" y="1338994"/>
            <a:ext cx="3681906" cy="39087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erospace &amp; Defen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gricultu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utomoti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Biotechnolo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hemic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umer Packaged Goo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smetics &amp; Personal Ca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du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ner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inancial Ser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ealthcare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2242DBD1-BD08-93D6-A353-3883BA5D0F13}"/>
              </a:ext>
            </a:extLst>
          </p:cNvPr>
          <p:cNvSpPr txBox="1"/>
          <p:nvPr/>
        </p:nvSpPr>
        <p:spPr>
          <a:xfrm>
            <a:off x="4261395" y="1338994"/>
            <a:ext cx="3681906" cy="39087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nsur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nufactu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edia &amp; Entertain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edical De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etals &amp; Mi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profi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il &amp; Ga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harmaceutic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ivate Equ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ofessional Ser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ulp and Paper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1020553B-7A5C-F8DA-483F-48725D4C012A}"/>
              </a:ext>
            </a:extLst>
          </p:cNvPr>
          <p:cNvSpPr txBox="1"/>
          <p:nvPr/>
        </p:nvSpPr>
        <p:spPr>
          <a:xfrm>
            <a:off x="8138618" y="1338994"/>
            <a:ext cx="3681906" cy="35394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al Estate &amp; Constru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staura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tai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ocial Sector &amp; NGO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oftwa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chnolo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lecommunic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ravel &amp; Logist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Wast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Wine, Beer, and Spirits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D0DAB828-0FC5-4C90-B0DB-7F448DEFB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A58686D-0866-896D-08B6-096D7F40EBE6}"/>
              </a:ext>
            </a:extLst>
          </p:cNvPr>
          <p:cNvSpPr/>
          <p:nvPr/>
        </p:nvSpPr>
        <p:spPr>
          <a:xfrm>
            <a:off x="121920" y="6400800"/>
            <a:ext cx="1805492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9FF6E30E-F88A-8F0D-71C1-CC8C1DBB94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11">
            <a:extLst>
              <a:ext uri="{FF2B5EF4-FFF2-40B4-BE49-F238E27FC236}">
                <a16:creationId xmlns:a16="http://schemas.microsoft.com/office/drawing/2014/main" id="{71CEA26A-AC0D-DC1C-11EE-6A0E0ABD83BB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288188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E84C43E-000C-AEAB-4952-B6DFD295FD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E84C43E-000C-AEAB-4952-B6DFD295F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BA3550D-CCC9-DD5F-35DD-6436A7D95E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63A25D2-DE76-CD30-1573-B8EC2DA0E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Percentage breakdown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003AF4C-C953-2694-85A0-2EA8E3220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096CA027-D626-9AF2-844B-BCEDFF23CD1C}"/>
              </a:ext>
            </a:extLst>
          </p:cNvPr>
          <p:cNvGraphicFramePr>
            <a:graphicFrameLocks noGrp="1"/>
          </p:cNvGraphicFramePr>
          <p:nvPr/>
        </p:nvGraphicFramePr>
        <p:xfrm>
          <a:off x="869949" y="2883808"/>
          <a:ext cx="2768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">
                  <a:extLst>
                    <a:ext uri="{9D8B030D-6E8A-4147-A177-3AD203B41FA5}">
                      <a16:colId xmlns:a16="http://schemas.microsoft.com/office/drawing/2014/main" val="166681476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739752004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114872509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137935226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553336140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14535987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646946913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97668666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07660573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815681614"/>
                    </a:ext>
                  </a:extLst>
                </a:gridCol>
              </a:tblGrid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071158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25033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237926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5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61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560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595199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156027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992170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1643"/>
                  </a:ext>
                </a:extLst>
              </a:tr>
            </a:tbl>
          </a:graphicData>
        </a:graphic>
      </p:graphicFrame>
      <p:graphicFrame>
        <p:nvGraphicFramePr>
          <p:cNvPr id="9" name="Tabla 7">
            <a:extLst>
              <a:ext uri="{FF2B5EF4-FFF2-40B4-BE49-F238E27FC236}">
                <a16:creationId xmlns:a16="http://schemas.microsoft.com/office/drawing/2014/main" id="{392A7FCC-8FBC-C037-1270-E14F5076E879}"/>
              </a:ext>
            </a:extLst>
          </p:cNvPr>
          <p:cNvGraphicFramePr>
            <a:graphicFrameLocks noGrp="1"/>
          </p:cNvGraphicFramePr>
          <p:nvPr/>
        </p:nvGraphicFramePr>
        <p:xfrm>
          <a:off x="4701380" y="2883808"/>
          <a:ext cx="2768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">
                  <a:extLst>
                    <a:ext uri="{9D8B030D-6E8A-4147-A177-3AD203B41FA5}">
                      <a16:colId xmlns:a16="http://schemas.microsoft.com/office/drawing/2014/main" val="166681476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739752004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114872509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137935226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553336140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14535987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646946913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97668666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07660573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815681614"/>
                    </a:ext>
                  </a:extLst>
                </a:gridCol>
              </a:tblGrid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071158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25033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237926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5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61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560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595199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156027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992170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1643"/>
                  </a:ext>
                </a:extLst>
              </a:tr>
            </a:tbl>
          </a:graphicData>
        </a:graphic>
      </p:graphicFrame>
      <p:graphicFrame>
        <p:nvGraphicFramePr>
          <p:cNvPr id="10" name="Tabla 7">
            <a:extLst>
              <a:ext uri="{FF2B5EF4-FFF2-40B4-BE49-F238E27FC236}">
                <a16:creationId xmlns:a16="http://schemas.microsoft.com/office/drawing/2014/main" id="{4B2CDE9A-B0D5-8B1D-0757-353CCAAD743C}"/>
              </a:ext>
            </a:extLst>
          </p:cNvPr>
          <p:cNvGraphicFramePr>
            <a:graphicFrameLocks noGrp="1"/>
          </p:cNvGraphicFramePr>
          <p:nvPr/>
        </p:nvGraphicFramePr>
        <p:xfrm>
          <a:off x="8532812" y="2883808"/>
          <a:ext cx="2768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">
                  <a:extLst>
                    <a:ext uri="{9D8B030D-6E8A-4147-A177-3AD203B41FA5}">
                      <a16:colId xmlns:a16="http://schemas.microsoft.com/office/drawing/2014/main" val="166681476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739752004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114872509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137935226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553336140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14535987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646946913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97668666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07660573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815681614"/>
                    </a:ext>
                  </a:extLst>
                </a:gridCol>
              </a:tblGrid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071158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25033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237926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5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61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560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595199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156027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992170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1643"/>
                  </a:ext>
                </a:extLst>
              </a:tr>
            </a:tbl>
          </a:graphicData>
        </a:graphic>
      </p:graphicFrame>
      <p:sp>
        <p:nvSpPr>
          <p:cNvPr id="11" name="TextBox 24">
            <a:extLst>
              <a:ext uri="{FF2B5EF4-FFF2-40B4-BE49-F238E27FC236}">
                <a16:creationId xmlns:a16="http://schemas.microsoft.com/office/drawing/2014/main" id="{BA5ED7F5-1378-7268-12EB-70F35087350A}"/>
              </a:ext>
            </a:extLst>
          </p:cNvPr>
          <p:cNvSpPr txBox="1"/>
          <p:nvPr/>
        </p:nvSpPr>
        <p:spPr>
          <a:xfrm>
            <a:off x="869949" y="2510000"/>
            <a:ext cx="222377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A1DD2BFA-A046-2439-817D-ABB8B5DDEB67}"/>
              </a:ext>
            </a:extLst>
          </p:cNvPr>
          <p:cNvSpPr txBox="1"/>
          <p:nvPr/>
        </p:nvSpPr>
        <p:spPr>
          <a:xfrm>
            <a:off x="3093719" y="2510000"/>
            <a:ext cx="5448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B97BB7D6-9672-B05A-7BAE-44030CA0F61D}"/>
              </a:ext>
            </a:extLst>
          </p:cNvPr>
          <p:cNvSpPr txBox="1"/>
          <p:nvPr/>
        </p:nvSpPr>
        <p:spPr>
          <a:xfrm>
            <a:off x="4701380" y="2510000"/>
            <a:ext cx="222377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F56D30E8-259A-2C74-5559-0AEC8821782A}"/>
              </a:ext>
            </a:extLst>
          </p:cNvPr>
          <p:cNvSpPr txBox="1"/>
          <p:nvPr/>
        </p:nvSpPr>
        <p:spPr>
          <a:xfrm>
            <a:off x="6925151" y="2510000"/>
            <a:ext cx="5448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0FF834A7-078E-9131-F5C3-86D61D4F5EFD}"/>
              </a:ext>
            </a:extLst>
          </p:cNvPr>
          <p:cNvSpPr txBox="1"/>
          <p:nvPr/>
        </p:nvSpPr>
        <p:spPr>
          <a:xfrm>
            <a:off x="8532812" y="2510000"/>
            <a:ext cx="222377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379D70B1-B890-A760-343E-F5D91FBBDAEC}"/>
              </a:ext>
            </a:extLst>
          </p:cNvPr>
          <p:cNvSpPr txBox="1"/>
          <p:nvPr/>
        </p:nvSpPr>
        <p:spPr>
          <a:xfrm>
            <a:off x="10756582" y="2510000"/>
            <a:ext cx="5448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2727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5656CDC-7D9E-226E-269D-0051C78D55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5656CDC-7D9E-226E-269D-0051C78D5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E265CCF-97E4-B807-0467-BDE52CED05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E28C1C1-0DF9-AA8E-3F41-917E900C6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Heat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60198F5-94AB-ED9F-EFD5-EA6975C1D9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754D82A6-5131-A9E2-1998-831818E8FB52}"/>
              </a:ext>
            </a:extLst>
          </p:cNvPr>
          <p:cNvGraphicFramePr>
            <a:graphicFrameLocks noGrp="1"/>
          </p:cNvGraphicFramePr>
          <p:nvPr/>
        </p:nvGraphicFramePr>
        <p:xfrm>
          <a:off x="1117600" y="1530220"/>
          <a:ext cx="9042399" cy="4402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511">
                  <a:extLst>
                    <a:ext uri="{9D8B030D-6E8A-4147-A177-3AD203B41FA5}">
                      <a16:colId xmlns:a16="http://schemas.microsoft.com/office/drawing/2014/main" val="3271989468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53811902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32485324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18860092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555789638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2022599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18418914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786423157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175663156"/>
                    </a:ext>
                  </a:extLst>
                </a:gridCol>
              </a:tblGrid>
              <a:tr h="293476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708674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981287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709775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166180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160907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175333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623112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842262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119832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619536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950788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728255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690905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431900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782772"/>
                  </a:ext>
                </a:extLst>
              </a:tr>
            </a:tbl>
          </a:graphicData>
        </a:graphic>
      </p:graphicFrame>
      <p:sp>
        <p:nvSpPr>
          <p:cNvPr id="8" name="TextBox 24">
            <a:extLst>
              <a:ext uri="{FF2B5EF4-FFF2-40B4-BE49-F238E27FC236}">
                <a16:creationId xmlns:a16="http://schemas.microsoft.com/office/drawing/2014/main" id="{6EEF0EA5-225B-BEA3-FEF5-DFA81A98D452}"/>
              </a:ext>
            </a:extLst>
          </p:cNvPr>
          <p:cNvSpPr txBox="1"/>
          <p:nvPr/>
        </p:nvSpPr>
        <p:spPr>
          <a:xfrm>
            <a:off x="5963919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3176D9B5-DA8B-D968-392B-D4369D458FB1}"/>
              </a:ext>
            </a:extLst>
          </p:cNvPr>
          <p:cNvSpPr/>
          <p:nvPr/>
        </p:nvSpPr>
        <p:spPr>
          <a:xfrm>
            <a:off x="5712812" y="6131528"/>
            <a:ext cx="184150" cy="184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7A12796-982D-DD63-91B0-DF16B13637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81753" y="5593851"/>
            <a:ext cx="6771369" cy="266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24">
            <a:extLst>
              <a:ext uri="{FF2B5EF4-FFF2-40B4-BE49-F238E27FC236}">
                <a16:creationId xmlns:a16="http://schemas.microsoft.com/office/drawing/2014/main" id="{AB5FAE21-B1B4-D997-EB5C-0277A7BE21F0}"/>
              </a:ext>
            </a:extLst>
          </p:cNvPr>
          <p:cNvSpPr txBox="1"/>
          <p:nvPr/>
        </p:nvSpPr>
        <p:spPr>
          <a:xfrm>
            <a:off x="7200185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DFE76B6-C5D5-DDE1-BC26-39500169C7CE}"/>
              </a:ext>
            </a:extLst>
          </p:cNvPr>
          <p:cNvSpPr/>
          <p:nvPr/>
        </p:nvSpPr>
        <p:spPr>
          <a:xfrm>
            <a:off x="6949078" y="6131528"/>
            <a:ext cx="184150" cy="1841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ABC023C8-B3B3-77FE-D3AB-FE158F9474D2}"/>
              </a:ext>
            </a:extLst>
          </p:cNvPr>
          <p:cNvSpPr txBox="1"/>
          <p:nvPr/>
        </p:nvSpPr>
        <p:spPr>
          <a:xfrm>
            <a:off x="8436451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3FE4EB50-A31A-21EC-7D2C-0A3645A4EDA3}"/>
              </a:ext>
            </a:extLst>
          </p:cNvPr>
          <p:cNvSpPr/>
          <p:nvPr/>
        </p:nvSpPr>
        <p:spPr>
          <a:xfrm>
            <a:off x="8185344" y="6131528"/>
            <a:ext cx="184150" cy="184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9C1B5712-91B1-1369-BEC3-2F9663955974}"/>
              </a:ext>
            </a:extLst>
          </p:cNvPr>
          <p:cNvSpPr txBox="1"/>
          <p:nvPr/>
        </p:nvSpPr>
        <p:spPr>
          <a:xfrm>
            <a:off x="9672717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6ED0D4A8-55DF-3A1E-E0B7-486A2658BEBE}"/>
              </a:ext>
            </a:extLst>
          </p:cNvPr>
          <p:cNvSpPr/>
          <p:nvPr/>
        </p:nvSpPr>
        <p:spPr>
          <a:xfrm>
            <a:off x="9421610" y="6131528"/>
            <a:ext cx="184150" cy="184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F6E91055-9DA2-904F-5F13-815FD14E75F3}"/>
              </a:ext>
            </a:extLst>
          </p:cNvPr>
          <p:cNvSpPr txBox="1"/>
          <p:nvPr/>
        </p:nvSpPr>
        <p:spPr>
          <a:xfrm>
            <a:off x="10908982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1E70955-40E0-0873-36F4-5FA7B0D5B424}"/>
              </a:ext>
            </a:extLst>
          </p:cNvPr>
          <p:cNvSpPr/>
          <p:nvPr/>
        </p:nvSpPr>
        <p:spPr>
          <a:xfrm>
            <a:off x="10657875" y="6131528"/>
            <a:ext cx="184150" cy="18415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670972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11DB046-21A9-E57E-23F4-ACD941C42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11DB046-21A9-E57E-23F4-ACD941C42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1EA1BF0B-AA47-9330-DB1F-4D2477D9A626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0" cy="39899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75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</a:tbl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4F04D77-D24B-4ED4-F5D6-1C82178B72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163AEF4-0535-FB3D-69F6-1624B89B3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Heat map (with numbers)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7142D09-E4B4-A0A1-4916-9C60F0C02F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7429C0DD-2833-817E-4793-A929A22FA40D}"/>
              </a:ext>
            </a:extLst>
          </p:cNvPr>
          <p:cNvSpPr txBox="1"/>
          <p:nvPr/>
        </p:nvSpPr>
        <p:spPr>
          <a:xfrm>
            <a:off x="9672717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F82E754-13D6-8160-71A8-93A48495A082}"/>
              </a:ext>
            </a:extLst>
          </p:cNvPr>
          <p:cNvSpPr/>
          <p:nvPr/>
        </p:nvSpPr>
        <p:spPr>
          <a:xfrm>
            <a:off x="9421610" y="6131528"/>
            <a:ext cx="184150" cy="184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CAB839CC-8146-F568-3644-BA013EA45D76}"/>
              </a:ext>
            </a:extLst>
          </p:cNvPr>
          <p:cNvSpPr txBox="1"/>
          <p:nvPr/>
        </p:nvSpPr>
        <p:spPr>
          <a:xfrm>
            <a:off x="10908982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793A4A9-4657-8771-17DE-0DAB4062B74B}"/>
              </a:ext>
            </a:extLst>
          </p:cNvPr>
          <p:cNvSpPr/>
          <p:nvPr/>
        </p:nvSpPr>
        <p:spPr>
          <a:xfrm>
            <a:off x="10657875" y="6131528"/>
            <a:ext cx="184150" cy="1841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29219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254368611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>
            <a:extLst>
              <a:ext uri="{FF2B5EF4-FFF2-40B4-BE49-F238E27FC236}">
                <a16:creationId xmlns:a16="http://schemas.microsoft.com/office/drawing/2014/main" id="{E31A1FEE-6B28-52C6-6A10-BA202633BD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42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19" name="Objeto 18" hidden="1">
                        <a:extLst>
                          <a:ext uri="{FF2B5EF4-FFF2-40B4-BE49-F238E27FC236}">
                            <a16:creationId xmlns:a16="http://schemas.microsoft.com/office/drawing/2014/main" id="{E31A1FEE-6B28-52C6-6A10-BA202633BD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EEB7333-ED1A-25CB-2473-29C18C849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EB0C2E2-2960-C847-0983-2316EEB0A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F909664-78D6-BB95-FD5E-09449B7B72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4990345"/>
              </p:ext>
            </p:extLst>
          </p:nvPr>
        </p:nvGraphicFramePr>
        <p:xfrm>
          <a:off x="371475" y="2227329"/>
          <a:ext cx="11449050" cy="408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99F1FAD-19C2-1050-3169-A695F9B279C5}"/>
              </a:ext>
            </a:extLst>
          </p:cNvPr>
          <p:cNvSpPr txBox="1"/>
          <p:nvPr/>
        </p:nvSpPr>
        <p:spPr>
          <a:xfrm>
            <a:off x="3487238" y="2172916"/>
            <a:ext cx="846114" cy="279451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5425A1F-B1FC-DAF2-F09D-738746559153}"/>
              </a:ext>
            </a:extLst>
          </p:cNvPr>
          <p:cNvSpPr txBox="1">
            <a:spLocks/>
          </p:cNvSpPr>
          <p:nvPr/>
        </p:nvSpPr>
        <p:spPr>
          <a:xfrm>
            <a:off x="3487238" y="2419515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E079E322-29D1-1B7F-1B2A-E9CB3963B1B1}"/>
              </a:ext>
            </a:extLst>
          </p:cNvPr>
          <p:cNvSpPr txBox="1"/>
          <p:nvPr/>
        </p:nvSpPr>
        <p:spPr>
          <a:xfrm>
            <a:off x="5093534" y="4310426"/>
            <a:ext cx="838691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47E6D4B-CF82-2320-30CC-5F0BE4D3DA3B}"/>
              </a:ext>
            </a:extLst>
          </p:cNvPr>
          <p:cNvSpPr txBox="1">
            <a:spLocks/>
          </p:cNvSpPr>
          <p:nvPr/>
        </p:nvSpPr>
        <p:spPr>
          <a:xfrm>
            <a:off x="5093534" y="4554573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BEDA4D92-F58C-3888-8047-7B7812543BD2}"/>
              </a:ext>
            </a:extLst>
          </p:cNvPr>
          <p:cNvSpPr txBox="1"/>
          <p:nvPr/>
        </p:nvSpPr>
        <p:spPr>
          <a:xfrm>
            <a:off x="7842830" y="5086332"/>
            <a:ext cx="838691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4778409-6259-FD77-3E04-B6756A527659}"/>
              </a:ext>
            </a:extLst>
          </p:cNvPr>
          <p:cNvSpPr txBox="1">
            <a:spLocks/>
          </p:cNvSpPr>
          <p:nvPr/>
        </p:nvSpPr>
        <p:spPr>
          <a:xfrm>
            <a:off x="7842830" y="5330479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1" name="Freeform 926">
            <a:extLst>
              <a:ext uri="{FF2B5EF4-FFF2-40B4-BE49-F238E27FC236}">
                <a16:creationId xmlns:a16="http://schemas.microsoft.com/office/drawing/2014/main" id="{300DA90B-BE16-26DC-B504-7B350BC59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2957" y="2366930"/>
            <a:ext cx="461665" cy="461665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2" name="Freeform 927">
            <a:extLst>
              <a:ext uri="{FF2B5EF4-FFF2-40B4-BE49-F238E27FC236}">
                <a16:creationId xmlns:a16="http://schemas.microsoft.com/office/drawing/2014/main" id="{EBAAEC8D-774E-219E-46AC-A4AB6597D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3866" y="3669561"/>
            <a:ext cx="367697" cy="461666"/>
          </a:xfrm>
          <a:custGeom>
            <a:avLst/>
            <a:gdLst>
              <a:gd name="T0" fmla="*/ 798435 w 236178"/>
              <a:gd name="T1" fmla="*/ 3144734 h 296502"/>
              <a:gd name="T2" fmla="*/ 1998058 w 236178"/>
              <a:gd name="T3" fmla="*/ 2703379 h 296502"/>
              <a:gd name="T4" fmla="*/ 1298699 w 236178"/>
              <a:gd name="T5" fmla="*/ 2462792 h 296502"/>
              <a:gd name="T6" fmla="*/ 1298699 w 236178"/>
              <a:gd name="T7" fmla="*/ 2736271 h 296502"/>
              <a:gd name="T8" fmla="*/ 1298699 w 236178"/>
              <a:gd name="T9" fmla="*/ 2462792 h 296502"/>
              <a:gd name="T10" fmla="*/ 1860611 w 236178"/>
              <a:gd name="T11" fmla="*/ 2504153 h 296502"/>
              <a:gd name="T12" fmla="*/ 1780364 w 236178"/>
              <a:gd name="T13" fmla="*/ 2556198 h 296502"/>
              <a:gd name="T14" fmla="*/ 883792 w 236178"/>
              <a:gd name="T15" fmla="*/ 2340054 h 296502"/>
              <a:gd name="T16" fmla="*/ 769356 w 236178"/>
              <a:gd name="T17" fmla="*/ 2580216 h 296502"/>
              <a:gd name="T18" fmla="*/ 814304 w 236178"/>
              <a:gd name="T19" fmla="*/ 2360069 h 296502"/>
              <a:gd name="T20" fmla="*/ 2222502 w 236178"/>
              <a:gd name="T21" fmla="*/ 2111222 h 296502"/>
              <a:gd name="T22" fmla="*/ 2171188 w 236178"/>
              <a:gd name="T23" fmla="*/ 2194695 h 296502"/>
              <a:gd name="T24" fmla="*/ 2076426 w 236178"/>
              <a:gd name="T25" fmla="*/ 2023788 h 296502"/>
              <a:gd name="T26" fmla="*/ 555562 w 236178"/>
              <a:gd name="T27" fmla="*/ 2111222 h 296502"/>
              <a:gd name="T28" fmla="*/ 345556 w 236178"/>
              <a:gd name="T29" fmla="*/ 2178795 h 296502"/>
              <a:gd name="T30" fmla="*/ 2171451 w 236178"/>
              <a:gd name="T31" fmla="*/ 1578281 h 296502"/>
              <a:gd name="T32" fmla="*/ 2340605 w 236178"/>
              <a:gd name="T33" fmla="*/ 1678334 h 296502"/>
              <a:gd name="T34" fmla="*/ 2171451 w 236178"/>
              <a:gd name="T35" fmla="*/ 1578281 h 296502"/>
              <a:gd name="T36" fmla="*/ 447764 w 236178"/>
              <a:gd name="T37" fmla="*/ 1626302 h 296502"/>
              <a:gd name="T38" fmla="*/ 191081 w 236178"/>
              <a:gd name="T39" fmla="*/ 1626302 h 296502"/>
              <a:gd name="T40" fmla="*/ 2238282 w 236178"/>
              <a:gd name="T41" fmla="*/ 1071766 h 296502"/>
              <a:gd name="T42" fmla="*/ 2052744 w 236178"/>
              <a:gd name="T43" fmla="*/ 1227507 h 296502"/>
              <a:gd name="T44" fmla="*/ 2171188 w 236178"/>
              <a:gd name="T45" fmla="*/ 1052300 h 296502"/>
              <a:gd name="T46" fmla="*/ 571121 w 236178"/>
              <a:gd name="T47" fmla="*/ 1204150 h 296502"/>
              <a:gd name="T48" fmla="*/ 365024 w 236178"/>
              <a:gd name="T49" fmla="*/ 1137954 h 296502"/>
              <a:gd name="T50" fmla="*/ 1298047 w 236178"/>
              <a:gd name="T51" fmla="*/ 953907 h 296502"/>
              <a:gd name="T52" fmla="*/ 1681593 w 236178"/>
              <a:gd name="T53" fmla="*/ 1579968 h 296502"/>
              <a:gd name="T54" fmla="*/ 1298047 w 236178"/>
              <a:gd name="T55" fmla="*/ 1678413 h 296502"/>
              <a:gd name="T56" fmla="*/ 1298047 w 236178"/>
              <a:gd name="T57" fmla="*/ 953907 h 296502"/>
              <a:gd name="T58" fmla="*/ 1780364 w 236178"/>
              <a:gd name="T59" fmla="*/ 891210 h 296502"/>
              <a:gd name="T60" fmla="*/ 1696297 w 236178"/>
              <a:gd name="T61" fmla="*/ 843157 h 296502"/>
              <a:gd name="T62" fmla="*/ 744833 w 236178"/>
              <a:gd name="T63" fmla="*/ 675059 h 296502"/>
              <a:gd name="T64" fmla="*/ 883792 w 236178"/>
              <a:gd name="T65" fmla="*/ 911223 h 296502"/>
              <a:gd name="T66" fmla="*/ 728494 w 236178"/>
              <a:gd name="T67" fmla="*/ 743105 h 296502"/>
              <a:gd name="T68" fmla="*/ 1350821 w 236178"/>
              <a:gd name="T69" fmla="*/ 583560 h 296502"/>
              <a:gd name="T70" fmla="*/ 1250602 w 236178"/>
              <a:gd name="T71" fmla="*/ 748080 h 296502"/>
              <a:gd name="T72" fmla="*/ 1290080 w 236178"/>
              <a:gd name="T73" fmla="*/ 425601 h 296502"/>
              <a:gd name="T74" fmla="*/ 2481839 w 236178"/>
              <a:gd name="T75" fmla="*/ 1619664 h 296502"/>
              <a:gd name="T76" fmla="*/ 652908 w 236178"/>
              <a:gd name="T77" fmla="*/ 212813 h 296502"/>
              <a:gd name="T78" fmla="*/ 1998058 w 236178"/>
              <a:gd name="T79" fmla="*/ 539874 h 296502"/>
              <a:gd name="T80" fmla="*/ 798435 w 236178"/>
              <a:gd name="T81" fmla="*/ 98520 h 296502"/>
              <a:gd name="T82" fmla="*/ 2025594 w 236178"/>
              <a:gd name="T83" fmla="*/ 193122 h 296502"/>
              <a:gd name="T84" fmla="*/ 2116055 w 236178"/>
              <a:gd name="T85" fmla="*/ 2616686 h 296502"/>
              <a:gd name="T86" fmla="*/ 798435 w 236178"/>
              <a:gd name="T87" fmla="*/ 3239316 h 296502"/>
              <a:gd name="T88" fmla="*/ 0 w 236178"/>
              <a:gd name="T89" fmla="*/ 1619664 h 296502"/>
              <a:gd name="T90" fmla="*/ 798435 w 236178"/>
              <a:gd name="T91" fmla="*/ 0 h 2965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36178" h="296502">
                <a:moveTo>
                  <a:pt x="53562" y="247446"/>
                </a:moveTo>
                <a:lnTo>
                  <a:pt x="59673" y="277024"/>
                </a:lnTo>
                <a:cubicBezTo>
                  <a:pt x="60752" y="283517"/>
                  <a:pt x="66503" y="287845"/>
                  <a:pt x="72974" y="287845"/>
                </a:cubicBezTo>
                <a:lnTo>
                  <a:pt x="163204" y="287845"/>
                </a:lnTo>
                <a:cubicBezTo>
                  <a:pt x="169674" y="287845"/>
                  <a:pt x="175066" y="283517"/>
                  <a:pt x="176145" y="277024"/>
                </a:cubicBezTo>
                <a:lnTo>
                  <a:pt x="182615" y="247446"/>
                </a:lnTo>
                <a:cubicBezTo>
                  <a:pt x="163923" y="259710"/>
                  <a:pt x="141635" y="266924"/>
                  <a:pt x="117909" y="266924"/>
                </a:cubicBezTo>
                <a:cubicBezTo>
                  <a:pt x="94183" y="266924"/>
                  <a:pt x="72255" y="259710"/>
                  <a:pt x="53562" y="247446"/>
                </a:cubicBezTo>
                <a:close/>
                <a:moveTo>
                  <a:pt x="118696" y="225425"/>
                </a:moveTo>
                <a:cubicBezTo>
                  <a:pt x="121261" y="225425"/>
                  <a:pt x="123459" y="227266"/>
                  <a:pt x="123459" y="230211"/>
                </a:cubicBezTo>
                <a:lnTo>
                  <a:pt x="123459" y="245671"/>
                </a:lnTo>
                <a:cubicBezTo>
                  <a:pt x="123459" y="248248"/>
                  <a:pt x="121261" y="250457"/>
                  <a:pt x="118696" y="250457"/>
                </a:cubicBezTo>
                <a:cubicBezTo>
                  <a:pt x="116498" y="250457"/>
                  <a:pt x="114300" y="248248"/>
                  <a:pt x="114300" y="245671"/>
                </a:cubicBezTo>
                <a:lnTo>
                  <a:pt x="114300" y="230211"/>
                </a:lnTo>
                <a:cubicBezTo>
                  <a:pt x="114300" y="227266"/>
                  <a:pt x="116498" y="225425"/>
                  <a:pt x="118696" y="225425"/>
                </a:cubicBezTo>
                <a:close/>
                <a:moveTo>
                  <a:pt x="156781" y="214190"/>
                </a:moveTo>
                <a:cubicBezTo>
                  <a:pt x="158528" y="212725"/>
                  <a:pt x="161322" y="213458"/>
                  <a:pt x="162719" y="216022"/>
                </a:cubicBezTo>
                <a:lnTo>
                  <a:pt x="170053" y="229211"/>
                </a:lnTo>
                <a:cubicBezTo>
                  <a:pt x="171101" y="231409"/>
                  <a:pt x="170752" y="233974"/>
                  <a:pt x="168656" y="235439"/>
                </a:cubicBezTo>
                <a:cubicBezTo>
                  <a:pt x="167608" y="235805"/>
                  <a:pt x="167259" y="236172"/>
                  <a:pt x="166211" y="236172"/>
                </a:cubicBezTo>
                <a:cubicBezTo>
                  <a:pt x="164814" y="236172"/>
                  <a:pt x="163417" y="235439"/>
                  <a:pt x="162719" y="233974"/>
                </a:cubicBezTo>
                <a:lnTo>
                  <a:pt x="155035" y="220418"/>
                </a:lnTo>
                <a:cubicBezTo>
                  <a:pt x="153987" y="218220"/>
                  <a:pt x="154686" y="215290"/>
                  <a:pt x="156781" y="214190"/>
                </a:cubicBezTo>
                <a:close/>
                <a:moveTo>
                  <a:pt x="80775" y="214190"/>
                </a:moveTo>
                <a:cubicBezTo>
                  <a:pt x="83016" y="215290"/>
                  <a:pt x="83763" y="218220"/>
                  <a:pt x="82269" y="220418"/>
                </a:cubicBezTo>
                <a:lnTo>
                  <a:pt x="74425" y="233974"/>
                </a:lnTo>
                <a:cubicBezTo>
                  <a:pt x="73678" y="235439"/>
                  <a:pt x="71810" y="236172"/>
                  <a:pt x="70316" y="236172"/>
                </a:cubicBezTo>
                <a:cubicBezTo>
                  <a:pt x="69569" y="236172"/>
                  <a:pt x="68822" y="235805"/>
                  <a:pt x="68075" y="235439"/>
                </a:cubicBezTo>
                <a:cubicBezTo>
                  <a:pt x="65834" y="233974"/>
                  <a:pt x="65087" y="231409"/>
                  <a:pt x="66581" y="229211"/>
                </a:cubicBezTo>
                <a:lnTo>
                  <a:pt x="74425" y="216022"/>
                </a:lnTo>
                <a:cubicBezTo>
                  <a:pt x="75546" y="213458"/>
                  <a:pt x="78534" y="212725"/>
                  <a:pt x="80775" y="214190"/>
                </a:cubicBezTo>
                <a:close/>
                <a:moveTo>
                  <a:pt x="189778" y="185241"/>
                </a:moveTo>
                <a:lnTo>
                  <a:pt x="203128" y="193245"/>
                </a:lnTo>
                <a:cubicBezTo>
                  <a:pt x="205293" y="194337"/>
                  <a:pt x="206014" y="197247"/>
                  <a:pt x="204571" y="199430"/>
                </a:cubicBezTo>
                <a:cubicBezTo>
                  <a:pt x="203850" y="200885"/>
                  <a:pt x="202406" y="201249"/>
                  <a:pt x="200963" y="201249"/>
                </a:cubicBezTo>
                <a:cubicBezTo>
                  <a:pt x="199881" y="201249"/>
                  <a:pt x="199520" y="201249"/>
                  <a:pt x="198438" y="200885"/>
                </a:cubicBezTo>
                <a:lnTo>
                  <a:pt x="185088" y="193245"/>
                </a:lnTo>
                <a:cubicBezTo>
                  <a:pt x="182923" y="191790"/>
                  <a:pt x="182562" y="189243"/>
                  <a:pt x="183645" y="186697"/>
                </a:cubicBezTo>
                <a:cubicBezTo>
                  <a:pt x="185088" y="184878"/>
                  <a:pt x="187613" y="184150"/>
                  <a:pt x="189778" y="185241"/>
                </a:cubicBezTo>
                <a:close/>
                <a:moveTo>
                  <a:pt x="46156" y="185241"/>
                </a:moveTo>
                <a:cubicBezTo>
                  <a:pt x="48643" y="184150"/>
                  <a:pt x="51131" y="184878"/>
                  <a:pt x="52198" y="186697"/>
                </a:cubicBezTo>
                <a:cubicBezTo>
                  <a:pt x="53619" y="189243"/>
                  <a:pt x="52908" y="191790"/>
                  <a:pt x="50776" y="193245"/>
                </a:cubicBezTo>
                <a:lnTo>
                  <a:pt x="37626" y="200885"/>
                </a:lnTo>
                <a:cubicBezTo>
                  <a:pt x="36915" y="201249"/>
                  <a:pt x="36204" y="201249"/>
                  <a:pt x="35493" y="201249"/>
                </a:cubicBezTo>
                <a:cubicBezTo>
                  <a:pt x="33716" y="201249"/>
                  <a:pt x="32650" y="200885"/>
                  <a:pt x="31583" y="199430"/>
                </a:cubicBezTo>
                <a:cubicBezTo>
                  <a:pt x="30162" y="197247"/>
                  <a:pt x="31228" y="194337"/>
                  <a:pt x="33361" y="193245"/>
                </a:cubicBezTo>
                <a:lnTo>
                  <a:pt x="46156" y="185241"/>
                </a:lnTo>
                <a:close/>
                <a:moveTo>
                  <a:pt x="198461" y="144463"/>
                </a:moveTo>
                <a:lnTo>
                  <a:pt x="213922" y="144463"/>
                </a:lnTo>
                <a:cubicBezTo>
                  <a:pt x="216498" y="144463"/>
                  <a:pt x="218707" y="146295"/>
                  <a:pt x="218707" y="148859"/>
                </a:cubicBezTo>
                <a:cubicBezTo>
                  <a:pt x="218707" y="151424"/>
                  <a:pt x="216498" y="153622"/>
                  <a:pt x="213922" y="153622"/>
                </a:cubicBezTo>
                <a:lnTo>
                  <a:pt x="198461" y="153622"/>
                </a:lnTo>
                <a:cubicBezTo>
                  <a:pt x="195884" y="153622"/>
                  <a:pt x="193675" y="151424"/>
                  <a:pt x="193675" y="148859"/>
                </a:cubicBezTo>
                <a:cubicBezTo>
                  <a:pt x="193675" y="146295"/>
                  <a:pt x="195884" y="144463"/>
                  <a:pt x="198461" y="144463"/>
                </a:cubicBezTo>
                <a:close/>
                <a:moveTo>
                  <a:pt x="21664" y="144463"/>
                </a:moveTo>
                <a:lnTo>
                  <a:pt x="36722" y="144463"/>
                </a:lnTo>
                <a:cubicBezTo>
                  <a:pt x="39174" y="144463"/>
                  <a:pt x="40925" y="146295"/>
                  <a:pt x="40925" y="148859"/>
                </a:cubicBezTo>
                <a:cubicBezTo>
                  <a:pt x="40925" y="151424"/>
                  <a:pt x="39174" y="153622"/>
                  <a:pt x="36722" y="153622"/>
                </a:cubicBezTo>
                <a:lnTo>
                  <a:pt x="21664" y="153622"/>
                </a:lnTo>
                <a:cubicBezTo>
                  <a:pt x="19213" y="153622"/>
                  <a:pt x="17462" y="151424"/>
                  <a:pt x="17462" y="148859"/>
                </a:cubicBezTo>
                <a:cubicBezTo>
                  <a:pt x="17462" y="146295"/>
                  <a:pt x="19213" y="144463"/>
                  <a:pt x="21664" y="144463"/>
                </a:cubicBezTo>
                <a:close/>
                <a:moveTo>
                  <a:pt x="198438" y="96319"/>
                </a:moveTo>
                <a:cubicBezTo>
                  <a:pt x="200602" y="95250"/>
                  <a:pt x="203489" y="95963"/>
                  <a:pt x="204571" y="98101"/>
                </a:cubicBezTo>
                <a:cubicBezTo>
                  <a:pt x="206014" y="100239"/>
                  <a:pt x="205293" y="103091"/>
                  <a:pt x="203128" y="104160"/>
                </a:cubicBezTo>
                <a:lnTo>
                  <a:pt x="189778" y="111644"/>
                </a:lnTo>
                <a:cubicBezTo>
                  <a:pt x="189057" y="112000"/>
                  <a:pt x="188335" y="112357"/>
                  <a:pt x="187613" y="112357"/>
                </a:cubicBezTo>
                <a:cubicBezTo>
                  <a:pt x="186170" y="112357"/>
                  <a:pt x="184727" y="111644"/>
                  <a:pt x="183645" y="110218"/>
                </a:cubicBezTo>
                <a:cubicBezTo>
                  <a:pt x="182562" y="108080"/>
                  <a:pt x="182923" y="105229"/>
                  <a:pt x="185088" y="104160"/>
                </a:cubicBezTo>
                <a:lnTo>
                  <a:pt x="198438" y="96319"/>
                </a:lnTo>
                <a:close/>
                <a:moveTo>
                  <a:pt x="37626" y="96319"/>
                </a:moveTo>
                <a:lnTo>
                  <a:pt x="50776" y="104160"/>
                </a:lnTo>
                <a:cubicBezTo>
                  <a:pt x="52908" y="105229"/>
                  <a:pt x="53619" y="108080"/>
                  <a:pt x="52198" y="110218"/>
                </a:cubicBezTo>
                <a:cubicBezTo>
                  <a:pt x="51487" y="111644"/>
                  <a:pt x="50065" y="112357"/>
                  <a:pt x="48643" y="112357"/>
                </a:cubicBezTo>
                <a:cubicBezTo>
                  <a:pt x="47577" y="112357"/>
                  <a:pt x="47222" y="112000"/>
                  <a:pt x="46156" y="111644"/>
                </a:cubicBezTo>
                <a:lnTo>
                  <a:pt x="33361" y="104160"/>
                </a:lnTo>
                <a:cubicBezTo>
                  <a:pt x="31228" y="103091"/>
                  <a:pt x="30162" y="100239"/>
                  <a:pt x="31583" y="98101"/>
                </a:cubicBezTo>
                <a:cubicBezTo>
                  <a:pt x="33005" y="95963"/>
                  <a:pt x="35493" y="95250"/>
                  <a:pt x="37626" y="96319"/>
                </a:cubicBezTo>
                <a:close/>
                <a:moveTo>
                  <a:pt x="118637" y="87313"/>
                </a:moveTo>
                <a:cubicBezTo>
                  <a:pt x="121167" y="87313"/>
                  <a:pt x="123335" y="89115"/>
                  <a:pt x="123335" y="91638"/>
                </a:cubicBezTo>
                <a:lnTo>
                  <a:pt x="123335" y="144617"/>
                </a:lnTo>
                <a:lnTo>
                  <a:pt x="153691" y="144617"/>
                </a:lnTo>
                <a:cubicBezTo>
                  <a:pt x="156221" y="144617"/>
                  <a:pt x="158389" y="146420"/>
                  <a:pt x="158389" y="148942"/>
                </a:cubicBezTo>
                <a:cubicBezTo>
                  <a:pt x="158389" y="151465"/>
                  <a:pt x="156221" y="153628"/>
                  <a:pt x="153691" y="153628"/>
                </a:cubicBezTo>
                <a:lnTo>
                  <a:pt x="118637" y="153628"/>
                </a:lnTo>
                <a:cubicBezTo>
                  <a:pt x="116469" y="153628"/>
                  <a:pt x="114300" y="151465"/>
                  <a:pt x="114300" y="148942"/>
                </a:cubicBezTo>
                <a:lnTo>
                  <a:pt x="114300" y="91638"/>
                </a:lnTo>
                <a:cubicBezTo>
                  <a:pt x="114300" y="89115"/>
                  <a:pt x="116469" y="87313"/>
                  <a:pt x="118637" y="87313"/>
                </a:cubicBezTo>
                <a:close/>
                <a:moveTo>
                  <a:pt x="168656" y="61790"/>
                </a:moveTo>
                <a:cubicBezTo>
                  <a:pt x="170752" y="62889"/>
                  <a:pt x="171101" y="65820"/>
                  <a:pt x="170053" y="68018"/>
                </a:cubicBezTo>
                <a:lnTo>
                  <a:pt x="162719" y="81574"/>
                </a:lnTo>
                <a:cubicBezTo>
                  <a:pt x="161671" y="83039"/>
                  <a:pt x="160274" y="83772"/>
                  <a:pt x="158877" y="83772"/>
                </a:cubicBezTo>
                <a:cubicBezTo>
                  <a:pt x="158178" y="83772"/>
                  <a:pt x="157480" y="83772"/>
                  <a:pt x="156781" y="83405"/>
                </a:cubicBezTo>
                <a:cubicBezTo>
                  <a:pt x="154686" y="81940"/>
                  <a:pt x="153987" y="79375"/>
                  <a:pt x="155035" y="77177"/>
                </a:cubicBezTo>
                <a:lnTo>
                  <a:pt x="162719" y="63622"/>
                </a:lnTo>
                <a:cubicBezTo>
                  <a:pt x="163767" y="61424"/>
                  <a:pt x="166211" y="60325"/>
                  <a:pt x="168656" y="61790"/>
                </a:cubicBezTo>
                <a:close/>
                <a:moveTo>
                  <a:pt x="68075" y="61790"/>
                </a:moveTo>
                <a:cubicBezTo>
                  <a:pt x="70316" y="60325"/>
                  <a:pt x="73304" y="61424"/>
                  <a:pt x="74425" y="63622"/>
                </a:cubicBezTo>
                <a:lnTo>
                  <a:pt x="82269" y="77177"/>
                </a:lnTo>
                <a:cubicBezTo>
                  <a:pt x="83763" y="79375"/>
                  <a:pt x="83016" y="81940"/>
                  <a:pt x="80775" y="83405"/>
                </a:cubicBezTo>
                <a:cubicBezTo>
                  <a:pt x="80028" y="83772"/>
                  <a:pt x="79281" y="83772"/>
                  <a:pt x="78160" y="83772"/>
                </a:cubicBezTo>
                <a:cubicBezTo>
                  <a:pt x="76666" y="83772"/>
                  <a:pt x="75172" y="83039"/>
                  <a:pt x="74425" y="81574"/>
                </a:cubicBezTo>
                <a:lnTo>
                  <a:pt x="66581" y="68018"/>
                </a:lnTo>
                <a:cubicBezTo>
                  <a:pt x="65087" y="65820"/>
                  <a:pt x="65834" y="62889"/>
                  <a:pt x="68075" y="61790"/>
                </a:cubicBezTo>
                <a:close/>
                <a:moveTo>
                  <a:pt x="118696" y="49213"/>
                </a:moveTo>
                <a:cubicBezTo>
                  <a:pt x="121261" y="49213"/>
                  <a:pt x="123459" y="50964"/>
                  <a:pt x="123459" y="53415"/>
                </a:cubicBezTo>
                <a:lnTo>
                  <a:pt x="123459" y="68473"/>
                </a:lnTo>
                <a:cubicBezTo>
                  <a:pt x="123459" y="70924"/>
                  <a:pt x="121261" y="72675"/>
                  <a:pt x="118696" y="72675"/>
                </a:cubicBezTo>
                <a:cubicBezTo>
                  <a:pt x="116498" y="72675"/>
                  <a:pt x="114300" y="70924"/>
                  <a:pt x="114300" y="68473"/>
                </a:cubicBezTo>
                <a:lnTo>
                  <a:pt x="114300" y="53415"/>
                </a:lnTo>
                <a:cubicBezTo>
                  <a:pt x="114300" y="50964"/>
                  <a:pt x="116498" y="49213"/>
                  <a:pt x="118696" y="49213"/>
                </a:cubicBezTo>
                <a:close/>
                <a:moveTo>
                  <a:pt x="117909" y="38956"/>
                </a:moveTo>
                <a:cubicBezTo>
                  <a:pt x="57876" y="38956"/>
                  <a:pt x="8987" y="88013"/>
                  <a:pt x="8987" y="148251"/>
                </a:cubicBezTo>
                <a:cubicBezTo>
                  <a:pt x="8987" y="208850"/>
                  <a:pt x="57876" y="257907"/>
                  <a:pt x="117909" y="257907"/>
                </a:cubicBezTo>
                <a:cubicBezTo>
                  <a:pt x="177942" y="257907"/>
                  <a:pt x="226831" y="208850"/>
                  <a:pt x="226831" y="148251"/>
                </a:cubicBezTo>
                <a:cubicBezTo>
                  <a:pt x="226831" y="88013"/>
                  <a:pt x="177942" y="38956"/>
                  <a:pt x="117909" y="38956"/>
                </a:cubicBezTo>
                <a:close/>
                <a:moveTo>
                  <a:pt x="72974" y="9018"/>
                </a:moveTo>
                <a:cubicBezTo>
                  <a:pt x="66503" y="9018"/>
                  <a:pt x="60752" y="13346"/>
                  <a:pt x="59673" y="19478"/>
                </a:cubicBezTo>
                <a:lnTo>
                  <a:pt x="53562" y="49417"/>
                </a:lnTo>
                <a:cubicBezTo>
                  <a:pt x="72255" y="37153"/>
                  <a:pt x="94183" y="29939"/>
                  <a:pt x="117909" y="29939"/>
                </a:cubicBezTo>
                <a:cubicBezTo>
                  <a:pt x="141635" y="29939"/>
                  <a:pt x="163923" y="37153"/>
                  <a:pt x="182615" y="49417"/>
                </a:cubicBezTo>
                <a:lnTo>
                  <a:pt x="176145" y="19478"/>
                </a:lnTo>
                <a:cubicBezTo>
                  <a:pt x="175066" y="13346"/>
                  <a:pt x="169674" y="9018"/>
                  <a:pt x="163204" y="9018"/>
                </a:cubicBezTo>
                <a:lnTo>
                  <a:pt x="72974" y="9018"/>
                </a:lnTo>
                <a:close/>
                <a:moveTo>
                  <a:pt x="72974" y="0"/>
                </a:moveTo>
                <a:lnTo>
                  <a:pt x="163204" y="0"/>
                </a:lnTo>
                <a:cubicBezTo>
                  <a:pt x="173988" y="0"/>
                  <a:pt x="182975" y="7575"/>
                  <a:pt x="185132" y="17675"/>
                </a:cubicBezTo>
                <a:lnTo>
                  <a:pt x="193400" y="57353"/>
                </a:lnTo>
                <a:cubicBezTo>
                  <a:pt x="219282" y="78995"/>
                  <a:pt x="236178" y="111820"/>
                  <a:pt x="236178" y="148251"/>
                </a:cubicBezTo>
                <a:cubicBezTo>
                  <a:pt x="236178" y="185043"/>
                  <a:pt x="219282" y="217507"/>
                  <a:pt x="193400" y="239510"/>
                </a:cubicBezTo>
                <a:lnTo>
                  <a:pt x="185132" y="278828"/>
                </a:lnTo>
                <a:cubicBezTo>
                  <a:pt x="182975" y="289288"/>
                  <a:pt x="173988" y="296502"/>
                  <a:pt x="163204" y="296502"/>
                </a:cubicBezTo>
                <a:lnTo>
                  <a:pt x="72974" y="296502"/>
                </a:lnTo>
                <a:cubicBezTo>
                  <a:pt x="62190" y="296502"/>
                  <a:pt x="53203" y="289288"/>
                  <a:pt x="51046" y="278828"/>
                </a:cubicBezTo>
                <a:lnTo>
                  <a:pt x="42778" y="239510"/>
                </a:lnTo>
                <a:cubicBezTo>
                  <a:pt x="16536" y="217507"/>
                  <a:pt x="0" y="185043"/>
                  <a:pt x="0" y="148251"/>
                </a:cubicBezTo>
                <a:cubicBezTo>
                  <a:pt x="0" y="111820"/>
                  <a:pt x="16536" y="78995"/>
                  <a:pt x="42778" y="57353"/>
                </a:cubicBezTo>
                <a:lnTo>
                  <a:pt x="51046" y="17675"/>
                </a:lnTo>
                <a:cubicBezTo>
                  <a:pt x="53203" y="7575"/>
                  <a:pt x="62190" y="0"/>
                  <a:pt x="7297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3" name="Freeform 928">
            <a:extLst>
              <a:ext uri="{FF2B5EF4-FFF2-40B4-BE49-F238E27FC236}">
                <a16:creationId xmlns:a16="http://schemas.microsoft.com/office/drawing/2014/main" id="{B2369696-8766-7F0E-B6A4-0C5A32C0A6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9959" y="4489140"/>
            <a:ext cx="461665" cy="461665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82E775E0-BBA3-2F37-8F4C-FF9108A237FA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763069B8-44E2-F5CD-D340-4BF5D9E60B55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24">
            <a:extLst>
              <a:ext uri="{FF2B5EF4-FFF2-40B4-BE49-F238E27FC236}">
                <a16:creationId xmlns:a16="http://schemas.microsoft.com/office/drawing/2014/main" id="{5C9783DE-A020-1000-2035-315E6513DCF9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1FB41EC-3E92-1078-175A-58B35153E9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26552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2D55136-FBCB-D714-E737-BAEE8E9BB3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5DEF320-D289-5E5D-A7B1-91E1C59027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52EFF3E-E48C-2DA7-D7AC-CC2A7D599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Vertical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AEFD070-C1EF-9AE0-B86F-88A3BDB57D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49BB9792-C89E-D5BE-122B-03F5C0D58E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585637"/>
              </p:ext>
            </p:extLst>
          </p:nvPr>
        </p:nvGraphicFramePr>
        <p:xfrm>
          <a:off x="2103890" y="1251862"/>
          <a:ext cx="9700759" cy="4767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6F7E19E-0CCB-CC8D-CF04-7CADF74B5879}"/>
              </a:ext>
            </a:extLst>
          </p:cNvPr>
          <p:cNvGrpSpPr/>
          <p:nvPr/>
        </p:nvGrpSpPr>
        <p:grpSpPr>
          <a:xfrm>
            <a:off x="1056005" y="1712912"/>
            <a:ext cx="8594724" cy="3519488"/>
            <a:chOff x="1056005" y="1712912"/>
            <a:chExt cx="8594724" cy="35194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C43C4BE-D208-134A-9584-996E7614204A}"/>
                </a:ext>
              </a:extLst>
            </p:cNvPr>
            <p:cNvGrpSpPr/>
            <p:nvPr/>
          </p:nvGrpSpPr>
          <p:grpSpPr>
            <a:xfrm>
              <a:off x="1091564" y="1717040"/>
              <a:ext cx="8559165" cy="3515360"/>
              <a:chOff x="371475" y="1737360"/>
              <a:chExt cx="11449050" cy="3515360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F7B31538-6123-BE5E-1006-56ABA4D52A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5252720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2474278-98C9-EBF8-F1F1-2D04AE1F9A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4549648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3FF255C-A225-BAE7-E827-2A6509096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3846576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DF08555B-F8C2-0CA8-9DAC-CD94685E8B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3143504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F0DB44B-53AC-FF78-6865-A9B38868B8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2440432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4CD8267-649C-D709-0E0D-88CB276DF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1737360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25">
              <a:extLst>
                <a:ext uri="{FF2B5EF4-FFF2-40B4-BE49-F238E27FC236}">
                  <a16:creationId xmlns:a16="http://schemas.microsoft.com/office/drawing/2014/main" id="{83E6E05F-0C92-4403-D82F-79786BDC98F1}"/>
                </a:ext>
              </a:extLst>
            </p:cNvPr>
            <p:cNvSpPr txBox="1"/>
            <p:nvPr/>
          </p:nvSpPr>
          <p:spPr>
            <a:xfrm>
              <a:off x="1104263" y="4529329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1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DF41046F-7FEF-E69B-E81A-19032B05DE4B}"/>
                </a:ext>
              </a:extLst>
            </p:cNvPr>
            <p:cNvSpPr txBox="1"/>
            <p:nvPr/>
          </p:nvSpPr>
          <p:spPr>
            <a:xfrm>
              <a:off x="1091564" y="3816086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2</a:t>
              </a:r>
            </a:p>
          </p:txBody>
        </p: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C3FF52CE-F4D5-6FFD-4D78-0006F2283095}"/>
                </a:ext>
              </a:extLst>
            </p:cNvPr>
            <p:cNvSpPr txBox="1"/>
            <p:nvPr/>
          </p:nvSpPr>
          <p:spPr>
            <a:xfrm>
              <a:off x="1104263" y="3123164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3</a:t>
              </a: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5A784193-DE22-888F-A54B-FDFDC5233714}"/>
                </a:ext>
              </a:extLst>
            </p:cNvPr>
            <p:cNvSpPr txBox="1"/>
            <p:nvPr/>
          </p:nvSpPr>
          <p:spPr>
            <a:xfrm>
              <a:off x="1080134" y="2413861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C43DA32-7E56-2FE3-D52C-EB4724A755A5}"/>
                </a:ext>
              </a:extLst>
            </p:cNvPr>
            <p:cNvSpPr txBox="1"/>
            <p:nvPr/>
          </p:nvSpPr>
          <p:spPr>
            <a:xfrm>
              <a:off x="1056005" y="1712912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640413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9E33CC14-0471-A3BB-4892-9CA9C8B7D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156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9E33CC14-0471-A3BB-4892-9CA9C8B7D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816F96B-CF2E-6E95-0E07-C6FFB69C97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E673426-4C15-5B5B-31EF-3FB32D25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line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75219B7-2ED2-D788-CDF2-1E6245C9A2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2865909"/>
              </p:ext>
            </p:extLst>
          </p:nvPr>
        </p:nvGraphicFramePr>
        <p:xfrm>
          <a:off x="418899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4">
            <a:extLst>
              <a:ext uri="{FF2B5EF4-FFF2-40B4-BE49-F238E27FC236}">
                <a16:creationId xmlns:a16="http://schemas.microsoft.com/office/drawing/2014/main" id="{20EB81B5-213C-05B1-5A24-CE633CE5478B}"/>
              </a:ext>
            </a:extLst>
          </p:cNvPr>
          <p:cNvSpPr txBox="1"/>
          <p:nvPr/>
        </p:nvSpPr>
        <p:spPr>
          <a:xfrm>
            <a:off x="1173806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D5760FF-5F80-8164-D3DD-06EAEC86BFC8}"/>
              </a:ext>
            </a:extLst>
          </p:cNvPr>
          <p:cNvSpPr txBox="1">
            <a:spLocks/>
          </p:cNvSpPr>
          <p:nvPr/>
        </p:nvSpPr>
        <p:spPr>
          <a:xfrm>
            <a:off x="1173806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3460E6FC-4DFF-DE8A-F35A-FECA3676C4ED}"/>
              </a:ext>
            </a:extLst>
          </p:cNvPr>
          <p:cNvSpPr txBox="1"/>
          <p:nvPr/>
        </p:nvSpPr>
        <p:spPr>
          <a:xfrm>
            <a:off x="5151015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D1A14E-7770-935E-D8B0-0C6429FD37D0}"/>
              </a:ext>
            </a:extLst>
          </p:cNvPr>
          <p:cNvSpPr txBox="1">
            <a:spLocks/>
          </p:cNvSpPr>
          <p:nvPr/>
        </p:nvSpPr>
        <p:spPr>
          <a:xfrm>
            <a:off x="5151015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8A1E12-4220-E4B7-1F5D-2DD9164E501A}"/>
              </a:ext>
            </a:extLst>
          </p:cNvPr>
          <p:cNvSpPr txBox="1"/>
          <p:nvPr/>
        </p:nvSpPr>
        <p:spPr>
          <a:xfrm>
            <a:off x="9139804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9614FF7-542E-8C50-C118-1DA6AC0A2363}"/>
              </a:ext>
            </a:extLst>
          </p:cNvPr>
          <p:cNvSpPr txBox="1">
            <a:spLocks/>
          </p:cNvSpPr>
          <p:nvPr/>
        </p:nvSpPr>
        <p:spPr>
          <a:xfrm>
            <a:off x="9139803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grpSp>
        <p:nvGrpSpPr>
          <p:cNvPr id="18" name="Grupo 42">
            <a:extLst>
              <a:ext uri="{FF2B5EF4-FFF2-40B4-BE49-F238E27FC236}">
                <a16:creationId xmlns:a16="http://schemas.microsoft.com/office/drawing/2014/main" id="{263E4BC7-7D28-1817-CCBE-2B6021819B76}"/>
              </a:ext>
            </a:extLst>
          </p:cNvPr>
          <p:cNvGrpSpPr/>
          <p:nvPr/>
        </p:nvGrpSpPr>
        <p:grpSpPr>
          <a:xfrm>
            <a:off x="8304749" y="5423858"/>
            <a:ext cx="478016" cy="565261"/>
            <a:chOff x="3657318" y="2960019"/>
            <a:chExt cx="428407" cy="506598"/>
          </a:xfrm>
        </p:grpSpPr>
        <p:grpSp>
          <p:nvGrpSpPr>
            <p:cNvPr id="19" name="Grupo 43">
              <a:extLst>
                <a:ext uri="{FF2B5EF4-FFF2-40B4-BE49-F238E27FC236}">
                  <a16:creationId xmlns:a16="http://schemas.microsoft.com/office/drawing/2014/main" id="{8C947257-7126-4EE6-0CC2-FA2B89DFAAD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1" name="Conector recto 45">
                <a:extLst>
                  <a:ext uri="{FF2B5EF4-FFF2-40B4-BE49-F238E27FC236}">
                    <a16:creationId xmlns:a16="http://schemas.microsoft.com/office/drawing/2014/main" id="{3D3B1FEC-B76C-6F3D-A1EC-9D5CD6010346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ector recto 46">
                <a:extLst>
                  <a:ext uri="{FF2B5EF4-FFF2-40B4-BE49-F238E27FC236}">
                    <a16:creationId xmlns:a16="http://schemas.microsoft.com/office/drawing/2014/main" id="{461C1ED4-26B5-546B-642B-8C06A3A4DEE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Conector recto 44">
              <a:extLst>
                <a:ext uri="{FF2B5EF4-FFF2-40B4-BE49-F238E27FC236}">
                  <a16:creationId xmlns:a16="http://schemas.microsoft.com/office/drawing/2014/main" id="{96A38215-7EE7-C916-E1C4-160F5C14C8A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o 42">
            <a:extLst>
              <a:ext uri="{FF2B5EF4-FFF2-40B4-BE49-F238E27FC236}">
                <a16:creationId xmlns:a16="http://schemas.microsoft.com/office/drawing/2014/main" id="{50890699-F05F-5970-F44A-61B03BE8960B}"/>
              </a:ext>
            </a:extLst>
          </p:cNvPr>
          <p:cNvGrpSpPr/>
          <p:nvPr/>
        </p:nvGrpSpPr>
        <p:grpSpPr>
          <a:xfrm>
            <a:off x="4285104" y="5423858"/>
            <a:ext cx="478016" cy="565261"/>
            <a:chOff x="3657318" y="2960019"/>
            <a:chExt cx="428407" cy="506598"/>
          </a:xfrm>
        </p:grpSpPr>
        <p:grpSp>
          <p:nvGrpSpPr>
            <p:cNvPr id="24" name="Grupo 43">
              <a:extLst>
                <a:ext uri="{FF2B5EF4-FFF2-40B4-BE49-F238E27FC236}">
                  <a16:creationId xmlns:a16="http://schemas.microsoft.com/office/drawing/2014/main" id="{93949E05-7916-405B-A7CA-9B5435B27E64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6" name="Conector recto 45">
                <a:extLst>
                  <a:ext uri="{FF2B5EF4-FFF2-40B4-BE49-F238E27FC236}">
                    <a16:creationId xmlns:a16="http://schemas.microsoft.com/office/drawing/2014/main" id="{7E7D066C-D370-ACE0-40DC-0E538D499059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ector recto 46">
                <a:extLst>
                  <a:ext uri="{FF2B5EF4-FFF2-40B4-BE49-F238E27FC236}">
                    <a16:creationId xmlns:a16="http://schemas.microsoft.com/office/drawing/2014/main" id="{5F27DC79-9BEF-4221-75B1-1BE760BDC0D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Conector recto 44">
              <a:extLst>
                <a:ext uri="{FF2B5EF4-FFF2-40B4-BE49-F238E27FC236}">
                  <a16:creationId xmlns:a16="http://schemas.microsoft.com/office/drawing/2014/main" id="{D5E64C1E-3407-80B3-1C0E-CE53D8C4FADD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93CFA80C-DA2C-D4F8-75C2-439C315257C2}"/>
              </a:ext>
            </a:extLst>
          </p:cNvPr>
          <p:cNvGrpSpPr/>
          <p:nvPr/>
        </p:nvGrpSpPr>
        <p:grpSpPr>
          <a:xfrm>
            <a:off x="371475" y="5423858"/>
            <a:ext cx="478016" cy="56526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28FCCBD-D3CE-7F5E-AC84-ECE47ACF7396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17E40D71-C924-3FDB-97ED-4D2C3EF2EF5C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924BDECD-EB15-B545-B43A-14CF69E9A5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1E21F9F1-B77E-6BF0-36F3-6C332BE6372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A4F7801F-AFAC-344D-832C-C3F8C37549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5093618"/>
              </p:ext>
            </p:extLst>
          </p:nvPr>
        </p:nvGraphicFramePr>
        <p:xfrm>
          <a:off x="4330376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B2E0CB28-993C-4548-CC75-18B512C4B0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0759769"/>
              </p:ext>
            </p:extLst>
          </p:nvPr>
        </p:nvGraphicFramePr>
        <p:xfrm>
          <a:off x="8211799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24">
            <a:extLst>
              <a:ext uri="{FF2B5EF4-FFF2-40B4-BE49-F238E27FC236}">
                <a16:creationId xmlns:a16="http://schemas.microsoft.com/office/drawing/2014/main" id="{A24D89C7-67E4-D430-14D4-7867C4B56506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6" name="Conector recto 9">
            <a:extLst>
              <a:ext uri="{FF2B5EF4-FFF2-40B4-BE49-F238E27FC236}">
                <a16:creationId xmlns:a16="http://schemas.microsoft.com/office/drawing/2014/main" id="{AD7C2A0B-6099-0BC4-7ABA-3D178D9AAEB8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4">
            <a:extLst>
              <a:ext uri="{FF2B5EF4-FFF2-40B4-BE49-F238E27FC236}">
                <a16:creationId xmlns:a16="http://schemas.microsoft.com/office/drawing/2014/main" id="{EF0DD59D-2D91-8D1E-A09B-202FE292020B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A4E27EB7-5114-C881-B6E6-DA7571037F01}"/>
              </a:ext>
            </a:extLst>
          </p:cNvPr>
          <p:cNvSpPr txBox="1"/>
          <p:nvPr/>
        </p:nvSpPr>
        <p:spPr>
          <a:xfrm>
            <a:off x="4375009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37" name="Conector recto 9">
            <a:extLst>
              <a:ext uri="{FF2B5EF4-FFF2-40B4-BE49-F238E27FC236}">
                <a16:creationId xmlns:a16="http://schemas.microsoft.com/office/drawing/2014/main" id="{BC5CCF75-15E0-781B-A0B3-78BD1BB5DD7F}"/>
              </a:ext>
            </a:extLst>
          </p:cNvPr>
          <p:cNvCxnSpPr>
            <a:cxnSpLocks/>
          </p:cNvCxnSpPr>
          <p:nvPr/>
        </p:nvCxnSpPr>
        <p:spPr>
          <a:xfrm>
            <a:off x="4365176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24">
            <a:extLst>
              <a:ext uri="{FF2B5EF4-FFF2-40B4-BE49-F238E27FC236}">
                <a16:creationId xmlns:a16="http://schemas.microsoft.com/office/drawing/2014/main" id="{B826233F-0A0D-1697-2DB4-8B76D082B571}"/>
              </a:ext>
            </a:extLst>
          </p:cNvPr>
          <p:cNvSpPr txBox="1"/>
          <p:nvPr/>
        </p:nvSpPr>
        <p:spPr>
          <a:xfrm>
            <a:off x="4375010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39" name="TextBox 24">
            <a:extLst>
              <a:ext uri="{FF2B5EF4-FFF2-40B4-BE49-F238E27FC236}">
                <a16:creationId xmlns:a16="http://schemas.microsoft.com/office/drawing/2014/main" id="{C5FFE3DF-1F81-7604-BE01-BBF612792FC6}"/>
              </a:ext>
            </a:extLst>
          </p:cNvPr>
          <p:cNvSpPr txBox="1"/>
          <p:nvPr/>
        </p:nvSpPr>
        <p:spPr>
          <a:xfrm>
            <a:off x="831539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0" name="Conector recto 9">
            <a:extLst>
              <a:ext uri="{FF2B5EF4-FFF2-40B4-BE49-F238E27FC236}">
                <a16:creationId xmlns:a16="http://schemas.microsoft.com/office/drawing/2014/main" id="{4B4FA4C7-98B2-9790-C593-8F886E5B9CEB}"/>
              </a:ext>
            </a:extLst>
          </p:cNvPr>
          <p:cNvCxnSpPr>
            <a:cxnSpLocks/>
          </p:cNvCxnSpPr>
          <p:nvPr/>
        </p:nvCxnSpPr>
        <p:spPr>
          <a:xfrm>
            <a:off x="8305558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24">
            <a:extLst>
              <a:ext uri="{FF2B5EF4-FFF2-40B4-BE49-F238E27FC236}">
                <a16:creationId xmlns:a16="http://schemas.microsoft.com/office/drawing/2014/main" id="{E7968065-9374-C64B-B3DB-458E18B8E0DF}"/>
              </a:ext>
            </a:extLst>
          </p:cNvPr>
          <p:cNvSpPr txBox="1"/>
          <p:nvPr/>
        </p:nvSpPr>
        <p:spPr>
          <a:xfrm>
            <a:off x="831539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32D3211-AE3F-AEE7-416D-498428A65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09047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5BE3ECBC-E5AA-40A4-1AF3-669D5DF5C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270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:a16="http://schemas.microsoft.com/office/drawing/2014/main" id="{5BE3ECBC-E5AA-40A4-1AF3-669D5DF5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E76E6A8-B069-1BD7-F470-57CED1AD3D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3869DE4-F7D6-5821-B32F-94E893681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ata over time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627FCD4-BCFC-4395-0708-28B27C8E9A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AF3587C0-4B29-A2D9-027E-2CF21E9849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2724097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25">
            <a:extLst>
              <a:ext uri="{FF2B5EF4-FFF2-40B4-BE49-F238E27FC236}">
                <a16:creationId xmlns:a16="http://schemas.microsoft.com/office/drawing/2014/main" id="{A138B3C5-0922-806D-C7E5-C524A6B5AF25}"/>
              </a:ext>
            </a:extLst>
          </p:cNvPr>
          <p:cNvSpPr txBox="1"/>
          <p:nvPr/>
        </p:nvSpPr>
        <p:spPr>
          <a:xfrm>
            <a:off x="9147280" y="22031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9A561E58-9B23-AC40-8120-57CCB4277E7A}"/>
              </a:ext>
            </a:extLst>
          </p:cNvPr>
          <p:cNvSpPr txBox="1"/>
          <p:nvPr/>
        </p:nvSpPr>
        <p:spPr>
          <a:xfrm>
            <a:off x="9147280" y="263493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98E29E23-94D6-87E3-5BD5-1572B6BC1299}"/>
              </a:ext>
            </a:extLst>
          </p:cNvPr>
          <p:cNvSpPr txBox="1"/>
          <p:nvPr/>
        </p:nvSpPr>
        <p:spPr>
          <a:xfrm>
            <a:off x="9147280" y="3853730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236EF342-F71F-CBF3-BE90-7D7A460AD3DE}"/>
              </a:ext>
            </a:extLst>
          </p:cNvPr>
          <p:cNvCxnSpPr>
            <a:cxnSpLocks/>
          </p:cNvCxnSpPr>
          <p:nvPr/>
        </p:nvCxnSpPr>
        <p:spPr>
          <a:xfrm>
            <a:off x="3247697" y="5553590"/>
            <a:ext cx="196247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066A08AD-68D2-98EC-3698-7CCC9914D7A8}"/>
              </a:ext>
            </a:extLst>
          </p:cNvPr>
          <p:cNvCxnSpPr>
            <a:cxnSpLocks/>
          </p:cNvCxnSpPr>
          <p:nvPr/>
        </p:nvCxnSpPr>
        <p:spPr>
          <a:xfrm>
            <a:off x="5210175" y="5553590"/>
            <a:ext cx="19621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DE5E73CA-2B22-3FC8-38D1-D0D37E1AC8A1}"/>
              </a:ext>
            </a:extLst>
          </p:cNvPr>
          <p:cNvCxnSpPr>
            <a:cxnSpLocks/>
          </p:cNvCxnSpPr>
          <p:nvPr/>
        </p:nvCxnSpPr>
        <p:spPr>
          <a:xfrm>
            <a:off x="7185130" y="5553590"/>
            <a:ext cx="19621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5">
            <a:extLst>
              <a:ext uri="{FF2B5EF4-FFF2-40B4-BE49-F238E27FC236}">
                <a16:creationId xmlns:a16="http://schemas.microsoft.com/office/drawing/2014/main" id="{33929743-9232-11E2-8C07-3FDF0A1D65AB}"/>
              </a:ext>
            </a:extLst>
          </p:cNvPr>
          <p:cNvSpPr txBox="1"/>
          <p:nvPr/>
        </p:nvSpPr>
        <p:spPr>
          <a:xfrm>
            <a:off x="3559064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9CAB8EB-E0D3-FA39-613A-7543BF49162D}"/>
              </a:ext>
            </a:extLst>
          </p:cNvPr>
          <p:cNvSpPr txBox="1"/>
          <p:nvPr/>
        </p:nvSpPr>
        <p:spPr>
          <a:xfrm>
            <a:off x="5521378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06AD97FE-EF29-0AAF-88C0-B7D61F6FE6F5}"/>
              </a:ext>
            </a:extLst>
          </p:cNvPr>
          <p:cNvSpPr txBox="1"/>
          <p:nvPr/>
        </p:nvSpPr>
        <p:spPr>
          <a:xfrm>
            <a:off x="7496333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8651082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F4FEF96-D1C3-FE41-1E5B-C8C86CF5E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923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CF4FEF96-D1C3-FE41-1E5B-C8C86CF5E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3C5ADC8-80C2-CDCB-3575-5ADB52FE05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EC4FEEE-BF28-4DBB-DE44-0A333CAC1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rowth curve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BBA6E7A-B663-C140-CCCB-4D18C66684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_______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A017F94C-E2F5-BC0C-E84F-C14DF7CDBA5D}"/>
              </a:ext>
            </a:extLst>
          </p:cNvPr>
          <p:cNvSpPr txBox="1"/>
          <p:nvPr/>
        </p:nvSpPr>
        <p:spPr>
          <a:xfrm>
            <a:off x="2286052" y="598458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53AD0E09-04C1-4584-9ACD-014C9D8106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2056369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Elipse 15">
            <a:extLst>
              <a:ext uri="{FF2B5EF4-FFF2-40B4-BE49-F238E27FC236}">
                <a16:creationId xmlns:a16="http://schemas.microsoft.com/office/drawing/2014/main" id="{1694EDD2-4EC2-D367-622C-E33CAE9ACC1E}"/>
              </a:ext>
            </a:extLst>
          </p:cNvPr>
          <p:cNvSpPr/>
          <p:nvPr/>
        </p:nvSpPr>
        <p:spPr>
          <a:xfrm>
            <a:off x="2552248" y="5061516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5%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DD7B5FBF-7949-F51D-99AD-FEA3E4F2101F}"/>
              </a:ext>
            </a:extLst>
          </p:cNvPr>
          <p:cNvSpPr/>
          <p:nvPr/>
        </p:nvSpPr>
        <p:spPr>
          <a:xfrm>
            <a:off x="4120248" y="4490383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10%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D1A471F-A38E-7917-1945-B5B10F84F161}"/>
              </a:ext>
            </a:extLst>
          </p:cNvPr>
          <p:cNvSpPr/>
          <p:nvPr/>
        </p:nvSpPr>
        <p:spPr>
          <a:xfrm>
            <a:off x="5700259" y="2636322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27%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45CB4D93-0E80-E412-236B-51A3739EC494}"/>
              </a:ext>
            </a:extLst>
          </p:cNvPr>
          <p:cNvSpPr/>
          <p:nvPr/>
        </p:nvSpPr>
        <p:spPr>
          <a:xfrm>
            <a:off x="7262359" y="1686611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36%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2251A1B5-6E9A-07D4-FF9E-F00FA19631EF}"/>
              </a:ext>
            </a:extLst>
          </p:cNvPr>
          <p:cNvSpPr/>
          <p:nvPr/>
        </p:nvSpPr>
        <p:spPr>
          <a:xfrm>
            <a:off x="8822739" y="3206893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22%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8D99A26B-2815-9A8C-F7A7-8E7C06ADCFCB}"/>
              </a:ext>
            </a:extLst>
          </p:cNvPr>
          <p:cNvSpPr txBox="1"/>
          <p:nvPr/>
        </p:nvSpPr>
        <p:spPr>
          <a:xfrm>
            <a:off x="3874382" y="540147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1FB7612-FBD4-1D1A-70C9-6BDCC05DB938}"/>
              </a:ext>
            </a:extLst>
          </p:cNvPr>
          <p:cNvSpPr txBox="1"/>
          <p:nvPr/>
        </p:nvSpPr>
        <p:spPr>
          <a:xfrm>
            <a:off x="5434063" y="357415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DDB2178F-AAA9-A027-5066-7D1335B7FCD8}"/>
              </a:ext>
            </a:extLst>
          </p:cNvPr>
          <p:cNvSpPr txBox="1"/>
          <p:nvPr/>
        </p:nvSpPr>
        <p:spPr>
          <a:xfrm>
            <a:off x="6996163" y="260884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DF5C7A4E-BC27-729D-FD24-021619F264EC}"/>
              </a:ext>
            </a:extLst>
          </p:cNvPr>
          <p:cNvSpPr txBox="1"/>
          <p:nvPr/>
        </p:nvSpPr>
        <p:spPr>
          <a:xfrm>
            <a:off x="8567788" y="4156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7378179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3" name="Objeto 5122" hidden="1">
            <a:extLst>
              <a:ext uri="{FF2B5EF4-FFF2-40B4-BE49-F238E27FC236}">
                <a16:creationId xmlns:a16="http://schemas.microsoft.com/office/drawing/2014/main" id="{ECF77EF7-4A88-C9C0-6BCD-F4B4DD9A22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5123" name="Objeto 5122" hidden="1">
                        <a:extLst>
                          <a:ext uri="{FF2B5EF4-FFF2-40B4-BE49-F238E27FC236}">
                            <a16:creationId xmlns:a16="http://schemas.microsoft.com/office/drawing/2014/main" id="{ECF77EF7-4A88-C9C0-6BCD-F4B4DD9A2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32" name="Forma libre: forma 5131">
            <a:extLst>
              <a:ext uri="{FF2B5EF4-FFF2-40B4-BE49-F238E27FC236}">
                <a16:creationId xmlns:a16="http://schemas.microsoft.com/office/drawing/2014/main" id="{FD67ADCA-9500-A60A-A6CD-850F64081F3B}"/>
              </a:ext>
            </a:extLst>
          </p:cNvPr>
          <p:cNvSpPr/>
          <p:nvPr/>
        </p:nvSpPr>
        <p:spPr>
          <a:xfrm>
            <a:off x="2057400" y="2638425"/>
            <a:ext cx="4881563" cy="2114550"/>
          </a:xfrm>
          <a:custGeom>
            <a:avLst/>
            <a:gdLst>
              <a:gd name="connsiteX0" fmla="*/ 4876800 w 4881563"/>
              <a:gd name="connsiteY0" fmla="*/ 0 h 2114550"/>
              <a:gd name="connsiteX1" fmla="*/ 4595813 w 4881563"/>
              <a:gd name="connsiteY1" fmla="*/ 38100 h 2114550"/>
              <a:gd name="connsiteX2" fmla="*/ 4219575 w 4881563"/>
              <a:gd name="connsiteY2" fmla="*/ 157163 h 2114550"/>
              <a:gd name="connsiteX3" fmla="*/ 4067175 w 4881563"/>
              <a:gd name="connsiteY3" fmla="*/ 233363 h 2114550"/>
              <a:gd name="connsiteX4" fmla="*/ 3924300 w 4881563"/>
              <a:gd name="connsiteY4" fmla="*/ 338138 h 2114550"/>
              <a:gd name="connsiteX5" fmla="*/ 3752850 w 4881563"/>
              <a:gd name="connsiteY5" fmla="*/ 504825 h 2114550"/>
              <a:gd name="connsiteX6" fmla="*/ 3529013 w 4881563"/>
              <a:gd name="connsiteY6" fmla="*/ 723900 h 2114550"/>
              <a:gd name="connsiteX7" fmla="*/ 3267075 w 4881563"/>
              <a:gd name="connsiteY7" fmla="*/ 919163 h 2114550"/>
              <a:gd name="connsiteX8" fmla="*/ 2833688 w 4881563"/>
              <a:gd name="connsiteY8" fmla="*/ 1162050 h 2114550"/>
              <a:gd name="connsiteX9" fmla="*/ 2486025 w 4881563"/>
              <a:gd name="connsiteY9" fmla="*/ 1352550 h 2114550"/>
              <a:gd name="connsiteX10" fmla="*/ 1933575 w 4881563"/>
              <a:gd name="connsiteY10" fmla="*/ 1600200 h 2114550"/>
              <a:gd name="connsiteX11" fmla="*/ 1524000 w 4881563"/>
              <a:gd name="connsiteY11" fmla="*/ 1752600 h 2114550"/>
              <a:gd name="connsiteX12" fmla="*/ 933450 w 4881563"/>
              <a:gd name="connsiteY12" fmla="*/ 1919288 h 2114550"/>
              <a:gd name="connsiteX13" fmla="*/ 461963 w 4881563"/>
              <a:gd name="connsiteY13" fmla="*/ 2024063 h 2114550"/>
              <a:gd name="connsiteX14" fmla="*/ 0 w 4881563"/>
              <a:gd name="connsiteY14" fmla="*/ 2114550 h 2114550"/>
              <a:gd name="connsiteX15" fmla="*/ 4881563 w 4881563"/>
              <a:gd name="connsiteY15" fmla="*/ 2114550 h 2114550"/>
              <a:gd name="connsiteX16" fmla="*/ 4876800 w 4881563"/>
              <a:gd name="connsiteY16" fmla="*/ 0 h 211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881563" h="2114550">
                <a:moveTo>
                  <a:pt x="4876800" y="0"/>
                </a:moveTo>
                <a:lnTo>
                  <a:pt x="4595813" y="38100"/>
                </a:lnTo>
                <a:lnTo>
                  <a:pt x="4219575" y="157163"/>
                </a:lnTo>
                <a:lnTo>
                  <a:pt x="4067175" y="233363"/>
                </a:lnTo>
                <a:lnTo>
                  <a:pt x="3924300" y="338138"/>
                </a:lnTo>
                <a:lnTo>
                  <a:pt x="3752850" y="504825"/>
                </a:lnTo>
                <a:lnTo>
                  <a:pt x="3529013" y="723900"/>
                </a:lnTo>
                <a:lnTo>
                  <a:pt x="3267075" y="919163"/>
                </a:lnTo>
                <a:lnTo>
                  <a:pt x="2833688" y="1162050"/>
                </a:lnTo>
                <a:lnTo>
                  <a:pt x="2486025" y="1352550"/>
                </a:lnTo>
                <a:lnTo>
                  <a:pt x="1933575" y="1600200"/>
                </a:lnTo>
                <a:lnTo>
                  <a:pt x="1524000" y="1752600"/>
                </a:lnTo>
                <a:lnTo>
                  <a:pt x="933450" y="1919288"/>
                </a:lnTo>
                <a:lnTo>
                  <a:pt x="461963" y="2024063"/>
                </a:lnTo>
                <a:lnTo>
                  <a:pt x="0" y="2114550"/>
                </a:lnTo>
                <a:lnTo>
                  <a:pt x="4881563" y="2114550"/>
                </a:lnTo>
                <a:cubicBezTo>
                  <a:pt x="4879975" y="1409700"/>
                  <a:pt x="4878388" y="704850"/>
                  <a:pt x="487680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4" name="Forma libre: forma 5133">
            <a:extLst>
              <a:ext uri="{FF2B5EF4-FFF2-40B4-BE49-F238E27FC236}">
                <a16:creationId xmlns:a16="http://schemas.microsoft.com/office/drawing/2014/main" id="{BFD480A4-90BA-A9ED-D1A8-8E89D737603D}"/>
              </a:ext>
            </a:extLst>
          </p:cNvPr>
          <p:cNvSpPr/>
          <p:nvPr/>
        </p:nvSpPr>
        <p:spPr>
          <a:xfrm>
            <a:off x="3939540" y="3567113"/>
            <a:ext cx="1370648" cy="1190625"/>
          </a:xfrm>
          <a:custGeom>
            <a:avLst/>
            <a:gdLst>
              <a:gd name="connsiteX0" fmla="*/ 1624013 w 1624013"/>
              <a:gd name="connsiteY0" fmla="*/ 0 h 1190625"/>
              <a:gd name="connsiteX1" fmla="*/ 1400175 w 1624013"/>
              <a:gd name="connsiteY1" fmla="*/ 133350 h 1190625"/>
              <a:gd name="connsiteX2" fmla="*/ 1066800 w 1624013"/>
              <a:gd name="connsiteY2" fmla="*/ 314325 h 1190625"/>
              <a:gd name="connsiteX3" fmla="*/ 752475 w 1624013"/>
              <a:gd name="connsiteY3" fmla="*/ 457200 h 1190625"/>
              <a:gd name="connsiteX4" fmla="*/ 481013 w 1624013"/>
              <a:gd name="connsiteY4" fmla="*/ 585787 h 1190625"/>
              <a:gd name="connsiteX5" fmla="*/ 223838 w 1624013"/>
              <a:gd name="connsiteY5" fmla="*/ 704850 h 1190625"/>
              <a:gd name="connsiteX6" fmla="*/ 0 w 1624013"/>
              <a:gd name="connsiteY6" fmla="*/ 785812 h 1190625"/>
              <a:gd name="connsiteX7" fmla="*/ 0 w 1624013"/>
              <a:gd name="connsiteY7" fmla="*/ 1190625 h 1190625"/>
              <a:gd name="connsiteX8" fmla="*/ 1624013 w 1624013"/>
              <a:gd name="connsiteY8" fmla="*/ 1190625 h 1190625"/>
              <a:gd name="connsiteX9" fmla="*/ 1624013 w 1624013"/>
              <a:gd name="connsiteY9" fmla="*/ 0 h 1190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24013" h="1190625">
                <a:moveTo>
                  <a:pt x="1624013" y="0"/>
                </a:moveTo>
                <a:lnTo>
                  <a:pt x="1400175" y="133350"/>
                </a:lnTo>
                <a:lnTo>
                  <a:pt x="1066800" y="314325"/>
                </a:lnTo>
                <a:lnTo>
                  <a:pt x="752475" y="457200"/>
                </a:lnTo>
                <a:lnTo>
                  <a:pt x="481013" y="585787"/>
                </a:lnTo>
                <a:lnTo>
                  <a:pt x="223838" y="704850"/>
                </a:lnTo>
                <a:lnTo>
                  <a:pt x="0" y="785812"/>
                </a:lnTo>
                <a:lnTo>
                  <a:pt x="0" y="1190625"/>
                </a:lnTo>
                <a:lnTo>
                  <a:pt x="1624013" y="1190625"/>
                </a:lnTo>
                <a:lnTo>
                  <a:pt x="162401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5" name="Forma libre: forma 5134">
            <a:extLst>
              <a:ext uri="{FF2B5EF4-FFF2-40B4-BE49-F238E27FC236}">
                <a16:creationId xmlns:a16="http://schemas.microsoft.com/office/drawing/2014/main" id="{FC75B189-BF5A-5D7E-B421-8D4127C6E637}"/>
              </a:ext>
            </a:extLst>
          </p:cNvPr>
          <p:cNvSpPr/>
          <p:nvPr/>
        </p:nvSpPr>
        <p:spPr>
          <a:xfrm flipH="1">
            <a:off x="6936581" y="2638425"/>
            <a:ext cx="4881563" cy="2114550"/>
          </a:xfrm>
          <a:custGeom>
            <a:avLst/>
            <a:gdLst>
              <a:gd name="connsiteX0" fmla="*/ 4876800 w 4881563"/>
              <a:gd name="connsiteY0" fmla="*/ 0 h 2114550"/>
              <a:gd name="connsiteX1" fmla="*/ 4595813 w 4881563"/>
              <a:gd name="connsiteY1" fmla="*/ 38100 h 2114550"/>
              <a:gd name="connsiteX2" fmla="*/ 4219575 w 4881563"/>
              <a:gd name="connsiteY2" fmla="*/ 157163 h 2114550"/>
              <a:gd name="connsiteX3" fmla="*/ 4067175 w 4881563"/>
              <a:gd name="connsiteY3" fmla="*/ 233363 h 2114550"/>
              <a:gd name="connsiteX4" fmla="*/ 3924300 w 4881563"/>
              <a:gd name="connsiteY4" fmla="*/ 338138 h 2114550"/>
              <a:gd name="connsiteX5" fmla="*/ 3752850 w 4881563"/>
              <a:gd name="connsiteY5" fmla="*/ 504825 h 2114550"/>
              <a:gd name="connsiteX6" fmla="*/ 3529013 w 4881563"/>
              <a:gd name="connsiteY6" fmla="*/ 723900 h 2114550"/>
              <a:gd name="connsiteX7" fmla="*/ 3267075 w 4881563"/>
              <a:gd name="connsiteY7" fmla="*/ 919163 h 2114550"/>
              <a:gd name="connsiteX8" fmla="*/ 2833688 w 4881563"/>
              <a:gd name="connsiteY8" fmla="*/ 1162050 h 2114550"/>
              <a:gd name="connsiteX9" fmla="*/ 2486025 w 4881563"/>
              <a:gd name="connsiteY9" fmla="*/ 1352550 h 2114550"/>
              <a:gd name="connsiteX10" fmla="*/ 1933575 w 4881563"/>
              <a:gd name="connsiteY10" fmla="*/ 1600200 h 2114550"/>
              <a:gd name="connsiteX11" fmla="*/ 1524000 w 4881563"/>
              <a:gd name="connsiteY11" fmla="*/ 1752600 h 2114550"/>
              <a:gd name="connsiteX12" fmla="*/ 933450 w 4881563"/>
              <a:gd name="connsiteY12" fmla="*/ 1919288 h 2114550"/>
              <a:gd name="connsiteX13" fmla="*/ 461963 w 4881563"/>
              <a:gd name="connsiteY13" fmla="*/ 2024063 h 2114550"/>
              <a:gd name="connsiteX14" fmla="*/ 0 w 4881563"/>
              <a:gd name="connsiteY14" fmla="*/ 2114550 h 2114550"/>
              <a:gd name="connsiteX15" fmla="*/ 4881563 w 4881563"/>
              <a:gd name="connsiteY15" fmla="*/ 2114550 h 2114550"/>
              <a:gd name="connsiteX16" fmla="*/ 4876800 w 4881563"/>
              <a:gd name="connsiteY16" fmla="*/ 0 h 211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881563" h="2114550">
                <a:moveTo>
                  <a:pt x="4876800" y="0"/>
                </a:moveTo>
                <a:lnTo>
                  <a:pt x="4595813" y="38100"/>
                </a:lnTo>
                <a:lnTo>
                  <a:pt x="4219575" y="157163"/>
                </a:lnTo>
                <a:lnTo>
                  <a:pt x="4067175" y="233363"/>
                </a:lnTo>
                <a:lnTo>
                  <a:pt x="3924300" y="338138"/>
                </a:lnTo>
                <a:lnTo>
                  <a:pt x="3752850" y="504825"/>
                </a:lnTo>
                <a:lnTo>
                  <a:pt x="3529013" y="723900"/>
                </a:lnTo>
                <a:lnTo>
                  <a:pt x="3267075" y="919163"/>
                </a:lnTo>
                <a:lnTo>
                  <a:pt x="2833688" y="1162050"/>
                </a:lnTo>
                <a:lnTo>
                  <a:pt x="2486025" y="1352550"/>
                </a:lnTo>
                <a:lnTo>
                  <a:pt x="1933575" y="1600200"/>
                </a:lnTo>
                <a:lnTo>
                  <a:pt x="1524000" y="1752600"/>
                </a:lnTo>
                <a:lnTo>
                  <a:pt x="933450" y="1919288"/>
                </a:lnTo>
                <a:lnTo>
                  <a:pt x="461963" y="2024063"/>
                </a:lnTo>
                <a:lnTo>
                  <a:pt x="0" y="2114550"/>
                </a:lnTo>
                <a:lnTo>
                  <a:pt x="4881563" y="2114550"/>
                </a:lnTo>
                <a:cubicBezTo>
                  <a:pt x="4879975" y="1409700"/>
                  <a:pt x="4878388" y="704850"/>
                  <a:pt x="487680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6" name="Forma libre: forma 5135">
            <a:extLst>
              <a:ext uri="{FF2B5EF4-FFF2-40B4-BE49-F238E27FC236}">
                <a16:creationId xmlns:a16="http://schemas.microsoft.com/office/drawing/2014/main" id="{5C17B4DC-CE4E-E2B2-EA95-CA324D7A29BB}"/>
              </a:ext>
            </a:extLst>
          </p:cNvPr>
          <p:cNvSpPr/>
          <p:nvPr/>
        </p:nvSpPr>
        <p:spPr>
          <a:xfrm flipH="1">
            <a:off x="8565356" y="3567113"/>
            <a:ext cx="1624013" cy="1190625"/>
          </a:xfrm>
          <a:custGeom>
            <a:avLst/>
            <a:gdLst>
              <a:gd name="connsiteX0" fmla="*/ 1624013 w 1624013"/>
              <a:gd name="connsiteY0" fmla="*/ 0 h 1190625"/>
              <a:gd name="connsiteX1" fmla="*/ 1400175 w 1624013"/>
              <a:gd name="connsiteY1" fmla="*/ 133350 h 1190625"/>
              <a:gd name="connsiteX2" fmla="*/ 1066800 w 1624013"/>
              <a:gd name="connsiteY2" fmla="*/ 314325 h 1190625"/>
              <a:gd name="connsiteX3" fmla="*/ 752475 w 1624013"/>
              <a:gd name="connsiteY3" fmla="*/ 457200 h 1190625"/>
              <a:gd name="connsiteX4" fmla="*/ 481013 w 1624013"/>
              <a:gd name="connsiteY4" fmla="*/ 585787 h 1190625"/>
              <a:gd name="connsiteX5" fmla="*/ 223838 w 1624013"/>
              <a:gd name="connsiteY5" fmla="*/ 704850 h 1190625"/>
              <a:gd name="connsiteX6" fmla="*/ 0 w 1624013"/>
              <a:gd name="connsiteY6" fmla="*/ 785812 h 1190625"/>
              <a:gd name="connsiteX7" fmla="*/ 0 w 1624013"/>
              <a:gd name="connsiteY7" fmla="*/ 1190625 h 1190625"/>
              <a:gd name="connsiteX8" fmla="*/ 1624013 w 1624013"/>
              <a:gd name="connsiteY8" fmla="*/ 1190625 h 1190625"/>
              <a:gd name="connsiteX9" fmla="*/ 1624013 w 1624013"/>
              <a:gd name="connsiteY9" fmla="*/ 0 h 1190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24013" h="1190625">
                <a:moveTo>
                  <a:pt x="1624013" y="0"/>
                </a:moveTo>
                <a:lnTo>
                  <a:pt x="1400175" y="133350"/>
                </a:lnTo>
                <a:lnTo>
                  <a:pt x="1066800" y="314325"/>
                </a:lnTo>
                <a:lnTo>
                  <a:pt x="752475" y="457200"/>
                </a:lnTo>
                <a:lnTo>
                  <a:pt x="481013" y="585787"/>
                </a:lnTo>
                <a:lnTo>
                  <a:pt x="223838" y="704850"/>
                </a:lnTo>
                <a:lnTo>
                  <a:pt x="0" y="785812"/>
                </a:lnTo>
                <a:lnTo>
                  <a:pt x="0" y="1190625"/>
                </a:lnTo>
                <a:lnTo>
                  <a:pt x="1624013" y="1190625"/>
                </a:lnTo>
                <a:lnTo>
                  <a:pt x="162401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5" name="Forma libre: forma 5144">
            <a:extLst>
              <a:ext uri="{FF2B5EF4-FFF2-40B4-BE49-F238E27FC236}">
                <a16:creationId xmlns:a16="http://schemas.microsoft.com/office/drawing/2014/main" id="{A036D91F-6840-06AA-BF16-01391EE80781}"/>
              </a:ext>
            </a:extLst>
          </p:cNvPr>
          <p:cNvSpPr/>
          <p:nvPr/>
        </p:nvSpPr>
        <p:spPr>
          <a:xfrm>
            <a:off x="2057400" y="4564857"/>
            <a:ext cx="945356" cy="192881"/>
          </a:xfrm>
          <a:custGeom>
            <a:avLst/>
            <a:gdLst>
              <a:gd name="connsiteX0" fmla="*/ 945356 w 945356"/>
              <a:gd name="connsiteY0" fmla="*/ 0 h 192881"/>
              <a:gd name="connsiteX1" fmla="*/ 945356 w 945356"/>
              <a:gd name="connsiteY1" fmla="*/ 192881 h 192881"/>
              <a:gd name="connsiteX2" fmla="*/ 0 w 945356"/>
              <a:gd name="connsiteY2" fmla="*/ 192881 h 192881"/>
              <a:gd name="connsiteX3" fmla="*/ 257175 w 945356"/>
              <a:gd name="connsiteY3" fmla="*/ 145256 h 192881"/>
              <a:gd name="connsiteX4" fmla="*/ 704850 w 945356"/>
              <a:gd name="connsiteY4" fmla="*/ 54768 h 192881"/>
              <a:gd name="connsiteX5" fmla="*/ 945356 w 945356"/>
              <a:gd name="connsiteY5" fmla="*/ 0 h 192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45356" h="192881">
                <a:moveTo>
                  <a:pt x="945356" y="0"/>
                </a:moveTo>
                <a:lnTo>
                  <a:pt x="945356" y="192881"/>
                </a:lnTo>
                <a:lnTo>
                  <a:pt x="0" y="192881"/>
                </a:lnTo>
                <a:lnTo>
                  <a:pt x="257175" y="145256"/>
                </a:lnTo>
                <a:lnTo>
                  <a:pt x="704850" y="54768"/>
                </a:lnTo>
                <a:lnTo>
                  <a:pt x="94535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8" name="Forma libre: forma 5147">
            <a:extLst>
              <a:ext uri="{FF2B5EF4-FFF2-40B4-BE49-F238E27FC236}">
                <a16:creationId xmlns:a16="http://schemas.microsoft.com/office/drawing/2014/main" id="{2439A891-27EA-8F98-848A-726D903BF391}"/>
              </a:ext>
            </a:extLst>
          </p:cNvPr>
          <p:cNvSpPr/>
          <p:nvPr/>
        </p:nvSpPr>
        <p:spPr>
          <a:xfrm>
            <a:off x="3934779" y="3569494"/>
            <a:ext cx="1375409" cy="888206"/>
          </a:xfrm>
          <a:custGeom>
            <a:avLst/>
            <a:gdLst>
              <a:gd name="connsiteX0" fmla="*/ 0 w 1369218"/>
              <a:gd name="connsiteY0" fmla="*/ 823912 h 888206"/>
              <a:gd name="connsiteX1" fmla="*/ 0 w 1369218"/>
              <a:gd name="connsiteY1" fmla="*/ 683419 h 888206"/>
              <a:gd name="connsiteX2" fmla="*/ 381000 w 1369218"/>
              <a:gd name="connsiteY2" fmla="*/ 514350 h 888206"/>
              <a:gd name="connsiteX3" fmla="*/ 807243 w 1369218"/>
              <a:gd name="connsiteY3" fmla="*/ 314325 h 888206"/>
              <a:gd name="connsiteX4" fmla="*/ 831056 w 1369218"/>
              <a:gd name="connsiteY4" fmla="*/ 292894 h 888206"/>
              <a:gd name="connsiteX5" fmla="*/ 1123950 w 1369218"/>
              <a:gd name="connsiteY5" fmla="*/ 142875 h 888206"/>
              <a:gd name="connsiteX6" fmla="*/ 1369218 w 1369218"/>
              <a:gd name="connsiteY6" fmla="*/ 0 h 888206"/>
              <a:gd name="connsiteX7" fmla="*/ 1369218 w 1369218"/>
              <a:gd name="connsiteY7" fmla="*/ 859631 h 888206"/>
              <a:gd name="connsiteX8" fmla="*/ 2381 w 1369218"/>
              <a:gd name="connsiteY8" fmla="*/ 888206 h 888206"/>
              <a:gd name="connsiteX9" fmla="*/ 0 w 1369218"/>
              <a:gd name="connsiteY9" fmla="*/ 823912 h 888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69218" h="888206">
                <a:moveTo>
                  <a:pt x="0" y="823912"/>
                </a:moveTo>
                <a:lnTo>
                  <a:pt x="0" y="683419"/>
                </a:lnTo>
                <a:lnTo>
                  <a:pt x="381000" y="514350"/>
                </a:lnTo>
                <a:lnTo>
                  <a:pt x="807243" y="314325"/>
                </a:lnTo>
                <a:cubicBezTo>
                  <a:pt x="825936" y="295632"/>
                  <a:pt x="817374" y="302014"/>
                  <a:pt x="831056" y="292894"/>
                </a:cubicBezTo>
                <a:lnTo>
                  <a:pt x="1123950" y="142875"/>
                </a:lnTo>
                <a:lnTo>
                  <a:pt x="1369218" y="0"/>
                </a:lnTo>
                <a:lnTo>
                  <a:pt x="1369218" y="859631"/>
                </a:lnTo>
                <a:lnTo>
                  <a:pt x="2381" y="888206"/>
                </a:lnTo>
                <a:cubicBezTo>
                  <a:pt x="1587" y="866775"/>
                  <a:pt x="794" y="845343"/>
                  <a:pt x="0" y="8239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0" name="Forma libre: forma 5149">
            <a:extLst>
              <a:ext uri="{FF2B5EF4-FFF2-40B4-BE49-F238E27FC236}">
                <a16:creationId xmlns:a16="http://schemas.microsoft.com/office/drawing/2014/main" id="{4EDC4091-00DE-6C3A-0482-6D40526F806E}"/>
              </a:ext>
            </a:extLst>
          </p:cNvPr>
          <p:cNvSpPr/>
          <p:nvPr/>
        </p:nvSpPr>
        <p:spPr>
          <a:xfrm>
            <a:off x="10172700" y="4346575"/>
            <a:ext cx="1644650" cy="404017"/>
          </a:xfrm>
          <a:custGeom>
            <a:avLst/>
            <a:gdLst>
              <a:gd name="connsiteX0" fmla="*/ 0 w 1644650"/>
              <a:gd name="connsiteY0" fmla="*/ 400050 h 403225"/>
              <a:gd name="connsiteX1" fmla="*/ 0 w 1644650"/>
              <a:gd name="connsiteY1" fmla="*/ 0 h 403225"/>
              <a:gd name="connsiteX2" fmla="*/ 431800 w 1644650"/>
              <a:gd name="connsiteY2" fmla="*/ 136525 h 403225"/>
              <a:gd name="connsiteX3" fmla="*/ 454025 w 1644650"/>
              <a:gd name="connsiteY3" fmla="*/ 152400 h 403225"/>
              <a:gd name="connsiteX4" fmla="*/ 965200 w 1644650"/>
              <a:gd name="connsiteY4" fmla="*/ 269875 h 403225"/>
              <a:gd name="connsiteX5" fmla="*/ 1019175 w 1644650"/>
              <a:gd name="connsiteY5" fmla="*/ 298450 h 403225"/>
              <a:gd name="connsiteX6" fmla="*/ 1403350 w 1644650"/>
              <a:gd name="connsiteY6" fmla="*/ 361950 h 403225"/>
              <a:gd name="connsiteX7" fmla="*/ 1644650 w 1644650"/>
              <a:gd name="connsiteY7" fmla="*/ 403225 h 403225"/>
              <a:gd name="connsiteX8" fmla="*/ 0 w 1644650"/>
              <a:gd name="connsiteY8" fmla="*/ 400050 h 403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4650" h="403225">
                <a:moveTo>
                  <a:pt x="0" y="400050"/>
                </a:moveTo>
                <a:lnTo>
                  <a:pt x="0" y="0"/>
                </a:lnTo>
                <a:lnTo>
                  <a:pt x="431800" y="136525"/>
                </a:lnTo>
                <a:lnTo>
                  <a:pt x="454025" y="152400"/>
                </a:lnTo>
                <a:lnTo>
                  <a:pt x="965200" y="269875"/>
                </a:lnTo>
                <a:lnTo>
                  <a:pt x="1019175" y="298450"/>
                </a:lnTo>
                <a:lnTo>
                  <a:pt x="1403350" y="361950"/>
                </a:lnTo>
                <a:lnTo>
                  <a:pt x="1644650" y="403225"/>
                </a:lnTo>
                <a:lnTo>
                  <a:pt x="0" y="4000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5139" name="Conector recto 5138">
            <a:extLst>
              <a:ext uri="{FF2B5EF4-FFF2-40B4-BE49-F238E27FC236}">
                <a16:creationId xmlns:a16="http://schemas.microsoft.com/office/drawing/2014/main" id="{A5DC95F4-5A0E-0DD4-54F4-B756F333C9C4}"/>
              </a:ext>
            </a:extLst>
          </p:cNvPr>
          <p:cNvCxnSpPr>
            <a:cxnSpLocks/>
          </p:cNvCxnSpPr>
          <p:nvPr/>
        </p:nvCxnSpPr>
        <p:spPr>
          <a:xfrm>
            <a:off x="2052638" y="4750594"/>
            <a:ext cx="97678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— Product Life Cycle </a:t>
            </a: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5808B7AA-3763-C635-E2A5-4359AEF47AAB}"/>
              </a:ext>
            </a:extLst>
          </p:cNvPr>
          <p:cNvSpPr txBox="1"/>
          <p:nvPr/>
        </p:nvSpPr>
        <p:spPr>
          <a:xfrm>
            <a:off x="2052638" y="5014600"/>
            <a:ext cx="2449410" cy="436461"/>
          </a:xfrm>
          <a:prstGeom prst="rect">
            <a:avLst/>
          </a:prstGeom>
          <a:noFill/>
        </p:spPr>
        <p:txBody>
          <a:bodyPr wrap="square" lIns="72000" tIns="3600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140" name="TextBox 24">
            <a:extLst>
              <a:ext uri="{FF2B5EF4-FFF2-40B4-BE49-F238E27FC236}">
                <a16:creationId xmlns:a16="http://schemas.microsoft.com/office/drawing/2014/main" id="{AB179088-6D72-6807-9CD5-13F5A03D78FB}"/>
              </a:ext>
            </a:extLst>
          </p:cNvPr>
          <p:cNvSpPr txBox="1"/>
          <p:nvPr/>
        </p:nvSpPr>
        <p:spPr>
          <a:xfrm>
            <a:off x="4502048" y="5014600"/>
            <a:ext cx="2449410" cy="436461"/>
          </a:xfrm>
          <a:prstGeom prst="rect">
            <a:avLst/>
          </a:prstGeom>
          <a:noFill/>
        </p:spPr>
        <p:txBody>
          <a:bodyPr wrap="square" lIns="72000" tIns="3600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141" name="TextBox 24">
            <a:extLst>
              <a:ext uri="{FF2B5EF4-FFF2-40B4-BE49-F238E27FC236}">
                <a16:creationId xmlns:a16="http://schemas.microsoft.com/office/drawing/2014/main" id="{ED01D659-BA53-96B5-8426-85730F0BD92B}"/>
              </a:ext>
            </a:extLst>
          </p:cNvPr>
          <p:cNvSpPr txBox="1"/>
          <p:nvPr/>
        </p:nvSpPr>
        <p:spPr>
          <a:xfrm>
            <a:off x="6951458" y="5014600"/>
            <a:ext cx="2449410" cy="436461"/>
          </a:xfrm>
          <a:prstGeom prst="rect">
            <a:avLst/>
          </a:prstGeom>
          <a:noFill/>
        </p:spPr>
        <p:txBody>
          <a:bodyPr wrap="square" lIns="72000" tIns="3600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142" name="TextBox 24">
            <a:extLst>
              <a:ext uri="{FF2B5EF4-FFF2-40B4-BE49-F238E27FC236}">
                <a16:creationId xmlns:a16="http://schemas.microsoft.com/office/drawing/2014/main" id="{BCF62698-40FE-7E25-0C26-C037F76E35DA}"/>
              </a:ext>
            </a:extLst>
          </p:cNvPr>
          <p:cNvSpPr txBox="1"/>
          <p:nvPr/>
        </p:nvSpPr>
        <p:spPr>
          <a:xfrm>
            <a:off x="9400867" y="5014600"/>
            <a:ext cx="2417277" cy="436461"/>
          </a:xfrm>
          <a:prstGeom prst="rect">
            <a:avLst/>
          </a:prstGeom>
          <a:noFill/>
        </p:spPr>
        <p:txBody>
          <a:bodyPr wrap="square" lIns="72000" tIns="3600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5154" name="Conector recto 5153">
            <a:extLst>
              <a:ext uri="{FF2B5EF4-FFF2-40B4-BE49-F238E27FC236}">
                <a16:creationId xmlns:a16="http://schemas.microsoft.com/office/drawing/2014/main" id="{F7DB7E63-8480-67FC-E441-6E87D8B1E5BE}"/>
              </a:ext>
            </a:extLst>
          </p:cNvPr>
          <p:cNvCxnSpPr>
            <a:cxnSpLocks/>
          </p:cNvCxnSpPr>
          <p:nvPr/>
        </p:nvCxnSpPr>
        <p:spPr>
          <a:xfrm flipV="1">
            <a:off x="4502048" y="5014600"/>
            <a:ext cx="0" cy="12941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6" name="Conector recto 5155">
            <a:extLst>
              <a:ext uri="{FF2B5EF4-FFF2-40B4-BE49-F238E27FC236}">
                <a16:creationId xmlns:a16="http://schemas.microsoft.com/office/drawing/2014/main" id="{9225F45A-88A8-67A6-6867-0FA301E7D5CE}"/>
              </a:ext>
            </a:extLst>
          </p:cNvPr>
          <p:cNvCxnSpPr>
            <a:cxnSpLocks/>
          </p:cNvCxnSpPr>
          <p:nvPr/>
        </p:nvCxnSpPr>
        <p:spPr>
          <a:xfrm flipV="1">
            <a:off x="6951458" y="5014600"/>
            <a:ext cx="0" cy="12941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7" name="Conector recto 5156">
            <a:extLst>
              <a:ext uri="{FF2B5EF4-FFF2-40B4-BE49-F238E27FC236}">
                <a16:creationId xmlns:a16="http://schemas.microsoft.com/office/drawing/2014/main" id="{5773999F-73FC-03A8-E2F2-FDE61DD527FD}"/>
              </a:ext>
            </a:extLst>
          </p:cNvPr>
          <p:cNvCxnSpPr>
            <a:cxnSpLocks/>
          </p:cNvCxnSpPr>
          <p:nvPr/>
        </p:nvCxnSpPr>
        <p:spPr>
          <a:xfrm flipV="1">
            <a:off x="6953249" y="5014600"/>
            <a:ext cx="0" cy="12941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60" name="Rectángulo 5159">
            <a:extLst>
              <a:ext uri="{FF2B5EF4-FFF2-40B4-BE49-F238E27FC236}">
                <a16:creationId xmlns:a16="http://schemas.microsoft.com/office/drawing/2014/main" id="{D91ECEB1-137C-5A7F-435C-C00157FFB063}"/>
              </a:ext>
            </a:extLst>
          </p:cNvPr>
          <p:cNvSpPr/>
          <p:nvPr/>
        </p:nvSpPr>
        <p:spPr>
          <a:xfrm>
            <a:off x="6915151" y="2643189"/>
            <a:ext cx="45720" cy="21097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61" name="TextBox 24">
            <a:extLst>
              <a:ext uri="{FF2B5EF4-FFF2-40B4-BE49-F238E27FC236}">
                <a16:creationId xmlns:a16="http://schemas.microsoft.com/office/drawing/2014/main" id="{DAE427D8-30BB-B947-4A89-7B04EA7C2955}"/>
              </a:ext>
            </a:extLst>
          </p:cNvPr>
          <p:cNvSpPr txBox="1"/>
          <p:nvPr/>
        </p:nvSpPr>
        <p:spPr>
          <a:xfrm>
            <a:off x="371474" y="5014600"/>
            <a:ext cx="1633537" cy="436461"/>
          </a:xfrm>
          <a:prstGeom prst="rect">
            <a:avLst/>
          </a:prstGeom>
          <a:noFill/>
        </p:spPr>
        <p:txBody>
          <a:bodyPr wrap="square" lIns="72000" tIns="3600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A67AD884-58B6-E68B-4B60-AC4B15A8FBDC}"/>
              </a:ext>
            </a:extLst>
          </p:cNvPr>
          <p:cNvCxnSpPr>
            <a:cxnSpLocks/>
          </p:cNvCxnSpPr>
          <p:nvPr/>
        </p:nvCxnSpPr>
        <p:spPr>
          <a:xfrm flipV="1">
            <a:off x="9400868" y="5014600"/>
            <a:ext cx="0" cy="12941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D9FE7A1F-CEDD-7F9F-FDF9-054D1468FAE8}"/>
              </a:ext>
            </a:extLst>
          </p:cNvPr>
          <p:cNvCxnSpPr>
            <a:cxnSpLocks/>
          </p:cNvCxnSpPr>
          <p:nvPr/>
        </p:nvCxnSpPr>
        <p:spPr>
          <a:xfrm flipV="1">
            <a:off x="2052638" y="5014600"/>
            <a:ext cx="0" cy="12941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24">
            <a:extLst>
              <a:ext uri="{FF2B5EF4-FFF2-40B4-BE49-F238E27FC236}">
                <a16:creationId xmlns:a16="http://schemas.microsoft.com/office/drawing/2014/main" id="{4ADFA4F9-2870-8219-72E7-12A7488A2878}"/>
              </a:ext>
            </a:extLst>
          </p:cNvPr>
          <p:cNvSpPr txBox="1"/>
          <p:nvPr/>
        </p:nvSpPr>
        <p:spPr>
          <a:xfrm>
            <a:off x="3026966" y="1520825"/>
            <a:ext cx="87510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ntro-duc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EC34CC8A-B0F8-DB1A-E301-900EA2DF3EF5}"/>
              </a:ext>
            </a:extLst>
          </p:cNvPr>
          <p:cNvSpPr txBox="1"/>
          <p:nvPr/>
        </p:nvSpPr>
        <p:spPr>
          <a:xfrm>
            <a:off x="3902074" y="1705491"/>
            <a:ext cx="140811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Growt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FFBAF77B-1C3A-1C78-2DA5-15C68E1DACD3}"/>
              </a:ext>
            </a:extLst>
          </p:cNvPr>
          <p:cNvSpPr txBox="1"/>
          <p:nvPr/>
        </p:nvSpPr>
        <p:spPr>
          <a:xfrm>
            <a:off x="5310186" y="1705491"/>
            <a:ext cx="325517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tur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5DEC2510-D217-FEA8-7F72-89E98E6F4F63}"/>
              </a:ext>
            </a:extLst>
          </p:cNvPr>
          <p:cNvSpPr txBox="1"/>
          <p:nvPr/>
        </p:nvSpPr>
        <p:spPr>
          <a:xfrm>
            <a:off x="8565356" y="1705491"/>
            <a:ext cx="323929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clin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3" name="Group 156">
            <a:extLst>
              <a:ext uri="{FF2B5EF4-FFF2-40B4-BE49-F238E27FC236}">
                <a16:creationId xmlns:a16="http://schemas.microsoft.com/office/drawing/2014/main" id="{D14B11F3-D426-C7DF-20B4-ECA6A943B1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04578" y="1967960"/>
            <a:ext cx="319880" cy="314064"/>
            <a:chOff x="3616" y="3200"/>
            <a:chExt cx="440" cy="432"/>
          </a:xfrm>
          <a:solidFill>
            <a:schemeClr val="tx2"/>
          </a:solidFill>
        </p:grpSpPr>
        <p:sp>
          <p:nvSpPr>
            <p:cNvPr id="14" name="Freeform 157">
              <a:extLst>
                <a:ext uri="{FF2B5EF4-FFF2-40B4-BE49-F238E27FC236}">
                  <a16:creationId xmlns:a16="http://schemas.microsoft.com/office/drawing/2014/main" id="{2DD1703D-14AA-22BF-CF5A-CA6A7C4A30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6" y="3200"/>
              <a:ext cx="440" cy="305"/>
            </a:xfrm>
            <a:custGeom>
              <a:avLst/>
              <a:gdLst>
                <a:gd name="T0" fmla="*/ 282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6 h 204"/>
                <a:gd name="T8" fmla="*/ 6 w 288"/>
                <a:gd name="T9" fmla="*/ 0 h 204"/>
                <a:gd name="T10" fmla="*/ 282 w 288"/>
                <a:gd name="T11" fmla="*/ 0 h 204"/>
                <a:gd name="T12" fmla="*/ 288 w 288"/>
                <a:gd name="T13" fmla="*/ 6 h 204"/>
                <a:gd name="T14" fmla="*/ 288 w 288"/>
                <a:gd name="T15" fmla="*/ 198 h 204"/>
                <a:gd name="T16" fmla="*/ 282 w 288"/>
                <a:gd name="T17" fmla="*/ 204 h 204"/>
                <a:gd name="T18" fmla="*/ 12 w 288"/>
                <a:gd name="T19" fmla="*/ 192 h 204"/>
                <a:gd name="T20" fmla="*/ 276 w 288"/>
                <a:gd name="T21" fmla="*/ 192 h 204"/>
                <a:gd name="T22" fmla="*/ 276 w 288"/>
                <a:gd name="T23" fmla="*/ 12 h 204"/>
                <a:gd name="T24" fmla="*/ 12 w 288"/>
                <a:gd name="T25" fmla="*/ 12 h 204"/>
                <a:gd name="T26" fmla="*/ 12 w 288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04">
                  <a:moveTo>
                    <a:pt x="28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5" y="204"/>
                    <a:pt x="282" y="204"/>
                  </a:cubicBezTo>
                  <a:close/>
                  <a:moveTo>
                    <a:pt x="12" y="192"/>
                  </a:moveTo>
                  <a:cubicBezTo>
                    <a:pt x="276" y="192"/>
                    <a:pt x="276" y="192"/>
                    <a:pt x="276" y="19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58">
              <a:extLst>
                <a:ext uri="{FF2B5EF4-FFF2-40B4-BE49-F238E27FC236}">
                  <a16:creationId xmlns:a16="http://schemas.microsoft.com/office/drawing/2014/main" id="{77647ECD-8A78-F4AA-E36D-A9674F61D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3487"/>
              <a:ext cx="18" cy="144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9" y="96"/>
                    <a:pt x="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59">
              <a:extLst>
                <a:ext uri="{FF2B5EF4-FFF2-40B4-BE49-F238E27FC236}">
                  <a16:creationId xmlns:a16="http://schemas.microsoft.com/office/drawing/2014/main" id="{878255E4-E25B-17B9-D026-D1E4DF4CB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" y="3486"/>
              <a:ext cx="279" cy="146"/>
            </a:xfrm>
            <a:custGeom>
              <a:avLst/>
              <a:gdLst>
                <a:gd name="T0" fmla="*/ 175 w 182"/>
                <a:gd name="T1" fmla="*/ 97 h 98"/>
                <a:gd name="T2" fmla="*/ 171 w 182"/>
                <a:gd name="T3" fmla="*/ 95 h 98"/>
                <a:gd name="T4" fmla="*/ 91 w 182"/>
                <a:gd name="T5" fmla="*/ 16 h 98"/>
                <a:gd name="T6" fmla="*/ 11 w 182"/>
                <a:gd name="T7" fmla="*/ 95 h 98"/>
                <a:gd name="T8" fmla="*/ 3 w 182"/>
                <a:gd name="T9" fmla="*/ 95 h 98"/>
                <a:gd name="T10" fmla="*/ 3 w 182"/>
                <a:gd name="T11" fmla="*/ 87 h 98"/>
                <a:gd name="T12" fmla="*/ 87 w 182"/>
                <a:gd name="T13" fmla="*/ 3 h 98"/>
                <a:gd name="T14" fmla="*/ 95 w 182"/>
                <a:gd name="T15" fmla="*/ 3 h 98"/>
                <a:gd name="T16" fmla="*/ 179 w 182"/>
                <a:gd name="T17" fmla="*/ 87 h 98"/>
                <a:gd name="T18" fmla="*/ 179 w 182"/>
                <a:gd name="T19" fmla="*/ 95 h 98"/>
                <a:gd name="T20" fmla="*/ 175 w 182"/>
                <a:gd name="T2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2" h="98">
                  <a:moveTo>
                    <a:pt x="175" y="97"/>
                  </a:moveTo>
                  <a:cubicBezTo>
                    <a:pt x="174" y="97"/>
                    <a:pt x="172" y="96"/>
                    <a:pt x="171" y="9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9" y="98"/>
                    <a:pt x="5" y="98"/>
                    <a:pt x="3" y="95"/>
                  </a:cubicBezTo>
                  <a:cubicBezTo>
                    <a:pt x="0" y="93"/>
                    <a:pt x="0" y="89"/>
                    <a:pt x="3" y="87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9" y="0"/>
                    <a:pt x="93" y="0"/>
                    <a:pt x="95" y="3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2" y="89"/>
                    <a:pt x="182" y="93"/>
                    <a:pt x="179" y="95"/>
                  </a:cubicBezTo>
                  <a:cubicBezTo>
                    <a:pt x="178" y="96"/>
                    <a:pt x="177" y="97"/>
                    <a:pt x="175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60">
              <a:extLst>
                <a:ext uri="{FF2B5EF4-FFF2-40B4-BE49-F238E27FC236}">
                  <a16:creationId xmlns:a16="http://schemas.microsoft.com/office/drawing/2014/main" id="{4D891BFE-E0A2-B433-132A-8D4430AE2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3272"/>
              <a:ext cx="440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8" name="Group 50">
            <a:extLst>
              <a:ext uri="{FF2B5EF4-FFF2-40B4-BE49-F238E27FC236}">
                <a16:creationId xmlns:a16="http://schemas.microsoft.com/office/drawing/2014/main" id="{7AC562D6-2D9B-20AD-C65C-0079FF3C50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42078" y="1968240"/>
            <a:ext cx="328104" cy="313504"/>
            <a:chOff x="5693" y="604"/>
            <a:chExt cx="427" cy="408"/>
          </a:xfrm>
          <a:solidFill>
            <a:schemeClr val="tx2"/>
          </a:solidFill>
        </p:grpSpPr>
        <p:sp>
          <p:nvSpPr>
            <p:cNvPr id="19" name="Freeform 51">
              <a:extLst>
                <a:ext uri="{FF2B5EF4-FFF2-40B4-BE49-F238E27FC236}">
                  <a16:creationId xmlns:a16="http://schemas.microsoft.com/office/drawing/2014/main" id="{BA10A5CC-881E-ADA4-825B-805DDB5AC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3" y="995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52">
              <a:extLst>
                <a:ext uri="{FF2B5EF4-FFF2-40B4-BE49-F238E27FC236}">
                  <a16:creationId xmlns:a16="http://schemas.microsoft.com/office/drawing/2014/main" id="{8F8B9861-E21C-854C-BCF7-6A1D825F53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" y="943"/>
              <a:ext cx="71" cy="69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6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53">
              <a:extLst>
                <a:ext uri="{FF2B5EF4-FFF2-40B4-BE49-F238E27FC236}">
                  <a16:creationId xmlns:a16="http://schemas.microsoft.com/office/drawing/2014/main" id="{ABFAC9F0-F5A5-985C-59D1-0159BA073E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8" y="873"/>
              <a:ext cx="71" cy="139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6 h 96"/>
                <a:gd name="T8" fmla="*/ 6 w 48"/>
                <a:gd name="T9" fmla="*/ 0 h 96"/>
                <a:gd name="T10" fmla="*/ 42 w 48"/>
                <a:gd name="T11" fmla="*/ 0 h 96"/>
                <a:gd name="T12" fmla="*/ 48 w 48"/>
                <a:gd name="T13" fmla="*/ 6 h 96"/>
                <a:gd name="T14" fmla="*/ 48 w 48"/>
                <a:gd name="T15" fmla="*/ 90 h 96"/>
                <a:gd name="T16" fmla="*/ 42 w 48"/>
                <a:gd name="T17" fmla="*/ 96 h 96"/>
                <a:gd name="T18" fmla="*/ 12 w 48"/>
                <a:gd name="T19" fmla="*/ 84 h 96"/>
                <a:gd name="T20" fmla="*/ 36 w 48"/>
                <a:gd name="T21" fmla="*/ 84 h 96"/>
                <a:gd name="T22" fmla="*/ 36 w 48"/>
                <a:gd name="T23" fmla="*/ 12 h 96"/>
                <a:gd name="T24" fmla="*/ 12 w 48"/>
                <a:gd name="T25" fmla="*/ 12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4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4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54">
              <a:extLst>
                <a:ext uri="{FF2B5EF4-FFF2-40B4-BE49-F238E27FC236}">
                  <a16:creationId xmlns:a16="http://schemas.microsoft.com/office/drawing/2014/main" id="{CB0A96E5-AFA7-A880-DAD5-789D94FB0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5" y="804"/>
              <a:ext cx="71" cy="208"/>
            </a:xfrm>
            <a:custGeom>
              <a:avLst/>
              <a:gdLst>
                <a:gd name="T0" fmla="*/ 42 w 48"/>
                <a:gd name="T1" fmla="*/ 144 h 144"/>
                <a:gd name="T2" fmla="*/ 6 w 48"/>
                <a:gd name="T3" fmla="*/ 144 h 144"/>
                <a:gd name="T4" fmla="*/ 0 w 48"/>
                <a:gd name="T5" fmla="*/ 138 h 144"/>
                <a:gd name="T6" fmla="*/ 0 w 48"/>
                <a:gd name="T7" fmla="*/ 6 h 144"/>
                <a:gd name="T8" fmla="*/ 6 w 48"/>
                <a:gd name="T9" fmla="*/ 0 h 144"/>
                <a:gd name="T10" fmla="*/ 42 w 48"/>
                <a:gd name="T11" fmla="*/ 0 h 144"/>
                <a:gd name="T12" fmla="*/ 48 w 48"/>
                <a:gd name="T13" fmla="*/ 6 h 144"/>
                <a:gd name="T14" fmla="*/ 48 w 48"/>
                <a:gd name="T15" fmla="*/ 138 h 144"/>
                <a:gd name="T16" fmla="*/ 42 w 48"/>
                <a:gd name="T17" fmla="*/ 144 h 144"/>
                <a:gd name="T18" fmla="*/ 12 w 48"/>
                <a:gd name="T19" fmla="*/ 132 h 144"/>
                <a:gd name="T20" fmla="*/ 36 w 48"/>
                <a:gd name="T21" fmla="*/ 132 h 144"/>
                <a:gd name="T22" fmla="*/ 36 w 48"/>
                <a:gd name="T23" fmla="*/ 12 h 144"/>
                <a:gd name="T24" fmla="*/ 12 w 48"/>
                <a:gd name="T25" fmla="*/ 12 h 144"/>
                <a:gd name="T26" fmla="*/ 12 w 48"/>
                <a:gd name="T27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44">
                  <a:moveTo>
                    <a:pt x="42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2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42"/>
                    <a:pt x="46" y="144"/>
                    <a:pt x="42" y="144"/>
                  </a:cubicBezTo>
                  <a:close/>
                  <a:moveTo>
                    <a:pt x="12" y="132"/>
                  </a:moveTo>
                  <a:cubicBezTo>
                    <a:pt x="36" y="132"/>
                    <a:pt x="36" y="132"/>
                    <a:pt x="36" y="13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55">
              <a:extLst>
                <a:ext uri="{FF2B5EF4-FFF2-40B4-BE49-F238E27FC236}">
                  <a16:creationId xmlns:a16="http://schemas.microsoft.com/office/drawing/2014/main" id="{6B5F04D1-CA36-6993-D1AD-76C6DBCA4F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1" y="735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3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6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56">
              <a:extLst>
                <a:ext uri="{FF2B5EF4-FFF2-40B4-BE49-F238E27FC236}">
                  <a16:creationId xmlns:a16="http://schemas.microsoft.com/office/drawing/2014/main" id="{60E6BD57-4194-67CE-8939-819B399EC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" y="612"/>
              <a:ext cx="339" cy="227"/>
            </a:xfrm>
            <a:custGeom>
              <a:avLst/>
              <a:gdLst>
                <a:gd name="T0" fmla="*/ 6 w 229"/>
                <a:gd name="T1" fmla="*/ 157 h 157"/>
                <a:gd name="T2" fmla="*/ 1 w 229"/>
                <a:gd name="T3" fmla="*/ 154 h 157"/>
                <a:gd name="T4" fmla="*/ 3 w 229"/>
                <a:gd name="T5" fmla="*/ 146 h 157"/>
                <a:gd name="T6" fmla="*/ 219 w 229"/>
                <a:gd name="T7" fmla="*/ 2 h 157"/>
                <a:gd name="T8" fmla="*/ 227 w 229"/>
                <a:gd name="T9" fmla="*/ 4 h 157"/>
                <a:gd name="T10" fmla="*/ 226 w 229"/>
                <a:gd name="T11" fmla="*/ 12 h 157"/>
                <a:gd name="T12" fmla="*/ 10 w 229"/>
                <a:gd name="T13" fmla="*/ 156 h 157"/>
                <a:gd name="T14" fmla="*/ 6 w 229"/>
                <a:gd name="T1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57">
                  <a:moveTo>
                    <a:pt x="6" y="157"/>
                  </a:moveTo>
                  <a:cubicBezTo>
                    <a:pt x="5" y="157"/>
                    <a:pt x="3" y="156"/>
                    <a:pt x="1" y="154"/>
                  </a:cubicBezTo>
                  <a:cubicBezTo>
                    <a:pt x="0" y="152"/>
                    <a:pt x="0" y="148"/>
                    <a:pt x="3" y="146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22" y="0"/>
                    <a:pt x="226" y="1"/>
                    <a:pt x="227" y="4"/>
                  </a:cubicBezTo>
                  <a:cubicBezTo>
                    <a:pt x="229" y="7"/>
                    <a:pt x="229" y="10"/>
                    <a:pt x="226" y="12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9" y="157"/>
                    <a:pt x="8" y="157"/>
                    <a:pt x="6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57">
              <a:extLst>
                <a:ext uri="{FF2B5EF4-FFF2-40B4-BE49-F238E27FC236}">
                  <a16:creationId xmlns:a16="http://schemas.microsoft.com/office/drawing/2014/main" id="{F73AB833-7053-A34D-8090-04F9327BB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" y="604"/>
              <a:ext cx="90" cy="96"/>
            </a:xfrm>
            <a:custGeom>
              <a:avLst/>
              <a:gdLst>
                <a:gd name="T0" fmla="*/ 48 w 61"/>
                <a:gd name="T1" fmla="*/ 66 h 66"/>
                <a:gd name="T2" fmla="*/ 48 w 61"/>
                <a:gd name="T3" fmla="*/ 66 h 66"/>
                <a:gd name="T4" fmla="*/ 42 w 61"/>
                <a:gd name="T5" fmla="*/ 60 h 66"/>
                <a:gd name="T6" fmla="*/ 48 w 61"/>
                <a:gd name="T7" fmla="*/ 17 h 66"/>
                <a:gd name="T8" fmla="*/ 6 w 61"/>
                <a:gd name="T9" fmla="*/ 12 h 66"/>
                <a:gd name="T10" fmla="*/ 0 w 61"/>
                <a:gd name="T11" fmla="*/ 6 h 66"/>
                <a:gd name="T12" fmla="*/ 7 w 61"/>
                <a:gd name="T13" fmla="*/ 0 h 66"/>
                <a:gd name="T14" fmla="*/ 55 w 61"/>
                <a:gd name="T15" fmla="*/ 6 h 66"/>
                <a:gd name="T16" fmla="*/ 59 w 61"/>
                <a:gd name="T17" fmla="*/ 8 h 66"/>
                <a:gd name="T18" fmla="*/ 60 w 61"/>
                <a:gd name="T19" fmla="*/ 13 h 66"/>
                <a:gd name="T20" fmla="*/ 54 w 61"/>
                <a:gd name="T21" fmla="*/ 61 h 66"/>
                <a:gd name="T22" fmla="*/ 48 w 61"/>
                <a:gd name="T2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66">
                  <a:moveTo>
                    <a:pt x="48" y="6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4" y="66"/>
                    <a:pt x="42" y="63"/>
                    <a:pt x="42" y="60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7" y="6"/>
                    <a:pt x="58" y="7"/>
                    <a:pt x="59" y="8"/>
                  </a:cubicBezTo>
                  <a:cubicBezTo>
                    <a:pt x="60" y="10"/>
                    <a:pt x="61" y="11"/>
                    <a:pt x="60" y="13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4"/>
                    <a:pt x="51" y="66"/>
                    <a:pt x="4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6" name="Group 73">
            <a:extLst>
              <a:ext uri="{FF2B5EF4-FFF2-40B4-BE49-F238E27FC236}">
                <a16:creationId xmlns:a16="http://schemas.microsoft.com/office/drawing/2014/main" id="{22B1C674-1C0C-4272-0D76-880541C203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77111" y="1965086"/>
            <a:ext cx="321320" cy="319814"/>
            <a:chOff x="2400" y="1721"/>
            <a:chExt cx="427" cy="425"/>
          </a:xfrm>
          <a:solidFill>
            <a:schemeClr val="tx2"/>
          </a:solidFill>
        </p:grpSpPr>
        <p:sp>
          <p:nvSpPr>
            <p:cNvPr id="27" name="Freeform 74">
              <a:extLst>
                <a:ext uri="{FF2B5EF4-FFF2-40B4-BE49-F238E27FC236}">
                  <a16:creationId xmlns:a16="http://schemas.microsoft.com/office/drawing/2014/main" id="{3844B1B8-D1AD-AAE4-DCC3-BC1B31554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" y="1721"/>
              <a:ext cx="427" cy="425"/>
            </a:xfrm>
            <a:custGeom>
              <a:avLst/>
              <a:gdLst>
                <a:gd name="T0" fmla="*/ 234 w 288"/>
                <a:gd name="T1" fmla="*/ 288 h 288"/>
                <a:gd name="T2" fmla="*/ 54 w 288"/>
                <a:gd name="T3" fmla="*/ 288 h 288"/>
                <a:gd name="T4" fmla="*/ 0 w 288"/>
                <a:gd name="T5" fmla="*/ 234 h 288"/>
                <a:gd name="T6" fmla="*/ 0 w 288"/>
                <a:gd name="T7" fmla="*/ 54 h 288"/>
                <a:gd name="T8" fmla="*/ 54 w 288"/>
                <a:gd name="T9" fmla="*/ 0 h 288"/>
                <a:gd name="T10" fmla="*/ 234 w 288"/>
                <a:gd name="T11" fmla="*/ 0 h 288"/>
                <a:gd name="T12" fmla="*/ 288 w 288"/>
                <a:gd name="T13" fmla="*/ 54 h 288"/>
                <a:gd name="T14" fmla="*/ 288 w 288"/>
                <a:gd name="T15" fmla="*/ 234 h 288"/>
                <a:gd name="T16" fmla="*/ 234 w 288"/>
                <a:gd name="T17" fmla="*/ 288 h 288"/>
                <a:gd name="T18" fmla="*/ 54 w 288"/>
                <a:gd name="T19" fmla="*/ 12 h 288"/>
                <a:gd name="T20" fmla="*/ 12 w 288"/>
                <a:gd name="T21" fmla="*/ 54 h 288"/>
                <a:gd name="T22" fmla="*/ 12 w 288"/>
                <a:gd name="T23" fmla="*/ 234 h 288"/>
                <a:gd name="T24" fmla="*/ 54 w 288"/>
                <a:gd name="T25" fmla="*/ 276 h 288"/>
                <a:gd name="T26" fmla="*/ 234 w 288"/>
                <a:gd name="T27" fmla="*/ 276 h 288"/>
                <a:gd name="T28" fmla="*/ 276 w 288"/>
                <a:gd name="T29" fmla="*/ 234 h 288"/>
                <a:gd name="T30" fmla="*/ 276 w 288"/>
                <a:gd name="T31" fmla="*/ 54 h 288"/>
                <a:gd name="T32" fmla="*/ 234 w 288"/>
                <a:gd name="T33" fmla="*/ 12 h 288"/>
                <a:gd name="T34" fmla="*/ 54 w 288"/>
                <a:gd name="T35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234" y="288"/>
                  </a:moveTo>
                  <a:cubicBezTo>
                    <a:pt x="54" y="288"/>
                    <a:pt x="54" y="288"/>
                    <a:pt x="54" y="288"/>
                  </a:cubicBezTo>
                  <a:cubicBezTo>
                    <a:pt x="24" y="288"/>
                    <a:pt x="0" y="263"/>
                    <a:pt x="0" y="2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4" y="0"/>
                    <a:pt x="288" y="24"/>
                    <a:pt x="288" y="54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63"/>
                    <a:pt x="264" y="288"/>
                    <a:pt x="234" y="28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0"/>
                    <a:pt x="12" y="54"/>
                  </a:cubicBezTo>
                  <a:cubicBezTo>
                    <a:pt x="12" y="234"/>
                    <a:pt x="12" y="234"/>
                    <a:pt x="12" y="234"/>
                  </a:cubicBezTo>
                  <a:cubicBezTo>
                    <a:pt x="12" y="257"/>
                    <a:pt x="31" y="276"/>
                    <a:pt x="54" y="276"/>
                  </a:cubicBezTo>
                  <a:cubicBezTo>
                    <a:pt x="234" y="276"/>
                    <a:pt x="234" y="276"/>
                    <a:pt x="234" y="276"/>
                  </a:cubicBezTo>
                  <a:cubicBezTo>
                    <a:pt x="257" y="276"/>
                    <a:pt x="276" y="257"/>
                    <a:pt x="276" y="234"/>
                  </a:cubicBezTo>
                  <a:cubicBezTo>
                    <a:pt x="276" y="54"/>
                    <a:pt x="276" y="54"/>
                    <a:pt x="276" y="54"/>
                  </a:cubicBezTo>
                  <a:cubicBezTo>
                    <a:pt x="276" y="30"/>
                    <a:pt x="257" y="12"/>
                    <a:pt x="234" y="12"/>
                  </a:cubicBezTo>
                  <a:lnTo>
                    <a:pt x="5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75">
              <a:extLst>
                <a:ext uri="{FF2B5EF4-FFF2-40B4-BE49-F238E27FC236}">
                  <a16:creationId xmlns:a16="http://schemas.microsoft.com/office/drawing/2014/main" id="{627839D5-741D-9F8F-988F-98F7B947A6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7" y="1886"/>
              <a:ext cx="111" cy="111"/>
            </a:xfrm>
            <a:custGeom>
              <a:avLst/>
              <a:gdLst>
                <a:gd name="T0" fmla="*/ 38 w 75"/>
                <a:gd name="T1" fmla="*/ 75 h 75"/>
                <a:gd name="T2" fmla="*/ 0 w 75"/>
                <a:gd name="T3" fmla="*/ 38 h 75"/>
                <a:gd name="T4" fmla="*/ 38 w 75"/>
                <a:gd name="T5" fmla="*/ 0 h 75"/>
                <a:gd name="T6" fmla="*/ 75 w 75"/>
                <a:gd name="T7" fmla="*/ 38 h 75"/>
                <a:gd name="T8" fmla="*/ 38 w 75"/>
                <a:gd name="T9" fmla="*/ 75 h 75"/>
                <a:gd name="T10" fmla="*/ 38 w 75"/>
                <a:gd name="T11" fmla="*/ 12 h 75"/>
                <a:gd name="T12" fmla="*/ 12 w 75"/>
                <a:gd name="T13" fmla="*/ 38 h 75"/>
                <a:gd name="T14" fmla="*/ 38 w 75"/>
                <a:gd name="T15" fmla="*/ 63 h 75"/>
                <a:gd name="T16" fmla="*/ 63 w 75"/>
                <a:gd name="T17" fmla="*/ 38 h 75"/>
                <a:gd name="T18" fmla="*/ 38 w 75"/>
                <a:gd name="T19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17" y="75"/>
                    <a:pt x="0" y="5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5" y="17"/>
                    <a:pt x="75" y="38"/>
                  </a:cubicBezTo>
                  <a:cubicBezTo>
                    <a:pt x="75" y="58"/>
                    <a:pt x="59" y="75"/>
                    <a:pt x="38" y="75"/>
                  </a:cubicBezTo>
                  <a:close/>
                  <a:moveTo>
                    <a:pt x="38" y="12"/>
                  </a:moveTo>
                  <a:cubicBezTo>
                    <a:pt x="24" y="12"/>
                    <a:pt x="12" y="24"/>
                    <a:pt x="12" y="38"/>
                  </a:cubicBezTo>
                  <a:cubicBezTo>
                    <a:pt x="12" y="52"/>
                    <a:pt x="24" y="63"/>
                    <a:pt x="38" y="63"/>
                  </a:cubicBezTo>
                  <a:cubicBezTo>
                    <a:pt x="52" y="63"/>
                    <a:pt x="63" y="52"/>
                    <a:pt x="63" y="38"/>
                  </a:cubicBezTo>
                  <a:cubicBezTo>
                    <a:pt x="63" y="24"/>
                    <a:pt x="52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76">
              <a:extLst>
                <a:ext uri="{FF2B5EF4-FFF2-40B4-BE49-F238E27FC236}">
                  <a16:creationId xmlns:a16="http://schemas.microsoft.com/office/drawing/2014/main" id="{D776649D-7905-66EC-85DA-EE5B660B9E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2" y="1809"/>
              <a:ext cx="265" cy="266"/>
            </a:xfrm>
            <a:custGeom>
              <a:avLst/>
              <a:gdLst>
                <a:gd name="T0" fmla="*/ 69 w 179"/>
                <a:gd name="T1" fmla="*/ 180 h 180"/>
                <a:gd name="T2" fmla="*/ 63 w 179"/>
                <a:gd name="T3" fmla="*/ 159 h 180"/>
                <a:gd name="T4" fmla="*/ 30 w 179"/>
                <a:gd name="T5" fmla="*/ 155 h 180"/>
                <a:gd name="T6" fmla="*/ 1 w 179"/>
                <a:gd name="T7" fmla="*/ 116 h 180"/>
                <a:gd name="T8" fmla="*/ 3 w 179"/>
                <a:gd name="T9" fmla="*/ 108 h 180"/>
                <a:gd name="T10" fmla="*/ 15 w 179"/>
                <a:gd name="T11" fmla="*/ 90 h 180"/>
                <a:gd name="T12" fmla="*/ 3 w 179"/>
                <a:gd name="T13" fmla="*/ 71 h 180"/>
                <a:gd name="T14" fmla="*/ 1 w 179"/>
                <a:gd name="T15" fmla="*/ 63 h 180"/>
                <a:gd name="T16" fmla="*/ 30 w 179"/>
                <a:gd name="T17" fmla="*/ 24 h 180"/>
                <a:gd name="T18" fmla="*/ 63 w 179"/>
                <a:gd name="T19" fmla="*/ 20 h 180"/>
                <a:gd name="T20" fmla="*/ 69 w 179"/>
                <a:gd name="T21" fmla="*/ 0 h 180"/>
                <a:gd name="T22" fmla="*/ 117 w 179"/>
                <a:gd name="T23" fmla="*/ 6 h 180"/>
                <a:gd name="T24" fmla="*/ 136 w 179"/>
                <a:gd name="T25" fmla="*/ 32 h 180"/>
                <a:gd name="T26" fmla="*/ 153 w 179"/>
                <a:gd name="T27" fmla="*/ 24 h 180"/>
                <a:gd name="T28" fmla="*/ 177 w 179"/>
                <a:gd name="T29" fmla="*/ 63 h 180"/>
                <a:gd name="T30" fmla="*/ 175 w 179"/>
                <a:gd name="T31" fmla="*/ 71 h 180"/>
                <a:gd name="T32" fmla="*/ 163 w 179"/>
                <a:gd name="T33" fmla="*/ 90 h 180"/>
                <a:gd name="T34" fmla="*/ 175 w 179"/>
                <a:gd name="T35" fmla="*/ 108 h 180"/>
                <a:gd name="T36" fmla="*/ 157 w 179"/>
                <a:gd name="T37" fmla="*/ 153 h 180"/>
                <a:gd name="T38" fmla="*/ 148 w 179"/>
                <a:gd name="T39" fmla="*/ 155 h 180"/>
                <a:gd name="T40" fmla="*/ 117 w 179"/>
                <a:gd name="T41" fmla="*/ 159 h 180"/>
                <a:gd name="T42" fmla="*/ 111 w 179"/>
                <a:gd name="T43" fmla="*/ 180 h 180"/>
                <a:gd name="T44" fmla="*/ 105 w 179"/>
                <a:gd name="T45" fmla="*/ 168 h 180"/>
                <a:gd name="T46" fmla="*/ 109 w 179"/>
                <a:gd name="T47" fmla="*/ 149 h 180"/>
                <a:gd name="T48" fmla="*/ 138 w 179"/>
                <a:gd name="T49" fmla="*/ 135 h 180"/>
                <a:gd name="T50" fmla="*/ 164 w 179"/>
                <a:gd name="T51" fmla="*/ 116 h 180"/>
                <a:gd name="T52" fmla="*/ 150 w 179"/>
                <a:gd name="T53" fmla="*/ 103 h 180"/>
                <a:gd name="T54" fmla="*/ 150 w 179"/>
                <a:gd name="T55" fmla="*/ 77 h 180"/>
                <a:gd name="T56" fmla="*/ 164 w 179"/>
                <a:gd name="T57" fmla="*/ 64 h 180"/>
                <a:gd name="T58" fmla="*/ 138 w 179"/>
                <a:gd name="T59" fmla="*/ 44 h 180"/>
                <a:gd name="T60" fmla="*/ 109 w 179"/>
                <a:gd name="T61" fmla="*/ 30 h 180"/>
                <a:gd name="T62" fmla="*/ 105 w 179"/>
                <a:gd name="T63" fmla="*/ 12 h 180"/>
                <a:gd name="T64" fmla="*/ 75 w 179"/>
                <a:gd name="T65" fmla="*/ 25 h 180"/>
                <a:gd name="T66" fmla="*/ 48 w 179"/>
                <a:gd name="T67" fmla="*/ 43 h 180"/>
                <a:gd name="T68" fmla="*/ 29 w 179"/>
                <a:gd name="T69" fmla="*/ 38 h 180"/>
                <a:gd name="T70" fmla="*/ 25 w 179"/>
                <a:gd name="T71" fmla="*/ 70 h 180"/>
                <a:gd name="T72" fmla="*/ 27 w 179"/>
                <a:gd name="T73" fmla="*/ 90 h 180"/>
                <a:gd name="T74" fmla="*/ 25 w 179"/>
                <a:gd name="T75" fmla="*/ 109 h 180"/>
                <a:gd name="T76" fmla="*/ 29 w 179"/>
                <a:gd name="T77" fmla="*/ 142 h 180"/>
                <a:gd name="T78" fmla="*/ 48 w 179"/>
                <a:gd name="T79" fmla="*/ 136 h 180"/>
                <a:gd name="T80" fmla="*/ 75 w 179"/>
                <a:gd name="T81" fmla="*/ 15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9" h="180">
                  <a:moveTo>
                    <a:pt x="111" y="180"/>
                  </a:moveTo>
                  <a:cubicBezTo>
                    <a:pt x="69" y="180"/>
                    <a:pt x="69" y="180"/>
                    <a:pt x="69" y="180"/>
                  </a:cubicBezTo>
                  <a:cubicBezTo>
                    <a:pt x="65" y="180"/>
                    <a:pt x="63" y="177"/>
                    <a:pt x="63" y="174"/>
                  </a:cubicBezTo>
                  <a:cubicBezTo>
                    <a:pt x="63" y="159"/>
                    <a:pt x="63" y="159"/>
                    <a:pt x="63" y="159"/>
                  </a:cubicBezTo>
                  <a:cubicBezTo>
                    <a:pt x="56" y="156"/>
                    <a:pt x="49" y="153"/>
                    <a:pt x="43" y="148"/>
                  </a:cubicBezTo>
                  <a:cubicBezTo>
                    <a:pt x="30" y="155"/>
                    <a:pt x="30" y="155"/>
                    <a:pt x="30" y="155"/>
                  </a:cubicBezTo>
                  <a:cubicBezTo>
                    <a:pt x="27" y="157"/>
                    <a:pt x="23" y="156"/>
                    <a:pt x="22" y="153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0" y="115"/>
                    <a:pt x="0" y="113"/>
                    <a:pt x="0" y="112"/>
                  </a:cubicBezTo>
                  <a:cubicBezTo>
                    <a:pt x="0" y="110"/>
                    <a:pt x="1" y="109"/>
                    <a:pt x="3" y="108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5" y="97"/>
                    <a:pt x="15" y="93"/>
                    <a:pt x="15" y="90"/>
                  </a:cubicBezTo>
                  <a:cubicBezTo>
                    <a:pt x="15" y="86"/>
                    <a:pt x="15" y="82"/>
                    <a:pt x="16" y="78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1" y="70"/>
                    <a:pt x="0" y="69"/>
                    <a:pt x="0" y="67"/>
                  </a:cubicBezTo>
                  <a:cubicBezTo>
                    <a:pt x="0" y="66"/>
                    <a:pt x="0" y="64"/>
                    <a:pt x="1" y="63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3" y="24"/>
                    <a:pt x="27" y="23"/>
                    <a:pt x="30" y="24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9" y="27"/>
                    <a:pt x="56" y="23"/>
                    <a:pt x="63" y="20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2"/>
                    <a:pt x="65" y="0"/>
                    <a:pt x="6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4" y="0"/>
                    <a:pt x="117" y="2"/>
                    <a:pt x="117" y="6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24" y="23"/>
                    <a:pt x="130" y="27"/>
                    <a:pt x="136" y="32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0" y="23"/>
                    <a:pt x="151" y="23"/>
                    <a:pt x="153" y="24"/>
                  </a:cubicBezTo>
                  <a:cubicBezTo>
                    <a:pt x="154" y="24"/>
                    <a:pt x="156" y="25"/>
                    <a:pt x="156" y="26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8" y="64"/>
                    <a:pt x="178" y="66"/>
                    <a:pt x="178" y="67"/>
                  </a:cubicBezTo>
                  <a:cubicBezTo>
                    <a:pt x="178" y="69"/>
                    <a:pt x="177" y="70"/>
                    <a:pt x="175" y="71"/>
                  </a:cubicBezTo>
                  <a:cubicBezTo>
                    <a:pt x="162" y="78"/>
                    <a:pt x="162" y="78"/>
                    <a:pt x="162" y="78"/>
                  </a:cubicBezTo>
                  <a:cubicBezTo>
                    <a:pt x="163" y="82"/>
                    <a:pt x="163" y="86"/>
                    <a:pt x="163" y="90"/>
                  </a:cubicBezTo>
                  <a:cubicBezTo>
                    <a:pt x="163" y="93"/>
                    <a:pt x="163" y="97"/>
                    <a:pt x="162" y="10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8" y="110"/>
                    <a:pt x="179" y="114"/>
                    <a:pt x="178" y="116"/>
                  </a:cubicBezTo>
                  <a:cubicBezTo>
                    <a:pt x="157" y="153"/>
                    <a:pt x="157" y="153"/>
                    <a:pt x="157" y="153"/>
                  </a:cubicBezTo>
                  <a:cubicBezTo>
                    <a:pt x="156" y="154"/>
                    <a:pt x="154" y="155"/>
                    <a:pt x="153" y="156"/>
                  </a:cubicBezTo>
                  <a:cubicBezTo>
                    <a:pt x="151" y="156"/>
                    <a:pt x="150" y="156"/>
                    <a:pt x="148" y="155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0" y="152"/>
                    <a:pt x="124" y="156"/>
                    <a:pt x="117" y="159"/>
                  </a:cubicBezTo>
                  <a:cubicBezTo>
                    <a:pt x="117" y="174"/>
                    <a:pt x="117" y="174"/>
                    <a:pt x="117" y="174"/>
                  </a:cubicBezTo>
                  <a:cubicBezTo>
                    <a:pt x="117" y="177"/>
                    <a:pt x="114" y="180"/>
                    <a:pt x="111" y="180"/>
                  </a:cubicBezTo>
                  <a:close/>
                  <a:moveTo>
                    <a:pt x="75" y="168"/>
                  </a:moveTo>
                  <a:cubicBezTo>
                    <a:pt x="105" y="168"/>
                    <a:pt x="105" y="168"/>
                    <a:pt x="105" y="168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5" y="152"/>
                    <a:pt x="107" y="150"/>
                    <a:pt x="109" y="149"/>
                  </a:cubicBezTo>
                  <a:cubicBezTo>
                    <a:pt x="118" y="146"/>
                    <a:pt x="124" y="142"/>
                    <a:pt x="131" y="136"/>
                  </a:cubicBezTo>
                  <a:cubicBezTo>
                    <a:pt x="133" y="134"/>
                    <a:pt x="136" y="134"/>
                    <a:pt x="138" y="135"/>
                  </a:cubicBezTo>
                  <a:cubicBezTo>
                    <a:pt x="149" y="142"/>
                    <a:pt x="149" y="142"/>
                    <a:pt x="149" y="142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53" y="109"/>
                    <a:pt x="153" y="109"/>
                    <a:pt x="153" y="109"/>
                  </a:cubicBezTo>
                  <a:cubicBezTo>
                    <a:pt x="151" y="108"/>
                    <a:pt x="149" y="105"/>
                    <a:pt x="150" y="103"/>
                  </a:cubicBezTo>
                  <a:cubicBezTo>
                    <a:pt x="151" y="99"/>
                    <a:pt x="151" y="94"/>
                    <a:pt x="151" y="90"/>
                  </a:cubicBezTo>
                  <a:cubicBezTo>
                    <a:pt x="151" y="85"/>
                    <a:pt x="151" y="81"/>
                    <a:pt x="150" y="77"/>
                  </a:cubicBezTo>
                  <a:cubicBezTo>
                    <a:pt x="149" y="74"/>
                    <a:pt x="150" y="71"/>
                    <a:pt x="153" y="70"/>
                  </a:cubicBezTo>
                  <a:cubicBezTo>
                    <a:pt x="164" y="64"/>
                    <a:pt x="164" y="64"/>
                    <a:pt x="164" y="6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6" y="46"/>
                    <a:pt x="133" y="45"/>
                    <a:pt x="131" y="43"/>
                  </a:cubicBezTo>
                  <a:cubicBezTo>
                    <a:pt x="124" y="37"/>
                    <a:pt x="118" y="33"/>
                    <a:pt x="109" y="30"/>
                  </a:cubicBezTo>
                  <a:cubicBezTo>
                    <a:pt x="107" y="30"/>
                    <a:pt x="105" y="27"/>
                    <a:pt x="105" y="25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7"/>
                    <a:pt x="73" y="30"/>
                    <a:pt x="70" y="30"/>
                  </a:cubicBezTo>
                  <a:cubicBezTo>
                    <a:pt x="62" y="33"/>
                    <a:pt x="55" y="37"/>
                    <a:pt x="48" y="43"/>
                  </a:cubicBezTo>
                  <a:cubicBezTo>
                    <a:pt x="46" y="45"/>
                    <a:pt x="43" y="46"/>
                    <a:pt x="41" y="44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71"/>
                    <a:pt x="29" y="74"/>
                    <a:pt x="28" y="77"/>
                  </a:cubicBezTo>
                  <a:cubicBezTo>
                    <a:pt x="27" y="81"/>
                    <a:pt x="27" y="85"/>
                    <a:pt x="27" y="90"/>
                  </a:cubicBezTo>
                  <a:cubicBezTo>
                    <a:pt x="27" y="94"/>
                    <a:pt x="27" y="98"/>
                    <a:pt x="28" y="103"/>
                  </a:cubicBezTo>
                  <a:cubicBezTo>
                    <a:pt x="29" y="105"/>
                    <a:pt x="28" y="108"/>
                    <a:pt x="25" y="109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43" y="134"/>
                    <a:pt x="46" y="134"/>
                    <a:pt x="48" y="136"/>
                  </a:cubicBezTo>
                  <a:cubicBezTo>
                    <a:pt x="55" y="142"/>
                    <a:pt x="62" y="146"/>
                    <a:pt x="70" y="149"/>
                  </a:cubicBezTo>
                  <a:cubicBezTo>
                    <a:pt x="73" y="150"/>
                    <a:pt x="75" y="152"/>
                    <a:pt x="75" y="155"/>
                  </a:cubicBezTo>
                  <a:lnTo>
                    <a:pt x="7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0" name="Group 40">
            <a:extLst>
              <a:ext uri="{FF2B5EF4-FFF2-40B4-BE49-F238E27FC236}">
                <a16:creationId xmlns:a16="http://schemas.microsoft.com/office/drawing/2014/main" id="{FF61830C-9893-1AB8-65E7-E5A0320A64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14370" y="1963973"/>
            <a:ext cx="341264" cy="322038"/>
            <a:chOff x="4662" y="607"/>
            <a:chExt cx="426" cy="402"/>
          </a:xfrm>
          <a:solidFill>
            <a:schemeClr val="tx2"/>
          </a:solidFill>
        </p:grpSpPr>
        <p:sp>
          <p:nvSpPr>
            <p:cNvPr id="31" name="Freeform 41">
              <a:extLst>
                <a:ext uri="{FF2B5EF4-FFF2-40B4-BE49-F238E27FC236}">
                  <a16:creationId xmlns:a16="http://schemas.microsoft.com/office/drawing/2014/main" id="{1F78ED3C-617A-8104-2C44-E618ABCA7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" y="992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2" name="Freeform 42">
              <a:extLst>
                <a:ext uri="{FF2B5EF4-FFF2-40B4-BE49-F238E27FC236}">
                  <a16:creationId xmlns:a16="http://schemas.microsoft.com/office/drawing/2014/main" id="{2A91B00D-0B77-AC17-8A58-589532AD80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9" y="940"/>
              <a:ext cx="71" cy="69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6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3" name="Freeform 43">
              <a:extLst>
                <a:ext uri="{FF2B5EF4-FFF2-40B4-BE49-F238E27FC236}">
                  <a16:creationId xmlns:a16="http://schemas.microsoft.com/office/drawing/2014/main" id="{2CE52F56-D85E-357A-34D2-95C389E8FF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3" y="870"/>
              <a:ext cx="71" cy="139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6 h 96"/>
                <a:gd name="T8" fmla="*/ 6 w 48"/>
                <a:gd name="T9" fmla="*/ 0 h 96"/>
                <a:gd name="T10" fmla="*/ 42 w 48"/>
                <a:gd name="T11" fmla="*/ 0 h 96"/>
                <a:gd name="T12" fmla="*/ 48 w 48"/>
                <a:gd name="T13" fmla="*/ 6 h 96"/>
                <a:gd name="T14" fmla="*/ 48 w 48"/>
                <a:gd name="T15" fmla="*/ 90 h 96"/>
                <a:gd name="T16" fmla="*/ 42 w 48"/>
                <a:gd name="T17" fmla="*/ 96 h 96"/>
                <a:gd name="T18" fmla="*/ 12 w 48"/>
                <a:gd name="T19" fmla="*/ 84 h 96"/>
                <a:gd name="T20" fmla="*/ 36 w 48"/>
                <a:gd name="T21" fmla="*/ 84 h 96"/>
                <a:gd name="T22" fmla="*/ 36 w 48"/>
                <a:gd name="T23" fmla="*/ 12 h 96"/>
                <a:gd name="T24" fmla="*/ 12 w 48"/>
                <a:gd name="T25" fmla="*/ 12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5" name="Freeform 44">
              <a:extLst>
                <a:ext uri="{FF2B5EF4-FFF2-40B4-BE49-F238E27FC236}">
                  <a16:creationId xmlns:a16="http://schemas.microsoft.com/office/drawing/2014/main" id="{295E6E3B-A068-5D70-A30F-E9FB45007B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" y="801"/>
              <a:ext cx="71" cy="208"/>
            </a:xfrm>
            <a:custGeom>
              <a:avLst/>
              <a:gdLst>
                <a:gd name="T0" fmla="*/ 42 w 48"/>
                <a:gd name="T1" fmla="*/ 144 h 144"/>
                <a:gd name="T2" fmla="*/ 6 w 48"/>
                <a:gd name="T3" fmla="*/ 144 h 144"/>
                <a:gd name="T4" fmla="*/ 0 w 48"/>
                <a:gd name="T5" fmla="*/ 138 h 144"/>
                <a:gd name="T6" fmla="*/ 0 w 48"/>
                <a:gd name="T7" fmla="*/ 6 h 144"/>
                <a:gd name="T8" fmla="*/ 6 w 48"/>
                <a:gd name="T9" fmla="*/ 0 h 144"/>
                <a:gd name="T10" fmla="*/ 42 w 48"/>
                <a:gd name="T11" fmla="*/ 0 h 144"/>
                <a:gd name="T12" fmla="*/ 48 w 48"/>
                <a:gd name="T13" fmla="*/ 6 h 144"/>
                <a:gd name="T14" fmla="*/ 48 w 48"/>
                <a:gd name="T15" fmla="*/ 138 h 144"/>
                <a:gd name="T16" fmla="*/ 42 w 48"/>
                <a:gd name="T17" fmla="*/ 144 h 144"/>
                <a:gd name="T18" fmla="*/ 12 w 48"/>
                <a:gd name="T19" fmla="*/ 132 h 144"/>
                <a:gd name="T20" fmla="*/ 36 w 48"/>
                <a:gd name="T21" fmla="*/ 132 h 144"/>
                <a:gd name="T22" fmla="*/ 36 w 48"/>
                <a:gd name="T23" fmla="*/ 12 h 144"/>
                <a:gd name="T24" fmla="*/ 12 w 48"/>
                <a:gd name="T25" fmla="*/ 12 h 144"/>
                <a:gd name="T26" fmla="*/ 12 w 48"/>
                <a:gd name="T27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44">
                  <a:moveTo>
                    <a:pt x="42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1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41"/>
                    <a:pt x="46" y="144"/>
                    <a:pt x="42" y="144"/>
                  </a:cubicBezTo>
                  <a:close/>
                  <a:moveTo>
                    <a:pt x="12" y="132"/>
                  </a:moveTo>
                  <a:cubicBezTo>
                    <a:pt x="36" y="132"/>
                    <a:pt x="36" y="132"/>
                    <a:pt x="36" y="13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2" name="Freeform 45">
              <a:extLst>
                <a:ext uri="{FF2B5EF4-FFF2-40B4-BE49-F238E27FC236}">
                  <a16:creationId xmlns:a16="http://schemas.microsoft.com/office/drawing/2014/main" id="{D8080583-6AC7-8C3C-6A71-701E5EE5E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0" y="732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3" y="192"/>
                    <a:pt x="0" y="189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89"/>
                    <a:pt x="46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3" name="Freeform 46">
              <a:extLst>
                <a:ext uri="{FF2B5EF4-FFF2-40B4-BE49-F238E27FC236}">
                  <a16:creationId xmlns:a16="http://schemas.microsoft.com/office/drawing/2014/main" id="{E40E939A-2363-0AC7-0CBF-D5CB2F2F2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5" y="607"/>
              <a:ext cx="340" cy="227"/>
            </a:xfrm>
            <a:custGeom>
              <a:avLst/>
              <a:gdLst>
                <a:gd name="T0" fmla="*/ 223 w 230"/>
                <a:gd name="T1" fmla="*/ 157 h 157"/>
                <a:gd name="T2" fmla="*/ 220 w 230"/>
                <a:gd name="T3" fmla="*/ 156 h 157"/>
                <a:gd name="T4" fmla="*/ 4 w 230"/>
                <a:gd name="T5" fmla="*/ 12 h 157"/>
                <a:gd name="T6" fmla="*/ 2 w 230"/>
                <a:gd name="T7" fmla="*/ 4 h 157"/>
                <a:gd name="T8" fmla="*/ 11 w 230"/>
                <a:gd name="T9" fmla="*/ 2 h 157"/>
                <a:gd name="T10" fmla="*/ 227 w 230"/>
                <a:gd name="T11" fmla="*/ 146 h 157"/>
                <a:gd name="T12" fmla="*/ 228 w 230"/>
                <a:gd name="T13" fmla="*/ 155 h 157"/>
                <a:gd name="T14" fmla="*/ 223 w 230"/>
                <a:gd name="T1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0" h="157">
                  <a:moveTo>
                    <a:pt x="223" y="157"/>
                  </a:moveTo>
                  <a:cubicBezTo>
                    <a:pt x="222" y="157"/>
                    <a:pt x="221" y="157"/>
                    <a:pt x="220" y="15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2" y="4"/>
                  </a:cubicBezTo>
                  <a:cubicBezTo>
                    <a:pt x="4" y="1"/>
                    <a:pt x="8" y="0"/>
                    <a:pt x="11" y="2"/>
                  </a:cubicBezTo>
                  <a:cubicBezTo>
                    <a:pt x="227" y="146"/>
                    <a:pt x="227" y="146"/>
                    <a:pt x="227" y="146"/>
                  </a:cubicBezTo>
                  <a:cubicBezTo>
                    <a:pt x="229" y="148"/>
                    <a:pt x="230" y="152"/>
                    <a:pt x="228" y="155"/>
                  </a:cubicBezTo>
                  <a:cubicBezTo>
                    <a:pt x="227" y="156"/>
                    <a:pt x="225" y="157"/>
                    <a:pt x="223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4" name="Freeform 47">
              <a:extLst>
                <a:ext uri="{FF2B5EF4-FFF2-40B4-BE49-F238E27FC236}">
                  <a16:creationId xmlns:a16="http://schemas.microsoft.com/office/drawing/2014/main" id="{AE030442-608E-6E40-0B47-73DC5D39C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5" y="748"/>
              <a:ext cx="90" cy="96"/>
            </a:xfrm>
            <a:custGeom>
              <a:avLst/>
              <a:gdLst>
                <a:gd name="T0" fmla="*/ 6 w 61"/>
                <a:gd name="T1" fmla="*/ 67 h 67"/>
                <a:gd name="T2" fmla="*/ 0 w 61"/>
                <a:gd name="T3" fmla="*/ 61 h 67"/>
                <a:gd name="T4" fmla="*/ 5 w 61"/>
                <a:gd name="T5" fmla="*/ 55 h 67"/>
                <a:gd name="T6" fmla="*/ 48 w 61"/>
                <a:gd name="T7" fmla="*/ 49 h 67"/>
                <a:gd name="T8" fmla="*/ 42 w 61"/>
                <a:gd name="T9" fmla="*/ 7 h 67"/>
                <a:gd name="T10" fmla="*/ 47 w 61"/>
                <a:gd name="T11" fmla="*/ 1 h 67"/>
                <a:gd name="T12" fmla="*/ 54 w 61"/>
                <a:gd name="T13" fmla="*/ 6 h 67"/>
                <a:gd name="T14" fmla="*/ 60 w 61"/>
                <a:gd name="T15" fmla="*/ 54 h 67"/>
                <a:gd name="T16" fmla="*/ 55 w 61"/>
                <a:gd name="T17" fmla="*/ 60 h 67"/>
                <a:gd name="T18" fmla="*/ 7 w 61"/>
                <a:gd name="T19" fmla="*/ 67 h 67"/>
                <a:gd name="T20" fmla="*/ 6 w 61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7">
                  <a:moveTo>
                    <a:pt x="6" y="67"/>
                  </a:moveTo>
                  <a:cubicBezTo>
                    <a:pt x="3" y="67"/>
                    <a:pt x="1" y="64"/>
                    <a:pt x="0" y="61"/>
                  </a:cubicBezTo>
                  <a:cubicBezTo>
                    <a:pt x="0" y="58"/>
                    <a:pt x="2" y="55"/>
                    <a:pt x="5" y="55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4"/>
                    <a:pt x="44" y="1"/>
                    <a:pt x="47" y="1"/>
                  </a:cubicBezTo>
                  <a:cubicBezTo>
                    <a:pt x="51" y="0"/>
                    <a:pt x="54" y="3"/>
                    <a:pt x="54" y="6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1" y="57"/>
                    <a:pt x="58" y="60"/>
                    <a:pt x="55" y="60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6" y="67"/>
                    <a:pt x="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cxnSp>
        <p:nvCxnSpPr>
          <p:cNvPr id="5159" name="Conector recto de flecha 5158">
            <a:extLst>
              <a:ext uri="{FF2B5EF4-FFF2-40B4-BE49-F238E27FC236}">
                <a16:creationId xmlns:a16="http://schemas.microsoft.com/office/drawing/2014/main" id="{ABA19565-672A-FC9F-6160-5494A7FD98CF}"/>
              </a:ext>
            </a:extLst>
          </p:cNvPr>
          <p:cNvCxnSpPr>
            <a:cxnSpLocks/>
          </p:cNvCxnSpPr>
          <p:nvPr/>
        </p:nvCxnSpPr>
        <p:spPr>
          <a:xfrm>
            <a:off x="3464518" y="2346960"/>
            <a:ext cx="0" cy="1996439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24">
            <a:extLst>
              <a:ext uri="{FF2B5EF4-FFF2-40B4-BE49-F238E27FC236}">
                <a16:creationId xmlns:a16="http://schemas.microsoft.com/office/drawing/2014/main" id="{E5494714-4730-AA01-0EF7-3ECED86E75CB}"/>
              </a:ext>
            </a:extLst>
          </p:cNvPr>
          <p:cNvSpPr txBox="1"/>
          <p:nvPr/>
        </p:nvSpPr>
        <p:spPr>
          <a:xfrm rot="16200000">
            <a:off x="265533" y="3030820"/>
            <a:ext cx="203835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pSp>
        <p:nvGrpSpPr>
          <p:cNvPr id="5165" name="Group 30">
            <a:extLst>
              <a:ext uri="{FF2B5EF4-FFF2-40B4-BE49-F238E27FC236}">
                <a16:creationId xmlns:a16="http://schemas.microsoft.com/office/drawing/2014/main" id="{E7A0F116-EFEE-776B-ED86-5872AE7AF9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48285" y="1974061"/>
            <a:ext cx="272846" cy="266092"/>
            <a:chOff x="4894" y="3443"/>
            <a:chExt cx="202" cy="197"/>
          </a:xfrm>
          <a:solidFill>
            <a:srgbClr val="00B050"/>
          </a:solidFill>
        </p:grpSpPr>
        <p:sp>
          <p:nvSpPr>
            <p:cNvPr id="5171" name="Freeform 38">
              <a:extLst>
                <a:ext uri="{FF2B5EF4-FFF2-40B4-BE49-F238E27FC236}">
                  <a16:creationId xmlns:a16="http://schemas.microsoft.com/office/drawing/2014/main" id="{05CC7DF0-1F25-2E86-4ACE-818BBF59F6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3443"/>
              <a:ext cx="202" cy="197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5" y="120"/>
                    <a:pt x="120" y="96"/>
                    <a:pt x="120" y="66"/>
                  </a:cubicBezTo>
                  <a:cubicBezTo>
                    <a:pt x="120" y="36"/>
                    <a:pt x="95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2" name="Freeform 39">
              <a:extLst>
                <a:ext uri="{FF2B5EF4-FFF2-40B4-BE49-F238E27FC236}">
                  <a16:creationId xmlns:a16="http://schemas.microsoft.com/office/drawing/2014/main" id="{C20B57C5-ED24-75B3-7828-A8AE0BB81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" y="3487"/>
              <a:ext cx="18" cy="108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2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9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3" name="Freeform 40">
              <a:extLst>
                <a:ext uri="{FF2B5EF4-FFF2-40B4-BE49-F238E27FC236}">
                  <a16:creationId xmlns:a16="http://schemas.microsoft.com/office/drawing/2014/main" id="{F040D9C1-015A-A94D-C5A4-008C68CB8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0" y="3532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174" name="Group 116">
            <a:extLst>
              <a:ext uri="{FF2B5EF4-FFF2-40B4-BE49-F238E27FC236}">
                <a16:creationId xmlns:a16="http://schemas.microsoft.com/office/drawing/2014/main" id="{4A7B3659-FFC9-ED42-2F50-C9FC5346F1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47527" y="4036931"/>
            <a:ext cx="274362" cy="267571"/>
            <a:chOff x="4885" y="2169"/>
            <a:chExt cx="202" cy="197"/>
          </a:xfrm>
          <a:solidFill>
            <a:srgbClr val="C00000"/>
          </a:solidFill>
        </p:grpSpPr>
        <p:sp>
          <p:nvSpPr>
            <p:cNvPr id="5180" name="Freeform 124">
              <a:extLst>
                <a:ext uri="{FF2B5EF4-FFF2-40B4-BE49-F238E27FC236}">
                  <a16:creationId xmlns:a16="http://schemas.microsoft.com/office/drawing/2014/main" id="{8865F289-42D2-4531-9057-9F9A5B3BB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5" y="2169"/>
              <a:ext cx="202" cy="197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3" y="0"/>
                    <a:pt x="132" y="30"/>
                    <a:pt x="132" y="66"/>
                  </a:cubicBezTo>
                  <a:cubicBezTo>
                    <a:pt x="132" y="102"/>
                    <a:pt x="103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1" name="Freeform 125">
              <a:extLst>
                <a:ext uri="{FF2B5EF4-FFF2-40B4-BE49-F238E27FC236}">
                  <a16:creationId xmlns:a16="http://schemas.microsoft.com/office/drawing/2014/main" id="{B41DF20F-3426-A714-CCB0-C933EAD16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1" y="2258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9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cxnSp>
        <p:nvCxnSpPr>
          <p:cNvPr id="5183" name="Conector recto 5182">
            <a:extLst>
              <a:ext uri="{FF2B5EF4-FFF2-40B4-BE49-F238E27FC236}">
                <a16:creationId xmlns:a16="http://schemas.microsoft.com/office/drawing/2014/main" id="{AEC06142-204E-1F53-6995-8FCE1C4A288B}"/>
              </a:ext>
            </a:extLst>
          </p:cNvPr>
          <p:cNvCxnSpPr>
            <a:cxnSpLocks/>
          </p:cNvCxnSpPr>
          <p:nvPr/>
        </p:nvCxnSpPr>
        <p:spPr>
          <a:xfrm flipV="1">
            <a:off x="1831975" y="1520825"/>
            <a:ext cx="0" cy="323691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37" name="Forma libre: forma 5136">
            <a:extLst>
              <a:ext uri="{FF2B5EF4-FFF2-40B4-BE49-F238E27FC236}">
                <a16:creationId xmlns:a16="http://schemas.microsoft.com/office/drawing/2014/main" id="{490D17DE-6E58-0E22-BF88-307A1A74E009}"/>
              </a:ext>
            </a:extLst>
          </p:cNvPr>
          <p:cNvSpPr/>
          <p:nvPr/>
        </p:nvSpPr>
        <p:spPr>
          <a:xfrm>
            <a:off x="2047875" y="2638425"/>
            <a:ext cx="4886325" cy="2114550"/>
          </a:xfrm>
          <a:custGeom>
            <a:avLst/>
            <a:gdLst>
              <a:gd name="connsiteX0" fmla="*/ 0 w 4886325"/>
              <a:gd name="connsiteY0" fmla="*/ 2114550 h 2114550"/>
              <a:gd name="connsiteX1" fmla="*/ 1628775 w 4886325"/>
              <a:gd name="connsiteY1" fmla="*/ 1714500 h 2114550"/>
              <a:gd name="connsiteX2" fmla="*/ 3257550 w 4886325"/>
              <a:gd name="connsiteY2" fmla="*/ 933450 h 2114550"/>
              <a:gd name="connsiteX3" fmla="*/ 4076700 w 4886325"/>
              <a:gd name="connsiteY3" fmla="*/ 228600 h 2114550"/>
              <a:gd name="connsiteX4" fmla="*/ 4886325 w 4886325"/>
              <a:gd name="connsiteY4" fmla="*/ 0 h 211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86325" h="2114550">
                <a:moveTo>
                  <a:pt x="0" y="2114550"/>
                </a:moveTo>
                <a:cubicBezTo>
                  <a:pt x="542925" y="2012950"/>
                  <a:pt x="1085850" y="1911350"/>
                  <a:pt x="1628775" y="1714500"/>
                </a:cubicBezTo>
                <a:cubicBezTo>
                  <a:pt x="2171700" y="1517650"/>
                  <a:pt x="2849563" y="1181100"/>
                  <a:pt x="3257550" y="933450"/>
                </a:cubicBezTo>
                <a:cubicBezTo>
                  <a:pt x="3665537" y="685800"/>
                  <a:pt x="3805237" y="384175"/>
                  <a:pt x="4076700" y="228600"/>
                </a:cubicBezTo>
                <a:cubicBezTo>
                  <a:pt x="4348163" y="73025"/>
                  <a:pt x="4617244" y="36512"/>
                  <a:pt x="4886325" y="0"/>
                </a:cubicBez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8" name="Forma libre: forma 5137">
            <a:extLst>
              <a:ext uri="{FF2B5EF4-FFF2-40B4-BE49-F238E27FC236}">
                <a16:creationId xmlns:a16="http://schemas.microsoft.com/office/drawing/2014/main" id="{2BB5F3BC-D625-1665-CEEF-F8FE7E61F6B1}"/>
              </a:ext>
            </a:extLst>
          </p:cNvPr>
          <p:cNvSpPr/>
          <p:nvPr/>
        </p:nvSpPr>
        <p:spPr>
          <a:xfrm flipH="1">
            <a:off x="6936581" y="2638425"/>
            <a:ext cx="4886325" cy="2114550"/>
          </a:xfrm>
          <a:custGeom>
            <a:avLst/>
            <a:gdLst>
              <a:gd name="connsiteX0" fmla="*/ 0 w 4886325"/>
              <a:gd name="connsiteY0" fmla="*/ 2114550 h 2114550"/>
              <a:gd name="connsiteX1" fmla="*/ 1628775 w 4886325"/>
              <a:gd name="connsiteY1" fmla="*/ 1714500 h 2114550"/>
              <a:gd name="connsiteX2" fmla="*/ 3257550 w 4886325"/>
              <a:gd name="connsiteY2" fmla="*/ 933450 h 2114550"/>
              <a:gd name="connsiteX3" fmla="*/ 4076700 w 4886325"/>
              <a:gd name="connsiteY3" fmla="*/ 228600 h 2114550"/>
              <a:gd name="connsiteX4" fmla="*/ 4886325 w 4886325"/>
              <a:gd name="connsiteY4" fmla="*/ 0 h 211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86325" h="2114550">
                <a:moveTo>
                  <a:pt x="0" y="2114550"/>
                </a:moveTo>
                <a:cubicBezTo>
                  <a:pt x="542925" y="2012950"/>
                  <a:pt x="1085850" y="1911350"/>
                  <a:pt x="1628775" y="1714500"/>
                </a:cubicBezTo>
                <a:cubicBezTo>
                  <a:pt x="2171700" y="1517650"/>
                  <a:pt x="2849563" y="1181100"/>
                  <a:pt x="3257550" y="933450"/>
                </a:cubicBezTo>
                <a:cubicBezTo>
                  <a:pt x="3665537" y="685800"/>
                  <a:pt x="3805237" y="384175"/>
                  <a:pt x="4076700" y="228600"/>
                </a:cubicBezTo>
                <a:cubicBezTo>
                  <a:pt x="4348163" y="73025"/>
                  <a:pt x="4617244" y="36512"/>
                  <a:pt x="4886325" y="0"/>
                </a:cubicBezTo>
              </a:path>
            </a:pathLst>
          </a:cu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1" name="TextBox 24">
            <a:extLst>
              <a:ext uri="{FF2B5EF4-FFF2-40B4-BE49-F238E27FC236}">
                <a16:creationId xmlns:a16="http://schemas.microsoft.com/office/drawing/2014/main" id="{37B257E1-DC5F-5423-F740-C713FF0AAE3B}"/>
              </a:ext>
            </a:extLst>
          </p:cNvPr>
          <p:cNvSpPr txBox="1"/>
          <p:nvPr/>
        </p:nvSpPr>
        <p:spPr>
          <a:xfrm>
            <a:off x="2057400" y="1705491"/>
            <a:ext cx="9695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nnovato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5186" name="Conector recto de flecha 5185">
            <a:extLst>
              <a:ext uri="{FF2B5EF4-FFF2-40B4-BE49-F238E27FC236}">
                <a16:creationId xmlns:a16="http://schemas.microsoft.com/office/drawing/2014/main" id="{ADA5E972-B893-2C65-CDC6-7D01F2FCFD43}"/>
              </a:ext>
            </a:extLst>
          </p:cNvPr>
          <p:cNvCxnSpPr>
            <a:cxnSpLocks/>
          </p:cNvCxnSpPr>
          <p:nvPr/>
        </p:nvCxnSpPr>
        <p:spPr>
          <a:xfrm>
            <a:off x="2542183" y="2346960"/>
            <a:ext cx="0" cy="2217897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7" name="Conector recto de flecha 5186">
            <a:extLst>
              <a:ext uri="{FF2B5EF4-FFF2-40B4-BE49-F238E27FC236}">
                <a16:creationId xmlns:a16="http://schemas.microsoft.com/office/drawing/2014/main" id="{DE54ABB2-070F-868B-5CFD-88A995B69A42}"/>
              </a:ext>
            </a:extLst>
          </p:cNvPr>
          <p:cNvCxnSpPr>
            <a:cxnSpLocks/>
          </p:cNvCxnSpPr>
          <p:nvPr/>
        </p:nvCxnSpPr>
        <p:spPr>
          <a:xfrm>
            <a:off x="4606130" y="2346960"/>
            <a:ext cx="0" cy="156972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9" name="Conector recto de flecha 5188">
            <a:extLst>
              <a:ext uri="{FF2B5EF4-FFF2-40B4-BE49-F238E27FC236}">
                <a16:creationId xmlns:a16="http://schemas.microsoft.com/office/drawing/2014/main" id="{3711A2B4-C766-1F4F-4336-2ECA3181328E}"/>
              </a:ext>
            </a:extLst>
          </p:cNvPr>
          <p:cNvCxnSpPr>
            <a:cxnSpLocks/>
          </p:cNvCxnSpPr>
          <p:nvPr/>
        </p:nvCxnSpPr>
        <p:spPr>
          <a:xfrm>
            <a:off x="6937771" y="2346960"/>
            <a:ext cx="0" cy="22098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1" name="Conector recto de flecha 5190">
            <a:extLst>
              <a:ext uri="{FF2B5EF4-FFF2-40B4-BE49-F238E27FC236}">
                <a16:creationId xmlns:a16="http://schemas.microsoft.com/office/drawing/2014/main" id="{EA10545A-9C35-1C69-CF40-8BDC92ABE622}"/>
              </a:ext>
            </a:extLst>
          </p:cNvPr>
          <p:cNvCxnSpPr>
            <a:cxnSpLocks/>
          </p:cNvCxnSpPr>
          <p:nvPr/>
        </p:nvCxnSpPr>
        <p:spPr>
          <a:xfrm>
            <a:off x="10185002" y="2346960"/>
            <a:ext cx="0" cy="1891665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92" name="Group 128">
            <a:extLst>
              <a:ext uri="{FF2B5EF4-FFF2-40B4-BE49-F238E27FC236}">
                <a16:creationId xmlns:a16="http://schemas.microsoft.com/office/drawing/2014/main" id="{64470231-E29B-23CF-0C6B-62E85FEA22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02498" y="1967960"/>
            <a:ext cx="279370" cy="319814"/>
            <a:chOff x="1398" y="2998"/>
            <a:chExt cx="373" cy="427"/>
          </a:xfrm>
          <a:solidFill>
            <a:schemeClr val="tx2"/>
          </a:solidFill>
        </p:grpSpPr>
        <p:sp>
          <p:nvSpPr>
            <p:cNvPr id="5193" name="Freeform 129">
              <a:extLst>
                <a:ext uri="{FF2B5EF4-FFF2-40B4-BE49-F238E27FC236}">
                  <a16:creationId xmlns:a16="http://schemas.microsoft.com/office/drawing/2014/main" id="{A001EA1F-0C00-586C-8538-3718A064CF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4" name="Freeform 130">
              <a:extLst>
                <a:ext uri="{FF2B5EF4-FFF2-40B4-BE49-F238E27FC236}">
                  <a16:creationId xmlns:a16="http://schemas.microsoft.com/office/drawing/2014/main" id="{A8A3BD27-D44A-D1EB-C4BF-40D802DA5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5" name="Freeform 131">
              <a:extLst>
                <a:ext uri="{FF2B5EF4-FFF2-40B4-BE49-F238E27FC236}">
                  <a16:creationId xmlns:a16="http://schemas.microsoft.com/office/drawing/2014/main" id="{2D5DD02D-12EB-AF90-7817-EDC08BA2B3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6" name="Freeform 132">
              <a:extLst>
                <a:ext uri="{FF2B5EF4-FFF2-40B4-BE49-F238E27FC236}">
                  <a16:creationId xmlns:a16="http://schemas.microsoft.com/office/drawing/2014/main" id="{07BD796E-63E4-0CE5-3200-EE919CF25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7" name="Freeform 133">
              <a:extLst>
                <a:ext uri="{FF2B5EF4-FFF2-40B4-BE49-F238E27FC236}">
                  <a16:creationId xmlns:a16="http://schemas.microsoft.com/office/drawing/2014/main" id="{DC69E4D9-5569-192C-0A28-C04997BC0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8" name="Freeform 134">
              <a:extLst>
                <a:ext uri="{FF2B5EF4-FFF2-40B4-BE49-F238E27FC236}">
                  <a16:creationId xmlns:a16="http://schemas.microsoft.com/office/drawing/2014/main" id="{D00A2286-6887-433E-22A0-ADBAF254B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9" name="Freeform 135">
              <a:extLst>
                <a:ext uri="{FF2B5EF4-FFF2-40B4-BE49-F238E27FC236}">
                  <a16:creationId xmlns:a16="http://schemas.microsoft.com/office/drawing/2014/main" id="{C474C1D6-8CE6-697B-68CA-CB094EF5E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00" name="Freeform 136">
              <a:extLst>
                <a:ext uri="{FF2B5EF4-FFF2-40B4-BE49-F238E27FC236}">
                  <a16:creationId xmlns:a16="http://schemas.microsoft.com/office/drawing/2014/main" id="{C25B0DAB-5CAE-9BB6-DFF8-C9AEB4D4A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01" name="Freeform 137">
              <a:extLst>
                <a:ext uri="{FF2B5EF4-FFF2-40B4-BE49-F238E27FC236}">
                  <a16:creationId xmlns:a16="http://schemas.microsoft.com/office/drawing/2014/main" id="{4ABF1E0E-3C6F-6D94-BC56-F7A821046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02" name="Freeform 138">
              <a:extLst>
                <a:ext uri="{FF2B5EF4-FFF2-40B4-BE49-F238E27FC236}">
                  <a16:creationId xmlns:a16="http://schemas.microsoft.com/office/drawing/2014/main" id="{F6FEF0A0-3CB3-3DE6-CE8D-95183065C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03" name="Freeform 139">
              <a:extLst>
                <a:ext uri="{FF2B5EF4-FFF2-40B4-BE49-F238E27FC236}">
                  <a16:creationId xmlns:a16="http://schemas.microsoft.com/office/drawing/2014/main" id="{9C088476-A33C-29F0-0232-4BA0DE03F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04" name="Freeform 140">
              <a:extLst>
                <a:ext uri="{FF2B5EF4-FFF2-40B4-BE49-F238E27FC236}">
                  <a16:creationId xmlns:a16="http://schemas.microsoft.com/office/drawing/2014/main" id="{BE8D7658-A68B-3AED-E692-FC8ABDB1B8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66" name="Marcador de pie de página 5165">
            <a:extLst>
              <a:ext uri="{FF2B5EF4-FFF2-40B4-BE49-F238E27FC236}">
                <a16:creationId xmlns:a16="http://schemas.microsoft.com/office/drawing/2014/main" id="{1183DE83-0765-4871-25AD-000128106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9340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748C09D-7D33-BA67-798B-80EBFEF994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748C09D-7D33-BA67-798B-80EBFEF994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>
            <a:extLst>
              <a:ext uri="{FF2B5EF4-FFF2-40B4-BE49-F238E27FC236}">
                <a16:creationId xmlns:a16="http://schemas.microsoft.com/office/drawing/2014/main" id="{49975B6E-0885-D192-EF4F-F7F4CE3A27B6}"/>
              </a:ext>
            </a:extLst>
          </p:cNvPr>
          <p:cNvSpPr/>
          <p:nvPr/>
        </p:nvSpPr>
        <p:spPr>
          <a:xfrm>
            <a:off x="371475" y="1376363"/>
            <a:ext cx="11449050" cy="49323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45465C7-8945-2FDA-74AC-56273CFE2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mbrex offers flexible options to engage talent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01AE375A-B25A-4004-874A-358001D6D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80" y="6480794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CB518E-7159-4A3E-B38C-308B65DCA08A}"/>
              </a:ext>
            </a:extLst>
          </p:cNvPr>
          <p:cNvCxnSpPr/>
          <p:nvPr/>
        </p:nvCxnSpPr>
        <p:spPr>
          <a:xfrm>
            <a:off x="618067" y="3811308"/>
            <a:ext cx="1083733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46A9659-27D7-4AF1-82AA-34A48E1DD8D9}"/>
              </a:ext>
            </a:extLst>
          </p:cNvPr>
          <p:cNvCxnSpPr/>
          <p:nvPr/>
        </p:nvCxnSpPr>
        <p:spPr>
          <a:xfrm>
            <a:off x="6096000" y="4302375"/>
            <a:ext cx="0" cy="148166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0C419C-81C9-4E21-88A2-AD3050D06EBC}"/>
              </a:ext>
            </a:extLst>
          </p:cNvPr>
          <p:cNvCxnSpPr/>
          <p:nvPr/>
        </p:nvCxnSpPr>
        <p:spPr>
          <a:xfrm>
            <a:off x="6096000" y="1838574"/>
            <a:ext cx="0" cy="148166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83E4314-D4CD-4EB0-80A6-AC92237EA5DB}"/>
              </a:ext>
            </a:extLst>
          </p:cNvPr>
          <p:cNvSpPr txBox="1"/>
          <p:nvPr/>
        </p:nvSpPr>
        <p:spPr>
          <a:xfrm>
            <a:off x="6080124" y="4146854"/>
            <a:ext cx="572452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c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D46B445-6B88-4DCE-9CE9-4C57979D27B6}"/>
              </a:ext>
            </a:extLst>
          </p:cNvPr>
          <p:cNvSpPr txBox="1"/>
          <p:nvPr/>
        </p:nvSpPr>
        <p:spPr>
          <a:xfrm>
            <a:off x="371475" y="4146854"/>
            <a:ext cx="572452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nior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665F01-922D-4AB7-A449-F4353A02187C}"/>
              </a:ext>
            </a:extLst>
          </p:cNvPr>
          <p:cNvSpPr txBox="1"/>
          <p:nvPr/>
        </p:nvSpPr>
        <p:spPr>
          <a:xfrm>
            <a:off x="6080124" y="1838574"/>
            <a:ext cx="572452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ber of consulta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D3979D-2C67-4D8F-8659-B3B476E9F2C0}"/>
              </a:ext>
            </a:extLst>
          </p:cNvPr>
          <p:cNvSpPr txBox="1"/>
          <p:nvPr/>
        </p:nvSpPr>
        <p:spPr>
          <a:xfrm>
            <a:off x="371475" y="1838574"/>
            <a:ext cx="5724525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1A4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ime commitment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D843B5B-C243-4E2F-8B3D-98B768D6824E}"/>
              </a:ext>
            </a:extLst>
          </p:cNvPr>
          <p:cNvGraphicFramePr/>
          <p:nvPr/>
        </p:nvGraphicFramePr>
        <p:xfrm>
          <a:off x="1799153" y="1812732"/>
          <a:ext cx="2874968" cy="19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BC43CEC-0FD0-4534-8963-E1A33E2E5F61}"/>
              </a:ext>
            </a:extLst>
          </p:cNvPr>
          <p:cNvGraphicFramePr/>
          <p:nvPr/>
        </p:nvGraphicFramePr>
        <p:xfrm>
          <a:off x="3529528" y="1812732"/>
          <a:ext cx="2874968" cy="19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000B5214-B4CE-4100-BE2D-F49FA6BD4078}"/>
              </a:ext>
            </a:extLst>
          </p:cNvPr>
          <p:cNvGraphicFramePr/>
          <p:nvPr/>
        </p:nvGraphicFramePr>
        <p:xfrm>
          <a:off x="68778" y="1812732"/>
          <a:ext cx="2874968" cy="19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8130EFFB-042E-4A03-9F8B-F5A697CE7F3F}"/>
              </a:ext>
            </a:extLst>
          </p:cNvPr>
          <p:cNvSpPr txBox="1"/>
          <p:nvPr/>
        </p:nvSpPr>
        <p:spPr>
          <a:xfrm>
            <a:off x="9427224" y="3170701"/>
            <a:ext cx="1079260" cy="2990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a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171946-69DF-4AF9-9615-2276037BDCC8}"/>
              </a:ext>
            </a:extLst>
          </p:cNvPr>
          <p:cNvSpPr txBox="1"/>
          <p:nvPr/>
        </p:nvSpPr>
        <p:spPr>
          <a:xfrm>
            <a:off x="7378289" y="3170701"/>
            <a:ext cx="1079260" cy="2990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dividual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86E179A-E171-4782-9B0F-9A31306EB45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11535" y="2337487"/>
            <a:ext cx="609600" cy="6096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FF6EAC6-E319-405C-B225-2C1E176F4E89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97409" y="2310190"/>
            <a:ext cx="738889" cy="738889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41CFCCB-AAB8-4F6F-B090-E4248F7968DD}"/>
              </a:ext>
            </a:extLst>
          </p:cNvPr>
          <p:cNvCxnSpPr>
            <a:cxnSpLocks/>
          </p:cNvCxnSpPr>
          <p:nvPr/>
        </p:nvCxnSpPr>
        <p:spPr>
          <a:xfrm>
            <a:off x="2069598" y="5737854"/>
            <a:ext cx="2604523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5CFE2FF-BE00-44EF-9E81-637C6D79C9A3}"/>
              </a:ext>
            </a:extLst>
          </p:cNvPr>
          <p:cNvSpPr/>
          <p:nvPr/>
        </p:nvSpPr>
        <p:spPr>
          <a:xfrm>
            <a:off x="2251611" y="4710779"/>
            <a:ext cx="2166825" cy="1027075"/>
          </a:xfrm>
          <a:custGeom>
            <a:avLst/>
            <a:gdLst>
              <a:gd name="connsiteX0" fmla="*/ 0 w 2166825"/>
              <a:gd name="connsiteY0" fmla="*/ 1027075 h 1027075"/>
              <a:gd name="connsiteX1" fmla="*/ 0 w 2166825"/>
              <a:gd name="connsiteY1" fmla="*/ 771390 h 1027075"/>
              <a:gd name="connsiteX2" fmla="*/ 693384 w 2166825"/>
              <a:gd name="connsiteY2" fmla="*/ 793058 h 1027075"/>
              <a:gd name="connsiteX3" fmla="*/ 693384 w 2166825"/>
              <a:gd name="connsiteY3" fmla="*/ 446366 h 1027075"/>
              <a:gd name="connsiteX4" fmla="*/ 1395435 w 2166825"/>
              <a:gd name="connsiteY4" fmla="*/ 463701 h 1027075"/>
              <a:gd name="connsiteX5" fmla="*/ 1395435 w 2166825"/>
              <a:gd name="connsiteY5" fmla="*/ 0 h 1027075"/>
              <a:gd name="connsiteX6" fmla="*/ 2145157 w 2166825"/>
              <a:gd name="connsiteY6" fmla="*/ 8668 h 1027075"/>
              <a:gd name="connsiteX7" fmla="*/ 2166825 w 2166825"/>
              <a:gd name="connsiteY7" fmla="*/ 1022742 h 1027075"/>
              <a:gd name="connsiteX8" fmla="*/ 0 w 2166825"/>
              <a:gd name="connsiteY8" fmla="*/ 1027075 h 102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825" h="1027075">
                <a:moveTo>
                  <a:pt x="0" y="1027075"/>
                </a:moveTo>
                <a:lnTo>
                  <a:pt x="0" y="771390"/>
                </a:lnTo>
                <a:lnTo>
                  <a:pt x="693384" y="793058"/>
                </a:lnTo>
                <a:lnTo>
                  <a:pt x="693384" y="446366"/>
                </a:lnTo>
                <a:lnTo>
                  <a:pt x="1395435" y="463701"/>
                </a:lnTo>
                <a:lnTo>
                  <a:pt x="1395435" y="0"/>
                </a:lnTo>
                <a:lnTo>
                  <a:pt x="2145157" y="8668"/>
                </a:lnTo>
                <a:lnTo>
                  <a:pt x="2166825" y="1022742"/>
                </a:lnTo>
                <a:lnTo>
                  <a:pt x="0" y="1027075"/>
                </a:lnTo>
                <a:close/>
              </a:path>
            </a:pathLst>
          </a:cu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971B3C-5FF6-493B-97C7-9F25CE25F2A1}"/>
              </a:ext>
            </a:extLst>
          </p:cNvPr>
          <p:cNvSpPr txBox="1"/>
          <p:nvPr/>
        </p:nvSpPr>
        <p:spPr>
          <a:xfrm>
            <a:off x="2175865" y="5292463"/>
            <a:ext cx="773464" cy="1873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sociat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E367D9B-0273-4673-BD2C-633F0F594E31}"/>
              </a:ext>
            </a:extLst>
          </p:cNvPr>
          <p:cNvSpPr txBox="1"/>
          <p:nvPr/>
        </p:nvSpPr>
        <p:spPr>
          <a:xfrm>
            <a:off x="2900307" y="4943277"/>
            <a:ext cx="773464" cy="1873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ag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6A3A105-52F7-4B76-BBDA-4B3C8FD31C5F}"/>
              </a:ext>
            </a:extLst>
          </p:cNvPr>
          <p:cNvSpPr txBox="1"/>
          <p:nvPr/>
        </p:nvSpPr>
        <p:spPr>
          <a:xfrm>
            <a:off x="3644972" y="4490016"/>
            <a:ext cx="773464" cy="1873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tner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1012516-6B3B-4E31-B93A-07CC06535C40}"/>
              </a:ext>
            </a:extLst>
          </p:cNvPr>
          <p:cNvSpPr txBox="1"/>
          <p:nvPr/>
        </p:nvSpPr>
        <p:spPr>
          <a:xfrm>
            <a:off x="9427224" y="5438775"/>
            <a:ext cx="1079260" cy="2990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-sit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974C63-9D0D-4A1F-94B6-39E9D431EF40}"/>
              </a:ext>
            </a:extLst>
          </p:cNvPr>
          <p:cNvSpPr txBox="1"/>
          <p:nvPr/>
        </p:nvSpPr>
        <p:spPr>
          <a:xfrm>
            <a:off x="7378289" y="5438775"/>
            <a:ext cx="1079260" cy="2990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mote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25A39B0C-8B0A-40FB-A564-1950B902CC03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b="25834"/>
          <a:stretch/>
        </p:blipFill>
        <p:spPr>
          <a:xfrm>
            <a:off x="7467262" y="4677376"/>
            <a:ext cx="855376" cy="79300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6DD4CFED-6248-494E-9393-EC105DE95318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b="20404"/>
          <a:stretch/>
        </p:blipFill>
        <p:spPr>
          <a:xfrm>
            <a:off x="9539165" y="4614764"/>
            <a:ext cx="855376" cy="84105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A6B3BF1-1047-5037-CC13-1E46294241B2}"/>
              </a:ext>
            </a:extLst>
          </p:cNvPr>
          <p:cNvSpPr/>
          <p:nvPr/>
        </p:nvSpPr>
        <p:spPr>
          <a:xfrm>
            <a:off x="121920" y="6400800"/>
            <a:ext cx="1787562" cy="40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32E8CA-F31A-C12A-C362-A292D0926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25" y="6469380"/>
            <a:ext cx="851635" cy="24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: Rounded Corners 11">
            <a:extLst>
              <a:ext uri="{FF2B5EF4-FFF2-40B4-BE49-F238E27FC236}">
                <a16:creationId xmlns:a16="http://schemas.microsoft.com/office/drawing/2014/main" id="{86293CE0-5E33-8DB4-8CF2-3F0B5DAC8737}"/>
              </a:ext>
            </a:extLst>
          </p:cNvPr>
          <p:cNvSpPr/>
          <p:nvPr/>
        </p:nvSpPr>
        <p:spPr>
          <a:xfrm>
            <a:off x="9140327" y="368300"/>
            <a:ext cx="2680198" cy="485776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d a consultant no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075383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FAABBC8-59C5-51A0-ECA1-972921A72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65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FAABBC8-59C5-51A0-ECA1-972921A7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9946F28-B676-286D-006D-D2BF1BA92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797A596-FFC1-A319-B07A-78C41AB04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Peak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DF4E80-222D-49F5-EFA2-27EEE314A3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020352C4-8030-969B-CD7F-6D0DBD7B46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8717475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5">
            <a:extLst>
              <a:ext uri="{FF2B5EF4-FFF2-40B4-BE49-F238E27FC236}">
                <a16:creationId xmlns:a16="http://schemas.microsoft.com/office/drawing/2014/main" id="{E4873D9F-7041-EEFB-3FAB-3CF1B93FEF08}"/>
              </a:ext>
            </a:extLst>
          </p:cNvPr>
          <p:cNvSpPr txBox="1"/>
          <p:nvPr/>
        </p:nvSpPr>
        <p:spPr>
          <a:xfrm>
            <a:off x="9490127" y="22603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5C4F14D4-0CA6-531C-4BD2-F95237F96C86}"/>
              </a:ext>
            </a:extLst>
          </p:cNvPr>
          <p:cNvSpPr txBox="1"/>
          <p:nvPr/>
        </p:nvSpPr>
        <p:spPr>
          <a:xfrm>
            <a:off x="9490127" y="3947980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D4A89B4-91CD-C194-1B3D-A3F32BCB24E2}"/>
              </a:ext>
            </a:extLst>
          </p:cNvPr>
          <p:cNvSpPr txBox="1"/>
          <p:nvPr/>
        </p:nvSpPr>
        <p:spPr>
          <a:xfrm>
            <a:off x="3671976" y="339991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092A3148-3969-B871-26C2-6957139F4E83}"/>
              </a:ext>
            </a:extLst>
          </p:cNvPr>
          <p:cNvCxnSpPr>
            <a:cxnSpLocks/>
          </p:cNvCxnSpPr>
          <p:nvPr/>
        </p:nvCxnSpPr>
        <p:spPr>
          <a:xfrm>
            <a:off x="4341848" y="3634512"/>
            <a:ext cx="0" cy="390134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68175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9F33352-6EB5-2A05-01EA-4B51C2332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34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9F33352-6EB5-2A05-01EA-4B51C2332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07A924B-B406-D9EA-15F4-EF208C848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EF2AB77-D8B9-A88A-EDF2-B463AF08E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Arrow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A378D73-CCA6-5B7C-E893-136AF71621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08A94425-2FD0-A807-E47B-7291DAC5F8F2}"/>
              </a:ext>
            </a:extLst>
          </p:cNvPr>
          <p:cNvCxnSpPr>
            <a:cxnSpLocks/>
          </p:cNvCxnSpPr>
          <p:nvPr/>
        </p:nvCxnSpPr>
        <p:spPr>
          <a:xfrm flipV="1">
            <a:off x="2318941" y="1571397"/>
            <a:ext cx="7702151" cy="4626203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ipse 10">
            <a:extLst>
              <a:ext uri="{FF2B5EF4-FFF2-40B4-BE49-F238E27FC236}">
                <a16:creationId xmlns:a16="http://schemas.microsoft.com/office/drawing/2014/main" id="{FBA2817B-04C1-E085-C01E-2A01C289B928}"/>
              </a:ext>
            </a:extLst>
          </p:cNvPr>
          <p:cNvSpPr/>
          <p:nvPr/>
        </p:nvSpPr>
        <p:spPr>
          <a:xfrm>
            <a:off x="2235597" y="6022578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1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0BD800B6-0E92-0200-3DA8-DF3651432410}"/>
              </a:ext>
            </a:extLst>
          </p:cNvPr>
          <p:cNvSpPr/>
          <p:nvPr/>
        </p:nvSpPr>
        <p:spPr>
          <a:xfrm>
            <a:off x="3245304" y="5413573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2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2BB779F-9993-6721-697C-84C4B46F8A1E}"/>
              </a:ext>
            </a:extLst>
          </p:cNvPr>
          <p:cNvSpPr/>
          <p:nvPr/>
        </p:nvSpPr>
        <p:spPr>
          <a:xfrm>
            <a:off x="4255011" y="4804571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3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11699852-0664-8028-563B-98E584286AEF}"/>
              </a:ext>
            </a:extLst>
          </p:cNvPr>
          <p:cNvSpPr/>
          <p:nvPr/>
        </p:nvSpPr>
        <p:spPr>
          <a:xfrm>
            <a:off x="5264718" y="4195569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4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2AC61D56-F63A-E973-8EFE-D615618A071B}"/>
              </a:ext>
            </a:extLst>
          </p:cNvPr>
          <p:cNvSpPr/>
          <p:nvPr/>
        </p:nvSpPr>
        <p:spPr>
          <a:xfrm>
            <a:off x="6274425" y="3586567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5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6BC52CFB-95A0-1336-401C-B3721F62DBF1}"/>
              </a:ext>
            </a:extLst>
          </p:cNvPr>
          <p:cNvSpPr/>
          <p:nvPr/>
        </p:nvSpPr>
        <p:spPr>
          <a:xfrm>
            <a:off x="7284132" y="2977565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6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7C25D15-9AA5-5A31-7FFE-918C4551F8F8}"/>
              </a:ext>
            </a:extLst>
          </p:cNvPr>
          <p:cNvSpPr/>
          <p:nvPr/>
        </p:nvSpPr>
        <p:spPr>
          <a:xfrm>
            <a:off x="8293839" y="2368563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7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9F38D706-26EB-D597-EDA6-1BBB49741F92}"/>
              </a:ext>
            </a:extLst>
          </p:cNvPr>
          <p:cNvSpPr/>
          <p:nvPr/>
        </p:nvSpPr>
        <p:spPr>
          <a:xfrm>
            <a:off x="9303544" y="1759561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8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6450E50A-021A-D668-F190-2E662E3AF29F}"/>
              </a:ext>
            </a:extLst>
          </p:cNvPr>
          <p:cNvSpPr txBox="1"/>
          <p:nvPr/>
        </p:nvSpPr>
        <p:spPr>
          <a:xfrm>
            <a:off x="2730410" y="60852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5">
            <a:extLst>
              <a:ext uri="{FF2B5EF4-FFF2-40B4-BE49-F238E27FC236}">
                <a16:creationId xmlns:a16="http://schemas.microsoft.com/office/drawing/2014/main" id="{F7627BAC-862C-414D-4114-1DC0CCD2DE51}"/>
              </a:ext>
            </a:extLst>
          </p:cNvPr>
          <p:cNvSpPr txBox="1"/>
          <p:nvPr/>
        </p:nvSpPr>
        <p:spPr>
          <a:xfrm>
            <a:off x="3759167" y="547621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5">
            <a:extLst>
              <a:ext uri="{FF2B5EF4-FFF2-40B4-BE49-F238E27FC236}">
                <a16:creationId xmlns:a16="http://schemas.microsoft.com/office/drawing/2014/main" id="{EDD34024-5471-7ED7-767E-A9965AF22495}"/>
              </a:ext>
            </a:extLst>
          </p:cNvPr>
          <p:cNvSpPr txBox="1"/>
          <p:nvPr/>
        </p:nvSpPr>
        <p:spPr>
          <a:xfrm>
            <a:off x="4754281" y="486721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4D7F8AA5-D8F5-05BA-404C-F0B9D319B1DE}"/>
              </a:ext>
            </a:extLst>
          </p:cNvPr>
          <p:cNvSpPr txBox="1"/>
          <p:nvPr/>
        </p:nvSpPr>
        <p:spPr>
          <a:xfrm>
            <a:off x="5832717" y="425821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A22A3358-FFCF-AABB-E76E-96C57F116D31}"/>
              </a:ext>
            </a:extLst>
          </p:cNvPr>
          <p:cNvSpPr txBox="1"/>
          <p:nvPr/>
        </p:nvSpPr>
        <p:spPr>
          <a:xfrm>
            <a:off x="4695052" y="3649213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968F3EB9-B390-346E-E9B7-B5218DF1549D}"/>
              </a:ext>
            </a:extLst>
          </p:cNvPr>
          <p:cNvSpPr txBox="1"/>
          <p:nvPr/>
        </p:nvSpPr>
        <p:spPr>
          <a:xfrm>
            <a:off x="5729165" y="3040211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D51FE6D1-EF10-A77F-8479-56FE0DD2540F}"/>
              </a:ext>
            </a:extLst>
          </p:cNvPr>
          <p:cNvSpPr txBox="1"/>
          <p:nvPr/>
        </p:nvSpPr>
        <p:spPr>
          <a:xfrm>
            <a:off x="6718390" y="24312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663FB7-93E5-36E5-DBB6-265FD20C58BB}"/>
              </a:ext>
            </a:extLst>
          </p:cNvPr>
          <p:cNvSpPr txBox="1"/>
          <p:nvPr/>
        </p:nvSpPr>
        <p:spPr>
          <a:xfrm>
            <a:off x="7756085" y="182220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00715563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to 21" hidden="1">
            <a:extLst>
              <a:ext uri="{FF2B5EF4-FFF2-40B4-BE49-F238E27FC236}">
                <a16:creationId xmlns:a16="http://schemas.microsoft.com/office/drawing/2014/main" id="{D29F06A8-E992-2218-FA19-10E3EC5A4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4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2" name="Objeto 21" hidden="1">
                        <a:extLst>
                          <a:ext uri="{FF2B5EF4-FFF2-40B4-BE49-F238E27FC236}">
                            <a16:creationId xmlns:a16="http://schemas.microsoft.com/office/drawing/2014/main" id="{D29F06A8-E992-2218-FA19-10E3EC5A4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6E55383-171E-B845-1599-0F9AD5E7C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84D2662-37E4-410E-59E4-CD509FAD7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volution Chart</a:t>
            </a:r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631324A9-84D4-AF2A-5151-F66D369771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7058434"/>
              </p:ext>
            </p:extLst>
          </p:nvPr>
        </p:nvGraphicFramePr>
        <p:xfrm>
          <a:off x="371475" y="2604978"/>
          <a:ext cx="11433174" cy="3652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Shape 2526">
            <a:extLst>
              <a:ext uri="{FF2B5EF4-FFF2-40B4-BE49-F238E27FC236}">
                <a16:creationId xmlns:a16="http://schemas.microsoft.com/office/drawing/2014/main" id="{0CB8153B-6620-DDE2-5CD0-02929A870D2F}"/>
              </a:ext>
            </a:extLst>
          </p:cNvPr>
          <p:cNvSpPr>
            <a:spLocks noChangeAspect="1"/>
          </p:cNvSpPr>
          <p:nvPr/>
        </p:nvSpPr>
        <p:spPr>
          <a:xfrm>
            <a:off x="11016278" y="5000119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8" name="Shape 2583">
            <a:extLst>
              <a:ext uri="{FF2B5EF4-FFF2-40B4-BE49-F238E27FC236}">
                <a16:creationId xmlns:a16="http://schemas.microsoft.com/office/drawing/2014/main" id="{1874517B-FC6F-4208-BE9C-98C155E0EF50}"/>
              </a:ext>
            </a:extLst>
          </p:cNvPr>
          <p:cNvSpPr>
            <a:spLocks noChangeAspect="1"/>
          </p:cNvSpPr>
          <p:nvPr/>
        </p:nvSpPr>
        <p:spPr>
          <a:xfrm>
            <a:off x="8818574" y="4447298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9" name="Shape 2591">
            <a:extLst>
              <a:ext uri="{FF2B5EF4-FFF2-40B4-BE49-F238E27FC236}">
                <a16:creationId xmlns:a16="http://schemas.microsoft.com/office/drawing/2014/main" id="{BF7013D5-A5FC-460D-90E6-479774E92EC8}"/>
              </a:ext>
            </a:extLst>
          </p:cNvPr>
          <p:cNvSpPr>
            <a:spLocks noChangeAspect="1"/>
          </p:cNvSpPr>
          <p:nvPr/>
        </p:nvSpPr>
        <p:spPr>
          <a:xfrm>
            <a:off x="4435186" y="3997927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0" name="Shape 2605">
            <a:extLst>
              <a:ext uri="{FF2B5EF4-FFF2-40B4-BE49-F238E27FC236}">
                <a16:creationId xmlns:a16="http://schemas.microsoft.com/office/drawing/2014/main" id="{6DD19E07-D301-D5AB-EF07-A48F7861EE52}"/>
              </a:ext>
            </a:extLst>
          </p:cNvPr>
          <p:cNvSpPr>
            <a:spLocks noChangeAspect="1"/>
          </p:cNvSpPr>
          <p:nvPr/>
        </p:nvSpPr>
        <p:spPr>
          <a:xfrm>
            <a:off x="6611557" y="5085181"/>
            <a:ext cx="352767" cy="352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1" name="Shape 2616">
            <a:extLst>
              <a:ext uri="{FF2B5EF4-FFF2-40B4-BE49-F238E27FC236}">
                <a16:creationId xmlns:a16="http://schemas.microsoft.com/office/drawing/2014/main" id="{D97D4426-80C1-1E8D-2431-3AFA8C2FB667}"/>
              </a:ext>
            </a:extLst>
          </p:cNvPr>
          <p:cNvSpPr>
            <a:spLocks noChangeAspect="1"/>
          </p:cNvSpPr>
          <p:nvPr/>
        </p:nvSpPr>
        <p:spPr>
          <a:xfrm>
            <a:off x="2353016" y="2854786"/>
            <a:ext cx="352600" cy="320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27B9588F-7B9D-5CFA-7F02-4021F9BF867F}"/>
              </a:ext>
            </a:extLst>
          </p:cNvPr>
          <p:cNvSpPr txBox="1"/>
          <p:nvPr/>
        </p:nvSpPr>
        <p:spPr>
          <a:xfrm>
            <a:off x="123245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1052DF2-F963-23E2-33CC-6CC097597114}"/>
              </a:ext>
            </a:extLst>
          </p:cNvPr>
          <p:cNvSpPr txBox="1">
            <a:spLocks/>
          </p:cNvSpPr>
          <p:nvPr/>
        </p:nvSpPr>
        <p:spPr>
          <a:xfrm>
            <a:off x="1232452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0E3D531-7371-46A2-6C56-F522047D544B}"/>
              </a:ext>
            </a:extLst>
          </p:cNvPr>
          <p:cNvSpPr txBox="1"/>
          <p:nvPr/>
        </p:nvSpPr>
        <p:spPr>
          <a:xfrm>
            <a:off x="336929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FC3A089-AEEA-333E-E567-C67FDF56FABE}"/>
              </a:ext>
            </a:extLst>
          </p:cNvPr>
          <p:cNvSpPr txBox="1">
            <a:spLocks/>
          </p:cNvSpPr>
          <p:nvPr/>
        </p:nvSpPr>
        <p:spPr>
          <a:xfrm>
            <a:off x="3369291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D2E6E2F3-3C5E-D53C-529E-4511F795BBE7}"/>
              </a:ext>
            </a:extLst>
          </p:cNvPr>
          <p:cNvSpPr txBox="1"/>
          <p:nvPr/>
        </p:nvSpPr>
        <p:spPr>
          <a:xfrm>
            <a:off x="550613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BE0DB6D-01B5-59D7-C43D-7ACDF6FD491E}"/>
              </a:ext>
            </a:extLst>
          </p:cNvPr>
          <p:cNvSpPr txBox="1">
            <a:spLocks/>
          </p:cNvSpPr>
          <p:nvPr/>
        </p:nvSpPr>
        <p:spPr>
          <a:xfrm>
            <a:off x="5506130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E1BF4F7C-DF2C-81CA-11F7-B4E226BD9C4C}"/>
              </a:ext>
            </a:extLst>
          </p:cNvPr>
          <p:cNvSpPr txBox="1"/>
          <p:nvPr/>
        </p:nvSpPr>
        <p:spPr>
          <a:xfrm>
            <a:off x="9779811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5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5CF7B903-6E28-A604-ECAC-EF83E9D1F231}"/>
              </a:ext>
            </a:extLst>
          </p:cNvPr>
          <p:cNvSpPr txBox="1">
            <a:spLocks/>
          </p:cNvSpPr>
          <p:nvPr/>
        </p:nvSpPr>
        <p:spPr>
          <a:xfrm>
            <a:off x="9779810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216F1793-B254-9898-5A55-E188400DEB3C}"/>
              </a:ext>
            </a:extLst>
          </p:cNvPr>
          <p:cNvSpPr txBox="1"/>
          <p:nvPr/>
        </p:nvSpPr>
        <p:spPr>
          <a:xfrm>
            <a:off x="7642970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4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EC540C36-2838-9FC8-DFB1-152430877FE3}"/>
              </a:ext>
            </a:extLst>
          </p:cNvPr>
          <p:cNvSpPr txBox="1">
            <a:spLocks/>
          </p:cNvSpPr>
          <p:nvPr/>
        </p:nvSpPr>
        <p:spPr>
          <a:xfrm>
            <a:off x="7642969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A2C907-C062-2EB8-D64E-A7CB713290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833760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82B2D88-D530-E68B-3B3C-AA7902AC11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82B2D88-D530-E68B-3B3C-AA7902AC1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AAF1CAC-4BA8-CC0F-1130-926D94C838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9441D05-EBA6-88A4-63A8-6E4F23989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adi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61F6BAC-05DE-1213-4E4A-536073DE0F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126E6FB2-E44A-9F32-02C0-F9A38B707197}"/>
              </a:ext>
            </a:extLst>
          </p:cNvPr>
          <p:cNvGraphicFramePr/>
          <p:nvPr/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A6E85FC4-48FC-27CE-008B-440D2D2DDC73}"/>
              </a:ext>
            </a:extLst>
          </p:cNvPr>
          <p:cNvSpPr txBox="1"/>
          <p:nvPr/>
        </p:nvSpPr>
        <p:spPr>
          <a:xfrm>
            <a:off x="7361208" y="476947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EAA68859-5A0E-2EA2-0248-4ED51F50E480}"/>
              </a:ext>
            </a:extLst>
          </p:cNvPr>
          <p:cNvSpPr txBox="1"/>
          <p:nvPr/>
        </p:nvSpPr>
        <p:spPr>
          <a:xfrm>
            <a:off x="3530183" y="4186152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9529057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inde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-b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um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e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at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r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kplan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char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ganization / relationshi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ce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3315422" y="535885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framework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A98EC-0EF8-3D6B-86BE-9BF5BCBA043F}"/>
              </a:ext>
            </a:extLst>
          </p:cNvPr>
          <p:cNvSpPr/>
          <p:nvPr/>
        </p:nvSpPr>
        <p:spPr>
          <a:xfrm>
            <a:off x="6246670" y="5358856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di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ides</a:t>
            </a:r>
          </a:p>
        </p:txBody>
      </p:sp>
    </p:spTree>
    <p:extLst>
      <p:ext uri="{BB962C8B-B14F-4D97-AF65-F5344CB8AC3E}">
        <p14:creationId xmlns:p14="http://schemas.microsoft.com/office/powerpoint/2010/main" val="405350772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07123E4-E949-A4B9-F71E-8DAED59E8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19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07123E4-E949-A4B9-F71E-8DAED59E8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C13325-C708-A399-673B-9F982895B5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E3B9A8D-C8F0-B29D-A206-CC57B1A9A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Pi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4A08E57-43B9-92DC-393F-3D2D8D5D9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8706C67C-3D8E-C051-DCEE-A4D1AB2C52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7813712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25">
            <a:extLst>
              <a:ext uri="{FF2B5EF4-FFF2-40B4-BE49-F238E27FC236}">
                <a16:creationId xmlns:a16="http://schemas.microsoft.com/office/drawing/2014/main" id="{D441A37F-C4DA-5A0A-AD7E-4BB2D07471D4}"/>
              </a:ext>
            </a:extLst>
          </p:cNvPr>
          <p:cNvSpPr txBox="1"/>
          <p:nvPr/>
        </p:nvSpPr>
        <p:spPr>
          <a:xfrm>
            <a:off x="7786875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5">
            <a:extLst>
              <a:ext uri="{FF2B5EF4-FFF2-40B4-BE49-F238E27FC236}">
                <a16:creationId xmlns:a16="http://schemas.microsoft.com/office/drawing/2014/main" id="{C0DF0DAB-7CE3-A05A-46FC-6204B8339166}"/>
              </a:ext>
            </a:extLst>
          </p:cNvPr>
          <p:cNvSpPr txBox="1"/>
          <p:nvPr/>
        </p:nvSpPr>
        <p:spPr>
          <a:xfrm>
            <a:off x="7786875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7DDB6A2F-1DE0-AAAE-C733-9BD4FB248998}"/>
              </a:ext>
            </a:extLst>
          </p:cNvPr>
          <p:cNvSpPr txBox="1"/>
          <p:nvPr/>
        </p:nvSpPr>
        <p:spPr>
          <a:xfrm>
            <a:off x="3065381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053082DB-1659-B1FF-F8E8-1D9E4A00E716}"/>
              </a:ext>
            </a:extLst>
          </p:cNvPr>
          <p:cNvSpPr txBox="1"/>
          <p:nvPr/>
        </p:nvSpPr>
        <p:spPr>
          <a:xfrm>
            <a:off x="3065381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2910689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E957E10-D172-EF07-B3B6-13B028AFB2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02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E957E10-D172-EF07-B3B6-13B028AFB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12D244B-8C23-A028-F87D-2DCBBBC3CE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1F0E8B-FDD8-EADB-C98A-EEBC7C210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Doughnu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D796F27-0735-F2B5-ECF1-4938073BD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83E98BB8-A656-F6F3-8CAE-B9DC58DC3D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2446087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25">
            <a:extLst>
              <a:ext uri="{FF2B5EF4-FFF2-40B4-BE49-F238E27FC236}">
                <a16:creationId xmlns:a16="http://schemas.microsoft.com/office/drawing/2014/main" id="{1B9FD7B8-9858-BDD3-F573-CF02E0885464}"/>
              </a:ext>
            </a:extLst>
          </p:cNvPr>
          <p:cNvSpPr txBox="1"/>
          <p:nvPr/>
        </p:nvSpPr>
        <p:spPr>
          <a:xfrm>
            <a:off x="7786875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0AFA0898-7D8C-5B7A-3C1D-EFFB3DCEDCAA}"/>
              </a:ext>
            </a:extLst>
          </p:cNvPr>
          <p:cNvSpPr txBox="1"/>
          <p:nvPr/>
        </p:nvSpPr>
        <p:spPr>
          <a:xfrm>
            <a:off x="7786875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764831DC-3AD2-5BFC-3AE0-EC25CD0A6B2E}"/>
              </a:ext>
            </a:extLst>
          </p:cNvPr>
          <p:cNvSpPr txBox="1"/>
          <p:nvPr/>
        </p:nvSpPr>
        <p:spPr>
          <a:xfrm>
            <a:off x="3065381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BC6F90F6-064E-E850-9E7C-C8546AD3AAEE}"/>
              </a:ext>
            </a:extLst>
          </p:cNvPr>
          <p:cNvSpPr txBox="1"/>
          <p:nvPr/>
        </p:nvSpPr>
        <p:spPr>
          <a:xfrm>
            <a:off x="3065381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1906266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3A2C33CD-44C3-12EA-909A-134719BBC3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2532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3A2C33CD-44C3-12EA-909A-134719BBC3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7E53A376-A680-AA46-D1A8-97719A1929A3}"/>
              </a:ext>
            </a:extLst>
          </p:cNvPr>
          <p:cNvSpPr/>
          <p:nvPr/>
        </p:nvSpPr>
        <p:spPr>
          <a:xfrm>
            <a:off x="371474" y="3230426"/>
            <a:ext cx="11449051" cy="307829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7E731CAB-4D30-2A15-ECA1-E2C6F1CEA68E}"/>
              </a:ext>
            </a:extLst>
          </p:cNvPr>
          <p:cNvSpPr/>
          <p:nvPr/>
        </p:nvSpPr>
        <p:spPr>
          <a:xfrm>
            <a:off x="1599597" y="2207281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235E7A78-8E3A-AA33-A561-776F08AE92A2}"/>
              </a:ext>
            </a:extLst>
          </p:cNvPr>
          <p:cNvSpPr/>
          <p:nvPr/>
        </p:nvSpPr>
        <p:spPr>
          <a:xfrm>
            <a:off x="5151015" y="2220140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0AD646FA-6997-54F6-649F-E337D8673B99}"/>
              </a:ext>
            </a:extLst>
          </p:cNvPr>
          <p:cNvSpPr/>
          <p:nvPr/>
        </p:nvSpPr>
        <p:spPr>
          <a:xfrm>
            <a:off x="8724338" y="2237813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BF99C84-F0A3-705C-DEA7-2960151C27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1E67AB-9704-90CE-F868-B9C00AE89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Doughnuts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B33A05FE-8717-FF9D-51DC-F16B4DFFEC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4187817"/>
              </p:ext>
            </p:extLst>
          </p:nvPr>
        </p:nvGraphicFramePr>
        <p:xfrm>
          <a:off x="1096559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Donut 5">
            <a:extLst>
              <a:ext uri="{FF2B5EF4-FFF2-40B4-BE49-F238E27FC236}">
                <a16:creationId xmlns:a16="http://schemas.microsoft.com/office/drawing/2014/main" id="{EA5A9B26-4EDE-1989-747D-B6C424BAF283}"/>
              </a:ext>
            </a:extLst>
          </p:cNvPr>
          <p:cNvSpPr/>
          <p:nvPr/>
        </p:nvSpPr>
        <p:spPr>
          <a:xfrm>
            <a:off x="1524515" y="2145058"/>
            <a:ext cx="2002951" cy="2002951"/>
          </a:xfrm>
          <a:prstGeom prst="donut">
            <a:avLst>
              <a:gd name="adj" fmla="val 9048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TextBox 12">
            <a:extLst>
              <a:ext uri="{FF2B5EF4-FFF2-40B4-BE49-F238E27FC236}">
                <a16:creationId xmlns:a16="http://schemas.microsoft.com/office/drawing/2014/main" id="{01BDF1B8-C957-CDC3-E0AE-B562E992C1D3}"/>
              </a:ext>
            </a:extLst>
          </p:cNvPr>
          <p:cNvSpPr txBox="1"/>
          <p:nvPr/>
        </p:nvSpPr>
        <p:spPr>
          <a:xfrm>
            <a:off x="2141910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18</a:t>
            </a:r>
          </a:p>
        </p:txBody>
      </p:sp>
      <p:sp>
        <p:nvSpPr>
          <p:cNvPr id="7" name="Shape 2645">
            <a:extLst>
              <a:ext uri="{FF2B5EF4-FFF2-40B4-BE49-F238E27FC236}">
                <a16:creationId xmlns:a16="http://schemas.microsoft.com/office/drawing/2014/main" id="{43BC83B1-007F-7E61-B8F2-C7462B1AC574}"/>
              </a:ext>
            </a:extLst>
          </p:cNvPr>
          <p:cNvSpPr>
            <a:spLocks noChangeAspect="1"/>
          </p:cNvSpPr>
          <p:nvPr/>
        </p:nvSpPr>
        <p:spPr>
          <a:xfrm>
            <a:off x="5833258" y="2789795"/>
            <a:ext cx="510205" cy="3710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8" name="Shape 2671">
            <a:extLst>
              <a:ext uri="{FF2B5EF4-FFF2-40B4-BE49-F238E27FC236}">
                <a16:creationId xmlns:a16="http://schemas.microsoft.com/office/drawing/2014/main" id="{70E9DB62-90C6-0B67-D926-A1360094346B}"/>
              </a:ext>
            </a:extLst>
          </p:cNvPr>
          <p:cNvSpPr>
            <a:spLocks noChangeAspect="1"/>
          </p:cNvSpPr>
          <p:nvPr/>
        </p:nvSpPr>
        <p:spPr>
          <a:xfrm>
            <a:off x="2270887" y="2720215"/>
            <a:ext cx="510205" cy="5102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9" name="Shape 2689">
            <a:extLst>
              <a:ext uri="{FF2B5EF4-FFF2-40B4-BE49-F238E27FC236}">
                <a16:creationId xmlns:a16="http://schemas.microsoft.com/office/drawing/2014/main" id="{3EFF3FA2-FD33-891C-123A-B42F78D3A33D}"/>
              </a:ext>
            </a:extLst>
          </p:cNvPr>
          <p:cNvSpPr>
            <a:spLocks noChangeAspect="1"/>
          </p:cNvSpPr>
          <p:nvPr/>
        </p:nvSpPr>
        <p:spPr>
          <a:xfrm>
            <a:off x="9395630" y="2720221"/>
            <a:ext cx="510205" cy="5102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123E6FA7-C70D-60DA-28AA-5F5030DCEA1D}"/>
              </a:ext>
            </a:extLst>
          </p:cNvPr>
          <p:cNvSpPr txBox="1"/>
          <p:nvPr/>
        </p:nvSpPr>
        <p:spPr>
          <a:xfrm>
            <a:off x="5704281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19</a:t>
            </a: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98815DA2-C8DF-1176-68E4-62441A03982B}"/>
              </a:ext>
            </a:extLst>
          </p:cNvPr>
          <p:cNvSpPr txBox="1"/>
          <p:nvPr/>
        </p:nvSpPr>
        <p:spPr>
          <a:xfrm>
            <a:off x="9266651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20</a:t>
            </a:r>
          </a:p>
        </p:txBody>
      </p:sp>
      <p:graphicFrame>
        <p:nvGraphicFramePr>
          <p:cNvPr id="12" name="Chart 20">
            <a:extLst>
              <a:ext uri="{FF2B5EF4-FFF2-40B4-BE49-F238E27FC236}">
                <a16:creationId xmlns:a16="http://schemas.microsoft.com/office/drawing/2014/main" id="{6265D5C3-82DB-3452-EE44-FEE33C33A4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414664"/>
              </p:ext>
            </p:extLst>
          </p:nvPr>
        </p:nvGraphicFramePr>
        <p:xfrm>
          <a:off x="4658930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Donut 21">
            <a:extLst>
              <a:ext uri="{FF2B5EF4-FFF2-40B4-BE49-F238E27FC236}">
                <a16:creationId xmlns:a16="http://schemas.microsoft.com/office/drawing/2014/main" id="{E28586DB-FDD1-D159-C4BB-0D8D70B7AE42}"/>
              </a:ext>
            </a:extLst>
          </p:cNvPr>
          <p:cNvSpPr/>
          <p:nvPr/>
        </p:nvSpPr>
        <p:spPr>
          <a:xfrm>
            <a:off x="5086886" y="2145058"/>
            <a:ext cx="2002951" cy="2002951"/>
          </a:xfrm>
          <a:prstGeom prst="donut">
            <a:avLst>
              <a:gd name="adj" fmla="val 13197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graphicFrame>
        <p:nvGraphicFramePr>
          <p:cNvPr id="14" name="Chart 23">
            <a:extLst>
              <a:ext uri="{FF2B5EF4-FFF2-40B4-BE49-F238E27FC236}">
                <a16:creationId xmlns:a16="http://schemas.microsoft.com/office/drawing/2014/main" id="{40068B88-7D85-75E8-B538-7F82C0B2B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282794"/>
              </p:ext>
            </p:extLst>
          </p:nvPr>
        </p:nvGraphicFramePr>
        <p:xfrm>
          <a:off x="8221300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Donut 24">
            <a:extLst>
              <a:ext uri="{FF2B5EF4-FFF2-40B4-BE49-F238E27FC236}">
                <a16:creationId xmlns:a16="http://schemas.microsoft.com/office/drawing/2014/main" id="{6A698487-40EF-8541-349A-F341DE1EEBFC}"/>
              </a:ext>
            </a:extLst>
          </p:cNvPr>
          <p:cNvSpPr/>
          <p:nvPr/>
        </p:nvSpPr>
        <p:spPr>
          <a:xfrm>
            <a:off x="8649256" y="2145058"/>
            <a:ext cx="2002951" cy="2002951"/>
          </a:xfrm>
          <a:prstGeom prst="donut">
            <a:avLst>
              <a:gd name="adj" fmla="val 9048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88D62C1A-8475-0339-F52D-327C3D202B22}"/>
              </a:ext>
            </a:extLst>
          </p:cNvPr>
          <p:cNvSpPr txBox="1"/>
          <p:nvPr/>
        </p:nvSpPr>
        <p:spPr>
          <a:xfrm>
            <a:off x="1640846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8A6DE34-C50B-8A9B-46D9-033D5D3B2622}"/>
              </a:ext>
            </a:extLst>
          </p:cNvPr>
          <p:cNvSpPr txBox="1">
            <a:spLocks/>
          </p:cNvSpPr>
          <p:nvPr/>
        </p:nvSpPr>
        <p:spPr>
          <a:xfrm>
            <a:off x="1640846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CD5CE04D-07CE-7928-63C2-8732912B6F05}"/>
              </a:ext>
            </a:extLst>
          </p:cNvPr>
          <p:cNvSpPr txBox="1"/>
          <p:nvPr/>
        </p:nvSpPr>
        <p:spPr>
          <a:xfrm>
            <a:off x="5256545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AAC0A6AB-5080-52A6-0E55-CFEDECB12B5C}"/>
              </a:ext>
            </a:extLst>
          </p:cNvPr>
          <p:cNvSpPr txBox="1">
            <a:spLocks/>
          </p:cNvSpPr>
          <p:nvPr/>
        </p:nvSpPr>
        <p:spPr>
          <a:xfrm>
            <a:off x="5256545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TextBox 11">
            <a:extLst>
              <a:ext uri="{FF2B5EF4-FFF2-40B4-BE49-F238E27FC236}">
                <a16:creationId xmlns:a16="http://schemas.microsoft.com/office/drawing/2014/main" id="{ED1891F9-508D-28CB-1DAF-455ED1573025}"/>
              </a:ext>
            </a:extLst>
          </p:cNvPr>
          <p:cNvSpPr txBox="1"/>
          <p:nvPr/>
        </p:nvSpPr>
        <p:spPr>
          <a:xfrm>
            <a:off x="8724338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3A1F3033-6A98-843C-5813-8AA43143E04A}"/>
              </a:ext>
            </a:extLst>
          </p:cNvPr>
          <p:cNvSpPr txBox="1">
            <a:spLocks/>
          </p:cNvSpPr>
          <p:nvPr/>
        </p:nvSpPr>
        <p:spPr>
          <a:xfrm>
            <a:off x="8724337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grpSp>
        <p:nvGrpSpPr>
          <p:cNvPr id="25" name="Grupo 42">
            <a:extLst>
              <a:ext uri="{FF2B5EF4-FFF2-40B4-BE49-F238E27FC236}">
                <a16:creationId xmlns:a16="http://schemas.microsoft.com/office/drawing/2014/main" id="{19EAACDB-1E7C-6D11-C7AC-EAC3875B8FDE}"/>
              </a:ext>
            </a:extLst>
          </p:cNvPr>
          <p:cNvGrpSpPr/>
          <p:nvPr/>
        </p:nvGrpSpPr>
        <p:grpSpPr>
          <a:xfrm>
            <a:off x="7980844" y="4876822"/>
            <a:ext cx="478016" cy="565261"/>
            <a:chOff x="3657318" y="2960019"/>
            <a:chExt cx="428407" cy="506598"/>
          </a:xfrm>
        </p:grpSpPr>
        <p:grpSp>
          <p:nvGrpSpPr>
            <p:cNvPr id="26" name="Grupo 43">
              <a:extLst>
                <a:ext uri="{FF2B5EF4-FFF2-40B4-BE49-F238E27FC236}">
                  <a16:creationId xmlns:a16="http://schemas.microsoft.com/office/drawing/2014/main" id="{181E07EA-ABAF-A444-BE81-E80EEBFA473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8" name="Conector recto 45">
                <a:extLst>
                  <a:ext uri="{FF2B5EF4-FFF2-40B4-BE49-F238E27FC236}">
                    <a16:creationId xmlns:a16="http://schemas.microsoft.com/office/drawing/2014/main" id="{C3DBEFE3-FD87-35AD-3C1B-7BEFA5B7198A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ector recto 46">
                <a:extLst>
                  <a:ext uri="{FF2B5EF4-FFF2-40B4-BE49-F238E27FC236}">
                    <a16:creationId xmlns:a16="http://schemas.microsoft.com/office/drawing/2014/main" id="{116FED80-49FA-78BA-EF00-64099E1A63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" name="Conector recto 44">
              <a:extLst>
                <a:ext uri="{FF2B5EF4-FFF2-40B4-BE49-F238E27FC236}">
                  <a16:creationId xmlns:a16="http://schemas.microsoft.com/office/drawing/2014/main" id="{A7A74630-0009-031E-5030-A7B4E4D3088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o 42">
            <a:extLst>
              <a:ext uri="{FF2B5EF4-FFF2-40B4-BE49-F238E27FC236}">
                <a16:creationId xmlns:a16="http://schemas.microsoft.com/office/drawing/2014/main" id="{63724347-F735-11DA-F4BA-D3ED5F4AB1B5}"/>
              </a:ext>
            </a:extLst>
          </p:cNvPr>
          <p:cNvGrpSpPr/>
          <p:nvPr/>
        </p:nvGrpSpPr>
        <p:grpSpPr>
          <a:xfrm>
            <a:off x="4508699" y="4876822"/>
            <a:ext cx="478016" cy="565261"/>
            <a:chOff x="3657318" y="2960019"/>
            <a:chExt cx="428407" cy="506598"/>
          </a:xfrm>
        </p:grpSpPr>
        <p:grpSp>
          <p:nvGrpSpPr>
            <p:cNvPr id="31" name="Grupo 43">
              <a:extLst>
                <a:ext uri="{FF2B5EF4-FFF2-40B4-BE49-F238E27FC236}">
                  <a16:creationId xmlns:a16="http://schemas.microsoft.com/office/drawing/2014/main" id="{F3FB8667-BF51-465E-4ECE-E24683AF9EE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3" name="Conector recto 45">
                <a:extLst>
                  <a:ext uri="{FF2B5EF4-FFF2-40B4-BE49-F238E27FC236}">
                    <a16:creationId xmlns:a16="http://schemas.microsoft.com/office/drawing/2014/main" id="{34C59B16-40C3-7534-0C93-1B769CE7A68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ector recto 46">
                <a:extLst>
                  <a:ext uri="{FF2B5EF4-FFF2-40B4-BE49-F238E27FC236}">
                    <a16:creationId xmlns:a16="http://schemas.microsoft.com/office/drawing/2014/main" id="{E8E57FFC-CB4A-4A27-B6CC-23477C6C0F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Conector recto 44">
              <a:extLst>
                <a:ext uri="{FF2B5EF4-FFF2-40B4-BE49-F238E27FC236}">
                  <a16:creationId xmlns:a16="http://schemas.microsoft.com/office/drawing/2014/main" id="{700C19C6-7242-5659-25A8-6302F2179A3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o 42">
            <a:extLst>
              <a:ext uri="{FF2B5EF4-FFF2-40B4-BE49-F238E27FC236}">
                <a16:creationId xmlns:a16="http://schemas.microsoft.com/office/drawing/2014/main" id="{4E1DE197-5EEA-E04E-2E3F-CFE1C861F5A2}"/>
              </a:ext>
            </a:extLst>
          </p:cNvPr>
          <p:cNvGrpSpPr/>
          <p:nvPr/>
        </p:nvGrpSpPr>
        <p:grpSpPr>
          <a:xfrm>
            <a:off x="956580" y="4876822"/>
            <a:ext cx="478016" cy="565261"/>
            <a:chOff x="3657318" y="2960019"/>
            <a:chExt cx="428407" cy="506598"/>
          </a:xfrm>
        </p:grpSpPr>
        <p:grpSp>
          <p:nvGrpSpPr>
            <p:cNvPr id="36" name="Grupo 43">
              <a:extLst>
                <a:ext uri="{FF2B5EF4-FFF2-40B4-BE49-F238E27FC236}">
                  <a16:creationId xmlns:a16="http://schemas.microsoft.com/office/drawing/2014/main" id="{F0530EC4-AABC-1781-2AED-F84A4FDFCC26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8" name="Conector recto 45">
                <a:extLst>
                  <a:ext uri="{FF2B5EF4-FFF2-40B4-BE49-F238E27FC236}">
                    <a16:creationId xmlns:a16="http://schemas.microsoft.com/office/drawing/2014/main" id="{A2C5BD0D-057D-E191-E820-A9B1B7A65D1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cto 46">
                <a:extLst>
                  <a:ext uri="{FF2B5EF4-FFF2-40B4-BE49-F238E27FC236}">
                    <a16:creationId xmlns:a16="http://schemas.microsoft.com/office/drawing/2014/main" id="{18A38FE3-0102-221D-C80E-731167B27C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Conector recto 44">
              <a:extLst>
                <a:ext uri="{FF2B5EF4-FFF2-40B4-BE49-F238E27FC236}">
                  <a16:creationId xmlns:a16="http://schemas.microsoft.com/office/drawing/2014/main" id="{5BD6FF27-50D7-C3F2-50E8-12911E6E2D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A647F37-2417-2E2E-400A-4F09614C26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18129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C101A7E-2B50-3165-A4D9-8ABCB29DA2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3710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C101A7E-2B50-3165-A4D9-8ABCB29DA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96684E-6EE5-82E1-1184-E14E26169E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60BEC4F-7E50-ADC4-8EA5-C5690DE50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Doughnuts</a:t>
            </a:r>
          </a:p>
        </p:txBody>
      </p:sp>
      <p:sp>
        <p:nvSpPr>
          <p:cNvPr id="5" name="Rectangle 89">
            <a:extLst>
              <a:ext uri="{FF2B5EF4-FFF2-40B4-BE49-F238E27FC236}">
                <a16:creationId xmlns:a16="http://schemas.microsoft.com/office/drawing/2014/main" id="{AE70FA14-B904-EAFF-189A-433C6DD35EDA}"/>
              </a:ext>
            </a:extLst>
          </p:cNvPr>
          <p:cNvSpPr/>
          <p:nvPr/>
        </p:nvSpPr>
        <p:spPr>
          <a:xfrm>
            <a:off x="2531250" y="170912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3187CB-0328-0004-1FE9-3012898518E3}"/>
              </a:ext>
            </a:extLst>
          </p:cNvPr>
          <p:cNvSpPr txBox="1">
            <a:spLocks/>
          </p:cNvSpPr>
          <p:nvPr/>
        </p:nvSpPr>
        <p:spPr>
          <a:xfrm>
            <a:off x="371472" y="152082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DD00F665-54E6-5756-C896-E068CECB76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252530"/>
              </p:ext>
            </p:extLst>
          </p:nvPr>
        </p:nvGraphicFramePr>
        <p:xfrm>
          <a:off x="532134" y="170912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1" name="Grupo 10">
            <a:extLst>
              <a:ext uri="{FF2B5EF4-FFF2-40B4-BE49-F238E27FC236}">
                <a16:creationId xmlns:a16="http://schemas.microsoft.com/office/drawing/2014/main" id="{1E0BD0C3-890B-D0DB-5D47-5A61F24B1C33}"/>
              </a:ext>
            </a:extLst>
          </p:cNvPr>
          <p:cNvGrpSpPr/>
          <p:nvPr/>
        </p:nvGrpSpPr>
        <p:grpSpPr>
          <a:xfrm>
            <a:off x="3038184" y="2109869"/>
            <a:ext cx="2679490" cy="1081439"/>
            <a:chOff x="8123597" y="1942268"/>
            <a:chExt cx="2679490" cy="1081439"/>
          </a:xfrm>
        </p:grpSpPr>
        <p:sp>
          <p:nvSpPr>
            <p:cNvPr id="12" name="TextBox 24">
              <a:extLst>
                <a:ext uri="{FF2B5EF4-FFF2-40B4-BE49-F238E27FC236}">
                  <a16:creationId xmlns:a16="http://schemas.microsoft.com/office/drawing/2014/main" id="{2D5741BB-9FBD-6F6E-94E5-4C798F46D97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3" name="TextBox 25">
              <a:extLst>
                <a:ext uri="{FF2B5EF4-FFF2-40B4-BE49-F238E27FC236}">
                  <a16:creationId xmlns:a16="http://schemas.microsoft.com/office/drawing/2014/main" id="{BECF764B-6798-E485-9E21-1E30945E4637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14" name="Rectangle 55">
            <a:extLst>
              <a:ext uri="{FF2B5EF4-FFF2-40B4-BE49-F238E27FC236}">
                <a16:creationId xmlns:a16="http://schemas.microsoft.com/office/drawing/2014/main" id="{9FD37E32-0F73-AC5F-DDBB-CD5C10F544D3}"/>
              </a:ext>
            </a:extLst>
          </p:cNvPr>
          <p:cNvSpPr/>
          <p:nvPr/>
        </p:nvSpPr>
        <p:spPr>
          <a:xfrm>
            <a:off x="5537148" y="1520825"/>
            <a:ext cx="361050" cy="369331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A3CEC1B3-047F-78DA-5042-B8ABB9029258}"/>
              </a:ext>
            </a:extLst>
          </p:cNvPr>
          <p:cNvSpPr/>
          <p:nvPr/>
        </p:nvSpPr>
        <p:spPr>
          <a:xfrm>
            <a:off x="2531249" y="417045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0F0D7E9-4C84-218E-1592-0AD48918ECE4}"/>
              </a:ext>
            </a:extLst>
          </p:cNvPr>
          <p:cNvSpPr txBox="1">
            <a:spLocks/>
          </p:cNvSpPr>
          <p:nvPr/>
        </p:nvSpPr>
        <p:spPr>
          <a:xfrm>
            <a:off x="371471" y="398215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D27CC962-3982-3352-0B6F-0B46B9783A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7600789"/>
              </p:ext>
            </p:extLst>
          </p:nvPr>
        </p:nvGraphicFramePr>
        <p:xfrm>
          <a:off x="532133" y="417045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9" name="Grupo 18">
            <a:extLst>
              <a:ext uri="{FF2B5EF4-FFF2-40B4-BE49-F238E27FC236}">
                <a16:creationId xmlns:a16="http://schemas.microsoft.com/office/drawing/2014/main" id="{F49AC642-DB37-A74C-1A02-86CB2A35E6B0}"/>
              </a:ext>
            </a:extLst>
          </p:cNvPr>
          <p:cNvGrpSpPr/>
          <p:nvPr/>
        </p:nvGrpSpPr>
        <p:grpSpPr>
          <a:xfrm>
            <a:off x="3038183" y="4571199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8F3E277-BB11-86C3-FC9E-00BEDC2AC081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4F9DFE7F-2B52-6A6E-8EBB-C74C95B88DB2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22" name="Rectangle 55">
            <a:extLst>
              <a:ext uri="{FF2B5EF4-FFF2-40B4-BE49-F238E27FC236}">
                <a16:creationId xmlns:a16="http://schemas.microsoft.com/office/drawing/2014/main" id="{F18F2AD3-A641-0D4E-D7FC-244A5EE516FC}"/>
              </a:ext>
            </a:extLst>
          </p:cNvPr>
          <p:cNvSpPr/>
          <p:nvPr/>
        </p:nvSpPr>
        <p:spPr>
          <a:xfrm>
            <a:off x="5537147" y="3982155"/>
            <a:ext cx="361050" cy="369331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23" name="Rectangle 89">
            <a:extLst>
              <a:ext uri="{FF2B5EF4-FFF2-40B4-BE49-F238E27FC236}">
                <a16:creationId xmlns:a16="http://schemas.microsoft.com/office/drawing/2014/main" id="{46ADC455-08E6-CC6B-26BB-3219BF550865}"/>
              </a:ext>
            </a:extLst>
          </p:cNvPr>
          <p:cNvSpPr/>
          <p:nvPr/>
        </p:nvSpPr>
        <p:spPr>
          <a:xfrm>
            <a:off x="8327217" y="170912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9B47BF8-3880-369E-30C2-6F8A75FF178F}"/>
              </a:ext>
            </a:extLst>
          </p:cNvPr>
          <p:cNvSpPr txBox="1">
            <a:spLocks/>
          </p:cNvSpPr>
          <p:nvPr/>
        </p:nvSpPr>
        <p:spPr>
          <a:xfrm>
            <a:off x="6167439" y="152082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4D77F846-AF12-D703-A123-1306944987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619460"/>
              </p:ext>
            </p:extLst>
          </p:nvPr>
        </p:nvGraphicFramePr>
        <p:xfrm>
          <a:off x="6328101" y="170912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Grupo 25">
            <a:extLst>
              <a:ext uri="{FF2B5EF4-FFF2-40B4-BE49-F238E27FC236}">
                <a16:creationId xmlns:a16="http://schemas.microsoft.com/office/drawing/2014/main" id="{D96014D9-C2EA-17D9-35FF-95DCD3EEECE6}"/>
              </a:ext>
            </a:extLst>
          </p:cNvPr>
          <p:cNvGrpSpPr/>
          <p:nvPr/>
        </p:nvGrpSpPr>
        <p:grpSpPr>
          <a:xfrm>
            <a:off x="8834151" y="2109869"/>
            <a:ext cx="2679490" cy="1081439"/>
            <a:chOff x="8123597" y="1942268"/>
            <a:chExt cx="2679490" cy="1081439"/>
          </a:xfrm>
        </p:grpSpPr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9E596AC2-F66F-648D-10A4-3A5F9B5BA469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BC10E4AD-6DF4-F7B3-5672-3AEED14A0B03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29" name="Rectangle 55">
            <a:extLst>
              <a:ext uri="{FF2B5EF4-FFF2-40B4-BE49-F238E27FC236}">
                <a16:creationId xmlns:a16="http://schemas.microsoft.com/office/drawing/2014/main" id="{5F20555C-C585-B9EC-52A4-B4AEA1006E22}"/>
              </a:ext>
            </a:extLst>
          </p:cNvPr>
          <p:cNvSpPr/>
          <p:nvPr/>
        </p:nvSpPr>
        <p:spPr>
          <a:xfrm>
            <a:off x="11333115" y="1520825"/>
            <a:ext cx="361050" cy="36933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30" name="Rectangle 89">
            <a:extLst>
              <a:ext uri="{FF2B5EF4-FFF2-40B4-BE49-F238E27FC236}">
                <a16:creationId xmlns:a16="http://schemas.microsoft.com/office/drawing/2014/main" id="{92F8F1FB-495B-9AB4-C2EF-B6717E58F418}"/>
              </a:ext>
            </a:extLst>
          </p:cNvPr>
          <p:cNvSpPr/>
          <p:nvPr/>
        </p:nvSpPr>
        <p:spPr>
          <a:xfrm>
            <a:off x="8339774" y="4168918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D79CAF3-7DF2-D245-FBF5-C5E090767180}"/>
              </a:ext>
            </a:extLst>
          </p:cNvPr>
          <p:cNvSpPr txBox="1">
            <a:spLocks/>
          </p:cNvSpPr>
          <p:nvPr/>
        </p:nvSpPr>
        <p:spPr>
          <a:xfrm>
            <a:off x="6179996" y="3980617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741B98B2-C71F-D33B-F3B5-33A88D40FA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4916954"/>
              </p:ext>
            </p:extLst>
          </p:nvPr>
        </p:nvGraphicFramePr>
        <p:xfrm>
          <a:off x="6340658" y="4168918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3" name="Grupo 32">
            <a:extLst>
              <a:ext uri="{FF2B5EF4-FFF2-40B4-BE49-F238E27FC236}">
                <a16:creationId xmlns:a16="http://schemas.microsoft.com/office/drawing/2014/main" id="{7B5D3810-3F64-6DCE-5595-E923BB294C42}"/>
              </a:ext>
            </a:extLst>
          </p:cNvPr>
          <p:cNvGrpSpPr/>
          <p:nvPr/>
        </p:nvGrpSpPr>
        <p:grpSpPr>
          <a:xfrm>
            <a:off x="8846708" y="4569661"/>
            <a:ext cx="2679490" cy="1081439"/>
            <a:chOff x="8123597" y="1942268"/>
            <a:chExt cx="2679490" cy="1081439"/>
          </a:xfrm>
        </p:grpSpPr>
        <p:sp>
          <p:nvSpPr>
            <p:cNvPr id="34" name="TextBox 24">
              <a:extLst>
                <a:ext uri="{FF2B5EF4-FFF2-40B4-BE49-F238E27FC236}">
                  <a16:creationId xmlns:a16="http://schemas.microsoft.com/office/drawing/2014/main" id="{8082EEDB-C1B1-233A-466A-F54BB569DD44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35" name="TextBox 25">
              <a:extLst>
                <a:ext uri="{FF2B5EF4-FFF2-40B4-BE49-F238E27FC236}">
                  <a16:creationId xmlns:a16="http://schemas.microsoft.com/office/drawing/2014/main" id="{23F715FF-DCC8-A873-7A0B-21F9195A40EA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36" name="Rectangle 55">
            <a:extLst>
              <a:ext uri="{FF2B5EF4-FFF2-40B4-BE49-F238E27FC236}">
                <a16:creationId xmlns:a16="http://schemas.microsoft.com/office/drawing/2014/main" id="{3B445DC9-195D-FAB6-A3BA-C7A381018905}"/>
              </a:ext>
            </a:extLst>
          </p:cNvPr>
          <p:cNvSpPr/>
          <p:nvPr/>
        </p:nvSpPr>
        <p:spPr>
          <a:xfrm>
            <a:off x="11345672" y="3980617"/>
            <a:ext cx="361050" cy="36933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</a:p>
        </p:txBody>
      </p:sp>
      <p:sp>
        <p:nvSpPr>
          <p:cNvPr id="40" name="Freeform 926">
            <a:extLst>
              <a:ext uri="{FF2B5EF4-FFF2-40B4-BE49-F238E27FC236}">
                <a16:creationId xmlns:a16="http://schemas.microsoft.com/office/drawing/2014/main" id="{9A6129D5-18C5-4F52-73CF-2D0D4E687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1005" y="4797998"/>
            <a:ext cx="715783" cy="715783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1" name="Freeform 928">
            <a:extLst>
              <a:ext uri="{FF2B5EF4-FFF2-40B4-BE49-F238E27FC236}">
                <a16:creationId xmlns:a16="http://schemas.microsoft.com/office/drawing/2014/main" id="{6627A87A-6F11-0D0C-0477-574F1241D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3317" y="2407665"/>
            <a:ext cx="715783" cy="715783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2" name="Freeform 935">
            <a:extLst>
              <a:ext uri="{FF2B5EF4-FFF2-40B4-BE49-F238E27FC236}">
                <a16:creationId xmlns:a16="http://schemas.microsoft.com/office/drawing/2014/main" id="{9C4566B8-6808-5CCD-75B8-6A7E447FA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1844" y="4810446"/>
            <a:ext cx="715783" cy="715785"/>
          </a:xfrm>
          <a:custGeom>
            <a:avLst/>
            <a:gdLst>
              <a:gd name="T0" fmla="*/ 1609031 w 296503"/>
              <a:gd name="T1" fmla="*/ 2567389 h 296502"/>
              <a:gd name="T2" fmla="*/ 1609031 w 296503"/>
              <a:gd name="T3" fmla="*/ 2133286 h 296502"/>
              <a:gd name="T4" fmla="*/ 1352774 w 296503"/>
              <a:gd name="T5" fmla="*/ 2400113 h 296502"/>
              <a:gd name="T6" fmla="*/ 1489529 w 296503"/>
              <a:gd name="T7" fmla="*/ 1900576 h 296502"/>
              <a:gd name="T8" fmla="*/ 1344564 w 296503"/>
              <a:gd name="T9" fmla="*/ 1959795 h 296502"/>
              <a:gd name="T10" fmla="*/ 1176115 w 296503"/>
              <a:gd name="T11" fmla="*/ 2133576 h 296502"/>
              <a:gd name="T12" fmla="*/ 1113440 w 296503"/>
              <a:gd name="T13" fmla="*/ 2279681 h 296502"/>
              <a:gd name="T14" fmla="*/ 882295 w 296503"/>
              <a:gd name="T15" fmla="*/ 2488986 h 296502"/>
              <a:gd name="T16" fmla="*/ 1176115 w 296503"/>
              <a:gd name="T17" fmla="*/ 2619311 h 296502"/>
              <a:gd name="T18" fmla="*/ 1156538 w 296503"/>
              <a:gd name="T19" fmla="*/ 2982644 h 296502"/>
              <a:gd name="T20" fmla="*/ 1458184 w 296503"/>
              <a:gd name="T21" fmla="*/ 2864168 h 296502"/>
              <a:gd name="T22" fmla="*/ 1697162 w 296503"/>
              <a:gd name="T23" fmla="*/ 3136656 h 296502"/>
              <a:gd name="T24" fmla="*/ 1826423 w 296503"/>
              <a:gd name="T25" fmla="*/ 2840478 h 296502"/>
              <a:gd name="T26" fmla="*/ 2186842 w 296503"/>
              <a:gd name="T27" fmla="*/ 2860218 h 296502"/>
              <a:gd name="T28" fmla="*/ 2069322 w 296503"/>
              <a:gd name="T29" fmla="*/ 2556139 h 296502"/>
              <a:gd name="T30" fmla="*/ 2343543 w 296503"/>
              <a:gd name="T31" fmla="*/ 2406057 h 296502"/>
              <a:gd name="T32" fmla="*/ 2069322 w 296503"/>
              <a:gd name="T33" fmla="*/ 2248105 h 296502"/>
              <a:gd name="T34" fmla="*/ 2186842 w 296503"/>
              <a:gd name="T35" fmla="*/ 1944008 h 296502"/>
              <a:gd name="T36" fmla="*/ 1826423 w 296503"/>
              <a:gd name="T37" fmla="*/ 1963748 h 296502"/>
              <a:gd name="T38" fmla="*/ 1697162 w 296503"/>
              <a:gd name="T39" fmla="*/ 1667573 h 296502"/>
              <a:gd name="T40" fmla="*/ 1748086 w 296503"/>
              <a:gd name="T41" fmla="*/ 1576734 h 296502"/>
              <a:gd name="T42" fmla="*/ 1842107 w 296503"/>
              <a:gd name="T43" fmla="*/ 1865023 h 296502"/>
              <a:gd name="T44" fmla="*/ 2284783 w 296503"/>
              <a:gd name="T45" fmla="*/ 1916372 h 296502"/>
              <a:gd name="T46" fmla="*/ 2155509 w 296503"/>
              <a:gd name="T47" fmla="*/ 2188855 h 296502"/>
              <a:gd name="T48" fmla="*/ 2441491 w 296503"/>
              <a:gd name="T49" fmla="*/ 2406057 h 296502"/>
              <a:gd name="T50" fmla="*/ 2155509 w 296503"/>
              <a:gd name="T51" fmla="*/ 2615371 h 296502"/>
              <a:gd name="T52" fmla="*/ 2284783 w 296503"/>
              <a:gd name="T53" fmla="*/ 2891805 h 296502"/>
              <a:gd name="T54" fmla="*/ 1842107 w 296503"/>
              <a:gd name="T55" fmla="*/ 2939205 h 296502"/>
              <a:gd name="T56" fmla="*/ 1748086 w 296503"/>
              <a:gd name="T57" fmla="*/ 3231441 h 296502"/>
              <a:gd name="T58" fmla="*/ 1438589 w 296503"/>
              <a:gd name="T59" fmla="*/ 3187994 h 296502"/>
              <a:gd name="T60" fmla="*/ 1183952 w 296503"/>
              <a:gd name="T61" fmla="*/ 3085323 h 296502"/>
              <a:gd name="T62" fmla="*/ 937144 w 296503"/>
              <a:gd name="T63" fmla="*/ 2832575 h 296502"/>
              <a:gd name="T64" fmla="*/ 831382 w 296503"/>
              <a:gd name="T65" fmla="*/ 2579831 h 296502"/>
              <a:gd name="T66" fmla="*/ 792192 w 296503"/>
              <a:gd name="T67" fmla="*/ 2267842 h 296502"/>
              <a:gd name="T68" fmla="*/ 1078168 w 296503"/>
              <a:gd name="T69" fmla="*/ 2169116 h 296502"/>
              <a:gd name="T70" fmla="*/ 1129105 w 296503"/>
              <a:gd name="T71" fmla="*/ 1722843 h 296502"/>
              <a:gd name="T72" fmla="*/ 1399426 w 296503"/>
              <a:gd name="T73" fmla="*/ 1857116 h 296502"/>
              <a:gd name="T74" fmla="*/ 377111 w 296503"/>
              <a:gd name="T75" fmla="*/ 1179379 h 296502"/>
              <a:gd name="T76" fmla="*/ 1162464 w 296503"/>
              <a:gd name="T77" fmla="*/ 1279277 h 296502"/>
              <a:gd name="T78" fmla="*/ 377111 w 296503"/>
              <a:gd name="T79" fmla="*/ 1179379 h 296502"/>
              <a:gd name="T80" fmla="*/ 2528163 w 296503"/>
              <a:gd name="T81" fmla="*/ 830439 h 296502"/>
              <a:gd name="T82" fmla="*/ 1647612 w 296503"/>
              <a:gd name="T83" fmla="*/ 830439 h 296502"/>
              <a:gd name="T84" fmla="*/ 488035 w 296503"/>
              <a:gd name="T85" fmla="*/ 784665 h 296502"/>
              <a:gd name="T86" fmla="*/ 1558615 w 296503"/>
              <a:gd name="T87" fmla="*/ 1094591 h 296502"/>
              <a:gd name="T88" fmla="*/ 2747263 w 296503"/>
              <a:gd name="T89" fmla="*/ 490420 h 296502"/>
              <a:gd name="T90" fmla="*/ 94476 w 296503"/>
              <a:gd name="T91" fmla="*/ 309954 h 296502"/>
              <a:gd name="T92" fmla="*/ 393596 w 296503"/>
              <a:gd name="T93" fmla="*/ 784665 h 296502"/>
              <a:gd name="T94" fmla="*/ 2794501 w 296503"/>
              <a:gd name="T95" fmla="*/ 392334 h 296502"/>
              <a:gd name="T96" fmla="*/ 2928316 w 296503"/>
              <a:gd name="T97" fmla="*/ 1176977 h 296502"/>
              <a:gd name="T98" fmla="*/ 2928316 w 296503"/>
              <a:gd name="T99" fmla="*/ 98087 h 296502"/>
              <a:gd name="T100" fmla="*/ 2928316 w 296503"/>
              <a:gd name="T101" fmla="*/ 0 h 296502"/>
              <a:gd name="T102" fmla="*/ 2928316 w 296503"/>
              <a:gd name="T103" fmla="*/ 2840456 h 296502"/>
              <a:gd name="T104" fmla="*/ 2471753 w 296503"/>
              <a:gd name="T105" fmla="*/ 2738445 h 296502"/>
              <a:gd name="T106" fmla="*/ 3140847 w 296503"/>
              <a:gd name="T107" fmla="*/ 1482991 h 296502"/>
              <a:gd name="T108" fmla="*/ 1487783 w 296503"/>
              <a:gd name="T109" fmla="*/ 1165209 h 296502"/>
              <a:gd name="T110" fmla="*/ 306988 w 296503"/>
              <a:gd name="T111" fmla="*/ 878799 h 296502"/>
              <a:gd name="T112" fmla="*/ 306988 w 296503"/>
              <a:gd name="T113" fmla="*/ 2738445 h 296502"/>
              <a:gd name="T114" fmla="*/ 767511 w 296503"/>
              <a:gd name="T115" fmla="*/ 2840456 h 296502"/>
              <a:gd name="T116" fmla="*/ 0 w 296503"/>
              <a:gd name="T117" fmla="*/ 309954 h 29650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6503" h="296502">
                <a:moveTo>
                  <a:pt x="147282" y="204741"/>
                </a:moveTo>
                <a:cubicBezTo>
                  <a:pt x="139463" y="204741"/>
                  <a:pt x="132711" y="211303"/>
                  <a:pt x="132711" y="219687"/>
                </a:cubicBezTo>
                <a:cubicBezTo>
                  <a:pt x="132711" y="228071"/>
                  <a:pt x="139463" y="234997"/>
                  <a:pt x="147282" y="234997"/>
                </a:cubicBezTo>
                <a:cubicBezTo>
                  <a:pt x="155457" y="234997"/>
                  <a:pt x="162210" y="228071"/>
                  <a:pt x="162210" y="219687"/>
                </a:cubicBezTo>
                <a:cubicBezTo>
                  <a:pt x="162210" y="211303"/>
                  <a:pt x="155457" y="204741"/>
                  <a:pt x="147282" y="204741"/>
                </a:cubicBezTo>
                <a:close/>
                <a:moveTo>
                  <a:pt x="147282" y="195263"/>
                </a:moveTo>
                <a:cubicBezTo>
                  <a:pt x="160433" y="195263"/>
                  <a:pt x="171095" y="206199"/>
                  <a:pt x="171095" y="219687"/>
                </a:cubicBezTo>
                <a:cubicBezTo>
                  <a:pt x="171095" y="233175"/>
                  <a:pt x="160433" y="244111"/>
                  <a:pt x="147282" y="244111"/>
                </a:cubicBezTo>
                <a:cubicBezTo>
                  <a:pt x="134488" y="244111"/>
                  <a:pt x="123825" y="233175"/>
                  <a:pt x="123825" y="219687"/>
                </a:cubicBezTo>
                <a:cubicBezTo>
                  <a:pt x="123825" y="206199"/>
                  <a:pt x="134488" y="195263"/>
                  <a:pt x="147282" y="195263"/>
                </a:cubicBezTo>
                <a:close/>
                <a:moveTo>
                  <a:pt x="139929" y="152635"/>
                </a:moveTo>
                <a:lnTo>
                  <a:pt x="136343" y="173962"/>
                </a:lnTo>
                <a:cubicBezTo>
                  <a:pt x="136343" y="175769"/>
                  <a:pt x="134908" y="177215"/>
                  <a:pt x="133474" y="177576"/>
                </a:cubicBezTo>
                <a:cubicBezTo>
                  <a:pt x="131681" y="178299"/>
                  <a:pt x="129530" y="179022"/>
                  <a:pt x="127737" y="179745"/>
                </a:cubicBezTo>
                <a:cubicBezTo>
                  <a:pt x="126302" y="180830"/>
                  <a:pt x="124509" y="180468"/>
                  <a:pt x="123074" y="179384"/>
                </a:cubicBezTo>
                <a:lnTo>
                  <a:pt x="105862" y="167094"/>
                </a:lnTo>
                <a:cubicBezTo>
                  <a:pt x="101918" y="169985"/>
                  <a:pt x="98332" y="173962"/>
                  <a:pt x="95105" y="177938"/>
                </a:cubicBezTo>
                <a:lnTo>
                  <a:pt x="107655" y="195289"/>
                </a:lnTo>
                <a:cubicBezTo>
                  <a:pt x="108372" y="196735"/>
                  <a:pt x="108731" y="198542"/>
                  <a:pt x="107655" y="199988"/>
                </a:cubicBezTo>
                <a:cubicBezTo>
                  <a:pt x="106938" y="202157"/>
                  <a:pt x="106221" y="203964"/>
                  <a:pt x="105504" y="205772"/>
                </a:cubicBezTo>
                <a:cubicBezTo>
                  <a:pt x="105145" y="207217"/>
                  <a:pt x="103711" y="208663"/>
                  <a:pt x="101918" y="208663"/>
                </a:cubicBezTo>
                <a:lnTo>
                  <a:pt x="80761" y="212278"/>
                </a:lnTo>
                <a:cubicBezTo>
                  <a:pt x="80761" y="214808"/>
                  <a:pt x="80402" y="217339"/>
                  <a:pt x="80402" y="220231"/>
                </a:cubicBezTo>
                <a:cubicBezTo>
                  <a:pt x="80402" y="222761"/>
                  <a:pt x="80761" y="224930"/>
                  <a:pt x="80761" y="227821"/>
                </a:cubicBezTo>
                <a:lnTo>
                  <a:pt x="101918" y="231075"/>
                </a:lnTo>
                <a:cubicBezTo>
                  <a:pt x="103711" y="231436"/>
                  <a:pt x="105145" y="232521"/>
                  <a:pt x="105504" y="233967"/>
                </a:cubicBezTo>
                <a:cubicBezTo>
                  <a:pt x="106221" y="235774"/>
                  <a:pt x="106938" y="237943"/>
                  <a:pt x="107655" y="239750"/>
                </a:cubicBezTo>
                <a:cubicBezTo>
                  <a:pt x="108731" y="241196"/>
                  <a:pt x="108372" y="243003"/>
                  <a:pt x="107655" y="244449"/>
                </a:cubicBezTo>
                <a:lnTo>
                  <a:pt x="95105" y="261800"/>
                </a:lnTo>
                <a:cubicBezTo>
                  <a:pt x="98332" y="265776"/>
                  <a:pt x="101918" y="269753"/>
                  <a:pt x="105862" y="273006"/>
                </a:cubicBezTo>
                <a:lnTo>
                  <a:pt x="123074" y="260354"/>
                </a:lnTo>
                <a:cubicBezTo>
                  <a:pt x="124509" y="259270"/>
                  <a:pt x="126302" y="259270"/>
                  <a:pt x="127737" y="259993"/>
                </a:cubicBezTo>
                <a:cubicBezTo>
                  <a:pt x="129530" y="260716"/>
                  <a:pt x="131322" y="261439"/>
                  <a:pt x="133474" y="262162"/>
                </a:cubicBezTo>
                <a:cubicBezTo>
                  <a:pt x="134908" y="262523"/>
                  <a:pt x="136343" y="264330"/>
                  <a:pt x="136343" y="265776"/>
                </a:cubicBezTo>
                <a:lnTo>
                  <a:pt x="139929" y="287103"/>
                </a:lnTo>
                <a:cubicBezTo>
                  <a:pt x="144949" y="287826"/>
                  <a:pt x="150328" y="287826"/>
                  <a:pt x="155348" y="287103"/>
                </a:cubicBezTo>
                <a:lnTo>
                  <a:pt x="158575" y="265776"/>
                </a:lnTo>
                <a:cubicBezTo>
                  <a:pt x="158934" y="264330"/>
                  <a:pt x="160010" y="262523"/>
                  <a:pt x="161444" y="262162"/>
                </a:cubicBezTo>
                <a:cubicBezTo>
                  <a:pt x="163595" y="261439"/>
                  <a:pt x="165388" y="260716"/>
                  <a:pt x="167181" y="259993"/>
                </a:cubicBezTo>
                <a:cubicBezTo>
                  <a:pt x="168616" y="259270"/>
                  <a:pt x="170767" y="259270"/>
                  <a:pt x="171843" y="260354"/>
                </a:cubicBezTo>
                <a:lnTo>
                  <a:pt x="189055" y="273006"/>
                </a:lnTo>
                <a:cubicBezTo>
                  <a:pt x="193358" y="269753"/>
                  <a:pt x="196944" y="265776"/>
                  <a:pt x="200171" y="261800"/>
                </a:cubicBezTo>
                <a:lnTo>
                  <a:pt x="187262" y="244449"/>
                </a:lnTo>
                <a:cubicBezTo>
                  <a:pt x="186545" y="243003"/>
                  <a:pt x="186545" y="241196"/>
                  <a:pt x="187262" y="239750"/>
                </a:cubicBezTo>
                <a:cubicBezTo>
                  <a:pt x="187979" y="237943"/>
                  <a:pt x="189055" y="235774"/>
                  <a:pt x="189414" y="233967"/>
                </a:cubicBezTo>
                <a:cubicBezTo>
                  <a:pt x="190131" y="232521"/>
                  <a:pt x="191565" y="231436"/>
                  <a:pt x="193000" y="231075"/>
                </a:cubicBezTo>
                <a:lnTo>
                  <a:pt x="214156" y="227821"/>
                </a:lnTo>
                <a:cubicBezTo>
                  <a:pt x="214515" y="224930"/>
                  <a:pt x="214515" y="222399"/>
                  <a:pt x="214515" y="220231"/>
                </a:cubicBezTo>
                <a:cubicBezTo>
                  <a:pt x="214515" y="217339"/>
                  <a:pt x="214515" y="214808"/>
                  <a:pt x="214156" y="212278"/>
                </a:cubicBezTo>
                <a:lnTo>
                  <a:pt x="193000" y="208663"/>
                </a:lnTo>
                <a:cubicBezTo>
                  <a:pt x="191565" y="208663"/>
                  <a:pt x="190131" y="207217"/>
                  <a:pt x="189414" y="205772"/>
                </a:cubicBezTo>
                <a:cubicBezTo>
                  <a:pt x="189055" y="203964"/>
                  <a:pt x="187979" y="202157"/>
                  <a:pt x="187262" y="199988"/>
                </a:cubicBezTo>
                <a:cubicBezTo>
                  <a:pt x="186545" y="198542"/>
                  <a:pt x="186545" y="196735"/>
                  <a:pt x="187262" y="195289"/>
                </a:cubicBezTo>
                <a:lnTo>
                  <a:pt x="200171" y="177938"/>
                </a:lnTo>
                <a:cubicBezTo>
                  <a:pt x="196944" y="173962"/>
                  <a:pt x="193358" y="169985"/>
                  <a:pt x="189055" y="167094"/>
                </a:cubicBezTo>
                <a:lnTo>
                  <a:pt x="171843" y="179745"/>
                </a:lnTo>
                <a:cubicBezTo>
                  <a:pt x="170767" y="180468"/>
                  <a:pt x="168616" y="180830"/>
                  <a:pt x="167181" y="179745"/>
                </a:cubicBezTo>
                <a:cubicBezTo>
                  <a:pt x="165388" y="179022"/>
                  <a:pt x="163595" y="178299"/>
                  <a:pt x="161444" y="177576"/>
                </a:cubicBezTo>
                <a:cubicBezTo>
                  <a:pt x="160010" y="177215"/>
                  <a:pt x="158934" y="175769"/>
                  <a:pt x="158575" y="173962"/>
                </a:cubicBezTo>
                <a:lnTo>
                  <a:pt x="155348" y="152635"/>
                </a:lnTo>
                <a:cubicBezTo>
                  <a:pt x="150328" y="151912"/>
                  <a:pt x="144949" y="151912"/>
                  <a:pt x="139929" y="152635"/>
                </a:cubicBezTo>
                <a:close/>
                <a:moveTo>
                  <a:pt x="135267" y="144321"/>
                </a:moveTo>
                <a:cubicBezTo>
                  <a:pt x="143514" y="142875"/>
                  <a:pt x="151762" y="142875"/>
                  <a:pt x="160010" y="144321"/>
                </a:cubicBezTo>
                <a:cubicBezTo>
                  <a:pt x="161802" y="144682"/>
                  <a:pt x="163237" y="146128"/>
                  <a:pt x="163595" y="147936"/>
                </a:cubicBezTo>
                <a:lnTo>
                  <a:pt x="167181" y="169985"/>
                </a:lnTo>
                <a:cubicBezTo>
                  <a:pt x="167540" y="169985"/>
                  <a:pt x="168257" y="170347"/>
                  <a:pt x="168616" y="170708"/>
                </a:cubicBezTo>
                <a:lnTo>
                  <a:pt x="186545" y="157695"/>
                </a:lnTo>
                <a:cubicBezTo>
                  <a:pt x="187979" y="156611"/>
                  <a:pt x="190131" y="156611"/>
                  <a:pt x="191924" y="157695"/>
                </a:cubicBezTo>
                <a:cubicBezTo>
                  <a:pt x="198737" y="162395"/>
                  <a:pt x="204474" y="168540"/>
                  <a:pt x="209136" y="175408"/>
                </a:cubicBezTo>
                <a:cubicBezTo>
                  <a:pt x="210570" y="176854"/>
                  <a:pt x="210570" y="179022"/>
                  <a:pt x="209136" y="180468"/>
                </a:cubicBezTo>
                <a:lnTo>
                  <a:pt x="196227" y="198542"/>
                </a:lnTo>
                <a:cubicBezTo>
                  <a:pt x="196586" y="198904"/>
                  <a:pt x="196944" y="199627"/>
                  <a:pt x="197303" y="200349"/>
                </a:cubicBezTo>
                <a:lnTo>
                  <a:pt x="218818" y="203603"/>
                </a:lnTo>
                <a:cubicBezTo>
                  <a:pt x="220611" y="203964"/>
                  <a:pt x="222045" y="205772"/>
                  <a:pt x="222762" y="207579"/>
                </a:cubicBezTo>
                <a:cubicBezTo>
                  <a:pt x="223121" y="211917"/>
                  <a:pt x="223480" y="215893"/>
                  <a:pt x="223480" y="220231"/>
                </a:cubicBezTo>
                <a:cubicBezTo>
                  <a:pt x="223480" y="224207"/>
                  <a:pt x="223121" y="228183"/>
                  <a:pt x="222762" y="232159"/>
                </a:cubicBezTo>
                <a:cubicBezTo>
                  <a:pt x="222045" y="234328"/>
                  <a:pt x="220611" y="235774"/>
                  <a:pt x="218818" y="236135"/>
                </a:cubicBezTo>
                <a:lnTo>
                  <a:pt x="197303" y="239389"/>
                </a:lnTo>
                <a:cubicBezTo>
                  <a:pt x="196944" y="240112"/>
                  <a:pt x="196586" y="240835"/>
                  <a:pt x="196227" y="241196"/>
                </a:cubicBezTo>
                <a:lnTo>
                  <a:pt x="209136" y="259270"/>
                </a:lnTo>
                <a:cubicBezTo>
                  <a:pt x="210570" y="260716"/>
                  <a:pt x="210570" y="262884"/>
                  <a:pt x="209136" y="264692"/>
                </a:cubicBezTo>
                <a:cubicBezTo>
                  <a:pt x="204474" y="271560"/>
                  <a:pt x="198737" y="277343"/>
                  <a:pt x="191924" y="282404"/>
                </a:cubicBezTo>
                <a:cubicBezTo>
                  <a:pt x="190131" y="283127"/>
                  <a:pt x="187979" y="283127"/>
                  <a:pt x="186545" y="282404"/>
                </a:cubicBezTo>
                <a:lnTo>
                  <a:pt x="168616" y="269030"/>
                </a:lnTo>
                <a:cubicBezTo>
                  <a:pt x="168257" y="269391"/>
                  <a:pt x="167540" y="269753"/>
                  <a:pt x="167181" y="269753"/>
                </a:cubicBezTo>
                <a:lnTo>
                  <a:pt x="163595" y="291802"/>
                </a:lnTo>
                <a:cubicBezTo>
                  <a:pt x="163237" y="293610"/>
                  <a:pt x="161802" y="295056"/>
                  <a:pt x="160010" y="295779"/>
                </a:cubicBezTo>
                <a:cubicBezTo>
                  <a:pt x="155706" y="296140"/>
                  <a:pt x="151762" y="296502"/>
                  <a:pt x="147459" y="296502"/>
                </a:cubicBezTo>
                <a:cubicBezTo>
                  <a:pt x="143514" y="296502"/>
                  <a:pt x="139211" y="296140"/>
                  <a:pt x="135267" y="295779"/>
                </a:cubicBezTo>
                <a:cubicBezTo>
                  <a:pt x="133115" y="295056"/>
                  <a:pt x="131681" y="293610"/>
                  <a:pt x="131681" y="291802"/>
                </a:cubicBezTo>
                <a:lnTo>
                  <a:pt x="128095" y="269753"/>
                </a:lnTo>
                <a:cubicBezTo>
                  <a:pt x="127378" y="269753"/>
                  <a:pt x="126661" y="269391"/>
                  <a:pt x="126302" y="269030"/>
                </a:cubicBezTo>
                <a:lnTo>
                  <a:pt x="108372" y="282404"/>
                </a:lnTo>
                <a:cubicBezTo>
                  <a:pt x="106938" y="283127"/>
                  <a:pt x="104786" y="283127"/>
                  <a:pt x="103352" y="282404"/>
                </a:cubicBezTo>
                <a:cubicBezTo>
                  <a:pt x="96539" y="277343"/>
                  <a:pt x="90443" y="271560"/>
                  <a:pt x="85781" y="264692"/>
                </a:cubicBezTo>
                <a:cubicBezTo>
                  <a:pt x="84706" y="262884"/>
                  <a:pt x="84706" y="260716"/>
                  <a:pt x="85781" y="259270"/>
                </a:cubicBezTo>
                <a:lnTo>
                  <a:pt x="98690" y="241196"/>
                </a:lnTo>
                <a:cubicBezTo>
                  <a:pt x="98690" y="240835"/>
                  <a:pt x="98332" y="240112"/>
                  <a:pt x="97973" y="239389"/>
                </a:cubicBezTo>
                <a:lnTo>
                  <a:pt x="76099" y="236135"/>
                </a:lnTo>
                <a:cubicBezTo>
                  <a:pt x="74306" y="235774"/>
                  <a:pt x="72872" y="234328"/>
                  <a:pt x="72514" y="232159"/>
                </a:cubicBezTo>
                <a:cubicBezTo>
                  <a:pt x="71796" y="228183"/>
                  <a:pt x="71438" y="224207"/>
                  <a:pt x="71438" y="220231"/>
                </a:cubicBezTo>
                <a:cubicBezTo>
                  <a:pt x="71438" y="215893"/>
                  <a:pt x="71796" y="211555"/>
                  <a:pt x="72514" y="207579"/>
                </a:cubicBezTo>
                <a:cubicBezTo>
                  <a:pt x="72872" y="205772"/>
                  <a:pt x="74306" y="203964"/>
                  <a:pt x="76099" y="203603"/>
                </a:cubicBezTo>
                <a:lnTo>
                  <a:pt x="97973" y="200349"/>
                </a:lnTo>
                <a:cubicBezTo>
                  <a:pt x="98332" y="199627"/>
                  <a:pt x="98690" y="198904"/>
                  <a:pt x="98690" y="198542"/>
                </a:cubicBezTo>
                <a:lnTo>
                  <a:pt x="85781" y="180468"/>
                </a:lnTo>
                <a:cubicBezTo>
                  <a:pt x="84706" y="179022"/>
                  <a:pt x="84706" y="176854"/>
                  <a:pt x="85781" y="175408"/>
                </a:cubicBezTo>
                <a:cubicBezTo>
                  <a:pt x="90443" y="168540"/>
                  <a:pt x="96539" y="162395"/>
                  <a:pt x="103352" y="157695"/>
                </a:cubicBezTo>
                <a:cubicBezTo>
                  <a:pt x="104786" y="156611"/>
                  <a:pt x="106938" y="156611"/>
                  <a:pt x="108372" y="157695"/>
                </a:cubicBezTo>
                <a:lnTo>
                  <a:pt x="126302" y="170708"/>
                </a:lnTo>
                <a:cubicBezTo>
                  <a:pt x="127019" y="170347"/>
                  <a:pt x="127378" y="169985"/>
                  <a:pt x="128095" y="169985"/>
                </a:cubicBezTo>
                <a:lnTo>
                  <a:pt x="131681" y="147936"/>
                </a:lnTo>
                <a:cubicBezTo>
                  <a:pt x="131681" y="146128"/>
                  <a:pt x="133115" y="144682"/>
                  <a:pt x="135267" y="144321"/>
                </a:cubicBezTo>
                <a:close/>
                <a:moveTo>
                  <a:pt x="34519" y="107950"/>
                </a:moveTo>
                <a:lnTo>
                  <a:pt x="106405" y="107950"/>
                </a:lnTo>
                <a:cubicBezTo>
                  <a:pt x="108946" y="107950"/>
                  <a:pt x="110762" y="109855"/>
                  <a:pt x="110762" y="112522"/>
                </a:cubicBezTo>
                <a:cubicBezTo>
                  <a:pt x="110762" y="115189"/>
                  <a:pt x="108946" y="117094"/>
                  <a:pt x="106405" y="117094"/>
                </a:cubicBezTo>
                <a:lnTo>
                  <a:pt x="34519" y="117094"/>
                </a:lnTo>
                <a:cubicBezTo>
                  <a:pt x="32341" y="117094"/>
                  <a:pt x="30163" y="115189"/>
                  <a:pt x="30163" y="112522"/>
                </a:cubicBezTo>
                <a:cubicBezTo>
                  <a:pt x="30163" y="109855"/>
                  <a:pt x="32341" y="107950"/>
                  <a:pt x="34519" y="107950"/>
                </a:cubicBezTo>
                <a:close/>
                <a:moveTo>
                  <a:pt x="155512" y="71438"/>
                </a:moveTo>
                <a:lnTo>
                  <a:pt x="227077" y="71438"/>
                </a:lnTo>
                <a:cubicBezTo>
                  <a:pt x="229245" y="71438"/>
                  <a:pt x="231414" y="73343"/>
                  <a:pt x="231414" y="76010"/>
                </a:cubicBezTo>
                <a:cubicBezTo>
                  <a:pt x="231414" y="78677"/>
                  <a:pt x="229245" y="80582"/>
                  <a:pt x="227077" y="80582"/>
                </a:cubicBezTo>
                <a:lnTo>
                  <a:pt x="155512" y="80582"/>
                </a:lnTo>
                <a:cubicBezTo>
                  <a:pt x="152982" y="80582"/>
                  <a:pt x="150813" y="78677"/>
                  <a:pt x="150813" y="76010"/>
                </a:cubicBezTo>
                <a:cubicBezTo>
                  <a:pt x="150813" y="73343"/>
                  <a:pt x="152982" y="71438"/>
                  <a:pt x="155512" y="71438"/>
                </a:cubicBezTo>
                <a:close/>
                <a:moveTo>
                  <a:pt x="44673" y="44888"/>
                </a:moveTo>
                <a:lnTo>
                  <a:pt x="44673" y="71821"/>
                </a:lnTo>
                <a:lnTo>
                  <a:pt x="99795" y="71821"/>
                </a:lnTo>
                <a:cubicBezTo>
                  <a:pt x="109162" y="71821"/>
                  <a:pt x="117448" y="75412"/>
                  <a:pt x="124294" y="81876"/>
                </a:cubicBezTo>
                <a:lnTo>
                  <a:pt x="142667" y="100190"/>
                </a:lnTo>
                <a:cubicBezTo>
                  <a:pt x="147351" y="104858"/>
                  <a:pt x="153836" y="107731"/>
                  <a:pt x="160681" y="107731"/>
                </a:cubicBezTo>
                <a:lnTo>
                  <a:pt x="251469" y="107731"/>
                </a:lnTo>
                <a:lnTo>
                  <a:pt x="251469" y="44888"/>
                </a:lnTo>
                <a:lnTo>
                  <a:pt x="44673" y="44888"/>
                </a:lnTo>
                <a:close/>
                <a:moveTo>
                  <a:pt x="28101" y="8978"/>
                </a:moveTo>
                <a:cubicBezTo>
                  <a:pt x="17653" y="8978"/>
                  <a:pt x="8646" y="17596"/>
                  <a:pt x="8646" y="28369"/>
                </a:cubicBezTo>
                <a:lnTo>
                  <a:pt x="8646" y="79362"/>
                </a:lnTo>
                <a:cubicBezTo>
                  <a:pt x="14050" y="74693"/>
                  <a:pt x="20895" y="71821"/>
                  <a:pt x="28101" y="71821"/>
                </a:cubicBezTo>
                <a:lnTo>
                  <a:pt x="36027" y="71821"/>
                </a:lnTo>
                <a:lnTo>
                  <a:pt x="36027" y="40220"/>
                </a:lnTo>
                <a:cubicBezTo>
                  <a:pt x="36027" y="38065"/>
                  <a:pt x="37828" y="35910"/>
                  <a:pt x="40350" y="35910"/>
                </a:cubicBezTo>
                <a:lnTo>
                  <a:pt x="255792" y="35910"/>
                </a:lnTo>
                <a:cubicBezTo>
                  <a:pt x="258314" y="35910"/>
                  <a:pt x="260476" y="38065"/>
                  <a:pt x="260476" y="40220"/>
                </a:cubicBezTo>
                <a:lnTo>
                  <a:pt x="260476" y="107731"/>
                </a:lnTo>
                <a:lnTo>
                  <a:pt x="268042" y="107731"/>
                </a:lnTo>
                <a:cubicBezTo>
                  <a:pt x="275247" y="107731"/>
                  <a:pt x="282452" y="110604"/>
                  <a:pt x="287496" y="115272"/>
                </a:cubicBezTo>
                <a:lnTo>
                  <a:pt x="287496" y="28369"/>
                </a:lnTo>
                <a:cubicBezTo>
                  <a:pt x="287496" y="17596"/>
                  <a:pt x="278489" y="8978"/>
                  <a:pt x="268042" y="8978"/>
                </a:cubicBezTo>
                <a:lnTo>
                  <a:pt x="28101" y="8978"/>
                </a:lnTo>
                <a:close/>
                <a:moveTo>
                  <a:pt x="28101" y="0"/>
                </a:moveTo>
                <a:lnTo>
                  <a:pt x="268042" y="0"/>
                </a:lnTo>
                <a:cubicBezTo>
                  <a:pt x="283533" y="0"/>
                  <a:pt x="296503" y="12928"/>
                  <a:pt x="296503" y="28369"/>
                </a:cubicBezTo>
                <a:lnTo>
                  <a:pt x="296503" y="231263"/>
                </a:lnTo>
                <a:cubicBezTo>
                  <a:pt x="296503" y="247063"/>
                  <a:pt x="283533" y="259991"/>
                  <a:pt x="268042" y="259991"/>
                </a:cubicBezTo>
                <a:lnTo>
                  <a:pt x="226250" y="259991"/>
                </a:lnTo>
                <a:cubicBezTo>
                  <a:pt x="223728" y="259991"/>
                  <a:pt x="221567" y="257836"/>
                  <a:pt x="221567" y="255323"/>
                </a:cubicBezTo>
                <a:cubicBezTo>
                  <a:pt x="221567" y="252809"/>
                  <a:pt x="223728" y="250654"/>
                  <a:pt x="226250" y="250654"/>
                </a:cubicBezTo>
                <a:lnTo>
                  <a:pt x="268042" y="250654"/>
                </a:lnTo>
                <a:cubicBezTo>
                  <a:pt x="278489" y="250654"/>
                  <a:pt x="287496" y="242036"/>
                  <a:pt x="287496" y="231263"/>
                </a:cubicBezTo>
                <a:lnTo>
                  <a:pt x="287496" y="135741"/>
                </a:lnTo>
                <a:cubicBezTo>
                  <a:pt x="287496" y="124968"/>
                  <a:pt x="278489" y="116349"/>
                  <a:pt x="268042" y="116349"/>
                </a:cubicBezTo>
                <a:lnTo>
                  <a:pt x="160681" y="116349"/>
                </a:lnTo>
                <a:cubicBezTo>
                  <a:pt x="151314" y="116349"/>
                  <a:pt x="142667" y="112758"/>
                  <a:pt x="136183" y="106654"/>
                </a:cubicBezTo>
                <a:lnTo>
                  <a:pt x="117808" y="88339"/>
                </a:lnTo>
                <a:cubicBezTo>
                  <a:pt x="112764" y="83312"/>
                  <a:pt x="106640" y="80439"/>
                  <a:pt x="99795" y="80439"/>
                </a:cubicBezTo>
                <a:lnTo>
                  <a:pt x="28101" y="80439"/>
                </a:lnTo>
                <a:cubicBezTo>
                  <a:pt x="17653" y="80439"/>
                  <a:pt x="8646" y="89417"/>
                  <a:pt x="8646" y="99831"/>
                </a:cubicBezTo>
                <a:lnTo>
                  <a:pt x="8646" y="231263"/>
                </a:lnTo>
                <a:cubicBezTo>
                  <a:pt x="8646" y="242036"/>
                  <a:pt x="17653" y="250654"/>
                  <a:pt x="28101" y="250654"/>
                </a:cubicBezTo>
                <a:lnTo>
                  <a:pt x="70253" y="250654"/>
                </a:lnTo>
                <a:cubicBezTo>
                  <a:pt x="72774" y="250654"/>
                  <a:pt x="74936" y="252809"/>
                  <a:pt x="74936" y="255323"/>
                </a:cubicBezTo>
                <a:cubicBezTo>
                  <a:pt x="74936" y="257836"/>
                  <a:pt x="72774" y="259991"/>
                  <a:pt x="70253" y="259991"/>
                </a:cubicBezTo>
                <a:lnTo>
                  <a:pt x="28101" y="259991"/>
                </a:lnTo>
                <a:cubicBezTo>
                  <a:pt x="12609" y="259991"/>
                  <a:pt x="0" y="247063"/>
                  <a:pt x="0" y="231263"/>
                </a:cubicBezTo>
                <a:lnTo>
                  <a:pt x="0" y="28369"/>
                </a:lnTo>
                <a:cubicBezTo>
                  <a:pt x="0" y="12928"/>
                  <a:pt x="12609" y="0"/>
                  <a:pt x="2810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3" name="Freeform 936">
            <a:extLst>
              <a:ext uri="{FF2B5EF4-FFF2-40B4-BE49-F238E27FC236}">
                <a16:creationId xmlns:a16="http://schemas.microsoft.com/office/drawing/2014/main" id="{443DA0B3-EED3-32E7-7DDE-E3F3B244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951" y="2332069"/>
            <a:ext cx="715783" cy="715785"/>
          </a:xfrm>
          <a:custGeom>
            <a:avLst/>
            <a:gdLst>
              <a:gd name="T0" fmla="*/ 1806716 w 296503"/>
              <a:gd name="T1" fmla="*/ 2521042 h 296053"/>
              <a:gd name="T2" fmla="*/ 1728165 w 296503"/>
              <a:gd name="T3" fmla="*/ 2548969 h 296053"/>
              <a:gd name="T4" fmla="*/ 1476798 w 296503"/>
              <a:gd name="T5" fmla="*/ 2660632 h 296053"/>
              <a:gd name="T6" fmla="*/ 1500362 w 296503"/>
              <a:gd name="T7" fmla="*/ 2780290 h 296053"/>
              <a:gd name="T8" fmla="*/ 1315761 w 296503"/>
              <a:gd name="T9" fmla="*/ 2991678 h 296053"/>
              <a:gd name="T10" fmla="*/ 2525481 w 296503"/>
              <a:gd name="T11" fmla="*/ 3179152 h 296053"/>
              <a:gd name="T12" fmla="*/ 2470489 w 296503"/>
              <a:gd name="T13" fmla="*/ 2672592 h 296053"/>
              <a:gd name="T14" fmla="*/ 2415490 w 296503"/>
              <a:gd name="T15" fmla="*/ 2616767 h 296053"/>
              <a:gd name="T16" fmla="*/ 2113062 w 296503"/>
              <a:gd name="T17" fmla="*/ 2245832 h 296053"/>
              <a:gd name="T18" fmla="*/ 620564 w 296503"/>
              <a:gd name="T19" fmla="*/ 1950682 h 296053"/>
              <a:gd name="T20" fmla="*/ 616653 w 296503"/>
              <a:gd name="T21" fmla="*/ 2082305 h 296053"/>
              <a:gd name="T22" fmla="*/ 490982 w 296503"/>
              <a:gd name="T23" fmla="*/ 2086293 h 296053"/>
              <a:gd name="T24" fmla="*/ 490982 w 296503"/>
              <a:gd name="T25" fmla="*/ 2883965 h 296053"/>
              <a:gd name="T26" fmla="*/ 1390395 w 296503"/>
              <a:gd name="T27" fmla="*/ 2728441 h 296053"/>
              <a:gd name="T28" fmla="*/ 1626051 w 296503"/>
              <a:gd name="T29" fmla="*/ 2409355 h 296053"/>
              <a:gd name="T30" fmla="*/ 2050226 w 296503"/>
              <a:gd name="T31" fmla="*/ 2154103 h 296053"/>
              <a:gd name="T32" fmla="*/ 1810640 w 296503"/>
              <a:gd name="T33" fmla="*/ 1854948 h 296053"/>
              <a:gd name="T34" fmla="*/ 1598554 w 296503"/>
              <a:gd name="T35" fmla="*/ 1926755 h 296053"/>
              <a:gd name="T36" fmla="*/ 1095805 w 296503"/>
              <a:gd name="T37" fmla="*/ 1464107 h 296053"/>
              <a:gd name="T38" fmla="*/ 1225427 w 296503"/>
              <a:gd name="T39" fmla="*/ 1380337 h 296053"/>
              <a:gd name="T40" fmla="*/ 1810640 w 296503"/>
              <a:gd name="T41" fmla="*/ 1755248 h 296053"/>
              <a:gd name="T42" fmla="*/ 2446917 w 296503"/>
              <a:gd name="T43" fmla="*/ 1416233 h 296053"/>
              <a:gd name="T44" fmla="*/ 1834210 w 296503"/>
              <a:gd name="T45" fmla="*/ 698292 h 296053"/>
              <a:gd name="T46" fmla="*/ 2148417 w 296503"/>
              <a:gd name="T47" fmla="*/ 2058369 h 296053"/>
              <a:gd name="T48" fmla="*/ 2148417 w 296503"/>
              <a:gd name="T49" fmla="*/ 2150122 h 296053"/>
              <a:gd name="T50" fmla="*/ 2517618 w 296503"/>
              <a:gd name="T51" fmla="*/ 2568903 h 296053"/>
              <a:gd name="T52" fmla="*/ 2525481 w 296503"/>
              <a:gd name="T53" fmla="*/ 3278851 h 296053"/>
              <a:gd name="T54" fmla="*/ 1217570 w 296503"/>
              <a:gd name="T55" fmla="*/ 2991678 h 296053"/>
              <a:gd name="T56" fmla="*/ 490982 w 296503"/>
              <a:gd name="T57" fmla="*/ 2983689 h 296053"/>
              <a:gd name="T58" fmla="*/ 526313 w 296503"/>
              <a:gd name="T59" fmla="*/ 1990572 h 296053"/>
              <a:gd name="T60" fmla="*/ 1095805 w 296503"/>
              <a:gd name="T61" fmla="*/ 1368373 h 296053"/>
              <a:gd name="T62" fmla="*/ 1834210 w 296503"/>
              <a:gd name="T63" fmla="*/ 698292 h 296053"/>
              <a:gd name="T64" fmla="*/ 1873792 w 296503"/>
              <a:gd name="T65" fmla="*/ 14933 h 296053"/>
              <a:gd name="T66" fmla="*/ 2794579 w 296503"/>
              <a:gd name="T67" fmla="*/ 400998 h 296053"/>
              <a:gd name="T68" fmla="*/ 2841802 w 296503"/>
              <a:gd name="T69" fmla="*/ 994075 h 296053"/>
              <a:gd name="T70" fmla="*/ 3239232 w 296503"/>
              <a:gd name="T71" fmla="*/ 1415991 h 296053"/>
              <a:gd name="T72" fmla="*/ 2841802 w 296503"/>
              <a:gd name="T73" fmla="*/ 1837894 h 296053"/>
              <a:gd name="T74" fmla="*/ 2794579 w 296503"/>
              <a:gd name="T75" fmla="*/ 2434932 h 296053"/>
              <a:gd name="T76" fmla="*/ 2578164 w 296503"/>
              <a:gd name="T77" fmla="*/ 2383192 h 296053"/>
              <a:gd name="T78" fmla="*/ 2743420 w 296503"/>
              <a:gd name="T79" fmla="*/ 2335427 h 296053"/>
              <a:gd name="T80" fmla="*/ 2759168 w 296503"/>
              <a:gd name="T81" fmla="*/ 1782153 h 296053"/>
              <a:gd name="T82" fmla="*/ 2759168 w 296503"/>
              <a:gd name="T83" fmla="*/ 1049779 h 296053"/>
              <a:gd name="T84" fmla="*/ 2743420 w 296503"/>
              <a:gd name="T85" fmla="*/ 500517 h 296053"/>
              <a:gd name="T86" fmla="*/ 2200401 w 296503"/>
              <a:gd name="T87" fmla="*/ 484585 h 296053"/>
              <a:gd name="T88" fmla="*/ 1476353 w 296503"/>
              <a:gd name="T89" fmla="*/ 484585 h 296053"/>
              <a:gd name="T90" fmla="*/ 933332 w 296503"/>
              <a:gd name="T91" fmla="*/ 500517 h 296053"/>
              <a:gd name="T92" fmla="*/ 917581 w 296503"/>
              <a:gd name="T93" fmla="*/ 1049779 h 296053"/>
              <a:gd name="T94" fmla="*/ 590998 w 296503"/>
              <a:gd name="T95" fmla="*/ 1451815 h 296053"/>
              <a:gd name="T96" fmla="*/ 524086 w 296503"/>
              <a:gd name="T97" fmla="*/ 1519446 h 296053"/>
              <a:gd name="T98" fmla="*/ 453259 w 296503"/>
              <a:gd name="T99" fmla="*/ 1380163 h 296053"/>
              <a:gd name="T100" fmla="*/ 834959 w 296503"/>
              <a:gd name="T101" fmla="*/ 448764 h 296053"/>
              <a:gd name="T102" fmla="*/ 1425206 w 296503"/>
              <a:gd name="T103" fmla="*/ 400998 h 29605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96503" h="296053">
                <a:moveTo>
                  <a:pt x="193419" y="202780"/>
                </a:moveTo>
                <a:cubicBezTo>
                  <a:pt x="179398" y="202780"/>
                  <a:pt x="167175" y="213584"/>
                  <a:pt x="165377" y="227629"/>
                </a:cubicBezTo>
                <a:cubicBezTo>
                  <a:pt x="165377" y="229069"/>
                  <a:pt x="164299" y="230510"/>
                  <a:pt x="162501" y="231230"/>
                </a:cubicBezTo>
                <a:cubicBezTo>
                  <a:pt x="161063" y="231590"/>
                  <a:pt x="159266" y="231230"/>
                  <a:pt x="158187" y="230150"/>
                </a:cubicBezTo>
                <a:cubicBezTo>
                  <a:pt x="155671" y="227989"/>
                  <a:pt x="152075" y="226548"/>
                  <a:pt x="148840" y="226548"/>
                </a:cubicBezTo>
                <a:cubicBezTo>
                  <a:pt x="141290" y="226548"/>
                  <a:pt x="135178" y="232670"/>
                  <a:pt x="135178" y="240233"/>
                </a:cubicBezTo>
                <a:cubicBezTo>
                  <a:pt x="135178" y="242754"/>
                  <a:pt x="135897" y="244915"/>
                  <a:pt x="136976" y="246715"/>
                </a:cubicBezTo>
                <a:cubicBezTo>
                  <a:pt x="137695" y="248156"/>
                  <a:pt x="137695" y="249596"/>
                  <a:pt x="137335" y="251037"/>
                </a:cubicBezTo>
                <a:cubicBezTo>
                  <a:pt x="136616" y="252477"/>
                  <a:pt x="135538" y="253198"/>
                  <a:pt x="134100" y="253558"/>
                </a:cubicBezTo>
                <a:cubicBezTo>
                  <a:pt x="125831" y="255358"/>
                  <a:pt x="120438" y="262201"/>
                  <a:pt x="120438" y="270124"/>
                </a:cubicBezTo>
                <a:cubicBezTo>
                  <a:pt x="120438" y="279487"/>
                  <a:pt x="127988" y="287050"/>
                  <a:pt x="137335" y="287050"/>
                </a:cubicBezTo>
                <a:lnTo>
                  <a:pt x="231169" y="287050"/>
                </a:lnTo>
                <a:cubicBezTo>
                  <a:pt x="243752" y="287050"/>
                  <a:pt x="254178" y="276606"/>
                  <a:pt x="254178" y="264002"/>
                </a:cubicBezTo>
                <a:cubicBezTo>
                  <a:pt x="254178" y="249957"/>
                  <a:pt x="241235" y="238432"/>
                  <a:pt x="226135" y="241313"/>
                </a:cubicBezTo>
                <a:cubicBezTo>
                  <a:pt x="224697" y="242034"/>
                  <a:pt x="223259" y="241313"/>
                  <a:pt x="222181" y="240233"/>
                </a:cubicBezTo>
                <a:cubicBezTo>
                  <a:pt x="221102" y="239153"/>
                  <a:pt x="220743" y="237712"/>
                  <a:pt x="221102" y="236272"/>
                </a:cubicBezTo>
                <a:cubicBezTo>
                  <a:pt x="221462" y="234471"/>
                  <a:pt x="221462" y="232670"/>
                  <a:pt x="221462" y="231230"/>
                </a:cubicBezTo>
                <a:cubicBezTo>
                  <a:pt x="221462" y="215744"/>
                  <a:pt x="208879" y="202780"/>
                  <a:pt x="193419" y="202780"/>
                </a:cubicBezTo>
                <a:close/>
                <a:moveTo>
                  <a:pt x="100305" y="132195"/>
                </a:moveTo>
                <a:cubicBezTo>
                  <a:pt x="76577" y="132195"/>
                  <a:pt x="56804" y="152002"/>
                  <a:pt x="56804" y="176130"/>
                </a:cubicBezTo>
                <a:cubicBezTo>
                  <a:pt x="56804" y="178651"/>
                  <a:pt x="57163" y="181172"/>
                  <a:pt x="57882" y="184053"/>
                </a:cubicBezTo>
                <a:cubicBezTo>
                  <a:pt x="57882" y="185494"/>
                  <a:pt x="57523" y="186934"/>
                  <a:pt x="56444" y="188015"/>
                </a:cubicBezTo>
                <a:cubicBezTo>
                  <a:pt x="55366" y="189095"/>
                  <a:pt x="53928" y="189455"/>
                  <a:pt x="52490" y="189095"/>
                </a:cubicBezTo>
                <a:cubicBezTo>
                  <a:pt x="49973" y="188735"/>
                  <a:pt x="47456" y="188375"/>
                  <a:pt x="44940" y="188375"/>
                </a:cubicBezTo>
                <a:cubicBezTo>
                  <a:pt x="25166" y="188375"/>
                  <a:pt x="8988" y="204580"/>
                  <a:pt x="8988" y="224387"/>
                </a:cubicBezTo>
                <a:cubicBezTo>
                  <a:pt x="8988" y="244555"/>
                  <a:pt x="25166" y="260400"/>
                  <a:pt x="44940" y="260400"/>
                </a:cubicBezTo>
                <a:lnTo>
                  <a:pt x="113248" y="260400"/>
                </a:lnTo>
                <a:cubicBezTo>
                  <a:pt x="115764" y="254278"/>
                  <a:pt x="120798" y="249236"/>
                  <a:pt x="127269" y="246355"/>
                </a:cubicBezTo>
                <a:cubicBezTo>
                  <a:pt x="126550" y="244555"/>
                  <a:pt x="126550" y="242394"/>
                  <a:pt x="126550" y="240233"/>
                </a:cubicBezTo>
                <a:cubicBezTo>
                  <a:pt x="126550" y="227989"/>
                  <a:pt x="136616" y="217545"/>
                  <a:pt x="148840" y="217545"/>
                </a:cubicBezTo>
                <a:cubicBezTo>
                  <a:pt x="152075" y="217545"/>
                  <a:pt x="155311" y="218265"/>
                  <a:pt x="158187" y="219706"/>
                </a:cubicBezTo>
                <a:cubicBezTo>
                  <a:pt x="162142" y="206381"/>
                  <a:pt x="174006" y="196658"/>
                  <a:pt x="187667" y="194497"/>
                </a:cubicBezTo>
                <a:cubicBezTo>
                  <a:pt x="188027" y="192696"/>
                  <a:pt x="188027" y="191256"/>
                  <a:pt x="188027" y="189455"/>
                </a:cubicBezTo>
                <a:cubicBezTo>
                  <a:pt x="188027" y="177211"/>
                  <a:pt x="177960" y="167487"/>
                  <a:pt x="165737" y="167487"/>
                </a:cubicBezTo>
                <a:cubicBezTo>
                  <a:pt x="160344" y="167487"/>
                  <a:pt x="155311" y="169288"/>
                  <a:pt x="150997" y="173249"/>
                </a:cubicBezTo>
                <a:cubicBezTo>
                  <a:pt x="149918" y="173970"/>
                  <a:pt x="148121" y="174690"/>
                  <a:pt x="146323" y="173970"/>
                </a:cubicBezTo>
                <a:cubicBezTo>
                  <a:pt x="144885" y="173609"/>
                  <a:pt x="143807" y="172169"/>
                  <a:pt x="143807" y="170368"/>
                </a:cubicBezTo>
                <a:cubicBezTo>
                  <a:pt x="140930" y="148761"/>
                  <a:pt x="122236" y="132195"/>
                  <a:pt x="100305" y="132195"/>
                </a:cubicBezTo>
                <a:close/>
                <a:moveTo>
                  <a:pt x="167894" y="71693"/>
                </a:moveTo>
                <a:cubicBezTo>
                  <a:pt x="138054" y="71693"/>
                  <a:pt x="113607" y="95462"/>
                  <a:pt x="112169" y="124632"/>
                </a:cubicBezTo>
                <a:cubicBezTo>
                  <a:pt x="130864" y="128954"/>
                  <a:pt x="145964" y="143359"/>
                  <a:pt x="150997" y="162085"/>
                </a:cubicBezTo>
                <a:cubicBezTo>
                  <a:pt x="155671" y="159564"/>
                  <a:pt x="160704" y="158484"/>
                  <a:pt x="165737" y="158484"/>
                </a:cubicBezTo>
                <a:cubicBezTo>
                  <a:pt x="178679" y="158484"/>
                  <a:pt x="189465" y="166047"/>
                  <a:pt x="194498" y="176851"/>
                </a:cubicBezTo>
                <a:cubicBezTo>
                  <a:pt x="212114" y="167487"/>
                  <a:pt x="223978" y="149121"/>
                  <a:pt x="223978" y="127873"/>
                </a:cubicBezTo>
                <a:cubicBezTo>
                  <a:pt x="223978" y="96902"/>
                  <a:pt x="198812" y="71693"/>
                  <a:pt x="167894" y="71693"/>
                </a:cubicBezTo>
                <a:close/>
                <a:moveTo>
                  <a:pt x="167894" y="63050"/>
                </a:moveTo>
                <a:cubicBezTo>
                  <a:pt x="203486" y="63050"/>
                  <a:pt x="232966" y="92220"/>
                  <a:pt x="232966" y="127873"/>
                </a:cubicBezTo>
                <a:cubicBezTo>
                  <a:pt x="232966" y="153442"/>
                  <a:pt x="217867" y="175410"/>
                  <a:pt x="196655" y="185854"/>
                </a:cubicBezTo>
                <a:cubicBezTo>
                  <a:pt x="197015" y="187294"/>
                  <a:pt x="197015" y="188375"/>
                  <a:pt x="197015" y="189455"/>
                </a:cubicBezTo>
                <a:cubicBezTo>
                  <a:pt x="197015" y="191256"/>
                  <a:pt x="197015" y="192696"/>
                  <a:pt x="196655" y="194137"/>
                </a:cubicBezTo>
                <a:cubicBezTo>
                  <a:pt x="215709" y="195577"/>
                  <a:pt x="230450" y="211783"/>
                  <a:pt x="230450" y="231230"/>
                </a:cubicBezTo>
                <a:cubicBezTo>
                  <a:pt x="230450" y="231590"/>
                  <a:pt x="230450" y="231590"/>
                  <a:pt x="230450" y="231950"/>
                </a:cubicBezTo>
                <a:cubicBezTo>
                  <a:pt x="248425" y="231950"/>
                  <a:pt x="263165" y="246355"/>
                  <a:pt x="263165" y="264002"/>
                </a:cubicBezTo>
                <a:cubicBezTo>
                  <a:pt x="263165" y="281648"/>
                  <a:pt x="248785" y="296053"/>
                  <a:pt x="231169" y="296053"/>
                </a:cubicBezTo>
                <a:lnTo>
                  <a:pt x="137335" y="296053"/>
                </a:lnTo>
                <a:cubicBezTo>
                  <a:pt x="122955" y="296053"/>
                  <a:pt x="111450" y="284529"/>
                  <a:pt x="111450" y="270124"/>
                </a:cubicBezTo>
                <a:cubicBezTo>
                  <a:pt x="111450" y="270124"/>
                  <a:pt x="111450" y="269764"/>
                  <a:pt x="111450" y="269403"/>
                </a:cubicBezTo>
                <a:lnTo>
                  <a:pt x="44940" y="269403"/>
                </a:lnTo>
                <a:cubicBezTo>
                  <a:pt x="20133" y="269403"/>
                  <a:pt x="0" y="249236"/>
                  <a:pt x="0" y="224387"/>
                </a:cubicBezTo>
                <a:cubicBezTo>
                  <a:pt x="0" y="198818"/>
                  <a:pt x="21931" y="177571"/>
                  <a:pt x="48175" y="179732"/>
                </a:cubicBezTo>
                <a:cubicBezTo>
                  <a:pt x="48175" y="178291"/>
                  <a:pt x="48175" y="177211"/>
                  <a:pt x="48175" y="176130"/>
                </a:cubicBezTo>
                <a:cubicBezTo>
                  <a:pt x="48175" y="146960"/>
                  <a:pt x="71544" y="123552"/>
                  <a:pt x="100305" y="123552"/>
                </a:cubicBezTo>
                <a:cubicBezTo>
                  <a:pt x="101384" y="123552"/>
                  <a:pt x="102462" y="123552"/>
                  <a:pt x="103181" y="123552"/>
                </a:cubicBezTo>
                <a:cubicBezTo>
                  <a:pt x="105338" y="89700"/>
                  <a:pt x="133740" y="63050"/>
                  <a:pt x="167894" y="63050"/>
                </a:cubicBezTo>
                <a:close/>
                <a:moveTo>
                  <a:pt x="165394" y="1347"/>
                </a:moveTo>
                <a:cubicBezTo>
                  <a:pt x="166835" y="-450"/>
                  <a:pt x="169717" y="-450"/>
                  <a:pt x="171517" y="1347"/>
                </a:cubicBezTo>
                <a:lnTo>
                  <a:pt x="206456" y="36207"/>
                </a:lnTo>
                <a:lnTo>
                  <a:pt x="255801" y="36207"/>
                </a:lnTo>
                <a:cubicBezTo>
                  <a:pt x="258323" y="36207"/>
                  <a:pt x="260124" y="38004"/>
                  <a:pt x="260124" y="40520"/>
                </a:cubicBezTo>
                <a:lnTo>
                  <a:pt x="260124" y="89756"/>
                </a:lnTo>
                <a:lnTo>
                  <a:pt x="295062" y="124616"/>
                </a:lnTo>
                <a:cubicBezTo>
                  <a:pt x="295782" y="125335"/>
                  <a:pt x="296503" y="126773"/>
                  <a:pt x="296503" y="127851"/>
                </a:cubicBezTo>
                <a:cubicBezTo>
                  <a:pt x="296503" y="128929"/>
                  <a:pt x="295782" y="130007"/>
                  <a:pt x="295062" y="131085"/>
                </a:cubicBezTo>
                <a:lnTo>
                  <a:pt x="260124" y="165946"/>
                </a:lnTo>
                <a:lnTo>
                  <a:pt x="260124" y="215182"/>
                </a:lnTo>
                <a:cubicBezTo>
                  <a:pt x="260124" y="217697"/>
                  <a:pt x="258323" y="219854"/>
                  <a:pt x="255801" y="219854"/>
                </a:cubicBezTo>
                <a:lnTo>
                  <a:pt x="240313" y="219854"/>
                </a:lnTo>
                <a:cubicBezTo>
                  <a:pt x="238152" y="219854"/>
                  <a:pt x="235991" y="217697"/>
                  <a:pt x="235991" y="215182"/>
                </a:cubicBezTo>
                <a:cubicBezTo>
                  <a:pt x="235991" y="212666"/>
                  <a:pt x="238152" y="210869"/>
                  <a:pt x="240313" y="210869"/>
                </a:cubicBezTo>
                <a:lnTo>
                  <a:pt x="251119" y="210869"/>
                </a:lnTo>
                <a:lnTo>
                  <a:pt x="251119" y="164149"/>
                </a:lnTo>
                <a:cubicBezTo>
                  <a:pt x="251119" y="162711"/>
                  <a:pt x="251839" y="161993"/>
                  <a:pt x="252560" y="160914"/>
                </a:cubicBezTo>
                <a:lnTo>
                  <a:pt x="285697" y="127851"/>
                </a:lnTo>
                <a:lnTo>
                  <a:pt x="252560" y="94787"/>
                </a:lnTo>
                <a:cubicBezTo>
                  <a:pt x="251839" y="94069"/>
                  <a:pt x="251119" y="92990"/>
                  <a:pt x="251119" y="91912"/>
                </a:cubicBezTo>
                <a:lnTo>
                  <a:pt x="251119" y="45192"/>
                </a:lnTo>
                <a:lnTo>
                  <a:pt x="204655" y="45192"/>
                </a:lnTo>
                <a:cubicBezTo>
                  <a:pt x="203214" y="45192"/>
                  <a:pt x="202133" y="44833"/>
                  <a:pt x="201413" y="43754"/>
                </a:cubicBezTo>
                <a:lnTo>
                  <a:pt x="168276" y="10691"/>
                </a:lnTo>
                <a:lnTo>
                  <a:pt x="135138" y="43754"/>
                </a:lnTo>
                <a:cubicBezTo>
                  <a:pt x="134418" y="44833"/>
                  <a:pt x="133337" y="45192"/>
                  <a:pt x="131897" y="45192"/>
                </a:cubicBezTo>
                <a:lnTo>
                  <a:pt x="85432" y="45192"/>
                </a:lnTo>
                <a:lnTo>
                  <a:pt x="85432" y="91912"/>
                </a:lnTo>
                <a:cubicBezTo>
                  <a:pt x="85432" y="92990"/>
                  <a:pt x="84712" y="94069"/>
                  <a:pt x="83992" y="94787"/>
                </a:cubicBezTo>
                <a:lnTo>
                  <a:pt x="50854" y="127851"/>
                </a:lnTo>
                <a:lnTo>
                  <a:pt x="54096" y="131085"/>
                </a:lnTo>
                <a:cubicBezTo>
                  <a:pt x="55897" y="132523"/>
                  <a:pt x="55897" y="135757"/>
                  <a:pt x="54096" y="137195"/>
                </a:cubicBezTo>
                <a:cubicBezTo>
                  <a:pt x="52295" y="138992"/>
                  <a:pt x="49413" y="138992"/>
                  <a:pt x="47973" y="137195"/>
                </a:cubicBezTo>
                <a:lnTo>
                  <a:pt x="41489" y="131085"/>
                </a:lnTo>
                <a:cubicBezTo>
                  <a:pt x="39688" y="129288"/>
                  <a:pt x="39688" y="126413"/>
                  <a:pt x="41489" y="124616"/>
                </a:cubicBezTo>
                <a:lnTo>
                  <a:pt x="76428" y="89756"/>
                </a:lnTo>
                <a:lnTo>
                  <a:pt x="76428" y="40520"/>
                </a:lnTo>
                <a:cubicBezTo>
                  <a:pt x="76428" y="38004"/>
                  <a:pt x="78228" y="36207"/>
                  <a:pt x="80750" y="36207"/>
                </a:cubicBezTo>
                <a:lnTo>
                  <a:pt x="130456" y="36207"/>
                </a:lnTo>
                <a:lnTo>
                  <a:pt x="165394" y="134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15E53F-64FB-77A2-B408-070C0CF5E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03535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to 86" hidden="1">
            <a:extLst>
              <a:ext uri="{FF2B5EF4-FFF2-40B4-BE49-F238E27FC236}">
                <a16:creationId xmlns:a16="http://schemas.microsoft.com/office/drawing/2014/main" id="{FE2C35EA-A4FA-9A4E-AE1A-27C16B489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4462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7" name="Objeto 86" hidden="1">
                        <a:extLst>
                          <a:ext uri="{FF2B5EF4-FFF2-40B4-BE49-F238E27FC236}">
                            <a16:creationId xmlns:a16="http://schemas.microsoft.com/office/drawing/2014/main" id="{FE2C35EA-A4FA-9A4E-AE1A-27C16B489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Marcador de texto 88">
            <a:extLst>
              <a:ext uri="{FF2B5EF4-FFF2-40B4-BE49-F238E27FC236}">
                <a16:creationId xmlns:a16="http://schemas.microsoft.com/office/drawing/2014/main" id="{613222B4-FF01-A9B0-6C5F-A10902E79F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54" name="Freeform 86">
            <a:extLst>
              <a:ext uri="{FF2B5EF4-FFF2-40B4-BE49-F238E27FC236}">
                <a16:creationId xmlns:a16="http://schemas.microsoft.com/office/drawing/2014/main" id="{4BB85DEB-173B-45AD-67A9-0B20E96ACF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608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Freeform 86">
            <a:extLst>
              <a:ext uri="{FF2B5EF4-FFF2-40B4-BE49-F238E27FC236}">
                <a16:creationId xmlns:a16="http://schemas.microsoft.com/office/drawing/2014/main" id="{3B7ADC50-D341-4EE6-923C-A36E456998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69505" y="2136940"/>
            <a:ext cx="1700165" cy="17002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56" name="Pie 12">
            <a:extLst>
              <a:ext uri="{FF2B5EF4-FFF2-40B4-BE49-F238E27FC236}">
                <a16:creationId xmlns:a16="http://schemas.microsoft.com/office/drawing/2014/main" id="{EE0629DB-E45D-8854-DE2C-BCF3B0E64A2B}"/>
              </a:ext>
            </a:extLst>
          </p:cNvPr>
          <p:cNvSpPr>
            <a:spLocks noChangeAspect="1"/>
          </p:cNvSpPr>
          <p:nvPr/>
        </p:nvSpPr>
        <p:spPr>
          <a:xfrm>
            <a:off x="1369472" y="2136940"/>
            <a:ext cx="1700165" cy="1700275"/>
          </a:xfrm>
          <a:prstGeom prst="pie">
            <a:avLst>
              <a:gd name="adj1" fmla="val 5414869"/>
              <a:gd name="adj2" fmla="val 16197063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57" name="Oval 19">
            <a:extLst>
              <a:ext uri="{FF2B5EF4-FFF2-40B4-BE49-F238E27FC236}">
                <a16:creationId xmlns:a16="http://schemas.microsoft.com/office/drawing/2014/main" id="{E6B7D870-173A-0BBE-93BF-3F674B79EEC3}"/>
              </a:ext>
            </a:extLst>
          </p:cNvPr>
          <p:cNvSpPr/>
          <p:nvPr/>
        </p:nvSpPr>
        <p:spPr>
          <a:xfrm>
            <a:off x="809642" y="2085035"/>
            <a:ext cx="771361" cy="7713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B5FB540-3861-6743-DC50-C840EF8B3B3A}"/>
              </a:ext>
            </a:extLst>
          </p:cNvPr>
          <p:cNvSpPr txBox="1"/>
          <p:nvPr/>
        </p:nvSpPr>
        <p:spPr>
          <a:xfrm>
            <a:off x="827936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50%</a:t>
            </a:r>
          </a:p>
        </p:txBody>
      </p:sp>
      <p:sp>
        <p:nvSpPr>
          <p:cNvPr id="59" name="Freeform 86">
            <a:extLst>
              <a:ext uri="{FF2B5EF4-FFF2-40B4-BE49-F238E27FC236}">
                <a16:creationId xmlns:a16="http://schemas.microsoft.com/office/drawing/2014/main" id="{C2E71E56-5685-CE9E-A76B-D1BFA42D6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436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Freeform 86">
            <a:extLst>
              <a:ext uri="{FF2B5EF4-FFF2-40B4-BE49-F238E27FC236}">
                <a16:creationId xmlns:a16="http://schemas.microsoft.com/office/drawing/2014/main" id="{50EB58B4-0411-B1D6-766C-840C0C2C9F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89333" y="2136940"/>
            <a:ext cx="1700165" cy="170027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61" name="Pie 26">
            <a:extLst>
              <a:ext uri="{FF2B5EF4-FFF2-40B4-BE49-F238E27FC236}">
                <a16:creationId xmlns:a16="http://schemas.microsoft.com/office/drawing/2014/main" id="{3AD429D6-52CD-33D5-9EFB-B62AD6835285}"/>
              </a:ext>
            </a:extLst>
          </p:cNvPr>
          <p:cNvSpPr>
            <a:spLocks noChangeAspect="1"/>
          </p:cNvSpPr>
          <p:nvPr/>
        </p:nvSpPr>
        <p:spPr>
          <a:xfrm>
            <a:off x="4089300" y="2136940"/>
            <a:ext cx="1700165" cy="1700275"/>
          </a:xfrm>
          <a:prstGeom prst="pie">
            <a:avLst>
              <a:gd name="adj1" fmla="val 38409"/>
              <a:gd name="adj2" fmla="val 16197063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2" name="Oval 27">
            <a:extLst>
              <a:ext uri="{FF2B5EF4-FFF2-40B4-BE49-F238E27FC236}">
                <a16:creationId xmlns:a16="http://schemas.microsoft.com/office/drawing/2014/main" id="{EA888844-0FDD-CE12-83C9-551100C553A8}"/>
              </a:ext>
            </a:extLst>
          </p:cNvPr>
          <p:cNvSpPr/>
          <p:nvPr/>
        </p:nvSpPr>
        <p:spPr>
          <a:xfrm>
            <a:off x="3529470" y="2085035"/>
            <a:ext cx="771361" cy="7713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3" name="TextBox 28">
            <a:extLst>
              <a:ext uri="{FF2B5EF4-FFF2-40B4-BE49-F238E27FC236}">
                <a16:creationId xmlns:a16="http://schemas.microsoft.com/office/drawing/2014/main" id="{788C5B0A-B1B2-6CF2-0A8C-A5E0B9A6FBA7}"/>
              </a:ext>
            </a:extLst>
          </p:cNvPr>
          <p:cNvSpPr txBox="1"/>
          <p:nvPr/>
        </p:nvSpPr>
        <p:spPr>
          <a:xfrm>
            <a:off x="3546301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75%</a:t>
            </a:r>
          </a:p>
        </p:txBody>
      </p:sp>
      <p:sp>
        <p:nvSpPr>
          <p:cNvPr id="64" name="Freeform 86">
            <a:extLst>
              <a:ext uri="{FF2B5EF4-FFF2-40B4-BE49-F238E27FC236}">
                <a16:creationId xmlns:a16="http://schemas.microsoft.com/office/drawing/2014/main" id="{B534F22F-C84F-B7AE-F08D-3CE74BA08B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7960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:a16="http://schemas.microsoft.com/office/drawing/2014/main" id="{B09BB82C-5FA3-692D-FD56-D78FF199ED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0857" y="2136940"/>
            <a:ext cx="1700165" cy="1700275"/>
          </a:xfrm>
          <a:prstGeom prst="ellipse">
            <a:avLst/>
          </a:prstGeom>
          <a:solidFill>
            <a:schemeClr val="accent3">
              <a:lumMod val="9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66" name="Pie 31">
            <a:extLst>
              <a:ext uri="{FF2B5EF4-FFF2-40B4-BE49-F238E27FC236}">
                <a16:creationId xmlns:a16="http://schemas.microsoft.com/office/drawing/2014/main" id="{567ACCE6-1C96-045F-FEA5-C44B6281C847}"/>
              </a:ext>
            </a:extLst>
          </p:cNvPr>
          <p:cNvSpPr>
            <a:spLocks noChangeAspect="1"/>
          </p:cNvSpPr>
          <p:nvPr/>
        </p:nvSpPr>
        <p:spPr>
          <a:xfrm>
            <a:off x="6810824" y="2136940"/>
            <a:ext cx="1700165" cy="1700275"/>
          </a:xfrm>
          <a:prstGeom prst="pie">
            <a:avLst>
              <a:gd name="adj1" fmla="val 10788501"/>
              <a:gd name="adj2" fmla="val 16197063"/>
            </a:avLst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7" name="Oval 32">
            <a:extLst>
              <a:ext uri="{FF2B5EF4-FFF2-40B4-BE49-F238E27FC236}">
                <a16:creationId xmlns:a16="http://schemas.microsoft.com/office/drawing/2014/main" id="{7E8EA0D7-121E-38FA-E060-58D767CD3F62}"/>
              </a:ext>
            </a:extLst>
          </p:cNvPr>
          <p:cNvSpPr/>
          <p:nvPr/>
        </p:nvSpPr>
        <p:spPr>
          <a:xfrm>
            <a:off x="6250994" y="2085035"/>
            <a:ext cx="771361" cy="771361"/>
          </a:xfrm>
          <a:prstGeom prst="ellipse">
            <a:avLst/>
          </a:prstGeom>
          <a:solidFill>
            <a:schemeClr val="accent3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8" name="TextBox 33">
            <a:extLst>
              <a:ext uri="{FF2B5EF4-FFF2-40B4-BE49-F238E27FC236}">
                <a16:creationId xmlns:a16="http://schemas.microsoft.com/office/drawing/2014/main" id="{11643E91-C769-86F7-9D2A-B6EDE2E7F15A}"/>
              </a:ext>
            </a:extLst>
          </p:cNvPr>
          <p:cNvSpPr txBox="1"/>
          <p:nvPr/>
        </p:nvSpPr>
        <p:spPr>
          <a:xfrm>
            <a:off x="6267825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25%</a:t>
            </a:r>
          </a:p>
        </p:txBody>
      </p:sp>
      <p:sp>
        <p:nvSpPr>
          <p:cNvPr id="69" name="Freeform 86">
            <a:extLst>
              <a:ext uri="{FF2B5EF4-FFF2-40B4-BE49-F238E27FC236}">
                <a16:creationId xmlns:a16="http://schemas.microsoft.com/office/drawing/2014/main" id="{1EAE733C-5133-A42A-4054-4306C019D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9484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Freeform 86">
            <a:extLst>
              <a:ext uri="{FF2B5EF4-FFF2-40B4-BE49-F238E27FC236}">
                <a16:creationId xmlns:a16="http://schemas.microsoft.com/office/drawing/2014/main" id="{AEFC5CAA-678E-F4E7-54B6-221E747705D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532381" y="2136940"/>
            <a:ext cx="1700165" cy="17002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71" name="Pie 36">
            <a:extLst>
              <a:ext uri="{FF2B5EF4-FFF2-40B4-BE49-F238E27FC236}">
                <a16:creationId xmlns:a16="http://schemas.microsoft.com/office/drawing/2014/main" id="{9FA677A5-FB03-A7D5-DE66-12384C905F63}"/>
              </a:ext>
            </a:extLst>
          </p:cNvPr>
          <p:cNvSpPr>
            <a:spLocks noChangeAspect="1"/>
          </p:cNvSpPr>
          <p:nvPr/>
        </p:nvSpPr>
        <p:spPr>
          <a:xfrm>
            <a:off x="9532348" y="2136940"/>
            <a:ext cx="1700165" cy="1700275"/>
          </a:xfrm>
          <a:prstGeom prst="pie">
            <a:avLst>
              <a:gd name="adj1" fmla="val 17257894"/>
              <a:gd name="adj2" fmla="val 16197063"/>
            </a:avLst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72" name="Oval 37">
            <a:extLst>
              <a:ext uri="{FF2B5EF4-FFF2-40B4-BE49-F238E27FC236}">
                <a16:creationId xmlns:a16="http://schemas.microsoft.com/office/drawing/2014/main" id="{CCC3C931-EEA4-02A4-B4D5-F6DACF5B6A14}"/>
              </a:ext>
            </a:extLst>
          </p:cNvPr>
          <p:cNvSpPr/>
          <p:nvPr/>
        </p:nvSpPr>
        <p:spPr>
          <a:xfrm>
            <a:off x="8972518" y="2085035"/>
            <a:ext cx="771361" cy="77136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3" name="TextBox 38">
            <a:extLst>
              <a:ext uri="{FF2B5EF4-FFF2-40B4-BE49-F238E27FC236}">
                <a16:creationId xmlns:a16="http://schemas.microsoft.com/office/drawing/2014/main" id="{4F420818-E0F9-8912-0E68-49976B9A768B}"/>
              </a:ext>
            </a:extLst>
          </p:cNvPr>
          <p:cNvSpPr txBox="1"/>
          <p:nvPr/>
        </p:nvSpPr>
        <p:spPr>
          <a:xfrm>
            <a:off x="8989349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90%</a:t>
            </a:r>
          </a:p>
        </p:txBody>
      </p:sp>
      <p:cxnSp>
        <p:nvCxnSpPr>
          <p:cNvPr id="74" name="Straight Connector 40">
            <a:extLst>
              <a:ext uri="{FF2B5EF4-FFF2-40B4-BE49-F238E27FC236}">
                <a16:creationId xmlns:a16="http://schemas.microsoft.com/office/drawing/2014/main" id="{2372ACF8-D444-6837-EF31-52D0F817C7FF}"/>
              </a:ext>
            </a:extLst>
          </p:cNvPr>
          <p:cNvCxnSpPr>
            <a:cxnSpLocks/>
          </p:cNvCxnSpPr>
          <p:nvPr/>
        </p:nvCxnSpPr>
        <p:spPr>
          <a:xfrm flipH="1">
            <a:off x="2219555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41">
            <a:extLst>
              <a:ext uri="{FF2B5EF4-FFF2-40B4-BE49-F238E27FC236}">
                <a16:creationId xmlns:a16="http://schemas.microsoft.com/office/drawing/2014/main" id="{8D4C8277-028E-20E0-8D83-AFA5BEF23881}"/>
              </a:ext>
            </a:extLst>
          </p:cNvPr>
          <p:cNvCxnSpPr/>
          <p:nvPr/>
        </p:nvCxnSpPr>
        <p:spPr>
          <a:xfrm flipH="1">
            <a:off x="4939350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42">
            <a:extLst>
              <a:ext uri="{FF2B5EF4-FFF2-40B4-BE49-F238E27FC236}">
                <a16:creationId xmlns:a16="http://schemas.microsoft.com/office/drawing/2014/main" id="{57BE9EFE-FB2F-C7FE-4DE6-9FA26F514DE0}"/>
              </a:ext>
            </a:extLst>
          </p:cNvPr>
          <p:cNvCxnSpPr/>
          <p:nvPr/>
        </p:nvCxnSpPr>
        <p:spPr>
          <a:xfrm flipH="1">
            <a:off x="7660874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43">
            <a:extLst>
              <a:ext uri="{FF2B5EF4-FFF2-40B4-BE49-F238E27FC236}">
                <a16:creationId xmlns:a16="http://schemas.microsoft.com/office/drawing/2014/main" id="{5EFE3F8F-A5EA-B0DC-28E4-84FF8ABA46C9}"/>
              </a:ext>
            </a:extLst>
          </p:cNvPr>
          <p:cNvCxnSpPr/>
          <p:nvPr/>
        </p:nvCxnSpPr>
        <p:spPr>
          <a:xfrm flipH="1">
            <a:off x="10382398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44">
            <a:extLst>
              <a:ext uri="{FF2B5EF4-FFF2-40B4-BE49-F238E27FC236}">
                <a16:creationId xmlns:a16="http://schemas.microsoft.com/office/drawing/2014/main" id="{1BD1726D-A93D-9C40-DAE6-E3EE2D697B26}"/>
              </a:ext>
            </a:extLst>
          </p:cNvPr>
          <p:cNvSpPr txBox="1"/>
          <p:nvPr/>
        </p:nvSpPr>
        <p:spPr>
          <a:xfrm>
            <a:off x="9152143" y="4903673"/>
            <a:ext cx="1880641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79" name="TextBox 45">
            <a:extLst>
              <a:ext uri="{FF2B5EF4-FFF2-40B4-BE49-F238E27FC236}">
                <a16:creationId xmlns:a16="http://schemas.microsoft.com/office/drawing/2014/main" id="{5804E017-883C-6D66-9D59-95A861151107}"/>
              </a:ext>
            </a:extLst>
          </p:cNvPr>
          <p:cNvSpPr txBox="1"/>
          <p:nvPr/>
        </p:nvSpPr>
        <p:spPr>
          <a:xfrm>
            <a:off x="6425114" y="4903673"/>
            <a:ext cx="188064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0" name="TextBox 46">
            <a:extLst>
              <a:ext uri="{FF2B5EF4-FFF2-40B4-BE49-F238E27FC236}">
                <a16:creationId xmlns:a16="http://schemas.microsoft.com/office/drawing/2014/main" id="{077EF6B4-3A8C-C72D-5B7E-DDC6A579A789}"/>
              </a:ext>
            </a:extLst>
          </p:cNvPr>
          <p:cNvSpPr txBox="1"/>
          <p:nvPr/>
        </p:nvSpPr>
        <p:spPr>
          <a:xfrm>
            <a:off x="3711492" y="4903673"/>
            <a:ext cx="186723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1" name="TextBox 47">
            <a:extLst>
              <a:ext uri="{FF2B5EF4-FFF2-40B4-BE49-F238E27FC236}">
                <a16:creationId xmlns:a16="http://schemas.microsoft.com/office/drawing/2014/main" id="{72D3A859-79CC-F88D-7369-21D636776FD9}"/>
              </a:ext>
            </a:extLst>
          </p:cNvPr>
          <p:cNvSpPr txBox="1"/>
          <p:nvPr/>
        </p:nvSpPr>
        <p:spPr>
          <a:xfrm>
            <a:off x="997870" y="4903673"/>
            <a:ext cx="186723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2" name="TextBox 48">
            <a:extLst>
              <a:ext uri="{FF2B5EF4-FFF2-40B4-BE49-F238E27FC236}">
                <a16:creationId xmlns:a16="http://schemas.microsoft.com/office/drawing/2014/main" id="{5846F70B-FFA2-7D28-9CD5-5BE166B4F936}"/>
              </a:ext>
            </a:extLst>
          </p:cNvPr>
          <p:cNvSpPr txBox="1"/>
          <p:nvPr/>
        </p:nvSpPr>
        <p:spPr>
          <a:xfrm>
            <a:off x="916971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3" name="TextBox 49">
            <a:extLst>
              <a:ext uri="{FF2B5EF4-FFF2-40B4-BE49-F238E27FC236}">
                <a16:creationId xmlns:a16="http://schemas.microsoft.com/office/drawing/2014/main" id="{F1B41062-15F2-6453-224D-7F126A2714CB}"/>
              </a:ext>
            </a:extLst>
          </p:cNvPr>
          <p:cNvSpPr txBox="1"/>
          <p:nvPr/>
        </p:nvSpPr>
        <p:spPr>
          <a:xfrm>
            <a:off x="6429582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4" name="TextBox 50">
            <a:extLst>
              <a:ext uri="{FF2B5EF4-FFF2-40B4-BE49-F238E27FC236}">
                <a16:creationId xmlns:a16="http://schemas.microsoft.com/office/drawing/2014/main" id="{D47E70BD-9E9A-5B98-1A6C-05BBE1503662}"/>
              </a:ext>
            </a:extLst>
          </p:cNvPr>
          <p:cNvSpPr txBox="1"/>
          <p:nvPr/>
        </p:nvSpPr>
        <p:spPr>
          <a:xfrm>
            <a:off x="372043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5" name="TextBox 51">
            <a:extLst>
              <a:ext uri="{FF2B5EF4-FFF2-40B4-BE49-F238E27FC236}">
                <a16:creationId xmlns:a16="http://schemas.microsoft.com/office/drawing/2014/main" id="{8F4F910B-A43E-EFBB-15B7-4F696D531E15}"/>
              </a:ext>
            </a:extLst>
          </p:cNvPr>
          <p:cNvSpPr txBox="1"/>
          <p:nvPr/>
        </p:nvSpPr>
        <p:spPr>
          <a:xfrm>
            <a:off x="99787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C0D382-663E-D9AE-8A8D-D37370ED1A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DC853117-2E72-9FD6-D97C-9FA339CBE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1616140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buscar imgs nuevas para los slides que quedaron 1/2 pagina"/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>
            <a:lumMod val="95000"/>
          </a:schemeClr>
        </a:solidFill>
      </a:spPr>
      <a:bodyPr vert="horz" wrap="square" lIns="72000" tIns="36000" rIns="36000" bIns="36000" rtlCol="0" anchor="ctr">
        <a:noAutofit/>
      </a:bodyPr>
      <a:lstStyle>
        <a:defPPr marL="0" marR="0" indent="0" algn="ctr" defTabSz="228554" rtl="0" eaLnBrk="1" fontAlgn="auto" latinLnBrk="0" hangingPunct="1">
          <a:lnSpc>
            <a:spcPct val="100000"/>
          </a:lnSpc>
          <a:spcBef>
            <a:spcPts val="300"/>
          </a:spcBef>
          <a:spcAft>
            <a:spcPts val="0"/>
          </a:spcAft>
          <a:buClrTx/>
          <a:buSzTx/>
          <a:buFont typeface="Arial" panose="020B0604020202020204" pitchFamily="34" charset="0"/>
          <a:buNone/>
          <a:tabLst/>
          <a:defRPr kumimoji="0" sz="140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  <a:sym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>
          <a:noFill/>
        </a:ln>
      </a:spPr>
      <a:bodyPr lIns="0" tIns="0" rIns="0" bIns="0" rtlCol="0" anchor="ctr">
        <a:noAutofit/>
      </a:bodyPr>
      <a:lstStyle>
        <a:defPPr algn="ctr"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>
          <a:noFill/>
        </a:ln>
      </a:spPr>
      <a:bodyPr lIns="0" tIns="0" rIns="0" bIns="0" rtlCol="0" anchor="ctr">
        <a:noAutofit/>
      </a:bodyPr>
      <a:lstStyle>
        <a:defPPr algn="ctr"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7C6C0B81616847BA0BEF6AF9FD8D5E" ma:contentTypeVersion="14" ma:contentTypeDescription="Create a new document." ma:contentTypeScope="" ma:versionID="8f477840bf1b15ebcd7dea7e26e8de05">
  <xsd:schema xmlns:xsd="http://www.w3.org/2001/XMLSchema" xmlns:xs="http://www.w3.org/2001/XMLSchema" xmlns:p="http://schemas.microsoft.com/office/2006/metadata/properties" xmlns:ns3="2d175f5e-96b3-4161-9498-4ed8bb1684ef" xmlns:ns4="8cc5281a-0e22-4a5d-9b94-71566d8ffb39" targetNamespace="http://schemas.microsoft.com/office/2006/metadata/properties" ma:root="true" ma:fieldsID="626ffd4b232ece131a0e6b8ce18d05e9" ns3:_="" ns4:_="">
    <xsd:import namespace="2d175f5e-96b3-4161-9498-4ed8bb1684ef"/>
    <xsd:import namespace="8cc5281a-0e22-4a5d-9b94-71566d8ffb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175f5e-96b3-4161-9498-4ed8bb1684e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c5281a-0e22-4a5d-9b94-71566d8ffb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D9BADE-FB3C-4DFF-ABE8-CDDBBB754F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175f5e-96b3-4161-9498-4ed8bb1684ef"/>
    <ds:schemaRef ds:uri="8cc5281a-0e22-4a5d-9b94-71566d8ffb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EFDBD43-137A-4241-BB3D-DE2C80A7631B}">
  <ds:schemaRefs>
    <ds:schemaRef ds:uri="8cc5281a-0e22-4a5d-9b94-71566d8ffb39"/>
    <ds:schemaRef ds:uri="2d175f5e-96b3-4161-9498-4ed8bb1684ef"/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21C9605-34E7-4B36-9570-2016EA898C8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349</TotalTime>
  <Words>10833</Words>
  <Application>Microsoft Office PowerPoint</Application>
  <PresentationFormat>Widescreen</PresentationFormat>
  <Paragraphs>3755</Paragraphs>
  <Slides>230</Slides>
  <Notes>4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0</vt:i4>
      </vt:variant>
    </vt:vector>
  </HeadingPairs>
  <TitlesOfParts>
    <vt:vector size="252" baseType="lpstr">
      <vt:lpstr>Arial</vt:lpstr>
      <vt:lpstr>Franklin Gothic Medium</vt:lpstr>
      <vt:lpstr>Gill Sans</vt:lpstr>
      <vt:lpstr>Graphik</vt:lpstr>
      <vt:lpstr>Helvetica</vt:lpstr>
      <vt:lpstr>Josefin Sans</vt:lpstr>
      <vt:lpstr>Lato Light</vt:lpstr>
      <vt:lpstr>Open Sans SemiBold</vt:lpstr>
      <vt:lpstr>Poppins</vt:lpstr>
      <vt:lpstr>Roboto Bold</vt:lpstr>
      <vt:lpstr>Roboto Light</vt:lpstr>
      <vt:lpstr>Verdana</vt:lpstr>
      <vt:lpstr>Wingdings</vt:lpstr>
      <vt:lpstr>BIC TEMPLATE OK</vt:lpstr>
      <vt:lpstr>1_BIC TEMPLATE OK</vt:lpstr>
      <vt:lpstr>2_BIC TEMPLATE OK</vt:lpstr>
      <vt:lpstr>3_BIC TEMPLATE OK</vt:lpstr>
      <vt:lpstr>4_BIC TEMPLATE OK</vt:lpstr>
      <vt:lpstr>5_BIC TEMPLATE OK</vt:lpstr>
      <vt:lpstr>6_BIC TEMPLATE OK</vt:lpstr>
      <vt:lpstr>think-cell Slide</vt:lpstr>
      <vt:lpstr>Diapositiva de think-cell</vt:lpstr>
      <vt:lpstr>PowerPoint Presentation</vt:lpstr>
      <vt:lpstr>How to replace the placeholder logo in this template</vt:lpstr>
      <vt:lpstr>How to change the color scheme in this template</vt:lpstr>
      <vt:lpstr>About Umbrex</vt:lpstr>
      <vt:lpstr>   </vt:lpstr>
      <vt:lpstr>Why Umbrex?</vt:lpstr>
      <vt:lpstr>Umbrex Services</vt:lpstr>
      <vt:lpstr>Industries Umbrex Serves</vt:lpstr>
      <vt:lpstr>Umbrex offers flexible options to engage talent</vt:lpstr>
      <vt:lpstr>Umbrex connects you with a community of other top-tier independent consultants</vt:lpstr>
      <vt:lpstr>You're global and local - Umbrex is, too</vt:lpstr>
      <vt:lpstr>Umbrex thought leadership</vt:lpstr>
      <vt:lpstr>How Umbrex can help</vt:lpstr>
      <vt:lpstr>Umbrex provides resources to help consultants thrive</vt:lpstr>
      <vt:lpstr>About this document</vt:lpstr>
      <vt:lpstr>Template index</vt:lpstr>
      <vt:lpstr>Template – Section Divider</vt:lpstr>
      <vt:lpstr>Template – Table of Contents</vt:lpstr>
      <vt:lpstr>Template - Elements</vt:lpstr>
      <vt:lpstr>Template - Elements</vt:lpstr>
      <vt:lpstr>Template - Content slide</vt:lpstr>
      <vt:lpstr>Template index</vt:lpstr>
      <vt:lpstr>Template — Executive Summary 1</vt:lpstr>
      <vt:lpstr>Template — Executive Summary 2</vt:lpstr>
      <vt:lpstr>Template — Executive Summary 3</vt:lpstr>
      <vt:lpstr>Template — Executive Summary 4</vt:lpstr>
      <vt:lpstr>Template — Executive Summary 5</vt:lpstr>
      <vt:lpstr>Template — Executive Summary 6</vt:lpstr>
      <vt:lpstr>Template — Executive Summary 7</vt:lpstr>
      <vt:lpstr>Template — Description slide</vt:lpstr>
      <vt:lpstr>Template — Description slide</vt:lpstr>
      <vt:lpstr>Template — Description slide</vt:lpstr>
      <vt:lpstr>Template — Description slide</vt:lpstr>
      <vt:lpstr>Template — Description Slide</vt:lpstr>
      <vt:lpstr>Template — Statements</vt:lpstr>
      <vt:lpstr>Template — Four categories</vt:lpstr>
      <vt:lpstr>Template — Table of words</vt:lpstr>
      <vt:lpstr>Template — Table</vt:lpstr>
      <vt:lpstr>Template — Table</vt:lpstr>
      <vt:lpstr>Template — Features List</vt:lpstr>
      <vt:lpstr>Template A — Quote</vt:lpstr>
      <vt:lpstr>Template B — Quote</vt:lpstr>
      <vt:lpstr>Template C — Quote </vt:lpstr>
      <vt:lpstr>Template D — Quote </vt:lpstr>
      <vt:lpstr>Template E — Quote</vt:lpstr>
      <vt:lpstr>Template — Key points diagram</vt:lpstr>
      <vt:lpstr>Template A — SWOT Analysis</vt:lpstr>
      <vt:lpstr>Template B - SWOT Analysis</vt:lpstr>
      <vt:lpstr>Template — Checklist</vt:lpstr>
      <vt:lpstr>Template — Problem-Solving Process Checklist</vt:lpstr>
      <vt:lpstr>Template — Problem Definition Worksheet</vt:lpstr>
      <vt:lpstr>Template — Problem Statement</vt:lpstr>
      <vt:lpstr>Template A — Stakeholder Analysis</vt:lpstr>
      <vt:lpstr>Template B — Stakeholder Analysis</vt:lpstr>
      <vt:lpstr>Template A - Statistics table</vt:lpstr>
      <vt:lpstr>Template B - Statistics table</vt:lpstr>
      <vt:lpstr>Template - Word cloud</vt:lpstr>
      <vt:lpstr>Template index</vt:lpstr>
      <vt:lpstr>Template — Simple bar chart</vt:lpstr>
      <vt:lpstr>Template — Stacked bar chart</vt:lpstr>
      <vt:lpstr>Template — 100% Stacked bar chart</vt:lpstr>
      <vt:lpstr>Template — Clustered bar chart</vt:lpstr>
      <vt:lpstr>Template — Waterfall bar chart</vt:lpstr>
      <vt:lpstr>Template — Bar chart with words</vt:lpstr>
      <vt:lpstr>Template index</vt:lpstr>
      <vt:lpstr>Template - Simple column chart</vt:lpstr>
      <vt:lpstr>Template - Stacked column chart</vt:lpstr>
      <vt:lpstr>Template - 100% stacked column chart</vt:lpstr>
      <vt:lpstr>Template - Clustered column chart</vt:lpstr>
      <vt:lpstr>Template - Waterfall column chart</vt:lpstr>
      <vt:lpstr>Template - Vertical dot chart</vt:lpstr>
      <vt:lpstr>Template - Grouped column chart</vt:lpstr>
      <vt:lpstr>Template - Multiple column chart</vt:lpstr>
      <vt:lpstr>Template – Pyramid column chart</vt:lpstr>
      <vt:lpstr>Template - Combination chart</vt:lpstr>
      <vt:lpstr>Template - Mekko chart</vt:lpstr>
      <vt:lpstr>Template - Histogram</vt:lpstr>
      <vt:lpstr>Template - Density chart</vt:lpstr>
      <vt:lpstr>Template - Population pyramid</vt:lpstr>
      <vt:lpstr>Template - Percentage breakdown</vt:lpstr>
      <vt:lpstr>Template - Heat map</vt:lpstr>
      <vt:lpstr>Template - Heat map (with numbers)</vt:lpstr>
      <vt:lpstr>Template index</vt:lpstr>
      <vt:lpstr>Template - Line chart</vt:lpstr>
      <vt:lpstr>Template - Vertical line chart</vt:lpstr>
      <vt:lpstr>Template - Multiple line chart</vt:lpstr>
      <vt:lpstr>Template - Data over time line chart</vt:lpstr>
      <vt:lpstr>Template - Growth curve line chart</vt:lpstr>
      <vt:lpstr>Template — Product Life Cycle </vt:lpstr>
      <vt:lpstr>Template - Peak line chart</vt:lpstr>
      <vt:lpstr>Template - Arrow line chart</vt:lpstr>
      <vt:lpstr>Template - Evolution Chart</vt:lpstr>
      <vt:lpstr>Template - Radial chart</vt:lpstr>
      <vt:lpstr>Template index</vt:lpstr>
      <vt:lpstr>Template - Pie chart</vt:lpstr>
      <vt:lpstr>Template - Doughnut chart</vt:lpstr>
      <vt:lpstr>Template - Multiple Doughnuts</vt:lpstr>
      <vt:lpstr>Template - Multiple Doughnuts</vt:lpstr>
      <vt:lpstr>Template - Harvey Ball Slide</vt:lpstr>
      <vt:lpstr>Template - Harvey Ball Slide</vt:lpstr>
      <vt:lpstr>Template - Harvey Ball Slide</vt:lpstr>
      <vt:lpstr>Template - Harvey Ball Map Slide</vt:lpstr>
      <vt:lpstr>Template - Wheel chart</vt:lpstr>
      <vt:lpstr>Template index</vt:lpstr>
      <vt:lpstr>Template - Simple area chart</vt:lpstr>
      <vt:lpstr>Template - Proportional area chart</vt:lpstr>
      <vt:lpstr>Template - Rectangle area chart</vt:lpstr>
      <vt:lpstr>Template index</vt:lpstr>
      <vt:lpstr>Template - Dot Matrix chart</vt:lpstr>
      <vt:lpstr>Template - Radar chart</vt:lpstr>
      <vt:lpstr>Template - Scatter chart</vt:lpstr>
      <vt:lpstr>Template - Scatter chart with four quadrants</vt:lpstr>
      <vt:lpstr>Template - Scatter chart with segmentation</vt:lpstr>
      <vt:lpstr>Template - XY Bubble chart</vt:lpstr>
      <vt:lpstr>Template index</vt:lpstr>
      <vt:lpstr>Template - Flow chart </vt:lpstr>
      <vt:lpstr>Template - Repeating process</vt:lpstr>
      <vt:lpstr>Template - Timeline</vt:lpstr>
      <vt:lpstr>Template - Boat chart</vt:lpstr>
      <vt:lpstr>Template - Boat chart horizontal</vt:lpstr>
      <vt:lpstr>Template - Boat chart</vt:lpstr>
      <vt:lpstr>Template - Boat chart vertical</vt:lpstr>
      <vt:lpstr>Template - From-to chart</vt:lpstr>
      <vt:lpstr>Template - Circular process</vt:lpstr>
      <vt:lpstr>Template - Circular process</vt:lpstr>
      <vt:lpstr>Template - Journey Slide</vt:lpstr>
      <vt:lpstr>Template - Linear Process</vt:lpstr>
      <vt:lpstr>Template - Linear Process</vt:lpstr>
      <vt:lpstr>Template - Snake process</vt:lpstr>
      <vt:lpstr>Template - Go-To-Market Slide</vt:lpstr>
      <vt:lpstr>Template - Project timeline</vt:lpstr>
      <vt:lpstr>Template - Customer Touchpoints</vt:lpstr>
      <vt:lpstr>Template - Customer Phases</vt:lpstr>
      <vt:lpstr>Template - Hype cycle</vt:lpstr>
      <vt:lpstr>Template - Business workflow</vt:lpstr>
      <vt:lpstr>Template – Circular process</vt:lpstr>
      <vt:lpstr>Template - Road flow chart</vt:lpstr>
      <vt:lpstr>Template - Plans vs. actual chart</vt:lpstr>
      <vt:lpstr>Template - Forecast chart</vt:lpstr>
      <vt:lpstr>Template - Steps chart</vt:lpstr>
      <vt:lpstr>Template - Phases chart</vt:lpstr>
      <vt:lpstr>Template - Strategy chart</vt:lpstr>
      <vt:lpstr>Template - Decision tree</vt:lpstr>
      <vt:lpstr>Template - Decision Tree</vt:lpstr>
      <vt:lpstr>Template - Decision Tree</vt:lpstr>
      <vt:lpstr>Template — Hypothesis Tree</vt:lpstr>
      <vt:lpstr>Template — Issue Tree</vt:lpstr>
      <vt:lpstr>Template – Gantt chart</vt:lpstr>
      <vt:lpstr>Template — Plan Analyses</vt:lpstr>
      <vt:lpstr>Template — Analysis Plan</vt:lpstr>
      <vt:lpstr>Template — High-level Workplan</vt:lpstr>
      <vt:lpstr>Template — 5-Week Workplan</vt:lpstr>
      <vt:lpstr>Template — One-Week Workplan</vt:lpstr>
      <vt:lpstr>Template — Image timeline</vt:lpstr>
      <vt:lpstr>Template — Inflow and outflow</vt:lpstr>
      <vt:lpstr>Template index</vt:lpstr>
      <vt:lpstr>Template - Organizational chart</vt:lpstr>
      <vt:lpstr>Template - Hierarchy Infographic</vt:lpstr>
      <vt:lpstr>Template - Business systems/hierarchy</vt:lpstr>
      <vt:lpstr>Template - Many-to-one chart</vt:lpstr>
      <vt:lpstr>Template - Rank chart</vt:lpstr>
      <vt:lpstr>Template - Comparative table</vt:lpstr>
      <vt:lpstr>Template - Network analysis</vt:lpstr>
      <vt:lpstr>Template - 2x2 Matrix</vt:lpstr>
      <vt:lpstr>Template - 3x2 Matrix</vt:lpstr>
      <vt:lpstr>Template - 3x3 Matrix</vt:lpstr>
      <vt:lpstr>Template index</vt:lpstr>
      <vt:lpstr>Template - Honeycomb chart</vt:lpstr>
      <vt:lpstr>Template – Hexagon concept</vt:lpstr>
      <vt:lpstr>Template – Pentagon concept</vt:lpstr>
      <vt:lpstr>Template - Four categories</vt:lpstr>
      <vt:lpstr>Template - Pyramid concept</vt:lpstr>
      <vt:lpstr>Template A - Triangle concept</vt:lpstr>
      <vt:lpstr>Template B - Triangle concept</vt:lpstr>
      <vt:lpstr>Template - Challenges Slide</vt:lpstr>
      <vt:lpstr>Template - Challenges and solutions</vt:lpstr>
      <vt:lpstr>Template - Decision Diagram</vt:lpstr>
      <vt:lpstr>Template - Decision Diagram</vt:lpstr>
      <vt:lpstr>Template - Tree diagram</vt:lpstr>
      <vt:lpstr>Template - Funnel chart</vt:lpstr>
      <vt:lpstr>Template – Funnel chart</vt:lpstr>
      <vt:lpstr>Template – Open book slide</vt:lpstr>
      <vt:lpstr>Template - Mind map</vt:lpstr>
      <vt:lpstr>Template - Sankey diagram</vt:lpstr>
      <vt:lpstr>Template - Kagi chart</vt:lpstr>
      <vt:lpstr>Template - Ladder chart</vt:lpstr>
      <vt:lpstr>Template - Questions chart</vt:lpstr>
      <vt:lpstr>Template - Comparison chart #1</vt:lpstr>
      <vt:lpstr>Template - Comparison chart #2</vt:lpstr>
      <vt:lpstr>Template - Gears chart</vt:lpstr>
      <vt:lpstr>Template - Semicircle chart</vt:lpstr>
      <vt:lpstr>Template - House chart</vt:lpstr>
      <vt:lpstr>Template - Venn Diagram</vt:lpstr>
      <vt:lpstr>Template - Circle diagram</vt:lpstr>
      <vt:lpstr>Template - Circle diagram with segmentation</vt:lpstr>
      <vt:lpstr>Template - Bull’s eye diagram</vt:lpstr>
      <vt:lpstr>Template - Balance Scale Diagram</vt:lpstr>
      <vt:lpstr>Template - Level diagram</vt:lpstr>
      <vt:lpstr>Template - Two axis diagram</vt:lpstr>
      <vt:lpstr>Template - Three axis diagram</vt:lpstr>
      <vt:lpstr>Template index</vt:lpstr>
      <vt:lpstr>Template - Maps showing data</vt:lpstr>
      <vt:lpstr>Template - Flow map</vt:lpstr>
      <vt:lpstr>Template - Bubble map</vt:lpstr>
      <vt:lpstr>Template - Choropleth map</vt:lpstr>
      <vt:lpstr>Template index</vt:lpstr>
      <vt:lpstr>PowerPoint Presentation</vt:lpstr>
      <vt:lpstr>Template — Porter's Value Chain</vt:lpstr>
      <vt:lpstr>Template — Porter's Generic Strategies</vt:lpstr>
      <vt:lpstr>Template — BCG Growth Share Matrix</vt:lpstr>
      <vt:lpstr>Template — GE McKinsey Matrix</vt:lpstr>
      <vt:lpstr>Template — Ansoff Matrix </vt:lpstr>
      <vt:lpstr>Template — McKinsey 7-S Framework</vt:lpstr>
      <vt:lpstr>Template — The 3 C’s </vt:lpstr>
      <vt:lpstr>Template — The 4 Ps </vt:lpstr>
      <vt:lpstr>Template — Force Field Analysis</vt:lpstr>
      <vt:lpstr>Template — Profitability Framework </vt:lpstr>
      <vt:lpstr>Template — Blue Ocean Strategy </vt:lpstr>
      <vt:lpstr>Template — Value Disciplines Model </vt:lpstr>
      <vt:lpstr>Template — Roger’s Five Factors </vt:lpstr>
      <vt:lpstr>Template — SIPOC model</vt:lpstr>
      <vt:lpstr>Template — PESTEL Analysis</vt:lpstr>
      <vt:lpstr>Template — Lafley Strategy</vt:lpstr>
      <vt:lpstr>Template — Three Horizons </vt:lpstr>
      <vt:lpstr>Template — Seven Degrees of Freedom for Growth </vt:lpstr>
      <vt:lpstr>Template — Galbraith Star Model </vt:lpstr>
      <vt:lpstr>Template index</vt:lpstr>
      <vt:lpstr>Template - Skills And Self-id Top Factors</vt:lpstr>
      <vt:lpstr>Template - Percentage breakdown (circles)</vt:lpstr>
      <vt:lpstr>Template - Pictogram chart</vt:lpstr>
    </vt:vector>
  </TitlesOfParts>
  <Manager>Umbrex visit www.umbrex.com</Manager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Umbrex visit www.umbrex.com</dc:creator>
  <cp:keywords/>
  <dc:description/>
  <cp:lastModifiedBy>Will Bachman</cp:lastModifiedBy>
  <cp:revision>178</cp:revision>
  <dcterms:created xsi:type="dcterms:W3CDTF">2020-07-31T20:30:33Z</dcterms:created>
  <dcterms:modified xsi:type="dcterms:W3CDTF">2023-07-17T17:07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7C6C0B81616847BA0BEF6AF9FD8D5E</vt:lpwstr>
  </property>
  <property fmtid="{D5CDD505-2E9C-101B-9397-08002B2CF9AE}" pid="3" name="MediaServiceImageTags">
    <vt:lpwstr/>
  </property>
</Properties>
</file>